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1.xml" ContentType="application/vnd.openxmlformats-officedocument.presentationml.notesSlide+xml"/>
  <Override PartName="/ppt/ink/ink1.xml" ContentType="application/inkml+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2.xml" ContentType="application/inkml+xml"/>
  <Override PartName="/ppt/ink/ink3.xml" ContentType="application/inkml+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25"/>
  </p:notesMasterIdLst>
  <p:handoutMasterIdLst>
    <p:handoutMasterId r:id="rId26"/>
  </p:handoutMasterIdLst>
  <p:sldIdLst>
    <p:sldId id="7275" r:id="rId5"/>
    <p:sldId id="3343" r:id="rId6"/>
    <p:sldId id="260" r:id="rId7"/>
    <p:sldId id="2145708012" r:id="rId8"/>
    <p:sldId id="2145708011" r:id="rId9"/>
    <p:sldId id="7334" r:id="rId10"/>
    <p:sldId id="7325" r:id="rId11"/>
    <p:sldId id="7326" r:id="rId12"/>
    <p:sldId id="7327" r:id="rId13"/>
    <p:sldId id="7328" r:id="rId14"/>
    <p:sldId id="318" r:id="rId15"/>
    <p:sldId id="7292" r:id="rId16"/>
    <p:sldId id="7278" r:id="rId17"/>
    <p:sldId id="2145708009" r:id="rId18"/>
    <p:sldId id="2145708010" r:id="rId19"/>
    <p:sldId id="7302" r:id="rId20"/>
    <p:sldId id="2145708013" r:id="rId21"/>
    <p:sldId id="7333" r:id="rId22"/>
    <p:sldId id="7351" r:id="rId23"/>
    <p:sldId id="7332" r:id="rId24"/>
  </p:sldIdLst>
  <p:sldSz cx="12192000" cy="6858000"/>
  <p:notesSz cx="6797675" cy="9926638"/>
  <p:custDataLst>
    <p:tags r:id="rId27"/>
  </p:custDataLst>
  <p:defaultText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präsentation" id="{F5AF7F58-EF1E-4EF4-92A2-4749FE3BFE83}">
          <p14:sldIdLst>
            <p14:sldId id="7275"/>
            <p14:sldId id="3343"/>
            <p14:sldId id="260"/>
            <p14:sldId id="2145708012"/>
            <p14:sldId id="2145708011"/>
            <p14:sldId id="7334"/>
            <p14:sldId id="7325"/>
            <p14:sldId id="7326"/>
            <p14:sldId id="7327"/>
            <p14:sldId id="7328"/>
            <p14:sldId id="318"/>
            <p14:sldId id="7292"/>
            <p14:sldId id="7278"/>
            <p14:sldId id="2145708009"/>
            <p14:sldId id="2145708010"/>
            <p14:sldId id="7302"/>
            <p14:sldId id="2145708013"/>
            <p14:sldId id="7333"/>
            <p14:sldId id="7351"/>
            <p14:sldId id="733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EB129"/>
    <a:srgbClr val="0041BC"/>
    <a:srgbClr val="97AA28"/>
    <a:srgbClr val="8094AF"/>
    <a:srgbClr val="BBD03A"/>
    <a:srgbClr val="FFFFFF"/>
    <a:srgbClr val="FFFFCC"/>
    <a:srgbClr val="575756"/>
    <a:srgbClr val="D0D0D0"/>
    <a:srgbClr val="0D317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EF8C959-161B-48E6-918F-19FB2A9D3909}" v="2541" dt="2023-04-21T10:25:55.343"/>
    <p1510:client id="{DF7BA2C9-F852-E8AD-4CBA-E2223EE1576E}" v="31" dt="2023-04-21T12:07:11.28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0494" autoAdjust="0"/>
  </p:normalViewPr>
  <p:slideViewPr>
    <p:cSldViewPr snapToGrid="0">
      <p:cViewPr varScale="1">
        <p:scale>
          <a:sx n="92" d="100"/>
          <a:sy n="92" d="100"/>
        </p:scale>
        <p:origin x="720" y="84"/>
      </p:cViewPr>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ez, Florian" userId="30d7df6a-5295-4d75-a650-5a1fab7b8b2e" providerId="ADAL" clId="{DEF8C959-161B-48E6-918F-19FB2A9D3909}"/>
    <pc:docChg chg="undo custSel addSld delSld modSld sldOrd modMainMaster addSection delSection modSection">
      <pc:chgData name="Bez, Florian" userId="30d7df6a-5295-4d75-a650-5a1fab7b8b2e" providerId="ADAL" clId="{DEF8C959-161B-48E6-918F-19FB2A9D3909}" dt="2023-04-21T10:25:55.342" v="10395" actId="20577"/>
      <pc:docMkLst>
        <pc:docMk/>
      </pc:docMkLst>
      <pc:sldChg chg="addSp delSp modSp add mod ord modAnim modNotesTx">
        <pc:chgData name="Bez, Florian" userId="30d7df6a-5295-4d75-a650-5a1fab7b8b2e" providerId="ADAL" clId="{DEF8C959-161B-48E6-918F-19FB2A9D3909}" dt="2023-04-21T08:19:50.917" v="8924"/>
        <pc:sldMkLst>
          <pc:docMk/>
          <pc:sldMk cId="714947396" sldId="260"/>
        </pc:sldMkLst>
        <pc:spChg chg="add mod">
          <ac:chgData name="Bez, Florian" userId="30d7df6a-5295-4d75-a650-5a1fab7b8b2e" providerId="ADAL" clId="{DEF8C959-161B-48E6-918F-19FB2A9D3909}" dt="2023-04-20T10:06:32.432" v="7096"/>
          <ac:spMkLst>
            <pc:docMk/>
            <pc:sldMk cId="714947396" sldId="260"/>
            <ac:spMk id="2" creationId="{0F350B52-50CF-C708-001A-CA5C4EABA0D7}"/>
          </ac:spMkLst>
        </pc:spChg>
        <pc:spChg chg="add del mod">
          <ac:chgData name="Bez, Florian" userId="30d7df6a-5295-4d75-a650-5a1fab7b8b2e" providerId="ADAL" clId="{DEF8C959-161B-48E6-918F-19FB2A9D3909}" dt="2023-04-18T15:52:04.071" v="3199" actId="478"/>
          <ac:spMkLst>
            <pc:docMk/>
            <pc:sldMk cId="714947396" sldId="260"/>
            <ac:spMk id="2" creationId="{47AAA26D-CA15-6133-7A6B-C028D8206992}"/>
          </ac:spMkLst>
        </pc:spChg>
        <pc:spChg chg="add del mod">
          <ac:chgData name="Bez, Florian" userId="30d7df6a-5295-4d75-a650-5a1fab7b8b2e" providerId="ADAL" clId="{DEF8C959-161B-48E6-918F-19FB2A9D3909}" dt="2023-04-18T15:40:12.023" v="3058" actId="478"/>
          <ac:spMkLst>
            <pc:docMk/>
            <pc:sldMk cId="714947396" sldId="260"/>
            <ac:spMk id="4" creationId="{9989C227-4C12-36CA-3665-FDB24DFC87B2}"/>
          </ac:spMkLst>
        </pc:spChg>
        <pc:spChg chg="add del mod">
          <ac:chgData name="Bez, Florian" userId="30d7df6a-5295-4d75-a650-5a1fab7b8b2e" providerId="ADAL" clId="{DEF8C959-161B-48E6-918F-19FB2A9D3909}" dt="2023-04-17T14:41:15.088" v="262" actId="478"/>
          <ac:spMkLst>
            <pc:docMk/>
            <pc:sldMk cId="714947396" sldId="260"/>
            <ac:spMk id="4" creationId="{EE1DFC4C-1AAF-2656-01A4-AAC4C83D203E}"/>
          </ac:spMkLst>
        </pc:spChg>
        <pc:spChg chg="del mod">
          <ac:chgData name="Bez, Florian" userId="30d7df6a-5295-4d75-a650-5a1fab7b8b2e" providerId="ADAL" clId="{DEF8C959-161B-48E6-918F-19FB2A9D3909}" dt="2023-04-18T15:40:09.924" v="3057" actId="478"/>
          <ac:spMkLst>
            <pc:docMk/>
            <pc:sldMk cId="714947396" sldId="260"/>
            <ac:spMk id="5" creationId="{00000000-0000-0000-0000-000000000000}"/>
          </ac:spMkLst>
        </pc:spChg>
        <pc:spChg chg="add del mod">
          <ac:chgData name="Bez, Florian" userId="30d7df6a-5295-4d75-a650-5a1fab7b8b2e" providerId="ADAL" clId="{DEF8C959-161B-48E6-918F-19FB2A9D3909}" dt="2023-04-18T15:41:57.001" v="3104" actId="478"/>
          <ac:spMkLst>
            <pc:docMk/>
            <pc:sldMk cId="714947396" sldId="260"/>
            <ac:spMk id="6" creationId="{7497CCFF-21CE-C218-9F4C-7BF2FDDB70D3}"/>
          </ac:spMkLst>
        </pc:spChg>
        <pc:spChg chg="add mod">
          <ac:chgData name="Bez, Florian" userId="30d7df6a-5295-4d75-a650-5a1fab7b8b2e" providerId="ADAL" clId="{DEF8C959-161B-48E6-918F-19FB2A9D3909}" dt="2023-04-20T07:50:29.176" v="4940" actId="14100"/>
          <ac:spMkLst>
            <pc:docMk/>
            <pc:sldMk cId="714947396" sldId="260"/>
            <ac:spMk id="7" creationId="{733E82B5-D59B-6327-5CC6-198E47DFB482}"/>
          </ac:spMkLst>
        </pc:spChg>
        <pc:spChg chg="add del mod">
          <ac:chgData name="Bez, Florian" userId="30d7df6a-5295-4d75-a650-5a1fab7b8b2e" providerId="ADAL" clId="{DEF8C959-161B-48E6-918F-19FB2A9D3909}" dt="2023-04-18T15:55:08.248" v="3403" actId="478"/>
          <ac:spMkLst>
            <pc:docMk/>
            <pc:sldMk cId="714947396" sldId="260"/>
            <ac:spMk id="8" creationId="{ABB87122-1B65-F167-8E3A-D1EEF4BB21AF}"/>
          </ac:spMkLst>
        </pc:spChg>
        <pc:spChg chg="add mod">
          <ac:chgData name="Bez, Florian" userId="30d7df6a-5295-4d75-a650-5a1fab7b8b2e" providerId="ADAL" clId="{DEF8C959-161B-48E6-918F-19FB2A9D3909}" dt="2023-04-18T15:56:43.409" v="3518" actId="1076"/>
          <ac:spMkLst>
            <pc:docMk/>
            <pc:sldMk cId="714947396" sldId="260"/>
            <ac:spMk id="9" creationId="{AC417BC1-C07F-A890-BCB8-11A2409C229E}"/>
          </ac:spMkLst>
        </pc:spChg>
        <pc:spChg chg="add del mod">
          <ac:chgData name="Bez, Florian" userId="30d7df6a-5295-4d75-a650-5a1fab7b8b2e" providerId="ADAL" clId="{DEF8C959-161B-48E6-918F-19FB2A9D3909}" dt="2023-04-18T15:55:06.798" v="3402" actId="478"/>
          <ac:spMkLst>
            <pc:docMk/>
            <pc:sldMk cId="714947396" sldId="260"/>
            <ac:spMk id="10" creationId="{BD91CC7D-0803-0BFE-3B29-62D93AE48CFE}"/>
          </ac:spMkLst>
        </pc:spChg>
        <pc:spChg chg="del">
          <ac:chgData name="Bez, Florian" userId="30d7df6a-5295-4d75-a650-5a1fab7b8b2e" providerId="ADAL" clId="{DEF8C959-161B-48E6-918F-19FB2A9D3909}" dt="2023-04-17T14:41:11.435" v="261" actId="478"/>
          <ac:spMkLst>
            <pc:docMk/>
            <pc:sldMk cId="714947396" sldId="260"/>
            <ac:spMk id="11" creationId="{00000000-0000-0000-0000-000000000000}"/>
          </ac:spMkLst>
        </pc:spChg>
        <pc:spChg chg="mod">
          <ac:chgData name="Bez, Florian" userId="30d7df6a-5295-4d75-a650-5a1fab7b8b2e" providerId="ADAL" clId="{DEF8C959-161B-48E6-918F-19FB2A9D3909}" dt="2023-04-17T13:34:56.560" v="72"/>
          <ac:spMkLst>
            <pc:docMk/>
            <pc:sldMk cId="714947396" sldId="260"/>
            <ac:spMk id="12"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39"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0"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1"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2"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3"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4"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5"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6"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7"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48"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53"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56"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57"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58"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59"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0"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1"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2"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3"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5"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69" creationId="{00000000-0000-0000-0000-000000000000}"/>
          </ac:spMkLst>
        </pc:spChg>
        <pc:spChg chg="mod topLvl">
          <ac:chgData name="Bez, Florian" userId="30d7df6a-5295-4d75-a650-5a1fab7b8b2e" providerId="ADAL" clId="{DEF8C959-161B-48E6-918F-19FB2A9D3909}" dt="2023-04-18T15:55:49.025" v="3495" actId="20577"/>
          <ac:spMkLst>
            <pc:docMk/>
            <pc:sldMk cId="714947396" sldId="260"/>
            <ac:spMk id="70"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1"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2"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3"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4"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5"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6"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7" creationId="{00000000-0000-0000-0000-000000000000}"/>
          </ac:spMkLst>
        </pc:spChg>
        <pc:spChg chg="mod topLvl">
          <ac:chgData name="Bez, Florian" userId="30d7df6a-5295-4d75-a650-5a1fab7b8b2e" providerId="ADAL" clId="{DEF8C959-161B-48E6-918F-19FB2A9D3909}" dt="2023-04-18T15:48:11.473" v="3187" actId="1076"/>
          <ac:spMkLst>
            <pc:docMk/>
            <pc:sldMk cId="714947396" sldId="260"/>
            <ac:spMk id="78" creationId="{00000000-0000-0000-0000-000000000000}"/>
          </ac:spMkLst>
        </pc:spChg>
        <pc:grpChg chg="del mod">
          <ac:chgData name="Bez, Florian" userId="30d7df6a-5295-4d75-a650-5a1fab7b8b2e" providerId="ADAL" clId="{DEF8C959-161B-48E6-918F-19FB2A9D3909}" dt="2023-04-18T15:39:31.384" v="3053" actId="165"/>
          <ac:grpSpMkLst>
            <pc:docMk/>
            <pc:sldMk cId="714947396" sldId="260"/>
            <ac:grpSpMk id="38" creationId="{00000000-0000-0000-0000-000000000000}"/>
          </ac:grpSpMkLst>
        </pc:grpChg>
      </pc:sldChg>
      <pc:sldChg chg="modSp add del mod ord">
        <pc:chgData name="Bez, Florian" userId="30d7df6a-5295-4d75-a650-5a1fab7b8b2e" providerId="ADAL" clId="{DEF8C959-161B-48E6-918F-19FB2A9D3909}" dt="2023-04-17T18:46:49.178" v="2477" actId="47"/>
        <pc:sldMkLst>
          <pc:docMk/>
          <pc:sldMk cId="308850221" sldId="262"/>
        </pc:sldMkLst>
        <pc:spChg chg="mod">
          <ac:chgData name="Bez, Florian" userId="30d7df6a-5295-4d75-a650-5a1fab7b8b2e" providerId="ADAL" clId="{DEF8C959-161B-48E6-918F-19FB2A9D3909}" dt="2023-04-17T13:38:53.186" v="129" actId="20577"/>
          <ac:spMkLst>
            <pc:docMk/>
            <pc:sldMk cId="308850221" sldId="262"/>
            <ac:spMk id="5" creationId="{00000000-0000-0000-0000-000000000000}"/>
          </ac:spMkLst>
        </pc:spChg>
      </pc:sldChg>
      <pc:sldChg chg="del">
        <pc:chgData name="Bez, Florian" userId="30d7df6a-5295-4d75-a650-5a1fab7b8b2e" providerId="ADAL" clId="{DEF8C959-161B-48E6-918F-19FB2A9D3909}" dt="2023-04-17T18:58:27.074" v="2737" actId="47"/>
        <pc:sldMkLst>
          <pc:docMk/>
          <pc:sldMk cId="4190412905" sldId="313"/>
        </pc:sldMkLst>
      </pc:sldChg>
      <pc:sldChg chg="add del">
        <pc:chgData name="Bez, Florian" userId="30d7df6a-5295-4d75-a650-5a1fab7b8b2e" providerId="ADAL" clId="{DEF8C959-161B-48E6-918F-19FB2A9D3909}" dt="2023-04-17T18:58:27.074" v="2737" actId="47"/>
        <pc:sldMkLst>
          <pc:docMk/>
          <pc:sldMk cId="3133126165" sldId="314"/>
        </pc:sldMkLst>
      </pc:sldChg>
      <pc:sldChg chg="add del">
        <pc:chgData name="Bez, Florian" userId="30d7df6a-5295-4d75-a650-5a1fab7b8b2e" providerId="ADAL" clId="{DEF8C959-161B-48E6-918F-19FB2A9D3909}" dt="2023-04-17T18:58:27.074" v="2737" actId="47"/>
        <pc:sldMkLst>
          <pc:docMk/>
          <pc:sldMk cId="3401271296" sldId="315"/>
        </pc:sldMkLst>
      </pc:sldChg>
      <pc:sldChg chg="del">
        <pc:chgData name="Bez, Florian" userId="30d7df6a-5295-4d75-a650-5a1fab7b8b2e" providerId="ADAL" clId="{DEF8C959-161B-48E6-918F-19FB2A9D3909}" dt="2023-04-14T10:19:39.135" v="4" actId="47"/>
        <pc:sldMkLst>
          <pc:docMk/>
          <pc:sldMk cId="1596365350" sldId="317"/>
        </pc:sldMkLst>
      </pc:sldChg>
      <pc:sldChg chg="modSp mod ord modShow">
        <pc:chgData name="Bez, Florian" userId="30d7df6a-5295-4d75-a650-5a1fab7b8b2e" providerId="ADAL" clId="{DEF8C959-161B-48E6-918F-19FB2A9D3909}" dt="2023-04-17T17:14:38.023" v="531" actId="14100"/>
        <pc:sldMkLst>
          <pc:docMk/>
          <pc:sldMk cId="925171506" sldId="318"/>
        </pc:sldMkLst>
        <pc:spChg chg="mod">
          <ac:chgData name="Bez, Florian" userId="30d7df6a-5295-4d75-a650-5a1fab7b8b2e" providerId="ADAL" clId="{DEF8C959-161B-48E6-918F-19FB2A9D3909}" dt="2023-04-17T17:14:38.023" v="531" actId="14100"/>
          <ac:spMkLst>
            <pc:docMk/>
            <pc:sldMk cId="925171506" sldId="318"/>
            <ac:spMk id="17" creationId="{89C2B654-0381-495E-BF55-2AB9ECEA3D77}"/>
          </ac:spMkLst>
        </pc:spChg>
      </pc:sldChg>
      <pc:sldChg chg="del">
        <pc:chgData name="Bez, Florian" userId="30d7df6a-5295-4d75-a650-5a1fab7b8b2e" providerId="ADAL" clId="{DEF8C959-161B-48E6-918F-19FB2A9D3909}" dt="2023-04-17T18:58:27.074" v="2737" actId="47"/>
        <pc:sldMkLst>
          <pc:docMk/>
          <pc:sldMk cId="3429900626" sldId="319"/>
        </pc:sldMkLst>
      </pc:sldChg>
      <pc:sldChg chg="del">
        <pc:chgData name="Bez, Florian" userId="30d7df6a-5295-4d75-a650-5a1fab7b8b2e" providerId="ADAL" clId="{DEF8C959-161B-48E6-918F-19FB2A9D3909}" dt="2023-04-14T10:19:37.658" v="2" actId="47"/>
        <pc:sldMkLst>
          <pc:docMk/>
          <pc:sldMk cId="2143279434" sldId="320"/>
        </pc:sldMkLst>
      </pc:sldChg>
      <pc:sldChg chg="addSp delSp modSp add del mod ord">
        <pc:chgData name="Bez, Florian" userId="30d7df6a-5295-4d75-a650-5a1fab7b8b2e" providerId="ADAL" clId="{DEF8C959-161B-48E6-918F-19FB2A9D3909}" dt="2023-04-21T07:29:34.879" v="7646" actId="47"/>
        <pc:sldMkLst>
          <pc:docMk/>
          <pc:sldMk cId="3914819091" sldId="322"/>
        </pc:sldMkLst>
        <pc:spChg chg="add mod">
          <ac:chgData name="Bez, Florian" userId="30d7df6a-5295-4d75-a650-5a1fab7b8b2e" providerId="ADAL" clId="{DEF8C959-161B-48E6-918F-19FB2A9D3909}" dt="2023-04-18T15:39:06.690" v="3051" actId="1076"/>
          <ac:spMkLst>
            <pc:docMk/>
            <pc:sldMk cId="3914819091" sldId="322"/>
            <ac:spMk id="2" creationId="{BF3B6380-40B7-4AEE-8861-37C120C1ADF0}"/>
          </ac:spMkLst>
        </pc:spChg>
        <pc:spChg chg="mod">
          <ac:chgData name="Bez, Florian" userId="30d7df6a-5295-4d75-a650-5a1fab7b8b2e" providerId="ADAL" clId="{DEF8C959-161B-48E6-918F-19FB2A9D3909}" dt="2023-04-17T13:40:47.392" v="133"/>
          <ac:spMkLst>
            <pc:docMk/>
            <pc:sldMk cId="3914819091" sldId="322"/>
            <ac:spMk id="11" creationId="{00000000-0000-0000-0000-000000000000}"/>
          </ac:spMkLst>
        </pc:spChg>
        <pc:spChg chg="mod">
          <ac:chgData name="Bez, Florian" userId="30d7df6a-5295-4d75-a650-5a1fab7b8b2e" providerId="ADAL" clId="{DEF8C959-161B-48E6-918F-19FB2A9D3909}" dt="2023-04-18T15:39:03.385" v="3050" actId="1076"/>
          <ac:spMkLst>
            <pc:docMk/>
            <pc:sldMk cId="3914819091" sldId="322"/>
            <ac:spMk id="14" creationId="{00000000-0000-0000-0000-000000000000}"/>
          </ac:spMkLst>
        </pc:spChg>
        <pc:spChg chg="mod">
          <ac:chgData name="Bez, Florian" userId="30d7df6a-5295-4d75-a650-5a1fab7b8b2e" providerId="ADAL" clId="{DEF8C959-161B-48E6-918F-19FB2A9D3909}" dt="2023-04-18T15:39:03.385" v="3050" actId="1076"/>
          <ac:spMkLst>
            <pc:docMk/>
            <pc:sldMk cId="3914819091" sldId="322"/>
            <ac:spMk id="15" creationId="{00000000-0000-0000-0000-000000000000}"/>
          </ac:spMkLst>
        </pc:spChg>
        <pc:spChg chg="add del mod">
          <ac:chgData name="Bez, Florian" userId="30d7df6a-5295-4d75-a650-5a1fab7b8b2e" providerId="ADAL" clId="{DEF8C959-161B-48E6-918F-19FB2A9D3909}" dt="2023-04-18T15:39:03.385" v="3050" actId="1076"/>
          <ac:spMkLst>
            <pc:docMk/>
            <pc:sldMk cId="3914819091" sldId="322"/>
            <ac:spMk id="16" creationId="{00000000-0000-0000-0000-000000000000}"/>
          </ac:spMkLst>
        </pc:spChg>
        <pc:spChg chg="mod">
          <ac:chgData name="Bez, Florian" userId="30d7df6a-5295-4d75-a650-5a1fab7b8b2e" providerId="ADAL" clId="{DEF8C959-161B-48E6-918F-19FB2A9D3909}" dt="2023-04-18T15:39:03.385" v="3050" actId="1076"/>
          <ac:spMkLst>
            <pc:docMk/>
            <pc:sldMk cId="3914819091" sldId="322"/>
            <ac:spMk id="18" creationId="{00000000-0000-0000-0000-000000000000}"/>
          </ac:spMkLst>
        </pc:spChg>
        <pc:grpChg chg="mod">
          <ac:chgData name="Bez, Florian" userId="30d7df6a-5295-4d75-a650-5a1fab7b8b2e" providerId="ADAL" clId="{DEF8C959-161B-48E6-918F-19FB2A9D3909}" dt="2023-04-18T15:39:03.385" v="3050" actId="1076"/>
          <ac:grpSpMkLst>
            <pc:docMk/>
            <pc:sldMk cId="3914819091" sldId="322"/>
            <ac:grpSpMk id="27" creationId="{00000000-0000-0000-0000-000000000000}"/>
          </ac:grpSpMkLst>
        </pc:grpChg>
      </pc:sldChg>
      <pc:sldChg chg="del">
        <pc:chgData name="Bez, Florian" userId="30d7df6a-5295-4d75-a650-5a1fab7b8b2e" providerId="ADAL" clId="{DEF8C959-161B-48E6-918F-19FB2A9D3909}" dt="2023-04-14T10:19:38.423" v="3" actId="47"/>
        <pc:sldMkLst>
          <pc:docMk/>
          <pc:sldMk cId="2841310951" sldId="323"/>
        </pc:sldMkLst>
      </pc:sldChg>
      <pc:sldChg chg="add del ord">
        <pc:chgData name="Bez, Florian" userId="30d7df6a-5295-4d75-a650-5a1fab7b8b2e" providerId="ADAL" clId="{DEF8C959-161B-48E6-918F-19FB2A9D3909}" dt="2023-04-17T19:07:35.589" v="2868" actId="47"/>
        <pc:sldMkLst>
          <pc:docMk/>
          <pc:sldMk cId="3279143344" sldId="323"/>
        </pc:sldMkLst>
      </pc:sldChg>
      <pc:sldChg chg="del">
        <pc:chgData name="Bez, Florian" userId="30d7df6a-5295-4d75-a650-5a1fab7b8b2e" providerId="ADAL" clId="{DEF8C959-161B-48E6-918F-19FB2A9D3909}" dt="2023-04-17T18:58:27.074" v="2737" actId="47"/>
        <pc:sldMkLst>
          <pc:docMk/>
          <pc:sldMk cId="4108214180" sldId="327"/>
        </pc:sldMkLst>
      </pc:sldChg>
      <pc:sldChg chg="del">
        <pc:chgData name="Bez, Florian" userId="30d7df6a-5295-4d75-a650-5a1fab7b8b2e" providerId="ADAL" clId="{DEF8C959-161B-48E6-918F-19FB2A9D3909}" dt="2023-04-17T18:58:27.074" v="2737" actId="47"/>
        <pc:sldMkLst>
          <pc:docMk/>
          <pc:sldMk cId="3212799180" sldId="328"/>
        </pc:sldMkLst>
      </pc:sldChg>
      <pc:sldChg chg="del">
        <pc:chgData name="Bez, Florian" userId="30d7df6a-5295-4d75-a650-5a1fab7b8b2e" providerId="ADAL" clId="{DEF8C959-161B-48E6-918F-19FB2A9D3909}" dt="2023-04-14T10:22:31.668" v="7" actId="47"/>
        <pc:sldMkLst>
          <pc:docMk/>
          <pc:sldMk cId="1681256063" sldId="329"/>
        </pc:sldMkLst>
      </pc:sldChg>
      <pc:sldChg chg="del">
        <pc:chgData name="Bez, Florian" userId="30d7df6a-5295-4d75-a650-5a1fab7b8b2e" providerId="ADAL" clId="{DEF8C959-161B-48E6-918F-19FB2A9D3909}" dt="2023-04-14T10:19:36.058" v="1" actId="47"/>
        <pc:sldMkLst>
          <pc:docMk/>
          <pc:sldMk cId="2765450061" sldId="330"/>
        </pc:sldMkLst>
      </pc:sldChg>
      <pc:sldChg chg="del">
        <pc:chgData name="Bez, Florian" userId="30d7df6a-5295-4d75-a650-5a1fab7b8b2e" providerId="ADAL" clId="{DEF8C959-161B-48E6-918F-19FB2A9D3909}" dt="2023-04-17T18:58:27.074" v="2737" actId="47"/>
        <pc:sldMkLst>
          <pc:docMk/>
          <pc:sldMk cId="2170623823" sldId="332"/>
        </pc:sldMkLst>
      </pc:sldChg>
      <pc:sldChg chg="add del">
        <pc:chgData name="Bez, Florian" userId="30d7df6a-5295-4d75-a650-5a1fab7b8b2e" providerId="ADAL" clId="{DEF8C959-161B-48E6-918F-19FB2A9D3909}" dt="2023-04-17T18:58:27.074" v="2737" actId="47"/>
        <pc:sldMkLst>
          <pc:docMk/>
          <pc:sldMk cId="970573860" sldId="333"/>
        </pc:sldMkLst>
      </pc:sldChg>
      <pc:sldChg chg="del">
        <pc:chgData name="Bez, Florian" userId="30d7df6a-5295-4d75-a650-5a1fab7b8b2e" providerId="ADAL" clId="{DEF8C959-161B-48E6-918F-19FB2A9D3909}" dt="2023-04-17T18:58:27.074" v="2737" actId="47"/>
        <pc:sldMkLst>
          <pc:docMk/>
          <pc:sldMk cId="2748892648" sldId="334"/>
        </pc:sldMkLst>
      </pc:sldChg>
      <pc:sldChg chg="del">
        <pc:chgData name="Bez, Florian" userId="30d7df6a-5295-4d75-a650-5a1fab7b8b2e" providerId="ADAL" clId="{DEF8C959-161B-48E6-918F-19FB2A9D3909}" dt="2023-04-17T18:58:27.074" v="2737" actId="47"/>
        <pc:sldMkLst>
          <pc:docMk/>
          <pc:sldMk cId="2584398109" sldId="335"/>
        </pc:sldMkLst>
      </pc:sldChg>
      <pc:sldChg chg="add del">
        <pc:chgData name="Bez, Florian" userId="30d7df6a-5295-4d75-a650-5a1fab7b8b2e" providerId="ADAL" clId="{DEF8C959-161B-48E6-918F-19FB2A9D3909}" dt="2023-04-17T18:58:27.074" v="2737" actId="47"/>
        <pc:sldMkLst>
          <pc:docMk/>
          <pc:sldMk cId="3370613538" sldId="336"/>
        </pc:sldMkLst>
      </pc:sldChg>
      <pc:sldChg chg="del">
        <pc:chgData name="Bez, Florian" userId="30d7df6a-5295-4d75-a650-5a1fab7b8b2e" providerId="ADAL" clId="{DEF8C959-161B-48E6-918F-19FB2A9D3909}" dt="2023-04-17T18:58:27.074" v="2737" actId="47"/>
        <pc:sldMkLst>
          <pc:docMk/>
          <pc:sldMk cId="2971487752" sldId="337"/>
        </pc:sldMkLst>
      </pc:sldChg>
      <pc:sldChg chg="del">
        <pc:chgData name="Bez, Florian" userId="30d7df6a-5295-4d75-a650-5a1fab7b8b2e" providerId="ADAL" clId="{DEF8C959-161B-48E6-918F-19FB2A9D3909}" dt="2023-04-17T18:58:27.074" v="2737" actId="47"/>
        <pc:sldMkLst>
          <pc:docMk/>
          <pc:sldMk cId="405468158" sldId="339"/>
        </pc:sldMkLst>
      </pc:sldChg>
      <pc:sldChg chg="del">
        <pc:chgData name="Bez, Florian" userId="30d7df6a-5295-4d75-a650-5a1fab7b8b2e" providerId="ADAL" clId="{DEF8C959-161B-48E6-918F-19FB2A9D3909}" dt="2023-04-14T11:21:17.598" v="12" actId="47"/>
        <pc:sldMkLst>
          <pc:docMk/>
          <pc:sldMk cId="1237268233" sldId="340"/>
        </pc:sldMkLst>
      </pc:sldChg>
      <pc:sldChg chg="del">
        <pc:chgData name="Bez, Florian" userId="30d7df6a-5295-4d75-a650-5a1fab7b8b2e" providerId="ADAL" clId="{DEF8C959-161B-48E6-918F-19FB2A9D3909}" dt="2023-04-14T11:21:11.106" v="11" actId="47"/>
        <pc:sldMkLst>
          <pc:docMk/>
          <pc:sldMk cId="1052563389" sldId="341"/>
        </pc:sldMkLst>
      </pc:sldChg>
      <pc:sldChg chg="add del">
        <pc:chgData name="Bez, Florian" userId="30d7df6a-5295-4d75-a650-5a1fab7b8b2e" providerId="ADAL" clId="{DEF8C959-161B-48E6-918F-19FB2A9D3909}" dt="2023-04-21T07:29:30.094" v="7637" actId="47"/>
        <pc:sldMkLst>
          <pc:docMk/>
          <pc:sldMk cId="0" sldId="342"/>
        </pc:sldMkLst>
      </pc:sldChg>
      <pc:sldChg chg="add del">
        <pc:chgData name="Bez, Florian" userId="30d7df6a-5295-4d75-a650-5a1fab7b8b2e" providerId="ADAL" clId="{DEF8C959-161B-48E6-918F-19FB2A9D3909}" dt="2023-04-21T07:29:30.630" v="7639" actId="47"/>
        <pc:sldMkLst>
          <pc:docMk/>
          <pc:sldMk cId="0" sldId="343"/>
        </pc:sldMkLst>
      </pc:sldChg>
      <pc:sldChg chg="add del">
        <pc:chgData name="Bez, Florian" userId="30d7df6a-5295-4d75-a650-5a1fab7b8b2e" providerId="ADAL" clId="{DEF8C959-161B-48E6-918F-19FB2A9D3909}" dt="2023-04-21T07:29:31.288" v="7640" actId="47"/>
        <pc:sldMkLst>
          <pc:docMk/>
          <pc:sldMk cId="0" sldId="346"/>
        </pc:sldMkLst>
      </pc:sldChg>
      <pc:sldChg chg="add del">
        <pc:chgData name="Bez, Florian" userId="30d7df6a-5295-4d75-a650-5a1fab7b8b2e" providerId="ADAL" clId="{DEF8C959-161B-48E6-918F-19FB2A9D3909}" dt="2023-04-21T07:29:29.587" v="7636" actId="47"/>
        <pc:sldMkLst>
          <pc:docMk/>
          <pc:sldMk cId="0" sldId="350"/>
        </pc:sldMkLst>
      </pc:sldChg>
      <pc:sldChg chg="add del">
        <pc:chgData name="Bez, Florian" userId="30d7df6a-5295-4d75-a650-5a1fab7b8b2e" providerId="ADAL" clId="{DEF8C959-161B-48E6-918F-19FB2A9D3909}" dt="2023-04-21T07:29:32.997" v="7642" actId="47"/>
        <pc:sldMkLst>
          <pc:docMk/>
          <pc:sldMk cId="0" sldId="359"/>
        </pc:sldMkLst>
      </pc:sldChg>
      <pc:sldChg chg="add del">
        <pc:chgData name="Bez, Florian" userId="30d7df6a-5295-4d75-a650-5a1fab7b8b2e" providerId="ADAL" clId="{DEF8C959-161B-48E6-918F-19FB2A9D3909}" dt="2023-04-21T07:29:32.519" v="7641" actId="47"/>
        <pc:sldMkLst>
          <pc:docMk/>
          <pc:sldMk cId="0" sldId="361"/>
        </pc:sldMkLst>
      </pc:sldChg>
      <pc:sldChg chg="add del">
        <pc:chgData name="Bez, Florian" userId="30d7df6a-5295-4d75-a650-5a1fab7b8b2e" providerId="ADAL" clId="{DEF8C959-161B-48E6-918F-19FB2A9D3909}" dt="2023-04-21T07:29:33.378" v="7643" actId="47"/>
        <pc:sldMkLst>
          <pc:docMk/>
          <pc:sldMk cId="0" sldId="374"/>
        </pc:sldMkLst>
      </pc:sldChg>
      <pc:sldChg chg="add del">
        <pc:chgData name="Bez, Florian" userId="30d7df6a-5295-4d75-a650-5a1fab7b8b2e" providerId="ADAL" clId="{DEF8C959-161B-48E6-918F-19FB2A9D3909}" dt="2023-04-21T07:29:30.438" v="7638" actId="47"/>
        <pc:sldMkLst>
          <pc:docMk/>
          <pc:sldMk cId="0" sldId="523"/>
        </pc:sldMkLst>
      </pc:sldChg>
      <pc:sldChg chg="addSp modSp add del mod ord">
        <pc:chgData name="Bez, Florian" userId="30d7df6a-5295-4d75-a650-5a1fab7b8b2e" providerId="ADAL" clId="{DEF8C959-161B-48E6-918F-19FB2A9D3909}" dt="2023-04-21T07:28:43.176" v="7624" actId="47"/>
        <pc:sldMkLst>
          <pc:docMk/>
          <pc:sldMk cId="3209853187" sldId="813"/>
        </pc:sldMkLst>
        <pc:spChg chg="add mod">
          <ac:chgData name="Bez, Florian" userId="30d7df6a-5295-4d75-a650-5a1fab7b8b2e" providerId="ADAL" clId="{DEF8C959-161B-48E6-918F-19FB2A9D3909}" dt="2023-04-20T13:44:50.342" v="7508" actId="20577"/>
          <ac:spMkLst>
            <pc:docMk/>
            <pc:sldMk cId="3209853187" sldId="813"/>
            <ac:spMk id="2" creationId="{ADD9642D-C2C4-D54E-B25B-4D6E91BAA7BA}"/>
          </ac:spMkLst>
        </pc:spChg>
        <pc:spChg chg="mod">
          <ac:chgData name="Bez, Florian" userId="30d7df6a-5295-4d75-a650-5a1fab7b8b2e" providerId="ADAL" clId="{DEF8C959-161B-48E6-918F-19FB2A9D3909}" dt="2023-04-20T13:49:04.023" v="7524" actId="20577"/>
          <ac:spMkLst>
            <pc:docMk/>
            <pc:sldMk cId="3209853187" sldId="813"/>
            <ac:spMk id="5" creationId="{F4DDF54C-95BC-429A-BE88-625936693A7E}"/>
          </ac:spMkLst>
        </pc:spChg>
      </pc:sldChg>
      <pc:sldChg chg="add del">
        <pc:chgData name="Bez, Florian" userId="30d7df6a-5295-4d75-a650-5a1fab7b8b2e" providerId="ADAL" clId="{DEF8C959-161B-48E6-918F-19FB2A9D3909}" dt="2023-04-17T18:58:27.074" v="2737" actId="47"/>
        <pc:sldMkLst>
          <pc:docMk/>
          <pc:sldMk cId="2123453617" sldId="814"/>
        </pc:sldMkLst>
      </pc:sldChg>
      <pc:sldChg chg="addSp delSp modSp add del mod ord">
        <pc:chgData name="Bez, Florian" userId="30d7df6a-5295-4d75-a650-5a1fab7b8b2e" providerId="ADAL" clId="{DEF8C959-161B-48E6-918F-19FB2A9D3909}" dt="2023-04-17T18:46:46.427" v="2476" actId="47"/>
        <pc:sldMkLst>
          <pc:docMk/>
          <pc:sldMk cId="756773898" sldId="815"/>
        </pc:sldMkLst>
        <pc:spChg chg="add mod">
          <ac:chgData name="Bez, Florian" userId="30d7df6a-5295-4d75-a650-5a1fab7b8b2e" providerId="ADAL" clId="{DEF8C959-161B-48E6-918F-19FB2A9D3909}" dt="2023-04-17T14:37:25.209" v="258" actId="20577"/>
          <ac:spMkLst>
            <pc:docMk/>
            <pc:sldMk cId="756773898" sldId="815"/>
            <ac:spMk id="2" creationId="{F3B0D51F-AB79-A5A2-1ED8-5365F93165B1}"/>
          </ac:spMkLst>
        </pc:spChg>
        <pc:spChg chg="add mod">
          <ac:chgData name="Bez, Florian" userId="30d7df6a-5295-4d75-a650-5a1fab7b8b2e" providerId="ADAL" clId="{DEF8C959-161B-48E6-918F-19FB2A9D3909}" dt="2023-04-17T14:50:10.896" v="479" actId="114"/>
          <ac:spMkLst>
            <pc:docMk/>
            <pc:sldMk cId="756773898" sldId="815"/>
            <ac:spMk id="3" creationId="{BF50E0B1-A90A-667B-DE5D-C72BAFB64B5A}"/>
          </ac:spMkLst>
        </pc:spChg>
        <pc:spChg chg="mod topLvl">
          <ac:chgData name="Bez, Florian" userId="30d7df6a-5295-4d75-a650-5a1fab7b8b2e" providerId="ADAL" clId="{DEF8C959-161B-48E6-918F-19FB2A9D3909}" dt="2023-04-17T14:37:13.412" v="251" actId="165"/>
          <ac:spMkLst>
            <pc:docMk/>
            <pc:sldMk cId="756773898" sldId="815"/>
            <ac:spMk id="11" creationId="{97D2046D-5FA5-4269-B65E-1C5ECA2CCFB0}"/>
          </ac:spMkLst>
        </pc:spChg>
        <pc:spChg chg="mod topLvl">
          <ac:chgData name="Bez, Florian" userId="30d7df6a-5295-4d75-a650-5a1fab7b8b2e" providerId="ADAL" clId="{DEF8C959-161B-48E6-918F-19FB2A9D3909}" dt="2023-04-17T14:37:13.412" v="251" actId="165"/>
          <ac:spMkLst>
            <pc:docMk/>
            <pc:sldMk cId="756773898" sldId="815"/>
            <ac:spMk id="12" creationId="{E7584989-F3FD-470B-BB9E-50F06E1C7609}"/>
          </ac:spMkLst>
        </pc:spChg>
        <pc:spChg chg="mod">
          <ac:chgData name="Bez, Florian" userId="30d7df6a-5295-4d75-a650-5a1fab7b8b2e" providerId="ADAL" clId="{DEF8C959-161B-48E6-918F-19FB2A9D3909}" dt="2023-04-17T18:10:55.487" v="1602" actId="1076"/>
          <ac:spMkLst>
            <pc:docMk/>
            <pc:sldMk cId="756773898" sldId="815"/>
            <ac:spMk id="47" creationId="{FBABF543-96FF-4BE5-A408-F4B76A64FE36}"/>
          </ac:spMkLst>
        </pc:spChg>
        <pc:grpChg chg="del">
          <ac:chgData name="Bez, Florian" userId="30d7df6a-5295-4d75-a650-5a1fab7b8b2e" providerId="ADAL" clId="{DEF8C959-161B-48E6-918F-19FB2A9D3909}" dt="2023-04-17T14:37:13.412" v="251" actId="165"/>
          <ac:grpSpMkLst>
            <pc:docMk/>
            <pc:sldMk cId="756773898" sldId="815"/>
            <ac:grpSpMk id="10" creationId="{B7EEDCE1-8A22-47EE-A502-0C772CB826AD}"/>
          </ac:grpSpMkLst>
        </pc:grpChg>
      </pc:sldChg>
      <pc:sldChg chg="add del">
        <pc:chgData name="Bez, Florian" userId="30d7df6a-5295-4d75-a650-5a1fab7b8b2e" providerId="ADAL" clId="{DEF8C959-161B-48E6-918F-19FB2A9D3909}" dt="2023-04-17T19:00:19.685" v="2787" actId="47"/>
        <pc:sldMkLst>
          <pc:docMk/>
          <pc:sldMk cId="1033484369" sldId="816"/>
        </pc:sldMkLst>
      </pc:sldChg>
      <pc:sldChg chg="add del">
        <pc:chgData name="Bez, Florian" userId="30d7df6a-5295-4d75-a650-5a1fab7b8b2e" providerId="ADAL" clId="{DEF8C959-161B-48E6-918F-19FB2A9D3909}" dt="2023-04-17T18:58:27.074" v="2737" actId="47"/>
        <pc:sldMkLst>
          <pc:docMk/>
          <pc:sldMk cId="1505496002" sldId="817"/>
        </pc:sldMkLst>
      </pc:sldChg>
      <pc:sldChg chg="add del">
        <pc:chgData name="Bez, Florian" userId="30d7df6a-5295-4d75-a650-5a1fab7b8b2e" providerId="ADAL" clId="{DEF8C959-161B-48E6-918F-19FB2A9D3909}" dt="2023-04-17T18:58:27.074" v="2737" actId="47"/>
        <pc:sldMkLst>
          <pc:docMk/>
          <pc:sldMk cId="1170920894" sldId="818"/>
        </pc:sldMkLst>
      </pc:sldChg>
      <pc:sldChg chg="add del">
        <pc:chgData name="Bez, Florian" userId="30d7df6a-5295-4d75-a650-5a1fab7b8b2e" providerId="ADAL" clId="{DEF8C959-161B-48E6-918F-19FB2A9D3909}" dt="2023-04-17T18:58:27.074" v="2737" actId="47"/>
        <pc:sldMkLst>
          <pc:docMk/>
          <pc:sldMk cId="82741572" sldId="819"/>
        </pc:sldMkLst>
      </pc:sldChg>
      <pc:sldChg chg="add del">
        <pc:chgData name="Bez, Florian" userId="30d7df6a-5295-4d75-a650-5a1fab7b8b2e" providerId="ADAL" clId="{DEF8C959-161B-48E6-918F-19FB2A9D3909}" dt="2023-04-17T18:58:32.388" v="2738" actId="47"/>
        <pc:sldMkLst>
          <pc:docMk/>
          <pc:sldMk cId="1950864866" sldId="820"/>
        </pc:sldMkLst>
      </pc:sldChg>
      <pc:sldChg chg="add del">
        <pc:chgData name="Bez, Florian" userId="30d7df6a-5295-4d75-a650-5a1fab7b8b2e" providerId="ADAL" clId="{DEF8C959-161B-48E6-918F-19FB2A9D3909}" dt="2023-04-21T07:29:01.008" v="7628" actId="47"/>
        <pc:sldMkLst>
          <pc:docMk/>
          <pc:sldMk cId="3464316874" sldId="2135"/>
        </pc:sldMkLst>
      </pc:sldChg>
      <pc:sldChg chg="add del">
        <pc:chgData name="Bez, Florian" userId="30d7df6a-5295-4d75-a650-5a1fab7b8b2e" providerId="ADAL" clId="{DEF8C959-161B-48E6-918F-19FB2A9D3909}" dt="2023-04-21T07:29:01.597" v="7629" actId="47"/>
        <pc:sldMkLst>
          <pc:docMk/>
          <pc:sldMk cId="1362210178" sldId="2136"/>
        </pc:sldMkLst>
      </pc:sldChg>
      <pc:sldChg chg="add del ord">
        <pc:chgData name="Bez, Florian" userId="30d7df6a-5295-4d75-a650-5a1fab7b8b2e" providerId="ADAL" clId="{DEF8C959-161B-48E6-918F-19FB2A9D3909}" dt="2023-04-21T07:29:28.506" v="7634" actId="47"/>
        <pc:sldMkLst>
          <pc:docMk/>
          <pc:sldMk cId="567363695" sldId="2137"/>
        </pc:sldMkLst>
      </pc:sldChg>
      <pc:sldChg chg="add del">
        <pc:chgData name="Bez, Florian" userId="30d7df6a-5295-4d75-a650-5a1fab7b8b2e" providerId="ADAL" clId="{DEF8C959-161B-48E6-918F-19FB2A9D3909}" dt="2023-04-21T07:29:29.036" v="7635" actId="47"/>
        <pc:sldMkLst>
          <pc:docMk/>
          <pc:sldMk cId="2719837574" sldId="2138"/>
        </pc:sldMkLst>
      </pc:sldChg>
      <pc:sldChg chg="add del">
        <pc:chgData name="Bez, Florian" userId="30d7df6a-5295-4d75-a650-5a1fab7b8b2e" providerId="ADAL" clId="{DEF8C959-161B-48E6-918F-19FB2A9D3909}" dt="2023-04-21T07:29:00.481" v="7627" actId="47"/>
        <pc:sldMkLst>
          <pc:docMk/>
          <pc:sldMk cId="3826554037" sldId="2159"/>
        </pc:sldMkLst>
      </pc:sldChg>
      <pc:sldChg chg="addSp delSp modSp add mod ord modNotesTx">
        <pc:chgData name="Bez, Florian" userId="30d7df6a-5295-4d75-a650-5a1fab7b8b2e" providerId="ADAL" clId="{DEF8C959-161B-48E6-918F-19FB2A9D3909}" dt="2023-04-20T10:06:23.284" v="7095" actId="14100"/>
        <pc:sldMkLst>
          <pc:docMk/>
          <pc:sldMk cId="3410266322" sldId="3343"/>
        </pc:sldMkLst>
        <pc:spChg chg="add del mod">
          <ac:chgData name="Bez, Florian" userId="30d7df6a-5295-4d75-a650-5a1fab7b8b2e" providerId="ADAL" clId="{DEF8C959-161B-48E6-918F-19FB2A9D3909}" dt="2023-04-18T15:46:44.327" v="3159" actId="478"/>
          <ac:spMkLst>
            <pc:docMk/>
            <pc:sldMk cId="3410266322" sldId="3343"/>
            <ac:spMk id="3" creationId="{E9708C66-FD41-8787-6812-6FE633693CB7}"/>
          </ac:spMkLst>
        </pc:spChg>
        <pc:spChg chg="mod">
          <ac:chgData name="Bez, Florian" userId="30d7df6a-5295-4d75-a650-5a1fab7b8b2e" providerId="ADAL" clId="{DEF8C959-161B-48E6-918F-19FB2A9D3909}" dt="2023-04-20T10:06:23.284" v="7095" actId="14100"/>
          <ac:spMkLst>
            <pc:docMk/>
            <pc:sldMk cId="3410266322" sldId="3343"/>
            <ac:spMk id="5" creationId="{1003BC4B-3BC8-48C2-A292-423FA43B1B73}"/>
          </ac:spMkLst>
        </pc:spChg>
        <pc:spChg chg="mod">
          <ac:chgData name="Bez, Florian" userId="30d7df6a-5295-4d75-a650-5a1fab7b8b2e" providerId="ADAL" clId="{DEF8C959-161B-48E6-918F-19FB2A9D3909}" dt="2023-04-18T15:46:39.829" v="3157" actId="207"/>
          <ac:spMkLst>
            <pc:docMk/>
            <pc:sldMk cId="3410266322" sldId="3343"/>
            <ac:spMk id="7" creationId="{58DA63A1-BBB0-4FD0-9A0F-88C717C3C64D}"/>
          </ac:spMkLst>
        </pc:spChg>
        <pc:spChg chg="del">
          <ac:chgData name="Bez, Florian" userId="30d7df6a-5295-4d75-a650-5a1fab7b8b2e" providerId="ADAL" clId="{DEF8C959-161B-48E6-918F-19FB2A9D3909}" dt="2023-04-18T15:46:42.023" v="3158" actId="478"/>
          <ac:spMkLst>
            <pc:docMk/>
            <pc:sldMk cId="3410266322" sldId="3343"/>
            <ac:spMk id="9" creationId="{8972E891-2A02-405E-8E50-D33BF8A297AD}"/>
          </ac:spMkLst>
        </pc:spChg>
        <pc:spChg chg="mod">
          <ac:chgData name="Bez, Florian" userId="30d7df6a-5295-4d75-a650-5a1fab7b8b2e" providerId="ADAL" clId="{DEF8C959-161B-48E6-918F-19FB2A9D3909}" dt="2023-04-18T15:43:45.390" v="3110" actId="207"/>
          <ac:spMkLst>
            <pc:docMk/>
            <pc:sldMk cId="3410266322" sldId="3343"/>
            <ac:spMk id="15" creationId="{2A86E55D-4D4D-4971-8358-3D05488F6335}"/>
          </ac:spMkLst>
        </pc:spChg>
      </pc:sldChg>
      <pc:sldChg chg="addSp delSp modSp add mod ord delAnim">
        <pc:chgData name="Bez, Florian" userId="30d7df6a-5295-4d75-a650-5a1fab7b8b2e" providerId="ADAL" clId="{DEF8C959-161B-48E6-918F-19FB2A9D3909}" dt="2023-04-18T15:47:39.975" v="3186" actId="207"/>
        <pc:sldMkLst>
          <pc:docMk/>
          <pc:sldMk cId="3304557725" sldId="7275"/>
        </pc:sldMkLst>
        <pc:spChg chg="mod">
          <ac:chgData name="Bez, Florian" userId="30d7df6a-5295-4d75-a650-5a1fab7b8b2e" providerId="ADAL" clId="{DEF8C959-161B-48E6-918F-19FB2A9D3909}" dt="2023-04-17T17:25:57.291" v="584" actId="1037"/>
          <ac:spMkLst>
            <pc:docMk/>
            <pc:sldMk cId="3304557725" sldId="7275"/>
            <ac:spMk id="3" creationId="{5F972E47-4CBF-4AF3-95C5-084CC498532A}"/>
          </ac:spMkLst>
        </pc:spChg>
        <pc:spChg chg="mod">
          <ac:chgData name="Bez, Florian" userId="30d7df6a-5295-4d75-a650-5a1fab7b8b2e" providerId="ADAL" clId="{DEF8C959-161B-48E6-918F-19FB2A9D3909}" dt="2023-04-17T17:25:33.507" v="578" actId="20577"/>
          <ac:spMkLst>
            <pc:docMk/>
            <pc:sldMk cId="3304557725" sldId="7275"/>
            <ac:spMk id="4" creationId="{700B2C54-588D-4C2F-8480-DCCED1F0D7CE}"/>
          </ac:spMkLst>
        </pc:spChg>
        <pc:spChg chg="mod">
          <ac:chgData name="Bez, Florian" userId="30d7df6a-5295-4d75-a650-5a1fab7b8b2e" providerId="ADAL" clId="{DEF8C959-161B-48E6-918F-19FB2A9D3909}" dt="2023-04-18T15:47:39.975" v="3186" actId="207"/>
          <ac:spMkLst>
            <pc:docMk/>
            <pc:sldMk cId="3304557725" sldId="7275"/>
            <ac:spMk id="9" creationId="{F11F5C54-F776-4A1E-B764-BA6BD6294A47}"/>
          </ac:spMkLst>
        </pc:spChg>
        <pc:spChg chg="mod">
          <ac:chgData name="Bez, Florian" userId="30d7df6a-5295-4d75-a650-5a1fab7b8b2e" providerId="ADAL" clId="{DEF8C959-161B-48E6-918F-19FB2A9D3909}" dt="2023-04-17T17:23:32.362" v="569" actId="1076"/>
          <ac:spMkLst>
            <pc:docMk/>
            <pc:sldMk cId="3304557725" sldId="7275"/>
            <ac:spMk id="12" creationId="{D05CB10B-2A7C-43F6-BFCF-1BC3FF5FFF0A}"/>
          </ac:spMkLst>
        </pc:spChg>
        <pc:spChg chg="del">
          <ac:chgData name="Bez, Florian" userId="30d7df6a-5295-4d75-a650-5a1fab7b8b2e" providerId="ADAL" clId="{DEF8C959-161B-48E6-918F-19FB2A9D3909}" dt="2023-04-17T14:07:21.314" v="240" actId="478"/>
          <ac:spMkLst>
            <pc:docMk/>
            <pc:sldMk cId="3304557725" sldId="7275"/>
            <ac:spMk id="14" creationId="{587F4020-D6E1-137A-2A95-15AFA8D6F9DD}"/>
          </ac:spMkLst>
        </pc:spChg>
        <pc:spChg chg="del">
          <ac:chgData name="Bez, Florian" userId="30d7df6a-5295-4d75-a650-5a1fab7b8b2e" providerId="ADAL" clId="{DEF8C959-161B-48E6-918F-19FB2A9D3909}" dt="2023-04-17T14:07:22.817" v="241" actId="478"/>
          <ac:spMkLst>
            <pc:docMk/>
            <pc:sldMk cId="3304557725" sldId="7275"/>
            <ac:spMk id="15" creationId="{B02D8B5E-FA6E-2C9A-7AD8-D5914554706F}"/>
          </ac:spMkLst>
        </pc:spChg>
        <pc:spChg chg="del">
          <ac:chgData name="Bez, Florian" userId="30d7df6a-5295-4d75-a650-5a1fab7b8b2e" providerId="ADAL" clId="{DEF8C959-161B-48E6-918F-19FB2A9D3909}" dt="2023-04-17T14:07:20.089" v="239" actId="478"/>
          <ac:spMkLst>
            <pc:docMk/>
            <pc:sldMk cId="3304557725" sldId="7275"/>
            <ac:spMk id="16" creationId="{DA4EDD86-D18F-3278-FB3C-1727E5D57982}"/>
          </ac:spMkLst>
        </pc:spChg>
        <pc:spChg chg="mod">
          <ac:chgData name="Bez, Florian" userId="30d7df6a-5295-4d75-a650-5a1fab7b8b2e" providerId="ADAL" clId="{DEF8C959-161B-48E6-918F-19FB2A9D3909}" dt="2023-04-17T13:23:37.624" v="63" actId="1076"/>
          <ac:spMkLst>
            <pc:docMk/>
            <pc:sldMk cId="3304557725" sldId="7275"/>
            <ac:spMk id="18" creationId="{710FFA8A-701E-33ED-1A73-9A1969230BC3}"/>
          </ac:spMkLst>
        </pc:spChg>
        <pc:spChg chg="mod">
          <ac:chgData name="Bez, Florian" userId="30d7df6a-5295-4d75-a650-5a1fab7b8b2e" providerId="ADAL" clId="{DEF8C959-161B-48E6-918F-19FB2A9D3909}" dt="2023-04-17T13:23:37.624" v="63" actId="1076"/>
          <ac:spMkLst>
            <pc:docMk/>
            <pc:sldMk cId="3304557725" sldId="7275"/>
            <ac:spMk id="19" creationId="{1C7DB7E8-63A0-9FD4-C959-C06E574AE5DB}"/>
          </ac:spMkLst>
        </pc:spChg>
        <pc:spChg chg="mod">
          <ac:chgData name="Bez, Florian" userId="30d7df6a-5295-4d75-a650-5a1fab7b8b2e" providerId="ADAL" clId="{DEF8C959-161B-48E6-918F-19FB2A9D3909}" dt="2023-04-17T13:23:37.624" v="63" actId="1076"/>
          <ac:spMkLst>
            <pc:docMk/>
            <pc:sldMk cId="3304557725" sldId="7275"/>
            <ac:spMk id="20" creationId="{F8D9E1EA-EA5E-F381-0AE1-9DF1CFC888D2}"/>
          </ac:spMkLst>
        </pc:spChg>
        <pc:spChg chg="mod">
          <ac:chgData name="Bez, Florian" userId="30d7df6a-5295-4d75-a650-5a1fab7b8b2e" providerId="ADAL" clId="{DEF8C959-161B-48E6-918F-19FB2A9D3909}" dt="2023-04-17T13:23:37.624" v="63" actId="1076"/>
          <ac:spMkLst>
            <pc:docMk/>
            <pc:sldMk cId="3304557725" sldId="7275"/>
            <ac:spMk id="21" creationId="{5D7C2FE0-7D10-7058-6E40-C86140C0B0AC}"/>
          </ac:spMkLst>
        </pc:spChg>
        <pc:spChg chg="mod">
          <ac:chgData name="Bez, Florian" userId="30d7df6a-5295-4d75-a650-5a1fab7b8b2e" providerId="ADAL" clId="{DEF8C959-161B-48E6-918F-19FB2A9D3909}" dt="2023-04-17T13:23:37.624" v="63" actId="1076"/>
          <ac:spMkLst>
            <pc:docMk/>
            <pc:sldMk cId="3304557725" sldId="7275"/>
            <ac:spMk id="22" creationId="{AD8B8449-6354-7717-4FF1-C4A3B3A562ED}"/>
          </ac:spMkLst>
        </pc:spChg>
        <pc:spChg chg="mod">
          <ac:chgData name="Bez, Florian" userId="30d7df6a-5295-4d75-a650-5a1fab7b8b2e" providerId="ADAL" clId="{DEF8C959-161B-48E6-918F-19FB2A9D3909}" dt="2023-04-17T13:23:37.624" v="63" actId="1076"/>
          <ac:spMkLst>
            <pc:docMk/>
            <pc:sldMk cId="3304557725" sldId="7275"/>
            <ac:spMk id="23" creationId="{AC50A20D-C2CE-2BF5-0EB2-4C1AF3403563}"/>
          </ac:spMkLst>
        </pc:spChg>
        <pc:spChg chg="mod">
          <ac:chgData name="Bez, Florian" userId="30d7df6a-5295-4d75-a650-5a1fab7b8b2e" providerId="ADAL" clId="{DEF8C959-161B-48E6-918F-19FB2A9D3909}" dt="2023-04-17T13:23:37.624" v="63" actId="1076"/>
          <ac:spMkLst>
            <pc:docMk/>
            <pc:sldMk cId="3304557725" sldId="7275"/>
            <ac:spMk id="24" creationId="{13637EB4-A4E2-0582-DC8A-7B6356253532}"/>
          </ac:spMkLst>
        </pc:spChg>
        <pc:spChg chg="mod">
          <ac:chgData name="Bez, Florian" userId="30d7df6a-5295-4d75-a650-5a1fab7b8b2e" providerId="ADAL" clId="{DEF8C959-161B-48E6-918F-19FB2A9D3909}" dt="2023-04-17T13:23:37.624" v="63" actId="1076"/>
          <ac:spMkLst>
            <pc:docMk/>
            <pc:sldMk cId="3304557725" sldId="7275"/>
            <ac:spMk id="25" creationId="{5881C065-550E-0F1E-8AD4-9C2C1EEDCE3F}"/>
          </ac:spMkLst>
        </pc:spChg>
        <pc:spChg chg="mod">
          <ac:chgData name="Bez, Florian" userId="30d7df6a-5295-4d75-a650-5a1fab7b8b2e" providerId="ADAL" clId="{DEF8C959-161B-48E6-918F-19FB2A9D3909}" dt="2023-04-17T13:23:37.624" v="63" actId="1076"/>
          <ac:spMkLst>
            <pc:docMk/>
            <pc:sldMk cId="3304557725" sldId="7275"/>
            <ac:spMk id="26" creationId="{501ABE01-E3A9-F43E-44B2-21B96A670F2F}"/>
          </ac:spMkLst>
        </pc:spChg>
        <pc:spChg chg="mod">
          <ac:chgData name="Bez, Florian" userId="30d7df6a-5295-4d75-a650-5a1fab7b8b2e" providerId="ADAL" clId="{DEF8C959-161B-48E6-918F-19FB2A9D3909}" dt="2023-04-17T13:23:37.624" v="63" actId="1076"/>
          <ac:spMkLst>
            <pc:docMk/>
            <pc:sldMk cId="3304557725" sldId="7275"/>
            <ac:spMk id="27" creationId="{DD3AE139-727C-94F0-AC75-B2FB10A6E730}"/>
          </ac:spMkLst>
        </pc:spChg>
        <pc:spChg chg="mod">
          <ac:chgData name="Bez, Florian" userId="30d7df6a-5295-4d75-a650-5a1fab7b8b2e" providerId="ADAL" clId="{DEF8C959-161B-48E6-918F-19FB2A9D3909}" dt="2023-04-17T13:23:37.624" v="63" actId="1076"/>
          <ac:spMkLst>
            <pc:docMk/>
            <pc:sldMk cId="3304557725" sldId="7275"/>
            <ac:spMk id="28" creationId="{47801E9A-CF4D-3DB5-59D5-FCE9F7006531}"/>
          </ac:spMkLst>
        </pc:spChg>
        <pc:grpChg chg="mod">
          <ac:chgData name="Bez, Florian" userId="30d7df6a-5295-4d75-a650-5a1fab7b8b2e" providerId="ADAL" clId="{DEF8C959-161B-48E6-918F-19FB2A9D3909}" dt="2023-04-17T14:08:19.775" v="249" actId="1076"/>
          <ac:grpSpMkLst>
            <pc:docMk/>
            <pc:sldMk cId="3304557725" sldId="7275"/>
            <ac:grpSpMk id="6" creationId="{9CFB1D66-ABD6-41CB-BE69-0B90903CD74D}"/>
          </ac:grpSpMkLst>
        </pc:grpChg>
        <pc:grpChg chg="add del mod">
          <ac:chgData name="Bez, Florian" userId="30d7df6a-5295-4d75-a650-5a1fab7b8b2e" providerId="ADAL" clId="{DEF8C959-161B-48E6-918F-19FB2A9D3909}" dt="2023-04-17T14:06:11.657" v="225" actId="478"/>
          <ac:grpSpMkLst>
            <pc:docMk/>
            <pc:sldMk cId="3304557725" sldId="7275"/>
            <ac:grpSpMk id="17" creationId="{828D8E7E-A180-C35E-E732-8AD79FDA4502}"/>
          </ac:grpSpMkLst>
        </pc:grpChg>
        <pc:picChg chg="add del mod">
          <ac:chgData name="Bez, Florian" userId="30d7df6a-5295-4d75-a650-5a1fab7b8b2e" providerId="ADAL" clId="{DEF8C959-161B-48E6-918F-19FB2A9D3909}" dt="2023-04-17T14:06:05.569" v="224" actId="478"/>
          <ac:picMkLst>
            <pc:docMk/>
            <pc:sldMk cId="3304557725" sldId="7275"/>
            <ac:picMk id="11" creationId="{9096730B-0C29-DBA6-A10A-8AD9C1E7C84E}"/>
          </ac:picMkLst>
        </pc:picChg>
        <pc:picChg chg="del">
          <ac:chgData name="Bez, Florian" userId="30d7df6a-5295-4d75-a650-5a1fab7b8b2e" providerId="ADAL" clId="{DEF8C959-161B-48E6-918F-19FB2A9D3909}" dt="2023-04-17T14:07:18.091" v="238" actId="478"/>
          <ac:picMkLst>
            <pc:docMk/>
            <pc:sldMk cId="3304557725" sldId="7275"/>
            <ac:picMk id="13" creationId="{39B658F8-2149-02DB-483B-62D34A37FB00}"/>
          </ac:picMkLst>
        </pc:picChg>
        <pc:picChg chg="add mod">
          <ac:chgData name="Bez, Florian" userId="30d7df6a-5295-4d75-a650-5a1fab7b8b2e" providerId="ADAL" clId="{DEF8C959-161B-48E6-918F-19FB2A9D3909}" dt="2023-04-17T18:59:53.978" v="2786" actId="1076"/>
          <ac:picMkLst>
            <pc:docMk/>
            <pc:sldMk cId="3304557725" sldId="7275"/>
            <ac:picMk id="29" creationId="{E711BD8D-32C1-E11D-2C91-EC28B6BE8066}"/>
          </ac:picMkLst>
        </pc:picChg>
        <pc:inkChg chg="mod">
          <ac:chgData name="Bez, Florian" userId="30d7df6a-5295-4d75-a650-5a1fab7b8b2e" providerId="ADAL" clId="{DEF8C959-161B-48E6-918F-19FB2A9D3909}" dt="2023-04-17T17:25:01.534" v="574" actId="208"/>
          <ac:inkMkLst>
            <pc:docMk/>
            <pc:sldMk cId="3304557725" sldId="7275"/>
            <ac:inkMk id="5" creationId="{E28173F3-7D2B-B167-6DFF-843CBA690EF6}"/>
          </ac:inkMkLst>
        </pc:inkChg>
      </pc:sldChg>
      <pc:sldChg chg="add del ord">
        <pc:chgData name="Bez, Florian" userId="30d7df6a-5295-4d75-a650-5a1fab7b8b2e" providerId="ADAL" clId="{DEF8C959-161B-48E6-918F-19FB2A9D3909}" dt="2023-04-17T18:58:27.074" v="2737" actId="47"/>
        <pc:sldMkLst>
          <pc:docMk/>
          <pc:sldMk cId="3415451104" sldId="7276"/>
        </pc:sldMkLst>
      </pc:sldChg>
      <pc:sldChg chg="delSp modSp mod ord">
        <pc:chgData name="Bez, Florian" userId="30d7df6a-5295-4d75-a650-5a1fab7b8b2e" providerId="ADAL" clId="{DEF8C959-161B-48E6-918F-19FB2A9D3909}" dt="2023-04-20T10:07:44.741" v="7155" actId="14100"/>
        <pc:sldMkLst>
          <pc:docMk/>
          <pc:sldMk cId="1055528600" sldId="7278"/>
        </pc:sldMkLst>
        <pc:spChg chg="mod">
          <ac:chgData name="Bez, Florian" userId="30d7df6a-5295-4d75-a650-5a1fab7b8b2e" providerId="ADAL" clId="{DEF8C959-161B-48E6-918F-19FB2A9D3909}" dt="2023-04-17T17:21:30.821" v="536" actId="1076"/>
          <ac:spMkLst>
            <pc:docMk/>
            <pc:sldMk cId="1055528600" sldId="7278"/>
            <ac:spMk id="3" creationId="{91C9AB35-7155-755C-4030-32BE88E3DD3E}"/>
          </ac:spMkLst>
        </pc:spChg>
        <pc:spChg chg="mod">
          <ac:chgData name="Bez, Florian" userId="30d7df6a-5295-4d75-a650-5a1fab7b8b2e" providerId="ADAL" clId="{DEF8C959-161B-48E6-918F-19FB2A9D3909}" dt="2023-04-17T17:21:30.821" v="536" actId="1076"/>
          <ac:spMkLst>
            <pc:docMk/>
            <pc:sldMk cId="1055528600" sldId="7278"/>
            <ac:spMk id="4" creationId="{ECF4D732-9E11-3D84-A7FA-76497F9F2352}"/>
          </ac:spMkLst>
        </pc:spChg>
        <pc:spChg chg="mod">
          <ac:chgData name="Bez, Florian" userId="30d7df6a-5295-4d75-a650-5a1fab7b8b2e" providerId="ADAL" clId="{DEF8C959-161B-48E6-918F-19FB2A9D3909}" dt="2023-04-20T10:07:44.741" v="7155" actId="14100"/>
          <ac:spMkLst>
            <pc:docMk/>
            <pc:sldMk cId="1055528600" sldId="7278"/>
            <ac:spMk id="6" creationId="{3A70FE57-FC1B-4F9C-BB9E-21DD1D15064D}"/>
          </ac:spMkLst>
        </pc:spChg>
        <pc:spChg chg="mod">
          <ac:chgData name="Bez, Florian" userId="30d7df6a-5295-4d75-a650-5a1fab7b8b2e" providerId="ADAL" clId="{DEF8C959-161B-48E6-918F-19FB2A9D3909}" dt="2023-04-17T17:21:30.821" v="536" actId="1076"/>
          <ac:spMkLst>
            <pc:docMk/>
            <pc:sldMk cId="1055528600" sldId="7278"/>
            <ac:spMk id="8" creationId="{1CC9E619-3053-A70E-1580-EB38F557A36E}"/>
          </ac:spMkLst>
        </pc:spChg>
        <pc:spChg chg="mod">
          <ac:chgData name="Bez, Florian" userId="30d7df6a-5295-4d75-a650-5a1fab7b8b2e" providerId="ADAL" clId="{DEF8C959-161B-48E6-918F-19FB2A9D3909}" dt="2023-04-17T17:21:30.821" v="536" actId="1076"/>
          <ac:spMkLst>
            <pc:docMk/>
            <pc:sldMk cId="1055528600" sldId="7278"/>
            <ac:spMk id="11" creationId="{7A28E8F6-BEFA-B377-3A44-E6C683DED0AC}"/>
          </ac:spMkLst>
        </pc:spChg>
        <pc:spChg chg="mod">
          <ac:chgData name="Bez, Florian" userId="30d7df6a-5295-4d75-a650-5a1fab7b8b2e" providerId="ADAL" clId="{DEF8C959-161B-48E6-918F-19FB2A9D3909}" dt="2023-04-17T17:21:30.821" v="536" actId="1076"/>
          <ac:spMkLst>
            <pc:docMk/>
            <pc:sldMk cId="1055528600" sldId="7278"/>
            <ac:spMk id="12" creationId="{9177E799-B649-806F-5FC2-BB569A878F35}"/>
          </ac:spMkLst>
        </pc:spChg>
        <pc:spChg chg="mod">
          <ac:chgData name="Bez, Florian" userId="30d7df6a-5295-4d75-a650-5a1fab7b8b2e" providerId="ADAL" clId="{DEF8C959-161B-48E6-918F-19FB2A9D3909}" dt="2023-04-17T17:21:30.821" v="536" actId="1076"/>
          <ac:spMkLst>
            <pc:docMk/>
            <pc:sldMk cId="1055528600" sldId="7278"/>
            <ac:spMk id="29" creationId="{A16B58E7-48BC-4D3D-5097-CE94D10FF577}"/>
          </ac:spMkLst>
        </pc:spChg>
        <pc:spChg chg="mod">
          <ac:chgData name="Bez, Florian" userId="30d7df6a-5295-4d75-a650-5a1fab7b8b2e" providerId="ADAL" clId="{DEF8C959-161B-48E6-918F-19FB2A9D3909}" dt="2023-04-17T17:21:30.821" v="536" actId="1076"/>
          <ac:spMkLst>
            <pc:docMk/>
            <pc:sldMk cId="1055528600" sldId="7278"/>
            <ac:spMk id="33" creationId="{BC9754C7-238A-8FB8-1377-4366B4F829AB}"/>
          </ac:spMkLst>
        </pc:spChg>
        <pc:picChg chg="mod">
          <ac:chgData name="Bez, Florian" userId="30d7df6a-5295-4d75-a650-5a1fab7b8b2e" providerId="ADAL" clId="{DEF8C959-161B-48E6-918F-19FB2A9D3909}" dt="2023-04-17T17:21:30.821" v="536" actId="1076"/>
          <ac:picMkLst>
            <pc:docMk/>
            <pc:sldMk cId="1055528600" sldId="7278"/>
            <ac:picMk id="9" creationId="{F889C497-D5F6-6DE6-9CA0-BDCD85E2A615}"/>
          </ac:picMkLst>
        </pc:picChg>
        <pc:picChg chg="mod">
          <ac:chgData name="Bez, Florian" userId="30d7df6a-5295-4d75-a650-5a1fab7b8b2e" providerId="ADAL" clId="{DEF8C959-161B-48E6-918F-19FB2A9D3909}" dt="2023-04-17T17:21:30.821" v="536" actId="1076"/>
          <ac:picMkLst>
            <pc:docMk/>
            <pc:sldMk cId="1055528600" sldId="7278"/>
            <ac:picMk id="10" creationId="{F52861D1-46C1-C7A9-088F-ACA888F91BFF}"/>
          </ac:picMkLst>
        </pc:picChg>
        <pc:picChg chg="del">
          <ac:chgData name="Bez, Florian" userId="30d7df6a-5295-4d75-a650-5a1fab7b8b2e" providerId="ADAL" clId="{DEF8C959-161B-48E6-918F-19FB2A9D3909}" dt="2023-04-17T17:21:02.702" v="534" actId="478"/>
          <ac:picMkLst>
            <pc:docMk/>
            <pc:sldMk cId="1055528600" sldId="7278"/>
            <ac:picMk id="37" creationId="{C3D9B531-979A-DB91-6CB7-CB6AAE3FEAE9}"/>
          </ac:picMkLst>
        </pc:picChg>
        <pc:picChg chg="del">
          <ac:chgData name="Bez, Florian" userId="30d7df6a-5295-4d75-a650-5a1fab7b8b2e" providerId="ADAL" clId="{DEF8C959-161B-48E6-918F-19FB2A9D3909}" dt="2023-04-17T17:21:05.187" v="535" actId="478"/>
          <ac:picMkLst>
            <pc:docMk/>
            <pc:sldMk cId="1055528600" sldId="7278"/>
            <ac:picMk id="40" creationId="{4FFADAC9-6F24-120D-7A55-540C350EC5C8}"/>
          </ac:picMkLst>
        </pc:picChg>
        <pc:picChg chg="mod">
          <ac:chgData name="Bez, Florian" userId="30d7df6a-5295-4d75-a650-5a1fab7b8b2e" providerId="ADAL" clId="{DEF8C959-161B-48E6-918F-19FB2A9D3909}" dt="2023-04-17T17:21:30.821" v="536" actId="1076"/>
          <ac:picMkLst>
            <pc:docMk/>
            <pc:sldMk cId="1055528600" sldId="7278"/>
            <ac:picMk id="44" creationId="{25C2E8DF-FF16-8B5C-28B2-362352D66E87}"/>
          </ac:picMkLst>
        </pc:picChg>
        <pc:picChg chg="mod">
          <ac:chgData name="Bez, Florian" userId="30d7df6a-5295-4d75-a650-5a1fab7b8b2e" providerId="ADAL" clId="{DEF8C959-161B-48E6-918F-19FB2A9D3909}" dt="2023-04-17T17:21:30.821" v="536" actId="1076"/>
          <ac:picMkLst>
            <pc:docMk/>
            <pc:sldMk cId="1055528600" sldId="7278"/>
            <ac:picMk id="45" creationId="{361398A7-5AE4-1F78-FC86-E83A52E42AF4}"/>
          </ac:picMkLst>
        </pc:picChg>
        <pc:picChg chg="mod">
          <ac:chgData name="Bez, Florian" userId="30d7df6a-5295-4d75-a650-5a1fab7b8b2e" providerId="ADAL" clId="{DEF8C959-161B-48E6-918F-19FB2A9D3909}" dt="2023-04-17T17:21:30.821" v="536" actId="1076"/>
          <ac:picMkLst>
            <pc:docMk/>
            <pc:sldMk cId="1055528600" sldId="7278"/>
            <ac:picMk id="47" creationId="{0BD47666-1E4D-F064-4C74-FB2680EE1257}"/>
          </ac:picMkLst>
        </pc:picChg>
        <pc:picChg chg="mod">
          <ac:chgData name="Bez, Florian" userId="30d7df6a-5295-4d75-a650-5a1fab7b8b2e" providerId="ADAL" clId="{DEF8C959-161B-48E6-918F-19FB2A9D3909}" dt="2023-04-17T17:21:30.821" v="536" actId="1076"/>
          <ac:picMkLst>
            <pc:docMk/>
            <pc:sldMk cId="1055528600" sldId="7278"/>
            <ac:picMk id="49" creationId="{4249FC28-F430-F07A-3833-A737B4AD4B8D}"/>
          </ac:picMkLst>
        </pc:picChg>
      </pc:sldChg>
      <pc:sldChg chg="del">
        <pc:chgData name="Bez, Florian" userId="30d7df6a-5295-4d75-a650-5a1fab7b8b2e" providerId="ADAL" clId="{DEF8C959-161B-48E6-918F-19FB2A9D3909}" dt="2023-04-17T18:58:27.074" v="2737" actId="47"/>
        <pc:sldMkLst>
          <pc:docMk/>
          <pc:sldMk cId="2045735495" sldId="7279"/>
        </pc:sldMkLst>
      </pc:sldChg>
      <pc:sldChg chg="del">
        <pc:chgData name="Bez, Florian" userId="30d7df6a-5295-4d75-a650-5a1fab7b8b2e" providerId="ADAL" clId="{DEF8C959-161B-48E6-918F-19FB2A9D3909}" dt="2023-04-17T18:58:27.074" v="2737" actId="47"/>
        <pc:sldMkLst>
          <pc:docMk/>
          <pc:sldMk cId="800615474" sldId="7280"/>
        </pc:sldMkLst>
      </pc:sldChg>
      <pc:sldChg chg="del">
        <pc:chgData name="Bez, Florian" userId="30d7df6a-5295-4d75-a650-5a1fab7b8b2e" providerId="ADAL" clId="{DEF8C959-161B-48E6-918F-19FB2A9D3909}" dt="2023-04-17T18:58:27.074" v="2737" actId="47"/>
        <pc:sldMkLst>
          <pc:docMk/>
          <pc:sldMk cId="1930700172" sldId="7281"/>
        </pc:sldMkLst>
      </pc:sldChg>
      <pc:sldChg chg="del">
        <pc:chgData name="Bez, Florian" userId="30d7df6a-5295-4d75-a650-5a1fab7b8b2e" providerId="ADAL" clId="{DEF8C959-161B-48E6-918F-19FB2A9D3909}" dt="2023-04-17T18:58:27.074" v="2737" actId="47"/>
        <pc:sldMkLst>
          <pc:docMk/>
          <pc:sldMk cId="813701778" sldId="7282"/>
        </pc:sldMkLst>
      </pc:sldChg>
      <pc:sldChg chg="del">
        <pc:chgData name="Bez, Florian" userId="30d7df6a-5295-4d75-a650-5a1fab7b8b2e" providerId="ADAL" clId="{DEF8C959-161B-48E6-918F-19FB2A9D3909}" dt="2023-04-17T18:58:27.074" v="2737" actId="47"/>
        <pc:sldMkLst>
          <pc:docMk/>
          <pc:sldMk cId="3406923057" sldId="7285"/>
        </pc:sldMkLst>
      </pc:sldChg>
      <pc:sldChg chg="del">
        <pc:chgData name="Bez, Florian" userId="30d7df6a-5295-4d75-a650-5a1fab7b8b2e" providerId="ADAL" clId="{DEF8C959-161B-48E6-918F-19FB2A9D3909}" dt="2023-04-17T18:58:27.074" v="2737" actId="47"/>
        <pc:sldMkLst>
          <pc:docMk/>
          <pc:sldMk cId="562310961" sldId="7287"/>
        </pc:sldMkLst>
      </pc:sldChg>
      <pc:sldChg chg="del">
        <pc:chgData name="Bez, Florian" userId="30d7df6a-5295-4d75-a650-5a1fab7b8b2e" providerId="ADAL" clId="{DEF8C959-161B-48E6-918F-19FB2A9D3909}" dt="2023-04-17T18:58:27.074" v="2737" actId="47"/>
        <pc:sldMkLst>
          <pc:docMk/>
          <pc:sldMk cId="1469787880" sldId="7291"/>
        </pc:sldMkLst>
      </pc:sldChg>
      <pc:sldChg chg="delSp modSp mod ord delAnim">
        <pc:chgData name="Bez, Florian" userId="30d7df6a-5295-4d75-a650-5a1fab7b8b2e" providerId="ADAL" clId="{DEF8C959-161B-48E6-918F-19FB2A9D3909}" dt="2023-04-20T10:07:34.564" v="7143" actId="14100"/>
        <pc:sldMkLst>
          <pc:docMk/>
          <pc:sldMk cId="1612980084" sldId="7292"/>
        </pc:sldMkLst>
        <pc:spChg chg="mod">
          <ac:chgData name="Bez, Florian" userId="30d7df6a-5295-4d75-a650-5a1fab7b8b2e" providerId="ADAL" clId="{DEF8C959-161B-48E6-918F-19FB2A9D3909}" dt="2023-04-20T10:07:34.564" v="7143" actId="14100"/>
          <ac:spMkLst>
            <pc:docMk/>
            <pc:sldMk cId="1612980084" sldId="7292"/>
            <ac:spMk id="6" creationId="{3A70FE57-FC1B-4F9C-BB9E-21DD1D15064D}"/>
          </ac:spMkLst>
        </pc:spChg>
        <pc:picChg chg="mod">
          <ac:chgData name="Bez, Florian" userId="30d7df6a-5295-4d75-a650-5a1fab7b8b2e" providerId="ADAL" clId="{DEF8C959-161B-48E6-918F-19FB2A9D3909}" dt="2023-04-17T14:46:52.704" v="353" actId="14100"/>
          <ac:picMkLst>
            <pc:docMk/>
            <pc:sldMk cId="1612980084" sldId="7292"/>
            <ac:picMk id="9" creationId="{4D46CE06-4CEA-4A4C-9171-3E5D8F23A763}"/>
          </ac:picMkLst>
        </pc:picChg>
        <pc:picChg chg="del">
          <ac:chgData name="Bez, Florian" userId="30d7df6a-5295-4d75-a650-5a1fab7b8b2e" providerId="ADAL" clId="{DEF8C959-161B-48E6-918F-19FB2A9D3909}" dt="2023-04-17T14:46:48.140" v="351" actId="478"/>
          <ac:picMkLst>
            <pc:docMk/>
            <pc:sldMk cId="1612980084" sldId="7292"/>
            <ac:picMk id="17" creationId="{05B0B2CB-9690-4036-A564-4B8ACC0AA653}"/>
          </ac:picMkLst>
        </pc:picChg>
        <pc:picChg chg="mod">
          <ac:chgData name="Bez, Florian" userId="30d7df6a-5295-4d75-a650-5a1fab7b8b2e" providerId="ADAL" clId="{DEF8C959-161B-48E6-918F-19FB2A9D3909}" dt="2023-04-17T14:46:54.075" v="354" actId="1076"/>
          <ac:picMkLst>
            <pc:docMk/>
            <pc:sldMk cId="1612980084" sldId="7292"/>
            <ac:picMk id="18" creationId="{78CF2E9C-F194-4A7A-99AC-B6FBD1A08711}"/>
          </ac:picMkLst>
        </pc:picChg>
        <pc:picChg chg="mod">
          <ac:chgData name="Bez, Florian" userId="30d7df6a-5295-4d75-a650-5a1fab7b8b2e" providerId="ADAL" clId="{DEF8C959-161B-48E6-918F-19FB2A9D3909}" dt="2023-04-17T14:46:55.569" v="355" actId="14100"/>
          <ac:picMkLst>
            <pc:docMk/>
            <pc:sldMk cId="1612980084" sldId="7292"/>
            <ac:picMk id="20" creationId="{3CC79869-54AE-4B51-906C-518C2D8117C7}"/>
          </ac:picMkLst>
        </pc:picChg>
      </pc:sldChg>
      <pc:sldChg chg="del">
        <pc:chgData name="Bez, Florian" userId="30d7df6a-5295-4d75-a650-5a1fab7b8b2e" providerId="ADAL" clId="{DEF8C959-161B-48E6-918F-19FB2A9D3909}" dt="2023-04-17T18:58:27.074" v="2737" actId="47"/>
        <pc:sldMkLst>
          <pc:docMk/>
          <pc:sldMk cId="1255297794" sldId="7293"/>
        </pc:sldMkLst>
      </pc:sldChg>
      <pc:sldChg chg="del">
        <pc:chgData name="Bez, Florian" userId="30d7df6a-5295-4d75-a650-5a1fab7b8b2e" providerId="ADAL" clId="{DEF8C959-161B-48E6-918F-19FB2A9D3909}" dt="2023-04-17T18:58:27.074" v="2737" actId="47"/>
        <pc:sldMkLst>
          <pc:docMk/>
          <pc:sldMk cId="1836026704" sldId="7294"/>
        </pc:sldMkLst>
      </pc:sldChg>
      <pc:sldChg chg="modSp del mod ord modShow">
        <pc:chgData name="Bez, Florian" userId="30d7df6a-5295-4d75-a650-5a1fab7b8b2e" providerId="ADAL" clId="{DEF8C959-161B-48E6-918F-19FB2A9D3909}" dt="2023-04-17T18:58:27.074" v="2737" actId="47"/>
        <pc:sldMkLst>
          <pc:docMk/>
          <pc:sldMk cId="247743585" sldId="7296"/>
        </pc:sldMkLst>
        <pc:spChg chg="mod">
          <ac:chgData name="Bez, Florian" userId="30d7df6a-5295-4d75-a650-5a1fab7b8b2e" providerId="ADAL" clId="{DEF8C959-161B-48E6-918F-19FB2A9D3909}" dt="2023-04-17T14:07:41.369" v="243" actId="20577"/>
          <ac:spMkLst>
            <pc:docMk/>
            <pc:sldMk cId="247743585" sldId="7296"/>
            <ac:spMk id="4" creationId="{0E0F8FB5-5A8E-84BD-1EFC-F641BA7A98FF}"/>
          </ac:spMkLst>
        </pc:spChg>
      </pc:sldChg>
      <pc:sldChg chg="del">
        <pc:chgData name="Bez, Florian" userId="30d7df6a-5295-4d75-a650-5a1fab7b8b2e" providerId="ADAL" clId="{DEF8C959-161B-48E6-918F-19FB2A9D3909}" dt="2023-04-14T10:19:34.322" v="0" actId="47"/>
        <pc:sldMkLst>
          <pc:docMk/>
          <pc:sldMk cId="4237958187" sldId="7297"/>
        </pc:sldMkLst>
      </pc:sldChg>
      <pc:sldChg chg="del">
        <pc:chgData name="Bez, Florian" userId="30d7df6a-5295-4d75-a650-5a1fab7b8b2e" providerId="ADAL" clId="{DEF8C959-161B-48E6-918F-19FB2A9D3909}" dt="2023-04-14T10:19:46.500" v="6" actId="47"/>
        <pc:sldMkLst>
          <pc:docMk/>
          <pc:sldMk cId="1431072759" sldId="7298"/>
        </pc:sldMkLst>
      </pc:sldChg>
      <pc:sldChg chg="del">
        <pc:chgData name="Bez, Florian" userId="30d7df6a-5295-4d75-a650-5a1fab7b8b2e" providerId="ADAL" clId="{DEF8C959-161B-48E6-918F-19FB2A9D3909}" dt="2023-04-17T18:58:27.074" v="2737" actId="47"/>
        <pc:sldMkLst>
          <pc:docMk/>
          <pc:sldMk cId="1561419582" sldId="7299"/>
        </pc:sldMkLst>
      </pc:sldChg>
      <pc:sldChg chg="add del ord">
        <pc:chgData name="Bez, Florian" userId="30d7df6a-5295-4d75-a650-5a1fab7b8b2e" providerId="ADAL" clId="{DEF8C959-161B-48E6-918F-19FB2A9D3909}" dt="2023-04-17T18:58:27.074" v="2737" actId="47"/>
        <pc:sldMkLst>
          <pc:docMk/>
          <pc:sldMk cId="1668034257" sldId="7300"/>
        </pc:sldMkLst>
      </pc:sldChg>
      <pc:sldChg chg="add del ord">
        <pc:chgData name="Bez, Florian" userId="30d7df6a-5295-4d75-a650-5a1fab7b8b2e" providerId="ADAL" clId="{DEF8C959-161B-48E6-918F-19FB2A9D3909}" dt="2023-04-17T18:58:27.074" v="2737" actId="47"/>
        <pc:sldMkLst>
          <pc:docMk/>
          <pc:sldMk cId="2708112942" sldId="7301"/>
        </pc:sldMkLst>
      </pc:sldChg>
      <pc:sldChg chg="addSp delSp modSp add mod ord delAnim modAnim">
        <pc:chgData name="Bez, Florian" userId="30d7df6a-5295-4d75-a650-5a1fab7b8b2e" providerId="ADAL" clId="{DEF8C959-161B-48E6-918F-19FB2A9D3909}" dt="2023-04-21T08:17:52.008" v="8877"/>
        <pc:sldMkLst>
          <pc:docMk/>
          <pc:sldMk cId="380544194" sldId="7302"/>
        </pc:sldMkLst>
        <pc:spChg chg="mod">
          <ac:chgData name="Bez, Florian" userId="30d7df6a-5295-4d75-a650-5a1fab7b8b2e" providerId="ADAL" clId="{DEF8C959-161B-48E6-918F-19FB2A9D3909}" dt="2023-04-17T17:56:07.734" v="1379" actId="14100"/>
          <ac:spMkLst>
            <pc:docMk/>
            <pc:sldMk cId="380544194" sldId="7302"/>
            <ac:spMk id="2" creationId="{D80B81FD-744A-49A8-9CF9-3DE47A77E15E}"/>
          </ac:spMkLst>
        </pc:spChg>
        <pc:spChg chg="add del mod">
          <ac:chgData name="Bez, Florian" userId="30d7df6a-5295-4d75-a650-5a1fab7b8b2e" providerId="ADAL" clId="{DEF8C959-161B-48E6-918F-19FB2A9D3909}" dt="2023-04-21T07:52:21.665" v="7811" actId="478"/>
          <ac:spMkLst>
            <pc:docMk/>
            <pc:sldMk cId="380544194" sldId="7302"/>
            <ac:spMk id="3" creationId="{AF53021D-1B9C-D5BE-B843-1AE90B241286}"/>
          </ac:spMkLst>
        </pc:spChg>
        <pc:spChg chg="del">
          <ac:chgData name="Bez, Florian" userId="30d7df6a-5295-4d75-a650-5a1fab7b8b2e" providerId="ADAL" clId="{DEF8C959-161B-48E6-918F-19FB2A9D3909}" dt="2023-04-17T17:55:39.019" v="1342" actId="478"/>
          <ac:spMkLst>
            <pc:docMk/>
            <pc:sldMk cId="380544194" sldId="7302"/>
            <ac:spMk id="3" creationId="{B36BBF8E-A7E2-E61D-8096-42012874974F}"/>
          </ac:spMkLst>
        </pc:spChg>
        <pc:spChg chg="add mod ord">
          <ac:chgData name="Bez, Florian" userId="30d7df6a-5295-4d75-a650-5a1fab7b8b2e" providerId="ADAL" clId="{DEF8C959-161B-48E6-918F-19FB2A9D3909}" dt="2023-04-21T08:16:02.947" v="8822" actId="1076"/>
          <ac:spMkLst>
            <pc:docMk/>
            <pc:sldMk cId="380544194" sldId="7302"/>
            <ac:spMk id="4" creationId="{064115DF-9CF9-DB72-5EBB-A6555CF7FFEF}"/>
          </ac:spMkLst>
        </pc:spChg>
        <pc:spChg chg="mod">
          <ac:chgData name="Bez, Florian" userId="30d7df6a-5295-4d75-a650-5a1fab7b8b2e" providerId="ADAL" clId="{DEF8C959-161B-48E6-918F-19FB2A9D3909}" dt="2023-04-20T10:08:24.292" v="7193" actId="14100"/>
          <ac:spMkLst>
            <pc:docMk/>
            <pc:sldMk cId="380544194" sldId="7302"/>
            <ac:spMk id="6" creationId="{3A70FE57-FC1B-4F9C-BB9E-21DD1D15064D}"/>
          </ac:spMkLst>
        </pc:spChg>
        <pc:spChg chg="add mod">
          <ac:chgData name="Bez, Florian" userId="30d7df6a-5295-4d75-a650-5a1fab7b8b2e" providerId="ADAL" clId="{DEF8C959-161B-48E6-918F-19FB2A9D3909}" dt="2023-04-21T08:17:45.641" v="8876" actId="1076"/>
          <ac:spMkLst>
            <pc:docMk/>
            <pc:sldMk cId="380544194" sldId="7302"/>
            <ac:spMk id="9" creationId="{2A60DE7E-6973-18FB-560C-92D756D5550A}"/>
          </ac:spMkLst>
        </pc:spChg>
        <pc:spChg chg="add mod">
          <ac:chgData name="Bez, Florian" userId="30d7df6a-5295-4d75-a650-5a1fab7b8b2e" providerId="ADAL" clId="{DEF8C959-161B-48E6-918F-19FB2A9D3909}" dt="2023-04-21T08:15:42.051" v="8817" actId="1076"/>
          <ac:spMkLst>
            <pc:docMk/>
            <pc:sldMk cId="380544194" sldId="7302"/>
            <ac:spMk id="10" creationId="{7C58EE47-B558-25B9-E30A-E27569A02373}"/>
          </ac:spMkLst>
        </pc:spChg>
        <pc:spChg chg="mod">
          <ac:chgData name="Bez, Florian" userId="30d7df6a-5295-4d75-a650-5a1fab7b8b2e" providerId="ADAL" clId="{DEF8C959-161B-48E6-918F-19FB2A9D3909}" dt="2023-04-21T08:11:11.695" v="8332" actId="20577"/>
          <ac:spMkLst>
            <pc:docMk/>
            <pc:sldMk cId="380544194" sldId="7302"/>
            <ac:spMk id="11" creationId="{57F367A4-CEAE-4A2B-A5D0-AB08254BBECF}"/>
          </ac:spMkLst>
        </pc:spChg>
        <pc:spChg chg="add del mod">
          <ac:chgData name="Bez, Florian" userId="30d7df6a-5295-4d75-a650-5a1fab7b8b2e" providerId="ADAL" clId="{DEF8C959-161B-48E6-918F-19FB2A9D3909}" dt="2023-04-21T07:47:13.380" v="7773" actId="478"/>
          <ac:spMkLst>
            <pc:docMk/>
            <pc:sldMk cId="380544194" sldId="7302"/>
            <ac:spMk id="12" creationId="{C928BAE7-E6DE-7415-5AFA-8E2641E172AD}"/>
          </ac:spMkLst>
        </pc:spChg>
        <pc:spChg chg="mod">
          <ac:chgData name="Bez, Florian" userId="30d7df6a-5295-4d75-a650-5a1fab7b8b2e" providerId="ADAL" clId="{DEF8C959-161B-48E6-918F-19FB2A9D3909}" dt="2023-04-21T07:52:56.055" v="7824" actId="20577"/>
          <ac:spMkLst>
            <pc:docMk/>
            <pc:sldMk cId="380544194" sldId="7302"/>
            <ac:spMk id="13" creationId="{76866271-E669-292E-D1D3-D76E26497DA1}"/>
          </ac:spMkLst>
        </pc:spChg>
        <pc:spChg chg="mod">
          <ac:chgData name="Bez, Florian" userId="30d7df6a-5295-4d75-a650-5a1fab7b8b2e" providerId="ADAL" clId="{DEF8C959-161B-48E6-918F-19FB2A9D3909}" dt="2023-04-21T08:07:26.542" v="7982" actId="20577"/>
          <ac:spMkLst>
            <pc:docMk/>
            <pc:sldMk cId="380544194" sldId="7302"/>
            <ac:spMk id="14" creationId="{9470B2E1-36F9-94D1-9266-79DB02E48351}"/>
          </ac:spMkLst>
        </pc:spChg>
        <pc:spChg chg="del mod">
          <ac:chgData name="Bez, Florian" userId="30d7df6a-5295-4d75-a650-5a1fab7b8b2e" providerId="ADAL" clId="{DEF8C959-161B-48E6-918F-19FB2A9D3909}" dt="2023-04-17T17:56:55.317" v="1393" actId="478"/>
          <ac:spMkLst>
            <pc:docMk/>
            <pc:sldMk cId="380544194" sldId="7302"/>
            <ac:spMk id="15" creationId="{A10ABC81-5167-4F0F-A756-047806F31B6A}"/>
          </ac:spMkLst>
        </pc:spChg>
        <pc:spChg chg="add mod">
          <ac:chgData name="Bez, Florian" userId="30d7df6a-5295-4d75-a650-5a1fab7b8b2e" providerId="ADAL" clId="{DEF8C959-161B-48E6-918F-19FB2A9D3909}" dt="2023-04-21T08:17:10.898" v="8851" actId="113"/>
          <ac:spMkLst>
            <pc:docMk/>
            <pc:sldMk cId="380544194" sldId="7302"/>
            <ac:spMk id="15" creationId="{CE262685-7868-239B-B611-DEB0DAE2CE6D}"/>
          </ac:spMkLst>
        </pc:spChg>
        <pc:spChg chg="add mod">
          <ac:chgData name="Bez, Florian" userId="30d7df6a-5295-4d75-a650-5a1fab7b8b2e" providerId="ADAL" clId="{DEF8C959-161B-48E6-918F-19FB2A9D3909}" dt="2023-04-21T08:16:53.415" v="8847" actId="113"/>
          <ac:spMkLst>
            <pc:docMk/>
            <pc:sldMk cId="380544194" sldId="7302"/>
            <ac:spMk id="16" creationId="{E92F85A5-0362-3D65-119D-F8B0DBDF63F7}"/>
          </ac:spMkLst>
        </pc:spChg>
        <pc:spChg chg="del">
          <ac:chgData name="Bez, Florian" userId="30d7df6a-5295-4d75-a650-5a1fab7b8b2e" providerId="ADAL" clId="{DEF8C959-161B-48E6-918F-19FB2A9D3909}" dt="2023-04-17T17:55:35.735" v="1340" actId="478"/>
          <ac:spMkLst>
            <pc:docMk/>
            <pc:sldMk cId="380544194" sldId="7302"/>
            <ac:spMk id="19" creationId="{14D9425E-E21C-C1B4-5DF1-59EADDD2CF25}"/>
          </ac:spMkLst>
        </pc:spChg>
        <pc:spChg chg="del mod">
          <ac:chgData name="Bez, Florian" userId="30d7df6a-5295-4d75-a650-5a1fab7b8b2e" providerId="ADAL" clId="{DEF8C959-161B-48E6-918F-19FB2A9D3909}" dt="2023-04-17T17:56:48.710" v="1391" actId="478"/>
          <ac:spMkLst>
            <pc:docMk/>
            <pc:sldMk cId="380544194" sldId="7302"/>
            <ac:spMk id="21" creationId="{5EA18BC7-9EA4-1968-14BC-5CF07CB74684}"/>
          </ac:spMkLst>
        </pc:spChg>
        <pc:spChg chg="mod">
          <ac:chgData name="Bez, Florian" userId="30d7df6a-5295-4d75-a650-5a1fab7b8b2e" providerId="ADAL" clId="{DEF8C959-161B-48E6-918F-19FB2A9D3909}" dt="2023-04-21T08:11:03.433" v="8331" actId="1076"/>
          <ac:spMkLst>
            <pc:docMk/>
            <pc:sldMk cId="380544194" sldId="7302"/>
            <ac:spMk id="28" creationId="{376EC3F9-6CB6-11D1-EFAE-3C56B27F0021}"/>
          </ac:spMkLst>
        </pc:spChg>
        <pc:spChg chg="mod">
          <ac:chgData name="Bez, Florian" userId="30d7df6a-5295-4d75-a650-5a1fab7b8b2e" providerId="ADAL" clId="{DEF8C959-161B-48E6-918F-19FB2A9D3909}" dt="2023-04-21T08:11:03.433" v="8331" actId="1076"/>
          <ac:spMkLst>
            <pc:docMk/>
            <pc:sldMk cId="380544194" sldId="7302"/>
            <ac:spMk id="30" creationId="{50184589-A6B2-F5E7-FD62-BE6F3B6C9399}"/>
          </ac:spMkLst>
        </pc:spChg>
        <pc:spChg chg="mod">
          <ac:chgData name="Bez, Florian" userId="30d7df6a-5295-4d75-a650-5a1fab7b8b2e" providerId="ADAL" clId="{DEF8C959-161B-48E6-918F-19FB2A9D3909}" dt="2023-04-21T08:11:03.433" v="8331" actId="1076"/>
          <ac:spMkLst>
            <pc:docMk/>
            <pc:sldMk cId="380544194" sldId="7302"/>
            <ac:spMk id="31" creationId="{0A76485C-7055-A8BE-C95E-01D3CC7A79ED}"/>
          </ac:spMkLst>
        </pc:spChg>
        <pc:picChg chg="add del mod">
          <ac:chgData name="Bez, Florian" userId="30d7df6a-5295-4d75-a650-5a1fab7b8b2e" providerId="ADAL" clId="{DEF8C959-161B-48E6-918F-19FB2A9D3909}" dt="2023-04-21T07:51:29.345" v="7780" actId="478"/>
          <ac:picMkLst>
            <pc:docMk/>
            <pc:sldMk cId="380544194" sldId="7302"/>
            <ac:picMk id="8" creationId="{FDA97063-BABC-85B8-7A11-68D7079643B1}"/>
          </ac:picMkLst>
        </pc:picChg>
        <pc:picChg chg="mod">
          <ac:chgData name="Bez, Florian" userId="30d7df6a-5295-4d75-a650-5a1fab7b8b2e" providerId="ADAL" clId="{DEF8C959-161B-48E6-918F-19FB2A9D3909}" dt="2023-04-17T17:57:10.817" v="1395" actId="1076"/>
          <ac:picMkLst>
            <pc:docMk/>
            <pc:sldMk cId="380544194" sldId="7302"/>
            <ac:picMk id="17" creationId="{8F011B16-D588-0340-455D-3C8F98063C5F}"/>
          </ac:picMkLst>
        </pc:picChg>
        <pc:picChg chg="mod">
          <ac:chgData name="Bez, Florian" userId="30d7df6a-5295-4d75-a650-5a1fab7b8b2e" providerId="ADAL" clId="{DEF8C959-161B-48E6-918F-19FB2A9D3909}" dt="2023-04-21T08:11:03.433" v="8331" actId="1076"/>
          <ac:picMkLst>
            <pc:docMk/>
            <pc:sldMk cId="380544194" sldId="7302"/>
            <ac:picMk id="18" creationId="{2FDECB87-168E-D65F-C06A-162550F46D2B}"/>
          </ac:picMkLst>
        </pc:picChg>
        <pc:picChg chg="mod">
          <ac:chgData name="Bez, Florian" userId="30d7df6a-5295-4d75-a650-5a1fab7b8b2e" providerId="ADAL" clId="{DEF8C959-161B-48E6-918F-19FB2A9D3909}" dt="2023-04-21T08:11:03.433" v="8331" actId="1076"/>
          <ac:picMkLst>
            <pc:docMk/>
            <pc:sldMk cId="380544194" sldId="7302"/>
            <ac:picMk id="20" creationId="{ED8B4C3E-31E0-A974-572D-771AA0BAB76D}"/>
          </ac:picMkLst>
        </pc:picChg>
        <pc:picChg chg="del">
          <ac:chgData name="Bez, Florian" userId="30d7df6a-5295-4d75-a650-5a1fab7b8b2e" providerId="ADAL" clId="{DEF8C959-161B-48E6-918F-19FB2A9D3909}" dt="2023-04-17T17:55:37.622" v="1341" actId="478"/>
          <ac:picMkLst>
            <pc:docMk/>
            <pc:sldMk cId="380544194" sldId="7302"/>
            <ac:picMk id="26" creationId="{DCC9CAB0-DED2-8209-E077-245D794DDC35}"/>
          </ac:picMkLst>
        </pc:picChg>
        <pc:picChg chg="mod">
          <ac:chgData name="Bez, Florian" userId="30d7df6a-5295-4d75-a650-5a1fab7b8b2e" providerId="ADAL" clId="{DEF8C959-161B-48E6-918F-19FB2A9D3909}" dt="2023-04-21T08:11:03.433" v="8331" actId="1076"/>
          <ac:picMkLst>
            <pc:docMk/>
            <pc:sldMk cId="380544194" sldId="7302"/>
            <ac:picMk id="1026" creationId="{9AC36785-E7E2-8538-774F-3F1E3A87BBAA}"/>
          </ac:picMkLst>
        </pc:picChg>
        <pc:picChg chg="add mod">
          <ac:chgData name="Bez, Florian" userId="30d7df6a-5295-4d75-a650-5a1fab7b8b2e" providerId="ADAL" clId="{DEF8C959-161B-48E6-918F-19FB2A9D3909}" dt="2023-04-21T08:16:10.477" v="8824" actId="1076"/>
          <ac:picMkLst>
            <pc:docMk/>
            <pc:sldMk cId="380544194" sldId="7302"/>
            <ac:picMk id="2050" creationId="{74A52EEA-6A2B-A404-2CCB-9BB3C4D6BF02}"/>
          </ac:picMkLst>
        </pc:picChg>
      </pc:sldChg>
      <pc:sldChg chg="add del">
        <pc:chgData name="Bez, Florian" userId="30d7df6a-5295-4d75-a650-5a1fab7b8b2e" providerId="ADAL" clId="{DEF8C959-161B-48E6-918F-19FB2A9D3909}" dt="2023-04-17T18:58:27.074" v="2737" actId="47"/>
        <pc:sldMkLst>
          <pc:docMk/>
          <pc:sldMk cId="1714337121" sldId="7303"/>
        </pc:sldMkLst>
      </pc:sldChg>
      <pc:sldChg chg="add del">
        <pc:chgData name="Bez, Florian" userId="30d7df6a-5295-4d75-a650-5a1fab7b8b2e" providerId="ADAL" clId="{DEF8C959-161B-48E6-918F-19FB2A9D3909}" dt="2023-04-17T18:58:27.074" v="2737" actId="47"/>
        <pc:sldMkLst>
          <pc:docMk/>
          <pc:sldMk cId="415301699" sldId="7304"/>
        </pc:sldMkLst>
      </pc:sldChg>
      <pc:sldChg chg="add del">
        <pc:chgData name="Bez, Florian" userId="30d7df6a-5295-4d75-a650-5a1fab7b8b2e" providerId="ADAL" clId="{DEF8C959-161B-48E6-918F-19FB2A9D3909}" dt="2023-04-17T18:58:27.074" v="2737" actId="47"/>
        <pc:sldMkLst>
          <pc:docMk/>
          <pc:sldMk cId="4256089523" sldId="7305"/>
        </pc:sldMkLst>
      </pc:sldChg>
      <pc:sldChg chg="add del">
        <pc:chgData name="Bez, Florian" userId="30d7df6a-5295-4d75-a650-5a1fab7b8b2e" providerId="ADAL" clId="{DEF8C959-161B-48E6-918F-19FB2A9D3909}" dt="2023-04-17T18:58:27.074" v="2737" actId="47"/>
        <pc:sldMkLst>
          <pc:docMk/>
          <pc:sldMk cId="2296512729" sldId="7306"/>
        </pc:sldMkLst>
      </pc:sldChg>
      <pc:sldChg chg="add del">
        <pc:chgData name="Bez, Florian" userId="30d7df6a-5295-4d75-a650-5a1fab7b8b2e" providerId="ADAL" clId="{DEF8C959-161B-48E6-918F-19FB2A9D3909}" dt="2023-04-17T18:58:27.074" v="2737" actId="47"/>
        <pc:sldMkLst>
          <pc:docMk/>
          <pc:sldMk cId="4127696858" sldId="7307"/>
        </pc:sldMkLst>
      </pc:sldChg>
      <pc:sldChg chg="add del">
        <pc:chgData name="Bez, Florian" userId="30d7df6a-5295-4d75-a650-5a1fab7b8b2e" providerId="ADAL" clId="{DEF8C959-161B-48E6-918F-19FB2A9D3909}" dt="2023-04-17T13:23:39.330" v="64" actId="47"/>
        <pc:sldMkLst>
          <pc:docMk/>
          <pc:sldMk cId="1073800039" sldId="7308"/>
        </pc:sldMkLst>
      </pc:sldChg>
      <pc:sldChg chg="addSp modSp add del mod ord">
        <pc:chgData name="Bez, Florian" userId="30d7df6a-5295-4d75-a650-5a1fab7b8b2e" providerId="ADAL" clId="{DEF8C959-161B-48E6-918F-19FB2A9D3909}" dt="2023-04-21T07:29:34.176" v="7645" actId="47"/>
        <pc:sldMkLst>
          <pc:docMk/>
          <pc:sldMk cId="4260113705" sldId="7309"/>
        </pc:sldMkLst>
        <pc:spChg chg="add mod">
          <ac:chgData name="Bez, Florian" userId="30d7df6a-5295-4d75-a650-5a1fab7b8b2e" providerId="ADAL" clId="{DEF8C959-161B-48E6-918F-19FB2A9D3909}" dt="2023-04-17T18:47:21.595" v="2512" actId="403"/>
          <ac:spMkLst>
            <pc:docMk/>
            <pc:sldMk cId="4260113705" sldId="7309"/>
            <ac:spMk id="2" creationId="{47F3C663-83B7-D03C-FC62-A0964A8F93D6}"/>
          </ac:spMkLst>
        </pc:spChg>
      </pc:sldChg>
      <pc:sldChg chg="modSp new del mod ord">
        <pc:chgData name="Bez, Florian" userId="30d7df6a-5295-4d75-a650-5a1fab7b8b2e" providerId="ADAL" clId="{DEF8C959-161B-48E6-918F-19FB2A9D3909}" dt="2023-04-17T18:58:27.074" v="2737" actId="47"/>
        <pc:sldMkLst>
          <pc:docMk/>
          <pc:sldMk cId="1233359315" sldId="7310"/>
        </pc:sldMkLst>
        <pc:spChg chg="mod">
          <ac:chgData name="Bez, Florian" userId="30d7df6a-5295-4d75-a650-5a1fab7b8b2e" providerId="ADAL" clId="{DEF8C959-161B-48E6-918F-19FB2A9D3909}" dt="2023-04-14T11:26:24.979" v="53" actId="20577"/>
          <ac:spMkLst>
            <pc:docMk/>
            <pc:sldMk cId="1233359315" sldId="7310"/>
            <ac:spMk id="2" creationId="{B82ACEA4-7A2F-8937-AC68-9AB0B59142F3}"/>
          </ac:spMkLst>
        </pc:spChg>
      </pc:sldChg>
      <pc:sldChg chg="addSp delSp modSp add del mod ord">
        <pc:chgData name="Bez, Florian" userId="30d7df6a-5295-4d75-a650-5a1fab7b8b2e" providerId="ADAL" clId="{DEF8C959-161B-48E6-918F-19FB2A9D3909}" dt="2023-04-17T17:38:43.136" v="824" actId="47"/>
        <pc:sldMkLst>
          <pc:docMk/>
          <pc:sldMk cId="1369623954" sldId="7311"/>
        </pc:sldMkLst>
        <pc:spChg chg="del">
          <ac:chgData name="Bez, Florian" userId="30d7df6a-5295-4d75-a650-5a1fab7b8b2e" providerId="ADAL" clId="{DEF8C959-161B-48E6-918F-19FB2A9D3909}" dt="2023-04-17T13:55:07.133" v="148" actId="478"/>
          <ac:spMkLst>
            <pc:docMk/>
            <pc:sldMk cId="1369623954" sldId="7311"/>
            <ac:spMk id="4" creationId="{700B2C54-588D-4C2F-8480-DCCED1F0D7CE}"/>
          </ac:spMkLst>
        </pc:spChg>
        <pc:spChg chg="del">
          <ac:chgData name="Bez, Florian" userId="30d7df6a-5295-4d75-a650-5a1fab7b8b2e" providerId="ADAL" clId="{DEF8C959-161B-48E6-918F-19FB2A9D3909}" dt="2023-04-17T13:55:07.133" v="148" actId="478"/>
          <ac:spMkLst>
            <pc:docMk/>
            <pc:sldMk cId="1369623954" sldId="7311"/>
            <ac:spMk id="12" creationId="{D05CB10B-2A7C-43F6-BFCF-1BC3FF5FFF0A}"/>
          </ac:spMkLst>
        </pc:spChg>
        <pc:spChg chg="add del mod">
          <ac:chgData name="Bez, Florian" userId="30d7df6a-5295-4d75-a650-5a1fab7b8b2e" providerId="ADAL" clId="{DEF8C959-161B-48E6-918F-19FB2A9D3909}" dt="2023-04-17T13:55:12.177" v="151" actId="478"/>
          <ac:spMkLst>
            <pc:docMk/>
            <pc:sldMk cId="1369623954" sldId="7311"/>
            <ac:spMk id="18" creationId="{B6AC767B-B7AC-B5CC-0926-17248C379E13}"/>
          </ac:spMkLst>
        </pc:spChg>
        <pc:grpChg chg="del">
          <ac:chgData name="Bez, Florian" userId="30d7df6a-5295-4d75-a650-5a1fab7b8b2e" providerId="ADAL" clId="{DEF8C959-161B-48E6-918F-19FB2A9D3909}" dt="2023-04-17T13:55:07.133" v="148" actId="478"/>
          <ac:grpSpMkLst>
            <pc:docMk/>
            <pc:sldMk cId="1369623954" sldId="7311"/>
            <ac:grpSpMk id="6" creationId="{9CFB1D66-ABD6-41CB-BE69-0B90903CD74D}"/>
          </ac:grpSpMkLst>
        </pc:grpChg>
        <pc:picChg chg="del">
          <ac:chgData name="Bez, Florian" userId="30d7df6a-5295-4d75-a650-5a1fab7b8b2e" providerId="ADAL" clId="{DEF8C959-161B-48E6-918F-19FB2A9D3909}" dt="2023-04-17T13:55:08.250" v="149" actId="478"/>
          <ac:picMkLst>
            <pc:docMk/>
            <pc:sldMk cId="1369623954" sldId="7311"/>
            <ac:picMk id="11" creationId="{9096730B-0C29-DBA6-A10A-8AD9C1E7C84E}"/>
          </ac:picMkLst>
        </pc:picChg>
        <pc:inkChg chg="del">
          <ac:chgData name="Bez, Florian" userId="30d7df6a-5295-4d75-a650-5a1fab7b8b2e" providerId="ADAL" clId="{DEF8C959-161B-48E6-918F-19FB2A9D3909}" dt="2023-04-17T13:55:09.800" v="150" actId="478"/>
          <ac:inkMkLst>
            <pc:docMk/>
            <pc:sldMk cId="1369623954" sldId="7311"/>
            <ac:inkMk id="5" creationId="{E28173F3-7D2B-B167-6DFF-843CBA690EF6}"/>
          </ac:inkMkLst>
        </pc:inkChg>
      </pc:sldChg>
      <pc:sldChg chg="add del ord">
        <pc:chgData name="Bez, Florian" userId="30d7df6a-5295-4d75-a650-5a1fab7b8b2e" providerId="ADAL" clId="{DEF8C959-161B-48E6-918F-19FB2A9D3909}" dt="2023-04-17T18:58:27.074" v="2737" actId="47"/>
        <pc:sldMkLst>
          <pc:docMk/>
          <pc:sldMk cId="1560710186" sldId="7324"/>
        </pc:sldMkLst>
      </pc:sldChg>
      <pc:sldChg chg="addSp delSp modSp add mod ord modAnim">
        <pc:chgData name="Bez, Florian" userId="30d7df6a-5295-4d75-a650-5a1fab7b8b2e" providerId="ADAL" clId="{DEF8C959-161B-48E6-918F-19FB2A9D3909}" dt="2023-04-21T09:21:01.134" v="9962"/>
        <pc:sldMkLst>
          <pc:docMk/>
          <pc:sldMk cId="1453339753" sldId="7325"/>
        </pc:sldMkLst>
        <pc:spChg chg="mod">
          <ac:chgData name="Bez, Florian" userId="30d7df6a-5295-4d75-a650-5a1fab7b8b2e" providerId="ADAL" clId="{DEF8C959-161B-48E6-918F-19FB2A9D3909}" dt="2023-04-17T18:47:53.332" v="2544" actId="14100"/>
          <ac:spMkLst>
            <pc:docMk/>
            <pc:sldMk cId="1453339753" sldId="7325"/>
            <ac:spMk id="2" creationId="{D80B81FD-744A-49A8-9CF9-3DE47A77E15E}"/>
          </ac:spMkLst>
        </pc:spChg>
        <pc:spChg chg="del">
          <ac:chgData name="Bez, Florian" userId="30d7df6a-5295-4d75-a650-5a1fab7b8b2e" providerId="ADAL" clId="{DEF8C959-161B-48E6-918F-19FB2A9D3909}" dt="2023-04-17T14:41:50.440" v="269" actId="478"/>
          <ac:spMkLst>
            <pc:docMk/>
            <pc:sldMk cId="1453339753" sldId="7325"/>
            <ac:spMk id="3" creationId="{87A7B48F-A64D-09DE-9620-AA63F3AB7B9A}"/>
          </ac:spMkLst>
        </pc:spChg>
        <pc:spChg chg="del">
          <ac:chgData name="Bez, Florian" userId="30d7df6a-5295-4d75-a650-5a1fab7b8b2e" providerId="ADAL" clId="{DEF8C959-161B-48E6-918F-19FB2A9D3909}" dt="2023-04-17T14:41:50.440" v="269" actId="478"/>
          <ac:spMkLst>
            <pc:docMk/>
            <pc:sldMk cId="1453339753" sldId="7325"/>
            <ac:spMk id="4" creationId="{0E0F8FB5-5A8E-84BD-1EFC-F641BA7A98FF}"/>
          </ac:spMkLst>
        </pc:spChg>
        <pc:spChg chg="mod">
          <ac:chgData name="Bez, Florian" userId="30d7df6a-5295-4d75-a650-5a1fab7b8b2e" providerId="ADAL" clId="{DEF8C959-161B-48E6-918F-19FB2A9D3909}" dt="2023-04-20T10:07:03.784" v="7125" actId="14100"/>
          <ac:spMkLst>
            <pc:docMk/>
            <pc:sldMk cId="1453339753" sldId="7325"/>
            <ac:spMk id="6" creationId="{3A70FE57-FC1B-4F9C-BB9E-21DD1D15064D}"/>
          </ac:spMkLst>
        </pc:spChg>
        <pc:spChg chg="add del mod">
          <ac:chgData name="Bez, Florian" userId="30d7df6a-5295-4d75-a650-5a1fab7b8b2e" providerId="ADAL" clId="{DEF8C959-161B-48E6-918F-19FB2A9D3909}" dt="2023-04-17T18:47:41.018" v="2514" actId="478"/>
          <ac:spMkLst>
            <pc:docMk/>
            <pc:sldMk cId="1453339753" sldId="7325"/>
            <ac:spMk id="8" creationId="{3034D364-651E-0606-0865-30BA9E396D45}"/>
          </ac:spMkLst>
        </pc:spChg>
        <pc:spChg chg="mod">
          <ac:chgData name="Bez, Florian" userId="30d7df6a-5295-4d75-a650-5a1fab7b8b2e" providerId="ADAL" clId="{DEF8C959-161B-48E6-918F-19FB2A9D3909}" dt="2023-04-17T14:43:14.419" v="336" actId="1076"/>
          <ac:spMkLst>
            <pc:docMk/>
            <pc:sldMk cId="1453339753" sldId="7325"/>
            <ac:spMk id="12" creationId="{BEFE2F78-5562-7B6E-743F-B1C6AA55023C}"/>
          </ac:spMkLst>
        </pc:spChg>
        <pc:spChg chg="del">
          <ac:chgData name="Bez, Florian" userId="30d7df6a-5295-4d75-a650-5a1fab7b8b2e" providerId="ADAL" clId="{DEF8C959-161B-48E6-918F-19FB2A9D3909}" dt="2023-04-17T14:41:50.440" v="269" actId="478"/>
          <ac:spMkLst>
            <pc:docMk/>
            <pc:sldMk cId="1453339753" sldId="7325"/>
            <ac:spMk id="13" creationId="{8B624804-0EC2-10C2-2722-A733C28DED17}"/>
          </ac:spMkLst>
        </pc:spChg>
        <pc:spChg chg="del">
          <ac:chgData name="Bez, Florian" userId="30d7df6a-5295-4d75-a650-5a1fab7b8b2e" providerId="ADAL" clId="{DEF8C959-161B-48E6-918F-19FB2A9D3909}" dt="2023-04-17T14:41:50.440" v="269" actId="478"/>
          <ac:spMkLst>
            <pc:docMk/>
            <pc:sldMk cId="1453339753" sldId="7325"/>
            <ac:spMk id="14" creationId="{32AC2432-FBC7-0B18-9A70-23AFACD58A2C}"/>
          </ac:spMkLst>
        </pc:spChg>
        <pc:spChg chg="del">
          <ac:chgData name="Bez, Florian" userId="30d7df6a-5295-4d75-a650-5a1fab7b8b2e" providerId="ADAL" clId="{DEF8C959-161B-48E6-918F-19FB2A9D3909}" dt="2023-04-17T14:41:50.440" v="269" actId="478"/>
          <ac:spMkLst>
            <pc:docMk/>
            <pc:sldMk cId="1453339753" sldId="7325"/>
            <ac:spMk id="15" creationId="{B6B0A0D4-E2CA-F006-9A9A-EA79FAE250C6}"/>
          </ac:spMkLst>
        </pc:spChg>
        <pc:spChg chg="del">
          <ac:chgData name="Bez, Florian" userId="30d7df6a-5295-4d75-a650-5a1fab7b8b2e" providerId="ADAL" clId="{DEF8C959-161B-48E6-918F-19FB2A9D3909}" dt="2023-04-17T14:41:50.440" v="269" actId="478"/>
          <ac:spMkLst>
            <pc:docMk/>
            <pc:sldMk cId="1453339753" sldId="7325"/>
            <ac:spMk id="16" creationId="{7AA34DB9-92E2-E544-8423-CAC585A3E25B}"/>
          </ac:spMkLst>
        </pc:spChg>
        <pc:spChg chg="mod">
          <ac:chgData name="Bez, Florian" userId="30d7df6a-5295-4d75-a650-5a1fab7b8b2e" providerId="ADAL" clId="{DEF8C959-161B-48E6-918F-19FB2A9D3909}" dt="2023-04-17T14:42:49.890" v="330" actId="1036"/>
          <ac:spMkLst>
            <pc:docMk/>
            <pc:sldMk cId="1453339753" sldId="7325"/>
            <ac:spMk id="20" creationId="{2D66D90A-2215-5EBC-6531-CD054B3C9F40}"/>
          </ac:spMkLst>
        </pc:spChg>
        <pc:spChg chg="mod">
          <ac:chgData name="Bez, Florian" userId="30d7df6a-5295-4d75-a650-5a1fab7b8b2e" providerId="ADAL" clId="{DEF8C959-161B-48E6-918F-19FB2A9D3909}" dt="2023-04-17T14:42:49.890" v="330" actId="1036"/>
          <ac:spMkLst>
            <pc:docMk/>
            <pc:sldMk cId="1453339753" sldId="7325"/>
            <ac:spMk id="21" creationId="{7415B38C-9908-5DEC-2136-734A36BBB16B}"/>
          </ac:spMkLst>
        </pc:spChg>
        <pc:spChg chg="mod">
          <ac:chgData name="Bez, Florian" userId="30d7df6a-5295-4d75-a650-5a1fab7b8b2e" providerId="ADAL" clId="{DEF8C959-161B-48E6-918F-19FB2A9D3909}" dt="2023-04-17T14:42:49.890" v="330" actId="1036"/>
          <ac:spMkLst>
            <pc:docMk/>
            <pc:sldMk cId="1453339753" sldId="7325"/>
            <ac:spMk id="22" creationId="{750C59AA-907B-6E66-E266-85D818D21956}"/>
          </ac:spMkLst>
        </pc:spChg>
        <pc:spChg chg="mod">
          <ac:chgData name="Bez, Florian" userId="30d7df6a-5295-4d75-a650-5a1fab7b8b2e" providerId="ADAL" clId="{DEF8C959-161B-48E6-918F-19FB2A9D3909}" dt="2023-04-17T14:42:49.890" v="330" actId="1036"/>
          <ac:spMkLst>
            <pc:docMk/>
            <pc:sldMk cId="1453339753" sldId="7325"/>
            <ac:spMk id="23" creationId="{9BD97E54-D2E6-544C-6B78-E1DEE2160056}"/>
          </ac:spMkLst>
        </pc:spChg>
        <pc:spChg chg="mod">
          <ac:chgData name="Bez, Florian" userId="30d7df6a-5295-4d75-a650-5a1fab7b8b2e" providerId="ADAL" clId="{DEF8C959-161B-48E6-918F-19FB2A9D3909}" dt="2023-04-17T14:42:00.730" v="271"/>
          <ac:spMkLst>
            <pc:docMk/>
            <pc:sldMk cId="1453339753" sldId="7325"/>
            <ac:spMk id="26" creationId="{2D7017BC-67C1-D704-9C3C-5F23FDD0721F}"/>
          </ac:spMkLst>
        </pc:spChg>
        <pc:spChg chg="mod">
          <ac:chgData name="Bez, Florian" userId="30d7df6a-5295-4d75-a650-5a1fab7b8b2e" providerId="ADAL" clId="{DEF8C959-161B-48E6-918F-19FB2A9D3909}" dt="2023-04-20T13:38:04.747" v="7432" actId="20577"/>
          <ac:spMkLst>
            <pc:docMk/>
            <pc:sldMk cId="1453339753" sldId="7325"/>
            <ac:spMk id="30" creationId="{3C1AB998-8AF9-87CE-3596-CD55F2A5CB4F}"/>
          </ac:spMkLst>
        </pc:spChg>
        <pc:picChg chg="mod">
          <ac:chgData name="Bez, Florian" userId="30d7df6a-5295-4d75-a650-5a1fab7b8b2e" providerId="ADAL" clId="{DEF8C959-161B-48E6-918F-19FB2A9D3909}" dt="2023-04-17T14:42:29.319" v="278" actId="1076"/>
          <ac:picMkLst>
            <pc:docMk/>
            <pc:sldMk cId="1453339753" sldId="7325"/>
            <ac:picMk id="11" creationId="{EFFCA33F-04A2-B3D3-A6B2-91582AA93F1E}"/>
          </ac:picMkLst>
        </pc:picChg>
        <pc:picChg chg="mod">
          <ac:chgData name="Bez, Florian" userId="30d7df6a-5295-4d75-a650-5a1fab7b8b2e" providerId="ADAL" clId="{DEF8C959-161B-48E6-918F-19FB2A9D3909}" dt="2023-04-17T14:42:03.296" v="273" actId="1037"/>
          <ac:picMkLst>
            <pc:docMk/>
            <pc:sldMk cId="1453339753" sldId="7325"/>
            <ac:picMk id="1026" creationId="{8DB85D2C-C11F-41FB-EB05-4DEBD218ED44}"/>
          </ac:picMkLst>
        </pc:picChg>
        <pc:picChg chg="mod">
          <ac:chgData name="Bez, Florian" userId="30d7df6a-5295-4d75-a650-5a1fab7b8b2e" providerId="ADAL" clId="{DEF8C959-161B-48E6-918F-19FB2A9D3909}" dt="2023-04-17T14:42:15.129" v="276" actId="1076"/>
          <ac:picMkLst>
            <pc:docMk/>
            <pc:sldMk cId="1453339753" sldId="7325"/>
            <ac:picMk id="1028" creationId="{A56D1BE5-43EC-B4E2-AF03-DABA329FA5F2}"/>
          </ac:picMkLst>
        </pc:picChg>
        <pc:inkChg chg="mod">
          <ac:chgData name="Bez, Florian" userId="30d7df6a-5295-4d75-a650-5a1fab7b8b2e" providerId="ADAL" clId="{DEF8C959-161B-48E6-918F-19FB2A9D3909}" dt="2023-04-17T14:42:29.319" v="278" actId="1076"/>
          <ac:inkMkLst>
            <pc:docMk/>
            <pc:sldMk cId="1453339753" sldId="7325"/>
            <ac:inkMk id="9" creationId="{3F2AC8D3-DD8B-4F2A-FF41-4F9BB8249E6B}"/>
          </ac:inkMkLst>
        </pc:inkChg>
      </pc:sldChg>
      <pc:sldChg chg="addSp delSp modSp add mod ord delAnim modAnim">
        <pc:chgData name="Bez, Florian" userId="30d7df6a-5295-4d75-a650-5a1fab7b8b2e" providerId="ADAL" clId="{DEF8C959-161B-48E6-918F-19FB2A9D3909}" dt="2023-04-20T10:07:10.887" v="7127" actId="14100"/>
        <pc:sldMkLst>
          <pc:docMk/>
          <pc:sldMk cId="117434321" sldId="7326"/>
        </pc:sldMkLst>
        <pc:spChg chg="add del mod">
          <ac:chgData name="Bez, Florian" userId="30d7df6a-5295-4d75-a650-5a1fab7b8b2e" providerId="ADAL" clId="{DEF8C959-161B-48E6-918F-19FB2A9D3909}" dt="2023-04-17T18:55:50.817" v="2729"/>
          <ac:spMkLst>
            <pc:docMk/>
            <pc:sldMk cId="117434321" sldId="7326"/>
            <ac:spMk id="4" creationId="{EDB29374-54CD-C339-EBB6-1E1F03634070}"/>
          </ac:spMkLst>
        </pc:spChg>
        <pc:spChg chg="mod">
          <ac:chgData name="Bez, Florian" userId="30d7df6a-5295-4d75-a650-5a1fab7b8b2e" providerId="ADAL" clId="{DEF8C959-161B-48E6-918F-19FB2A9D3909}" dt="2023-04-20T10:07:10.887" v="7127" actId="14100"/>
          <ac:spMkLst>
            <pc:docMk/>
            <pc:sldMk cId="117434321" sldId="7326"/>
            <ac:spMk id="6" creationId="{3A70FE57-FC1B-4F9C-BB9E-21DD1D15064D}"/>
          </ac:spMkLst>
        </pc:spChg>
        <pc:spChg chg="add del mod">
          <ac:chgData name="Bez, Florian" userId="30d7df6a-5295-4d75-a650-5a1fab7b8b2e" providerId="ADAL" clId="{DEF8C959-161B-48E6-918F-19FB2A9D3909}" dt="2023-04-17T18:55:50.817" v="2729"/>
          <ac:spMkLst>
            <pc:docMk/>
            <pc:sldMk cId="117434321" sldId="7326"/>
            <ac:spMk id="8" creationId="{48681F91-8C24-5C86-727E-3138C044819A}"/>
          </ac:spMkLst>
        </pc:spChg>
        <pc:spChg chg="add mod">
          <ac:chgData name="Bez, Florian" userId="30d7df6a-5295-4d75-a650-5a1fab7b8b2e" providerId="ADAL" clId="{DEF8C959-161B-48E6-918F-19FB2A9D3909}" dt="2023-04-17T18:56:25.901" v="2735" actId="1076"/>
          <ac:spMkLst>
            <pc:docMk/>
            <pc:sldMk cId="117434321" sldId="7326"/>
            <ac:spMk id="9" creationId="{BFEBC74B-466B-9F17-82DD-1F1F66346727}"/>
          </ac:spMkLst>
        </pc:spChg>
        <pc:spChg chg="mod">
          <ac:chgData name="Bez, Florian" userId="30d7df6a-5295-4d75-a650-5a1fab7b8b2e" providerId="ADAL" clId="{DEF8C959-161B-48E6-918F-19FB2A9D3909}" dt="2023-04-17T18:56:10.921" v="2733" actId="1076"/>
          <ac:spMkLst>
            <pc:docMk/>
            <pc:sldMk cId="117434321" sldId="7326"/>
            <ac:spMk id="11" creationId="{57F367A4-CEAE-4A2B-A5D0-AB08254BBECF}"/>
          </ac:spMkLst>
        </pc:spChg>
        <pc:spChg chg="add mod">
          <ac:chgData name="Bez, Florian" userId="30d7df6a-5295-4d75-a650-5a1fab7b8b2e" providerId="ADAL" clId="{DEF8C959-161B-48E6-918F-19FB2A9D3909}" dt="2023-04-17T18:59:29.427" v="2783" actId="14100"/>
          <ac:spMkLst>
            <pc:docMk/>
            <pc:sldMk cId="117434321" sldId="7326"/>
            <ac:spMk id="12" creationId="{AB95D39D-65DE-F229-6E32-87248E2F4F57}"/>
          </ac:spMkLst>
        </pc:spChg>
        <pc:spChg chg="add mod">
          <ac:chgData name="Bez, Florian" userId="30d7df6a-5295-4d75-a650-5a1fab7b8b2e" providerId="ADAL" clId="{DEF8C959-161B-48E6-918F-19FB2A9D3909}" dt="2023-04-17T18:56:25.901" v="2735" actId="1076"/>
          <ac:spMkLst>
            <pc:docMk/>
            <pc:sldMk cId="117434321" sldId="7326"/>
            <ac:spMk id="14" creationId="{38F0AEA4-E9AB-B8E9-BEF3-41E2ABD3EF8E}"/>
          </ac:spMkLst>
        </pc:spChg>
        <pc:spChg chg="mod">
          <ac:chgData name="Bez, Florian" userId="30d7df6a-5295-4d75-a650-5a1fab7b8b2e" providerId="ADAL" clId="{DEF8C959-161B-48E6-918F-19FB2A9D3909}" dt="2023-04-17T18:56:10.921" v="2733" actId="1076"/>
          <ac:spMkLst>
            <pc:docMk/>
            <pc:sldMk cId="117434321" sldId="7326"/>
            <ac:spMk id="15" creationId="{A10ABC81-5167-4F0F-A756-047806F31B6A}"/>
          </ac:spMkLst>
        </pc:spChg>
        <pc:spChg chg="mod">
          <ac:chgData name="Bez, Florian" userId="30d7df6a-5295-4d75-a650-5a1fab7b8b2e" providerId="ADAL" clId="{DEF8C959-161B-48E6-918F-19FB2A9D3909}" dt="2023-04-17T18:56:04.493" v="2732" actId="1076"/>
          <ac:spMkLst>
            <pc:docMk/>
            <pc:sldMk cId="117434321" sldId="7326"/>
            <ac:spMk id="22" creationId="{35F31B8C-B765-CC3D-D93B-D853D91317FF}"/>
          </ac:spMkLst>
        </pc:spChg>
        <pc:spChg chg="mod">
          <ac:chgData name="Bez, Florian" userId="30d7df6a-5295-4d75-a650-5a1fab7b8b2e" providerId="ADAL" clId="{DEF8C959-161B-48E6-918F-19FB2A9D3909}" dt="2023-04-17T18:56:01.682" v="2731" actId="14100"/>
          <ac:spMkLst>
            <pc:docMk/>
            <pc:sldMk cId="117434321" sldId="7326"/>
            <ac:spMk id="23" creationId="{86103407-138D-4BAA-83CD-24F0EBAE0D01}"/>
          </ac:spMkLst>
        </pc:spChg>
        <pc:spChg chg="mod">
          <ac:chgData name="Bez, Florian" userId="30d7df6a-5295-4d75-a650-5a1fab7b8b2e" providerId="ADAL" clId="{DEF8C959-161B-48E6-918F-19FB2A9D3909}" dt="2023-04-17T18:56:10.921" v="2733" actId="1076"/>
          <ac:spMkLst>
            <pc:docMk/>
            <pc:sldMk cId="117434321" sldId="7326"/>
            <ac:spMk id="34" creationId="{58E9135A-D940-ECFB-7A81-F0267F184A8A}"/>
          </ac:spMkLst>
        </pc:spChg>
        <pc:picChg chg="add del mod">
          <ac:chgData name="Bez, Florian" userId="30d7df6a-5295-4d75-a650-5a1fab7b8b2e" providerId="ADAL" clId="{DEF8C959-161B-48E6-918F-19FB2A9D3909}" dt="2023-04-17T18:55:50.817" v="2729"/>
          <ac:picMkLst>
            <pc:docMk/>
            <pc:sldMk cId="117434321" sldId="7326"/>
            <ac:picMk id="3" creationId="{E615CC20-B609-6515-EAC3-F7B592A14E36}"/>
          </ac:picMkLst>
        </pc:picChg>
        <pc:picChg chg="add mod">
          <ac:chgData name="Bez, Florian" userId="30d7df6a-5295-4d75-a650-5a1fab7b8b2e" providerId="ADAL" clId="{DEF8C959-161B-48E6-918F-19FB2A9D3909}" dt="2023-04-17T18:56:25.901" v="2735" actId="1076"/>
          <ac:picMkLst>
            <pc:docMk/>
            <pc:sldMk cId="117434321" sldId="7326"/>
            <ac:picMk id="10" creationId="{B05FC96F-D965-C666-F385-255D6BCF4717}"/>
          </ac:picMkLst>
        </pc:picChg>
        <pc:picChg chg="mod">
          <ac:chgData name="Bez, Florian" userId="30d7df6a-5295-4d75-a650-5a1fab7b8b2e" providerId="ADAL" clId="{DEF8C959-161B-48E6-918F-19FB2A9D3909}" dt="2023-04-17T18:56:10.921" v="2733" actId="1076"/>
          <ac:picMkLst>
            <pc:docMk/>
            <pc:sldMk cId="117434321" sldId="7326"/>
            <ac:picMk id="13" creationId="{CEE4F667-5A5E-727C-DF22-940C60F70EB8}"/>
          </ac:picMkLst>
        </pc:picChg>
        <pc:picChg chg="mod">
          <ac:chgData name="Bez, Florian" userId="30d7df6a-5295-4d75-a650-5a1fab7b8b2e" providerId="ADAL" clId="{DEF8C959-161B-48E6-918F-19FB2A9D3909}" dt="2023-04-17T18:56:10.921" v="2733" actId="1076"/>
          <ac:picMkLst>
            <pc:docMk/>
            <pc:sldMk cId="117434321" sldId="7326"/>
            <ac:picMk id="21" creationId="{5E28CBCB-A6C5-BC26-95CF-B11C47BC1527}"/>
          </ac:picMkLst>
        </pc:picChg>
        <pc:picChg chg="del">
          <ac:chgData name="Bez, Florian" userId="30d7df6a-5295-4d75-a650-5a1fab7b8b2e" providerId="ADAL" clId="{DEF8C959-161B-48E6-918F-19FB2A9D3909}" dt="2023-04-17T18:55:57.164" v="2730" actId="478"/>
          <ac:picMkLst>
            <pc:docMk/>
            <pc:sldMk cId="117434321" sldId="7326"/>
            <ac:picMk id="33" creationId="{8A8FD84D-D3B7-3FA5-DF8D-C8DEFC64C2E2}"/>
          </ac:picMkLst>
        </pc:picChg>
      </pc:sldChg>
      <pc:sldChg chg="modSp add mod ord">
        <pc:chgData name="Bez, Florian" userId="30d7df6a-5295-4d75-a650-5a1fab7b8b2e" providerId="ADAL" clId="{DEF8C959-161B-48E6-918F-19FB2A9D3909}" dt="2023-04-20T10:07:18.010" v="7129" actId="14100"/>
        <pc:sldMkLst>
          <pc:docMk/>
          <pc:sldMk cId="3619372694" sldId="7327"/>
        </pc:sldMkLst>
        <pc:spChg chg="mod">
          <ac:chgData name="Bez, Florian" userId="30d7df6a-5295-4d75-a650-5a1fab7b8b2e" providerId="ADAL" clId="{DEF8C959-161B-48E6-918F-19FB2A9D3909}" dt="2023-04-20T10:07:18.010" v="7129" actId="14100"/>
          <ac:spMkLst>
            <pc:docMk/>
            <pc:sldMk cId="3619372694" sldId="7327"/>
            <ac:spMk id="6" creationId="{3A70FE57-FC1B-4F9C-BB9E-21DD1D15064D}"/>
          </ac:spMkLst>
        </pc:spChg>
      </pc:sldChg>
      <pc:sldChg chg="modSp add mod ord">
        <pc:chgData name="Bez, Florian" userId="30d7df6a-5295-4d75-a650-5a1fab7b8b2e" providerId="ADAL" clId="{DEF8C959-161B-48E6-918F-19FB2A9D3909}" dt="2023-04-20T10:07:24.672" v="7131" actId="14100"/>
        <pc:sldMkLst>
          <pc:docMk/>
          <pc:sldMk cId="3109707722" sldId="7328"/>
        </pc:sldMkLst>
        <pc:spChg chg="mod">
          <ac:chgData name="Bez, Florian" userId="30d7df6a-5295-4d75-a650-5a1fab7b8b2e" providerId="ADAL" clId="{DEF8C959-161B-48E6-918F-19FB2A9D3909}" dt="2023-04-20T10:07:24.672" v="7131" actId="14100"/>
          <ac:spMkLst>
            <pc:docMk/>
            <pc:sldMk cId="3109707722" sldId="7328"/>
            <ac:spMk id="6" creationId="{3A70FE57-FC1B-4F9C-BB9E-21DD1D15064D}"/>
          </ac:spMkLst>
        </pc:spChg>
      </pc:sldChg>
      <pc:sldChg chg="new del">
        <pc:chgData name="Bez, Florian" userId="30d7df6a-5295-4d75-a650-5a1fab7b8b2e" providerId="ADAL" clId="{DEF8C959-161B-48E6-918F-19FB2A9D3909}" dt="2023-04-17T17:45:21.735" v="971" actId="47"/>
        <pc:sldMkLst>
          <pc:docMk/>
          <pc:sldMk cId="876589786" sldId="7329"/>
        </pc:sldMkLst>
      </pc:sldChg>
      <pc:sldChg chg="addSp delSp modSp add del mod ord">
        <pc:chgData name="Bez, Florian" userId="30d7df6a-5295-4d75-a650-5a1fab7b8b2e" providerId="ADAL" clId="{DEF8C959-161B-48E6-918F-19FB2A9D3909}" dt="2023-04-17T18:56:44.878" v="2736" actId="47"/>
        <pc:sldMkLst>
          <pc:docMk/>
          <pc:sldMk cId="114024070" sldId="7330"/>
        </pc:sldMkLst>
        <pc:spChg chg="add del mod">
          <ac:chgData name="Bez, Florian" userId="30d7df6a-5295-4d75-a650-5a1fab7b8b2e" providerId="ADAL" clId="{DEF8C959-161B-48E6-918F-19FB2A9D3909}" dt="2023-04-17T18:52:07.392" v="2724" actId="14100"/>
          <ac:spMkLst>
            <pc:docMk/>
            <pc:sldMk cId="114024070" sldId="7330"/>
            <ac:spMk id="4" creationId="{0B6C7D4F-A3B9-F336-779A-0F205BFF6AAB}"/>
          </ac:spMkLst>
        </pc:spChg>
      </pc:sldChg>
      <pc:sldChg chg="addSp delSp modSp add del mod">
        <pc:chgData name="Bez, Florian" userId="30d7df6a-5295-4d75-a650-5a1fab7b8b2e" providerId="ADAL" clId="{DEF8C959-161B-48E6-918F-19FB2A9D3909}" dt="2023-04-20T10:04:40.337" v="7010" actId="47"/>
        <pc:sldMkLst>
          <pc:docMk/>
          <pc:sldMk cId="3410864728" sldId="7331"/>
        </pc:sldMkLst>
        <pc:spChg chg="mod">
          <ac:chgData name="Bez, Florian" userId="30d7df6a-5295-4d75-a650-5a1fab7b8b2e" providerId="ADAL" clId="{DEF8C959-161B-48E6-918F-19FB2A9D3909}" dt="2023-04-20T06:59:04.883" v="4216" actId="20577"/>
          <ac:spMkLst>
            <pc:docMk/>
            <pc:sldMk cId="3410864728" sldId="7331"/>
            <ac:spMk id="2" creationId="{D80B81FD-744A-49A8-9CF9-3DE47A77E15E}"/>
          </ac:spMkLst>
        </pc:spChg>
        <pc:spChg chg="add del mod">
          <ac:chgData name="Bez, Florian" userId="30d7df6a-5295-4d75-a650-5a1fab7b8b2e" providerId="ADAL" clId="{DEF8C959-161B-48E6-918F-19FB2A9D3909}" dt="2023-04-20T06:59:17.029" v="4218" actId="478"/>
          <ac:spMkLst>
            <pc:docMk/>
            <pc:sldMk cId="3410864728" sldId="7331"/>
            <ac:spMk id="3" creationId="{6AF08B0D-B67C-C53E-7BC2-4400486E9B61}"/>
          </ac:spMkLst>
        </pc:spChg>
        <pc:spChg chg="del">
          <ac:chgData name="Bez, Florian" userId="30d7df6a-5295-4d75-a650-5a1fab7b8b2e" providerId="ADAL" clId="{DEF8C959-161B-48E6-918F-19FB2A9D3909}" dt="2023-04-17T14:50:58.575" v="486" actId="478"/>
          <ac:spMkLst>
            <pc:docMk/>
            <pc:sldMk cId="3410864728" sldId="7331"/>
            <ac:spMk id="3" creationId="{91C9AB35-7155-755C-4030-32BE88E3DD3E}"/>
          </ac:spMkLst>
        </pc:spChg>
        <pc:spChg chg="add del mod">
          <ac:chgData name="Bez, Florian" userId="30d7df6a-5295-4d75-a650-5a1fab7b8b2e" providerId="ADAL" clId="{DEF8C959-161B-48E6-918F-19FB2A9D3909}" dt="2023-04-20T06:59:18.418" v="4219" actId="478"/>
          <ac:spMkLst>
            <pc:docMk/>
            <pc:sldMk cId="3410864728" sldId="7331"/>
            <ac:spMk id="4" creationId="{8CB94B07-0DBA-6FF6-CDC0-8178D4CA5E0C}"/>
          </ac:spMkLst>
        </pc:spChg>
        <pc:spChg chg="del">
          <ac:chgData name="Bez, Florian" userId="30d7df6a-5295-4d75-a650-5a1fab7b8b2e" providerId="ADAL" clId="{DEF8C959-161B-48E6-918F-19FB2A9D3909}" dt="2023-04-17T14:50:58.575" v="486" actId="478"/>
          <ac:spMkLst>
            <pc:docMk/>
            <pc:sldMk cId="3410864728" sldId="7331"/>
            <ac:spMk id="4" creationId="{ECF4D732-9E11-3D84-A7FA-76497F9F2352}"/>
          </ac:spMkLst>
        </pc:spChg>
        <pc:spChg chg="del">
          <ac:chgData name="Bez, Florian" userId="30d7df6a-5295-4d75-a650-5a1fab7b8b2e" providerId="ADAL" clId="{DEF8C959-161B-48E6-918F-19FB2A9D3909}" dt="2023-04-17T14:50:58.575" v="486" actId="478"/>
          <ac:spMkLst>
            <pc:docMk/>
            <pc:sldMk cId="3410864728" sldId="7331"/>
            <ac:spMk id="8" creationId="{1CC9E619-3053-A70E-1580-EB38F557A36E}"/>
          </ac:spMkLst>
        </pc:spChg>
        <pc:spChg chg="add mod">
          <ac:chgData name="Bez, Florian" userId="30d7df6a-5295-4d75-a650-5a1fab7b8b2e" providerId="ADAL" clId="{DEF8C959-161B-48E6-918F-19FB2A9D3909}" dt="2023-04-20T07:00:20.750" v="4402" actId="20577"/>
          <ac:spMkLst>
            <pc:docMk/>
            <pc:sldMk cId="3410864728" sldId="7331"/>
            <ac:spMk id="8" creationId="{645AFD6C-768A-FC1B-8313-74FDDC8980BC}"/>
          </ac:spMkLst>
        </pc:spChg>
        <pc:spChg chg="del">
          <ac:chgData name="Bez, Florian" userId="30d7df6a-5295-4d75-a650-5a1fab7b8b2e" providerId="ADAL" clId="{DEF8C959-161B-48E6-918F-19FB2A9D3909}" dt="2023-04-17T14:50:58.575" v="486" actId="478"/>
          <ac:spMkLst>
            <pc:docMk/>
            <pc:sldMk cId="3410864728" sldId="7331"/>
            <ac:spMk id="11" creationId="{7A28E8F6-BEFA-B377-3A44-E6C683DED0AC}"/>
          </ac:spMkLst>
        </pc:spChg>
        <pc:spChg chg="del">
          <ac:chgData name="Bez, Florian" userId="30d7df6a-5295-4d75-a650-5a1fab7b8b2e" providerId="ADAL" clId="{DEF8C959-161B-48E6-918F-19FB2A9D3909}" dt="2023-04-17T14:50:58.575" v="486" actId="478"/>
          <ac:spMkLst>
            <pc:docMk/>
            <pc:sldMk cId="3410864728" sldId="7331"/>
            <ac:spMk id="12" creationId="{9177E799-B649-806F-5FC2-BB569A878F35}"/>
          </ac:spMkLst>
        </pc:spChg>
        <pc:spChg chg="add del mod">
          <ac:chgData name="Bez, Florian" userId="30d7df6a-5295-4d75-a650-5a1fab7b8b2e" providerId="ADAL" clId="{DEF8C959-161B-48E6-918F-19FB2A9D3909}" dt="2023-04-20T06:59:15.464" v="4217" actId="478"/>
          <ac:spMkLst>
            <pc:docMk/>
            <pc:sldMk cId="3410864728" sldId="7331"/>
            <ac:spMk id="13" creationId="{4F54A281-BBC1-4957-CEFC-C28FE0381101}"/>
          </ac:spMkLst>
        </pc:spChg>
        <pc:spChg chg="mod">
          <ac:chgData name="Bez, Florian" userId="30d7df6a-5295-4d75-a650-5a1fab7b8b2e" providerId="ADAL" clId="{DEF8C959-161B-48E6-918F-19FB2A9D3909}" dt="2023-04-17T14:51:34.184" v="497" actId="20577"/>
          <ac:spMkLst>
            <pc:docMk/>
            <pc:sldMk cId="3410864728" sldId="7331"/>
            <ac:spMk id="16" creationId="{4573F1F2-4C82-037F-B78E-1CC6212DE4FC}"/>
          </ac:spMkLst>
        </pc:spChg>
        <pc:spChg chg="del">
          <ac:chgData name="Bez, Florian" userId="30d7df6a-5295-4d75-a650-5a1fab7b8b2e" providerId="ADAL" clId="{DEF8C959-161B-48E6-918F-19FB2A9D3909}" dt="2023-04-17T14:51:08.231" v="490" actId="478"/>
          <ac:spMkLst>
            <pc:docMk/>
            <pc:sldMk cId="3410864728" sldId="7331"/>
            <ac:spMk id="24" creationId="{029F55C7-55AF-B186-DF1B-DBBAAB186299}"/>
          </ac:spMkLst>
        </pc:spChg>
        <pc:spChg chg="del">
          <ac:chgData name="Bez, Florian" userId="30d7df6a-5295-4d75-a650-5a1fab7b8b2e" providerId="ADAL" clId="{DEF8C959-161B-48E6-918F-19FB2A9D3909}" dt="2023-04-17T14:50:58.575" v="486" actId="478"/>
          <ac:spMkLst>
            <pc:docMk/>
            <pc:sldMk cId="3410864728" sldId="7331"/>
            <ac:spMk id="29" creationId="{A16B58E7-48BC-4D3D-5097-CE94D10FF577}"/>
          </ac:spMkLst>
        </pc:spChg>
        <pc:spChg chg="del">
          <ac:chgData name="Bez, Florian" userId="30d7df6a-5295-4d75-a650-5a1fab7b8b2e" providerId="ADAL" clId="{DEF8C959-161B-48E6-918F-19FB2A9D3909}" dt="2023-04-17T14:50:58.575" v="486" actId="478"/>
          <ac:spMkLst>
            <pc:docMk/>
            <pc:sldMk cId="3410864728" sldId="7331"/>
            <ac:spMk id="33" creationId="{BC9754C7-238A-8FB8-1377-4366B4F829AB}"/>
          </ac:spMkLst>
        </pc:spChg>
        <pc:picChg chg="del">
          <ac:chgData name="Bez, Florian" userId="30d7df6a-5295-4d75-a650-5a1fab7b8b2e" providerId="ADAL" clId="{DEF8C959-161B-48E6-918F-19FB2A9D3909}" dt="2023-04-17T14:50:58.575" v="486" actId="478"/>
          <ac:picMkLst>
            <pc:docMk/>
            <pc:sldMk cId="3410864728" sldId="7331"/>
            <ac:picMk id="9" creationId="{F889C497-D5F6-6DE6-9CA0-BDCD85E2A615}"/>
          </ac:picMkLst>
        </pc:picChg>
        <pc:picChg chg="del">
          <ac:chgData name="Bez, Florian" userId="30d7df6a-5295-4d75-a650-5a1fab7b8b2e" providerId="ADAL" clId="{DEF8C959-161B-48E6-918F-19FB2A9D3909}" dt="2023-04-17T14:50:58.575" v="486" actId="478"/>
          <ac:picMkLst>
            <pc:docMk/>
            <pc:sldMk cId="3410864728" sldId="7331"/>
            <ac:picMk id="10" creationId="{F52861D1-46C1-C7A9-088F-ACA888F91BFF}"/>
          </ac:picMkLst>
        </pc:picChg>
        <pc:picChg chg="del">
          <ac:chgData name="Bez, Florian" userId="30d7df6a-5295-4d75-a650-5a1fab7b8b2e" providerId="ADAL" clId="{DEF8C959-161B-48E6-918F-19FB2A9D3909}" dt="2023-04-17T14:51:05.256" v="489" actId="478"/>
          <ac:picMkLst>
            <pc:docMk/>
            <pc:sldMk cId="3410864728" sldId="7331"/>
            <ac:picMk id="19" creationId="{83B339E0-CDD3-9BF4-88F9-A2B592BFB619}"/>
          </ac:picMkLst>
        </pc:picChg>
        <pc:picChg chg="del">
          <ac:chgData name="Bez, Florian" userId="30d7df6a-5295-4d75-a650-5a1fab7b8b2e" providerId="ADAL" clId="{DEF8C959-161B-48E6-918F-19FB2A9D3909}" dt="2023-04-17T14:51:09.880" v="491" actId="478"/>
          <ac:picMkLst>
            <pc:docMk/>
            <pc:sldMk cId="3410864728" sldId="7331"/>
            <ac:picMk id="22" creationId="{B3FECB9F-9160-83E3-2475-CA40BE118A54}"/>
          </ac:picMkLst>
        </pc:picChg>
        <pc:picChg chg="del">
          <ac:chgData name="Bez, Florian" userId="30d7df6a-5295-4d75-a650-5a1fab7b8b2e" providerId="ADAL" clId="{DEF8C959-161B-48E6-918F-19FB2A9D3909}" dt="2023-04-17T14:51:01.495" v="487" actId="478"/>
          <ac:picMkLst>
            <pc:docMk/>
            <pc:sldMk cId="3410864728" sldId="7331"/>
            <ac:picMk id="37" creationId="{C3D9B531-979A-DB91-6CB7-CB6AAE3FEAE9}"/>
          </ac:picMkLst>
        </pc:picChg>
        <pc:picChg chg="del">
          <ac:chgData name="Bez, Florian" userId="30d7df6a-5295-4d75-a650-5a1fab7b8b2e" providerId="ADAL" clId="{DEF8C959-161B-48E6-918F-19FB2A9D3909}" dt="2023-04-17T14:51:03.336" v="488" actId="478"/>
          <ac:picMkLst>
            <pc:docMk/>
            <pc:sldMk cId="3410864728" sldId="7331"/>
            <ac:picMk id="40" creationId="{4FFADAC9-6F24-120D-7A55-540C350EC5C8}"/>
          </ac:picMkLst>
        </pc:picChg>
        <pc:picChg chg="del">
          <ac:chgData name="Bez, Florian" userId="30d7df6a-5295-4d75-a650-5a1fab7b8b2e" providerId="ADAL" clId="{DEF8C959-161B-48E6-918F-19FB2A9D3909}" dt="2023-04-17T14:50:58.575" v="486" actId="478"/>
          <ac:picMkLst>
            <pc:docMk/>
            <pc:sldMk cId="3410864728" sldId="7331"/>
            <ac:picMk id="44" creationId="{25C2E8DF-FF16-8B5C-28B2-362352D66E87}"/>
          </ac:picMkLst>
        </pc:picChg>
        <pc:picChg chg="del">
          <ac:chgData name="Bez, Florian" userId="30d7df6a-5295-4d75-a650-5a1fab7b8b2e" providerId="ADAL" clId="{DEF8C959-161B-48E6-918F-19FB2A9D3909}" dt="2023-04-17T14:50:58.575" v="486" actId="478"/>
          <ac:picMkLst>
            <pc:docMk/>
            <pc:sldMk cId="3410864728" sldId="7331"/>
            <ac:picMk id="45" creationId="{361398A7-5AE4-1F78-FC86-E83A52E42AF4}"/>
          </ac:picMkLst>
        </pc:picChg>
        <pc:picChg chg="del">
          <ac:chgData name="Bez, Florian" userId="30d7df6a-5295-4d75-a650-5a1fab7b8b2e" providerId="ADAL" clId="{DEF8C959-161B-48E6-918F-19FB2A9D3909}" dt="2023-04-17T14:50:58.575" v="486" actId="478"/>
          <ac:picMkLst>
            <pc:docMk/>
            <pc:sldMk cId="3410864728" sldId="7331"/>
            <ac:picMk id="47" creationId="{0BD47666-1E4D-F064-4C74-FB2680EE1257}"/>
          </ac:picMkLst>
        </pc:picChg>
        <pc:picChg chg="del">
          <ac:chgData name="Bez, Florian" userId="30d7df6a-5295-4d75-a650-5a1fab7b8b2e" providerId="ADAL" clId="{DEF8C959-161B-48E6-918F-19FB2A9D3909}" dt="2023-04-17T14:50:58.575" v="486" actId="478"/>
          <ac:picMkLst>
            <pc:docMk/>
            <pc:sldMk cId="3410864728" sldId="7331"/>
            <ac:picMk id="49" creationId="{4249FC28-F430-F07A-3833-A737B4AD4B8D}"/>
          </ac:picMkLst>
        </pc:picChg>
      </pc:sldChg>
      <pc:sldChg chg="addSp delSp modSp add mod ord delAnim modAnim modShow">
        <pc:chgData name="Bez, Florian" userId="30d7df6a-5295-4d75-a650-5a1fab7b8b2e" providerId="ADAL" clId="{DEF8C959-161B-48E6-918F-19FB2A9D3909}" dt="2023-04-21T08:18:25.431" v="8881"/>
        <pc:sldMkLst>
          <pc:docMk/>
          <pc:sldMk cId="3698303833" sldId="7332"/>
        </pc:sldMkLst>
        <pc:spChg chg="mod">
          <ac:chgData name="Bez, Florian" userId="30d7df6a-5295-4d75-a650-5a1fab7b8b2e" providerId="ADAL" clId="{DEF8C959-161B-48E6-918F-19FB2A9D3909}" dt="2023-04-17T17:29:10.268" v="669" actId="20577"/>
          <ac:spMkLst>
            <pc:docMk/>
            <pc:sldMk cId="3698303833" sldId="7332"/>
            <ac:spMk id="2" creationId="{D80B81FD-744A-49A8-9CF9-3DE47A77E15E}"/>
          </ac:spMkLst>
        </pc:spChg>
        <pc:spChg chg="add del mod">
          <ac:chgData name="Bez, Florian" userId="30d7df6a-5295-4d75-a650-5a1fab7b8b2e" providerId="ADAL" clId="{DEF8C959-161B-48E6-918F-19FB2A9D3909}" dt="2023-04-20T06:28:46.793" v="3786" actId="478"/>
          <ac:spMkLst>
            <pc:docMk/>
            <pc:sldMk cId="3698303833" sldId="7332"/>
            <ac:spMk id="3" creationId="{966618D8-CA85-207F-6A1C-6DC46C47D3F8}"/>
          </ac:spMkLst>
        </pc:spChg>
        <pc:spChg chg="add del mod">
          <ac:chgData name="Bez, Florian" userId="30d7df6a-5295-4d75-a650-5a1fab7b8b2e" providerId="ADAL" clId="{DEF8C959-161B-48E6-918F-19FB2A9D3909}" dt="2023-04-20T06:28:45.494" v="3785" actId="478"/>
          <ac:spMkLst>
            <pc:docMk/>
            <pc:sldMk cId="3698303833" sldId="7332"/>
            <ac:spMk id="4" creationId="{0E70A2D9-8EF8-CA16-E4AA-C853A03132A2}"/>
          </ac:spMkLst>
        </pc:spChg>
        <pc:spChg chg="mod">
          <ac:chgData name="Bez, Florian" userId="30d7df6a-5295-4d75-a650-5a1fab7b8b2e" providerId="ADAL" clId="{DEF8C959-161B-48E6-918F-19FB2A9D3909}" dt="2023-04-20T10:07:53.842" v="7167" actId="14100"/>
          <ac:spMkLst>
            <pc:docMk/>
            <pc:sldMk cId="3698303833" sldId="7332"/>
            <ac:spMk id="6" creationId="{3A70FE57-FC1B-4F9C-BB9E-21DD1D15064D}"/>
          </ac:spMkLst>
        </pc:spChg>
        <pc:spChg chg="add mod">
          <ac:chgData name="Bez, Florian" userId="30d7df6a-5295-4d75-a650-5a1fab7b8b2e" providerId="ADAL" clId="{DEF8C959-161B-48E6-918F-19FB2A9D3909}" dt="2023-04-20T06:28:11.946" v="3779" actId="113"/>
          <ac:spMkLst>
            <pc:docMk/>
            <pc:sldMk cId="3698303833" sldId="7332"/>
            <ac:spMk id="8" creationId="{9F78A8D4-BB13-DDCE-9659-8D1BE04FECD5}"/>
          </ac:spMkLst>
        </pc:spChg>
        <pc:spChg chg="add del mod">
          <ac:chgData name="Bez, Florian" userId="30d7df6a-5295-4d75-a650-5a1fab7b8b2e" providerId="ADAL" clId="{DEF8C959-161B-48E6-918F-19FB2A9D3909}" dt="2023-04-20T06:27:39.577" v="3766" actId="478"/>
          <ac:spMkLst>
            <pc:docMk/>
            <pc:sldMk cId="3698303833" sldId="7332"/>
            <ac:spMk id="9" creationId="{1B01823C-1FD1-BDC3-C830-CE21F83202A0}"/>
          </ac:spMkLst>
        </pc:spChg>
        <pc:spChg chg="add del mod">
          <ac:chgData name="Bez, Florian" userId="30d7df6a-5295-4d75-a650-5a1fab7b8b2e" providerId="ADAL" clId="{DEF8C959-161B-48E6-918F-19FB2A9D3909}" dt="2023-04-20T06:27:37.540" v="3765" actId="478"/>
          <ac:spMkLst>
            <pc:docMk/>
            <pc:sldMk cId="3698303833" sldId="7332"/>
            <ac:spMk id="10" creationId="{BE452C48-3199-6BF5-A135-CAD336A87515}"/>
          </ac:spMkLst>
        </pc:spChg>
        <pc:spChg chg="add mod">
          <ac:chgData name="Bez, Florian" userId="30d7df6a-5295-4d75-a650-5a1fab7b8b2e" providerId="ADAL" clId="{DEF8C959-161B-48E6-918F-19FB2A9D3909}" dt="2023-04-20T07:48:58.267" v="4890" actId="1076"/>
          <ac:spMkLst>
            <pc:docMk/>
            <pc:sldMk cId="3698303833" sldId="7332"/>
            <ac:spMk id="11" creationId="{1F539489-191D-4CD8-1FE1-E91E5C923654}"/>
          </ac:spMkLst>
        </pc:spChg>
        <pc:spChg chg="add mod">
          <ac:chgData name="Bez, Florian" userId="30d7df6a-5295-4d75-a650-5a1fab7b8b2e" providerId="ADAL" clId="{DEF8C959-161B-48E6-918F-19FB2A9D3909}" dt="2023-04-20T06:31:53.027" v="3874" actId="14100"/>
          <ac:spMkLst>
            <pc:docMk/>
            <pc:sldMk cId="3698303833" sldId="7332"/>
            <ac:spMk id="12" creationId="{2244D736-C009-4DAB-B1FA-3B52EF8B120B}"/>
          </ac:spMkLst>
        </pc:spChg>
        <pc:spChg chg="add mod">
          <ac:chgData name="Bez, Florian" userId="30d7df6a-5295-4d75-a650-5a1fab7b8b2e" providerId="ADAL" clId="{DEF8C959-161B-48E6-918F-19FB2A9D3909}" dt="2023-04-20T07:48:54.959" v="4888" actId="404"/>
          <ac:spMkLst>
            <pc:docMk/>
            <pc:sldMk cId="3698303833" sldId="7332"/>
            <ac:spMk id="18" creationId="{283180D0-CCD0-B7BB-5099-3D76F7A1F46C}"/>
          </ac:spMkLst>
        </pc:spChg>
        <pc:spChg chg="add mod">
          <ac:chgData name="Bez, Florian" userId="30d7df6a-5295-4d75-a650-5a1fab7b8b2e" providerId="ADAL" clId="{DEF8C959-161B-48E6-918F-19FB2A9D3909}" dt="2023-04-20T07:48:02.912" v="4869" actId="20577"/>
          <ac:spMkLst>
            <pc:docMk/>
            <pc:sldMk cId="3698303833" sldId="7332"/>
            <ac:spMk id="19" creationId="{8743BB85-B8FF-C287-21A0-7682C029362C}"/>
          </ac:spMkLst>
        </pc:spChg>
        <pc:spChg chg="add del mod">
          <ac:chgData name="Bez, Florian" userId="30d7df6a-5295-4d75-a650-5a1fab7b8b2e" providerId="ADAL" clId="{DEF8C959-161B-48E6-918F-19FB2A9D3909}" dt="2023-04-20T06:44:32.959" v="4023" actId="478"/>
          <ac:spMkLst>
            <pc:docMk/>
            <pc:sldMk cId="3698303833" sldId="7332"/>
            <ac:spMk id="20" creationId="{09071EEF-5483-8DD6-22FF-DD9D5FF6281F}"/>
          </ac:spMkLst>
        </pc:spChg>
        <pc:spChg chg="add mod">
          <ac:chgData name="Bez, Florian" userId="30d7df6a-5295-4d75-a650-5a1fab7b8b2e" providerId="ADAL" clId="{DEF8C959-161B-48E6-918F-19FB2A9D3909}" dt="2023-04-20T07:49:11.083" v="4896" actId="20577"/>
          <ac:spMkLst>
            <pc:docMk/>
            <pc:sldMk cId="3698303833" sldId="7332"/>
            <ac:spMk id="21" creationId="{82DAA785-33F6-8B63-0768-FFDDEBF9114D}"/>
          </ac:spMkLst>
        </pc:spChg>
        <pc:picChg chg="add del mod">
          <ac:chgData name="Bez, Florian" userId="30d7df6a-5295-4d75-a650-5a1fab7b8b2e" providerId="ADAL" clId="{DEF8C959-161B-48E6-918F-19FB2A9D3909}" dt="2023-04-20T06:31:11.710" v="3861" actId="478"/>
          <ac:picMkLst>
            <pc:docMk/>
            <pc:sldMk cId="3698303833" sldId="7332"/>
            <ac:picMk id="14" creationId="{1532364C-9D92-727A-EEC6-6A2CD8B83EA8}"/>
          </ac:picMkLst>
        </pc:picChg>
        <pc:picChg chg="add mod">
          <ac:chgData name="Bez, Florian" userId="30d7df6a-5295-4d75-a650-5a1fab7b8b2e" providerId="ADAL" clId="{DEF8C959-161B-48E6-918F-19FB2A9D3909}" dt="2023-04-20T06:31:57.610" v="3875" actId="1076"/>
          <ac:picMkLst>
            <pc:docMk/>
            <pc:sldMk cId="3698303833" sldId="7332"/>
            <ac:picMk id="17" creationId="{0824E31A-38EC-88E0-DB90-9BAC37A9B26A}"/>
          </ac:picMkLst>
        </pc:picChg>
      </pc:sldChg>
      <pc:sldChg chg="addSp delSp modSp add mod delAnim modAnim modNotesTx">
        <pc:chgData name="Bez, Florian" userId="30d7df6a-5295-4d75-a650-5a1fab7b8b2e" providerId="ADAL" clId="{DEF8C959-161B-48E6-918F-19FB2A9D3909}" dt="2023-04-21T10:24:18.613" v="10390" actId="313"/>
        <pc:sldMkLst>
          <pc:docMk/>
          <pc:sldMk cId="1603008812" sldId="7333"/>
        </pc:sldMkLst>
        <pc:spChg chg="mod">
          <ac:chgData name="Bez, Florian" userId="30d7df6a-5295-4d75-a650-5a1fab7b8b2e" providerId="ADAL" clId="{DEF8C959-161B-48E6-918F-19FB2A9D3909}" dt="2023-04-21T10:00:54.587" v="10118" actId="14100"/>
          <ac:spMkLst>
            <pc:docMk/>
            <pc:sldMk cId="1603008812" sldId="7333"/>
            <ac:spMk id="2" creationId="{D80B81FD-744A-49A8-9CF9-3DE47A77E15E}"/>
          </ac:spMkLst>
        </pc:spChg>
        <pc:spChg chg="add del mod">
          <ac:chgData name="Bez, Florian" userId="30d7df6a-5295-4d75-a650-5a1fab7b8b2e" providerId="ADAL" clId="{DEF8C959-161B-48E6-918F-19FB2A9D3909}" dt="2023-04-21T08:19:22.991" v="8919" actId="478"/>
          <ac:spMkLst>
            <pc:docMk/>
            <pc:sldMk cId="1603008812" sldId="7333"/>
            <ac:spMk id="4" creationId="{7031FC4C-4FFA-BA16-E496-F2DB0690D112}"/>
          </ac:spMkLst>
        </pc:spChg>
        <pc:spChg chg="mod">
          <ac:chgData name="Bez, Florian" userId="30d7df6a-5295-4d75-a650-5a1fab7b8b2e" providerId="ADAL" clId="{DEF8C959-161B-48E6-918F-19FB2A9D3909}" dt="2023-04-20T10:08:16.970" v="7191" actId="14100"/>
          <ac:spMkLst>
            <pc:docMk/>
            <pc:sldMk cId="1603008812" sldId="7333"/>
            <ac:spMk id="6" creationId="{3A70FE57-FC1B-4F9C-BB9E-21DD1D15064D}"/>
          </ac:spMkLst>
        </pc:spChg>
        <pc:spChg chg="mod">
          <ac:chgData name="Bez, Florian" userId="30d7df6a-5295-4d75-a650-5a1fab7b8b2e" providerId="ADAL" clId="{DEF8C959-161B-48E6-918F-19FB2A9D3909}" dt="2023-04-21T09:53:26.427" v="9997"/>
          <ac:spMkLst>
            <pc:docMk/>
            <pc:sldMk cId="1603008812" sldId="7333"/>
            <ac:spMk id="9" creationId="{A1DFA4BF-678B-C4AB-A02A-17A1DBBC4F08}"/>
          </ac:spMkLst>
        </pc:spChg>
        <pc:spChg chg="mod">
          <ac:chgData name="Bez, Florian" userId="30d7df6a-5295-4d75-a650-5a1fab7b8b2e" providerId="ADAL" clId="{DEF8C959-161B-48E6-918F-19FB2A9D3909}" dt="2023-04-21T09:53:26.427" v="9997"/>
          <ac:spMkLst>
            <pc:docMk/>
            <pc:sldMk cId="1603008812" sldId="7333"/>
            <ac:spMk id="14" creationId="{55D2E1AC-DE91-CFAA-8D39-BEFCFCE26C4A}"/>
          </ac:spMkLst>
        </pc:spChg>
        <pc:spChg chg="mod">
          <ac:chgData name="Bez, Florian" userId="30d7df6a-5295-4d75-a650-5a1fab7b8b2e" providerId="ADAL" clId="{DEF8C959-161B-48E6-918F-19FB2A9D3909}" dt="2023-04-21T09:53:26.427" v="9997"/>
          <ac:spMkLst>
            <pc:docMk/>
            <pc:sldMk cId="1603008812" sldId="7333"/>
            <ac:spMk id="15" creationId="{45E02F6F-7E36-0BFE-E531-D5703B8939C7}"/>
          </ac:spMkLst>
        </pc:spChg>
        <pc:spChg chg="del">
          <ac:chgData name="Bez, Florian" userId="30d7df6a-5295-4d75-a650-5a1fab7b8b2e" providerId="ADAL" clId="{DEF8C959-161B-48E6-918F-19FB2A9D3909}" dt="2023-04-21T09:54:10.185" v="10004" actId="478"/>
          <ac:spMkLst>
            <pc:docMk/>
            <pc:sldMk cId="1603008812" sldId="7333"/>
            <ac:spMk id="16" creationId="{4573F1F2-4C82-037F-B78E-1CC6212DE4FC}"/>
          </ac:spMkLst>
        </pc:spChg>
        <pc:spChg chg="mod">
          <ac:chgData name="Bez, Florian" userId="30d7df6a-5295-4d75-a650-5a1fab7b8b2e" providerId="ADAL" clId="{DEF8C959-161B-48E6-918F-19FB2A9D3909}" dt="2023-04-21T09:53:26.427" v="9997"/>
          <ac:spMkLst>
            <pc:docMk/>
            <pc:sldMk cId="1603008812" sldId="7333"/>
            <ac:spMk id="17" creationId="{7618D653-2980-654C-F373-65AC45CDEB4A}"/>
          </ac:spMkLst>
        </pc:spChg>
        <pc:spChg chg="mod">
          <ac:chgData name="Bez, Florian" userId="30d7df6a-5295-4d75-a650-5a1fab7b8b2e" providerId="ADAL" clId="{DEF8C959-161B-48E6-918F-19FB2A9D3909}" dt="2023-04-21T09:53:26.427" v="9997"/>
          <ac:spMkLst>
            <pc:docMk/>
            <pc:sldMk cId="1603008812" sldId="7333"/>
            <ac:spMk id="18" creationId="{DF5376D2-354D-0F3F-C4B8-B10F4E7B2F23}"/>
          </ac:spMkLst>
        </pc:spChg>
        <pc:spChg chg="mod">
          <ac:chgData name="Bez, Florian" userId="30d7df6a-5295-4d75-a650-5a1fab7b8b2e" providerId="ADAL" clId="{DEF8C959-161B-48E6-918F-19FB2A9D3909}" dt="2023-04-21T09:53:26.427" v="9997"/>
          <ac:spMkLst>
            <pc:docMk/>
            <pc:sldMk cId="1603008812" sldId="7333"/>
            <ac:spMk id="19" creationId="{A5DC250B-EA3E-0DE1-BB15-D35DF76F1831}"/>
          </ac:spMkLst>
        </pc:spChg>
        <pc:spChg chg="mod">
          <ac:chgData name="Bez, Florian" userId="30d7df6a-5295-4d75-a650-5a1fab7b8b2e" providerId="ADAL" clId="{DEF8C959-161B-48E6-918F-19FB2A9D3909}" dt="2023-04-21T09:53:26.427" v="9997"/>
          <ac:spMkLst>
            <pc:docMk/>
            <pc:sldMk cId="1603008812" sldId="7333"/>
            <ac:spMk id="20" creationId="{AD6778B2-B891-5CC4-0D7A-D95EF768EF63}"/>
          </ac:spMkLst>
        </pc:spChg>
        <pc:spChg chg="mod">
          <ac:chgData name="Bez, Florian" userId="30d7df6a-5295-4d75-a650-5a1fab7b8b2e" providerId="ADAL" clId="{DEF8C959-161B-48E6-918F-19FB2A9D3909}" dt="2023-04-21T09:53:26.427" v="9997"/>
          <ac:spMkLst>
            <pc:docMk/>
            <pc:sldMk cId="1603008812" sldId="7333"/>
            <ac:spMk id="21" creationId="{D268A4B4-A159-0C23-3475-18542426741B}"/>
          </ac:spMkLst>
        </pc:spChg>
        <pc:spChg chg="mod">
          <ac:chgData name="Bez, Florian" userId="30d7df6a-5295-4d75-a650-5a1fab7b8b2e" providerId="ADAL" clId="{DEF8C959-161B-48E6-918F-19FB2A9D3909}" dt="2023-04-21T09:53:26.427" v="9997"/>
          <ac:spMkLst>
            <pc:docMk/>
            <pc:sldMk cId="1603008812" sldId="7333"/>
            <ac:spMk id="22" creationId="{563563FF-1A4F-1D60-CC3C-6ADFF31ECD35}"/>
          </ac:spMkLst>
        </pc:spChg>
        <pc:spChg chg="mod">
          <ac:chgData name="Bez, Florian" userId="30d7df6a-5295-4d75-a650-5a1fab7b8b2e" providerId="ADAL" clId="{DEF8C959-161B-48E6-918F-19FB2A9D3909}" dt="2023-04-21T09:53:26.427" v="9997"/>
          <ac:spMkLst>
            <pc:docMk/>
            <pc:sldMk cId="1603008812" sldId="7333"/>
            <ac:spMk id="23" creationId="{3FC9460A-893A-E2AC-D9D3-A9613254E0EB}"/>
          </ac:spMkLst>
        </pc:spChg>
        <pc:spChg chg="mod">
          <ac:chgData name="Bez, Florian" userId="30d7df6a-5295-4d75-a650-5a1fab7b8b2e" providerId="ADAL" clId="{DEF8C959-161B-48E6-918F-19FB2A9D3909}" dt="2023-04-21T09:53:26.427" v="9997"/>
          <ac:spMkLst>
            <pc:docMk/>
            <pc:sldMk cId="1603008812" sldId="7333"/>
            <ac:spMk id="24" creationId="{2F3475BB-CF74-B967-48CE-1065DCE0F28D}"/>
          </ac:spMkLst>
        </pc:spChg>
        <pc:spChg chg="mod">
          <ac:chgData name="Bez, Florian" userId="30d7df6a-5295-4d75-a650-5a1fab7b8b2e" providerId="ADAL" clId="{DEF8C959-161B-48E6-918F-19FB2A9D3909}" dt="2023-04-21T09:53:26.427" v="9997"/>
          <ac:spMkLst>
            <pc:docMk/>
            <pc:sldMk cId="1603008812" sldId="7333"/>
            <ac:spMk id="25" creationId="{C1B859D2-C10F-304B-82A7-03D0A916799C}"/>
          </ac:spMkLst>
        </pc:spChg>
        <pc:spChg chg="mod">
          <ac:chgData name="Bez, Florian" userId="30d7df6a-5295-4d75-a650-5a1fab7b8b2e" providerId="ADAL" clId="{DEF8C959-161B-48E6-918F-19FB2A9D3909}" dt="2023-04-21T09:53:26.427" v="9997"/>
          <ac:spMkLst>
            <pc:docMk/>
            <pc:sldMk cId="1603008812" sldId="7333"/>
            <ac:spMk id="26" creationId="{05B96102-C4BE-2152-3099-90A668C56C38}"/>
          </ac:spMkLst>
        </pc:spChg>
        <pc:spChg chg="mod">
          <ac:chgData name="Bez, Florian" userId="30d7df6a-5295-4d75-a650-5a1fab7b8b2e" providerId="ADAL" clId="{DEF8C959-161B-48E6-918F-19FB2A9D3909}" dt="2023-04-21T09:53:26.427" v="9997"/>
          <ac:spMkLst>
            <pc:docMk/>
            <pc:sldMk cId="1603008812" sldId="7333"/>
            <ac:spMk id="27" creationId="{58804515-3FBC-CF96-30F0-523AF76F5998}"/>
          </ac:spMkLst>
        </pc:spChg>
        <pc:spChg chg="mod">
          <ac:chgData name="Bez, Florian" userId="30d7df6a-5295-4d75-a650-5a1fab7b8b2e" providerId="ADAL" clId="{DEF8C959-161B-48E6-918F-19FB2A9D3909}" dt="2023-04-21T09:53:26.427" v="9997"/>
          <ac:spMkLst>
            <pc:docMk/>
            <pc:sldMk cId="1603008812" sldId="7333"/>
            <ac:spMk id="28" creationId="{4FDB0D5A-2116-A12D-96DB-229AA61A681C}"/>
          </ac:spMkLst>
        </pc:spChg>
        <pc:spChg chg="mod">
          <ac:chgData name="Bez, Florian" userId="30d7df6a-5295-4d75-a650-5a1fab7b8b2e" providerId="ADAL" clId="{DEF8C959-161B-48E6-918F-19FB2A9D3909}" dt="2023-04-21T09:53:26.427" v="9997"/>
          <ac:spMkLst>
            <pc:docMk/>
            <pc:sldMk cId="1603008812" sldId="7333"/>
            <ac:spMk id="29" creationId="{1F86E9C6-3F70-8E05-56CF-37C32C59ED5B}"/>
          </ac:spMkLst>
        </pc:spChg>
        <pc:spChg chg="mod">
          <ac:chgData name="Bez, Florian" userId="30d7df6a-5295-4d75-a650-5a1fab7b8b2e" providerId="ADAL" clId="{DEF8C959-161B-48E6-918F-19FB2A9D3909}" dt="2023-04-21T09:53:26.427" v="9997"/>
          <ac:spMkLst>
            <pc:docMk/>
            <pc:sldMk cId="1603008812" sldId="7333"/>
            <ac:spMk id="30" creationId="{133764FA-DD39-838B-01A9-ABDED95AF6A0}"/>
          </ac:spMkLst>
        </pc:spChg>
        <pc:spChg chg="mod">
          <ac:chgData name="Bez, Florian" userId="30d7df6a-5295-4d75-a650-5a1fab7b8b2e" providerId="ADAL" clId="{DEF8C959-161B-48E6-918F-19FB2A9D3909}" dt="2023-04-21T09:53:26.427" v="9997"/>
          <ac:spMkLst>
            <pc:docMk/>
            <pc:sldMk cId="1603008812" sldId="7333"/>
            <ac:spMk id="31" creationId="{271358FC-BBB0-4985-0653-B694E8CAD053}"/>
          </ac:spMkLst>
        </pc:spChg>
        <pc:spChg chg="mod">
          <ac:chgData name="Bez, Florian" userId="30d7df6a-5295-4d75-a650-5a1fab7b8b2e" providerId="ADAL" clId="{DEF8C959-161B-48E6-918F-19FB2A9D3909}" dt="2023-04-21T09:53:26.427" v="9997"/>
          <ac:spMkLst>
            <pc:docMk/>
            <pc:sldMk cId="1603008812" sldId="7333"/>
            <ac:spMk id="1024" creationId="{18B0221D-4DDE-0E64-40D1-AABC28182337}"/>
          </ac:spMkLst>
        </pc:spChg>
        <pc:spChg chg="mod">
          <ac:chgData name="Bez, Florian" userId="30d7df6a-5295-4d75-a650-5a1fab7b8b2e" providerId="ADAL" clId="{DEF8C959-161B-48E6-918F-19FB2A9D3909}" dt="2023-04-21T09:53:26.427" v="9997"/>
          <ac:spMkLst>
            <pc:docMk/>
            <pc:sldMk cId="1603008812" sldId="7333"/>
            <ac:spMk id="1025" creationId="{BE068423-7C50-2EE7-C92E-32F789B0C4C1}"/>
          </ac:spMkLst>
        </pc:spChg>
        <pc:spChg chg="mod">
          <ac:chgData name="Bez, Florian" userId="30d7df6a-5295-4d75-a650-5a1fab7b8b2e" providerId="ADAL" clId="{DEF8C959-161B-48E6-918F-19FB2A9D3909}" dt="2023-04-21T09:53:26.427" v="9997"/>
          <ac:spMkLst>
            <pc:docMk/>
            <pc:sldMk cId="1603008812" sldId="7333"/>
            <ac:spMk id="1027" creationId="{014ABA06-E1BA-2C5D-B35F-D54441B435D1}"/>
          </ac:spMkLst>
        </pc:spChg>
        <pc:spChg chg="mod">
          <ac:chgData name="Bez, Florian" userId="30d7df6a-5295-4d75-a650-5a1fab7b8b2e" providerId="ADAL" clId="{DEF8C959-161B-48E6-918F-19FB2A9D3909}" dt="2023-04-21T09:53:26.427" v="9997"/>
          <ac:spMkLst>
            <pc:docMk/>
            <pc:sldMk cId="1603008812" sldId="7333"/>
            <ac:spMk id="1028" creationId="{29C6273B-B1F7-2AA0-6F32-7C7C0267D171}"/>
          </ac:spMkLst>
        </pc:spChg>
        <pc:spChg chg="mod">
          <ac:chgData name="Bez, Florian" userId="30d7df6a-5295-4d75-a650-5a1fab7b8b2e" providerId="ADAL" clId="{DEF8C959-161B-48E6-918F-19FB2A9D3909}" dt="2023-04-21T09:53:26.427" v="9997"/>
          <ac:spMkLst>
            <pc:docMk/>
            <pc:sldMk cId="1603008812" sldId="7333"/>
            <ac:spMk id="1029" creationId="{A9D655DB-35EA-950E-1B00-B3061C8733A8}"/>
          </ac:spMkLst>
        </pc:spChg>
        <pc:spChg chg="mod">
          <ac:chgData name="Bez, Florian" userId="30d7df6a-5295-4d75-a650-5a1fab7b8b2e" providerId="ADAL" clId="{DEF8C959-161B-48E6-918F-19FB2A9D3909}" dt="2023-04-21T09:53:26.427" v="9997"/>
          <ac:spMkLst>
            <pc:docMk/>
            <pc:sldMk cId="1603008812" sldId="7333"/>
            <ac:spMk id="1030" creationId="{BE6EA883-EF3C-F377-15DB-4C02B22A726A}"/>
          </ac:spMkLst>
        </pc:spChg>
        <pc:spChg chg="mod">
          <ac:chgData name="Bez, Florian" userId="30d7df6a-5295-4d75-a650-5a1fab7b8b2e" providerId="ADAL" clId="{DEF8C959-161B-48E6-918F-19FB2A9D3909}" dt="2023-04-21T09:53:26.427" v="9997"/>
          <ac:spMkLst>
            <pc:docMk/>
            <pc:sldMk cId="1603008812" sldId="7333"/>
            <ac:spMk id="1031" creationId="{5ED17DFC-D29F-ADFC-5CBD-4406E51467A5}"/>
          </ac:spMkLst>
        </pc:spChg>
        <pc:spChg chg="mod">
          <ac:chgData name="Bez, Florian" userId="30d7df6a-5295-4d75-a650-5a1fab7b8b2e" providerId="ADAL" clId="{DEF8C959-161B-48E6-918F-19FB2A9D3909}" dt="2023-04-21T09:53:26.427" v="9997"/>
          <ac:spMkLst>
            <pc:docMk/>
            <pc:sldMk cId="1603008812" sldId="7333"/>
            <ac:spMk id="1032" creationId="{C2DA75B0-0A7C-E024-6AB4-57800A882999}"/>
          </ac:spMkLst>
        </pc:spChg>
        <pc:spChg chg="mod">
          <ac:chgData name="Bez, Florian" userId="30d7df6a-5295-4d75-a650-5a1fab7b8b2e" providerId="ADAL" clId="{DEF8C959-161B-48E6-918F-19FB2A9D3909}" dt="2023-04-21T09:53:26.427" v="9997"/>
          <ac:spMkLst>
            <pc:docMk/>
            <pc:sldMk cId="1603008812" sldId="7333"/>
            <ac:spMk id="1033" creationId="{468EBC67-AEBB-F6BD-D085-F8508A0A6953}"/>
          </ac:spMkLst>
        </pc:spChg>
        <pc:spChg chg="mod">
          <ac:chgData name="Bez, Florian" userId="30d7df6a-5295-4d75-a650-5a1fab7b8b2e" providerId="ADAL" clId="{DEF8C959-161B-48E6-918F-19FB2A9D3909}" dt="2023-04-21T09:53:26.427" v="9997"/>
          <ac:spMkLst>
            <pc:docMk/>
            <pc:sldMk cId="1603008812" sldId="7333"/>
            <ac:spMk id="1034" creationId="{155FFF87-1EB4-2A3A-FDE3-8051432206BA}"/>
          </ac:spMkLst>
        </pc:spChg>
        <pc:spChg chg="mod">
          <ac:chgData name="Bez, Florian" userId="30d7df6a-5295-4d75-a650-5a1fab7b8b2e" providerId="ADAL" clId="{DEF8C959-161B-48E6-918F-19FB2A9D3909}" dt="2023-04-21T09:53:26.427" v="9997"/>
          <ac:spMkLst>
            <pc:docMk/>
            <pc:sldMk cId="1603008812" sldId="7333"/>
            <ac:spMk id="1035" creationId="{6AA3EF50-860C-9E4F-3B4D-358DD429D17A}"/>
          </ac:spMkLst>
        </pc:spChg>
        <pc:spChg chg="mod">
          <ac:chgData name="Bez, Florian" userId="30d7df6a-5295-4d75-a650-5a1fab7b8b2e" providerId="ADAL" clId="{DEF8C959-161B-48E6-918F-19FB2A9D3909}" dt="2023-04-21T09:53:26.427" v="9997"/>
          <ac:spMkLst>
            <pc:docMk/>
            <pc:sldMk cId="1603008812" sldId="7333"/>
            <ac:spMk id="1036" creationId="{1135479E-CA4A-AC30-2D9D-D757E85E95A5}"/>
          </ac:spMkLst>
        </pc:spChg>
        <pc:spChg chg="mod">
          <ac:chgData name="Bez, Florian" userId="30d7df6a-5295-4d75-a650-5a1fab7b8b2e" providerId="ADAL" clId="{DEF8C959-161B-48E6-918F-19FB2A9D3909}" dt="2023-04-21T09:53:26.427" v="9997"/>
          <ac:spMkLst>
            <pc:docMk/>
            <pc:sldMk cId="1603008812" sldId="7333"/>
            <ac:spMk id="1037" creationId="{038BE232-84BC-59B2-83ED-A7E62E8D9262}"/>
          </ac:spMkLst>
        </pc:spChg>
        <pc:spChg chg="mod">
          <ac:chgData name="Bez, Florian" userId="30d7df6a-5295-4d75-a650-5a1fab7b8b2e" providerId="ADAL" clId="{DEF8C959-161B-48E6-918F-19FB2A9D3909}" dt="2023-04-21T09:53:26.427" v="9997"/>
          <ac:spMkLst>
            <pc:docMk/>
            <pc:sldMk cId="1603008812" sldId="7333"/>
            <ac:spMk id="1038" creationId="{5D6C5CC4-585E-D559-A898-806E964306D3}"/>
          </ac:spMkLst>
        </pc:spChg>
        <pc:spChg chg="mod">
          <ac:chgData name="Bez, Florian" userId="30d7df6a-5295-4d75-a650-5a1fab7b8b2e" providerId="ADAL" clId="{DEF8C959-161B-48E6-918F-19FB2A9D3909}" dt="2023-04-21T09:53:26.427" v="9997"/>
          <ac:spMkLst>
            <pc:docMk/>
            <pc:sldMk cId="1603008812" sldId="7333"/>
            <ac:spMk id="1039" creationId="{D2F80038-C091-BAB5-0B96-650C7B281177}"/>
          </ac:spMkLst>
        </pc:spChg>
        <pc:spChg chg="mod">
          <ac:chgData name="Bez, Florian" userId="30d7df6a-5295-4d75-a650-5a1fab7b8b2e" providerId="ADAL" clId="{DEF8C959-161B-48E6-918F-19FB2A9D3909}" dt="2023-04-21T09:53:26.427" v="9997"/>
          <ac:spMkLst>
            <pc:docMk/>
            <pc:sldMk cId="1603008812" sldId="7333"/>
            <ac:spMk id="1040" creationId="{5FE1B787-6968-F8CF-AB45-2E19B88D138F}"/>
          </ac:spMkLst>
        </pc:spChg>
        <pc:spChg chg="mod">
          <ac:chgData name="Bez, Florian" userId="30d7df6a-5295-4d75-a650-5a1fab7b8b2e" providerId="ADAL" clId="{DEF8C959-161B-48E6-918F-19FB2A9D3909}" dt="2023-04-21T09:53:26.427" v="9997"/>
          <ac:spMkLst>
            <pc:docMk/>
            <pc:sldMk cId="1603008812" sldId="7333"/>
            <ac:spMk id="1041" creationId="{2CB94D5E-1A87-9B59-6A87-C8CF8E76C9D1}"/>
          </ac:spMkLst>
        </pc:spChg>
        <pc:spChg chg="mod">
          <ac:chgData name="Bez, Florian" userId="30d7df6a-5295-4d75-a650-5a1fab7b8b2e" providerId="ADAL" clId="{DEF8C959-161B-48E6-918F-19FB2A9D3909}" dt="2023-04-21T09:53:26.427" v="9997"/>
          <ac:spMkLst>
            <pc:docMk/>
            <pc:sldMk cId="1603008812" sldId="7333"/>
            <ac:spMk id="1042" creationId="{3F5E644B-8AAB-6FB5-CD2C-B8D90B2259D3}"/>
          </ac:spMkLst>
        </pc:spChg>
        <pc:spChg chg="mod">
          <ac:chgData name="Bez, Florian" userId="30d7df6a-5295-4d75-a650-5a1fab7b8b2e" providerId="ADAL" clId="{DEF8C959-161B-48E6-918F-19FB2A9D3909}" dt="2023-04-21T09:53:26.427" v="9997"/>
          <ac:spMkLst>
            <pc:docMk/>
            <pc:sldMk cId="1603008812" sldId="7333"/>
            <ac:spMk id="1043" creationId="{50EA14CC-51B0-7D6B-579C-7BDCB3C13C97}"/>
          </ac:spMkLst>
        </pc:spChg>
        <pc:spChg chg="mod">
          <ac:chgData name="Bez, Florian" userId="30d7df6a-5295-4d75-a650-5a1fab7b8b2e" providerId="ADAL" clId="{DEF8C959-161B-48E6-918F-19FB2A9D3909}" dt="2023-04-21T09:53:26.427" v="9997"/>
          <ac:spMkLst>
            <pc:docMk/>
            <pc:sldMk cId="1603008812" sldId="7333"/>
            <ac:spMk id="1044" creationId="{E6251CD2-A876-5647-53F3-D18BFDDE8D43}"/>
          </ac:spMkLst>
        </pc:spChg>
        <pc:spChg chg="mod">
          <ac:chgData name="Bez, Florian" userId="30d7df6a-5295-4d75-a650-5a1fab7b8b2e" providerId="ADAL" clId="{DEF8C959-161B-48E6-918F-19FB2A9D3909}" dt="2023-04-21T09:53:26.427" v="9997"/>
          <ac:spMkLst>
            <pc:docMk/>
            <pc:sldMk cId="1603008812" sldId="7333"/>
            <ac:spMk id="1045" creationId="{491959AE-77C9-6395-31C1-3B8DE0F1CC8E}"/>
          </ac:spMkLst>
        </pc:spChg>
        <pc:spChg chg="mod">
          <ac:chgData name="Bez, Florian" userId="30d7df6a-5295-4d75-a650-5a1fab7b8b2e" providerId="ADAL" clId="{DEF8C959-161B-48E6-918F-19FB2A9D3909}" dt="2023-04-21T09:53:26.427" v="9997"/>
          <ac:spMkLst>
            <pc:docMk/>
            <pc:sldMk cId="1603008812" sldId="7333"/>
            <ac:spMk id="1046" creationId="{946E6042-8ACB-EAC2-7167-139ECE4CBC50}"/>
          </ac:spMkLst>
        </pc:spChg>
        <pc:spChg chg="mod">
          <ac:chgData name="Bez, Florian" userId="30d7df6a-5295-4d75-a650-5a1fab7b8b2e" providerId="ADAL" clId="{DEF8C959-161B-48E6-918F-19FB2A9D3909}" dt="2023-04-21T09:53:26.427" v="9997"/>
          <ac:spMkLst>
            <pc:docMk/>
            <pc:sldMk cId="1603008812" sldId="7333"/>
            <ac:spMk id="1047" creationId="{3DE30C0C-9ED4-4561-67FD-46DB929E37CF}"/>
          </ac:spMkLst>
        </pc:spChg>
        <pc:spChg chg="mod">
          <ac:chgData name="Bez, Florian" userId="30d7df6a-5295-4d75-a650-5a1fab7b8b2e" providerId="ADAL" clId="{DEF8C959-161B-48E6-918F-19FB2A9D3909}" dt="2023-04-21T09:53:26.427" v="9997"/>
          <ac:spMkLst>
            <pc:docMk/>
            <pc:sldMk cId="1603008812" sldId="7333"/>
            <ac:spMk id="1048" creationId="{79732473-4CC8-E616-C9F5-B3B2C5547803}"/>
          </ac:spMkLst>
        </pc:spChg>
        <pc:spChg chg="mod">
          <ac:chgData name="Bez, Florian" userId="30d7df6a-5295-4d75-a650-5a1fab7b8b2e" providerId="ADAL" clId="{DEF8C959-161B-48E6-918F-19FB2A9D3909}" dt="2023-04-21T09:53:26.427" v="9997"/>
          <ac:spMkLst>
            <pc:docMk/>
            <pc:sldMk cId="1603008812" sldId="7333"/>
            <ac:spMk id="1049" creationId="{3C51CAF2-5689-FAA4-2F4A-B132CBD4D390}"/>
          </ac:spMkLst>
        </pc:spChg>
        <pc:spChg chg="mod">
          <ac:chgData name="Bez, Florian" userId="30d7df6a-5295-4d75-a650-5a1fab7b8b2e" providerId="ADAL" clId="{DEF8C959-161B-48E6-918F-19FB2A9D3909}" dt="2023-04-21T09:53:26.427" v="9997"/>
          <ac:spMkLst>
            <pc:docMk/>
            <pc:sldMk cId="1603008812" sldId="7333"/>
            <ac:spMk id="1050" creationId="{0A0B7448-E852-2943-A69C-86B83B66E80E}"/>
          </ac:spMkLst>
        </pc:spChg>
        <pc:spChg chg="mod">
          <ac:chgData name="Bez, Florian" userId="30d7df6a-5295-4d75-a650-5a1fab7b8b2e" providerId="ADAL" clId="{DEF8C959-161B-48E6-918F-19FB2A9D3909}" dt="2023-04-21T09:53:26.427" v="9997"/>
          <ac:spMkLst>
            <pc:docMk/>
            <pc:sldMk cId="1603008812" sldId="7333"/>
            <ac:spMk id="1051" creationId="{36CA1832-3988-C326-E127-B3A5F6FD2350}"/>
          </ac:spMkLst>
        </pc:spChg>
        <pc:spChg chg="mod">
          <ac:chgData name="Bez, Florian" userId="30d7df6a-5295-4d75-a650-5a1fab7b8b2e" providerId="ADAL" clId="{DEF8C959-161B-48E6-918F-19FB2A9D3909}" dt="2023-04-21T09:53:26.427" v="9997"/>
          <ac:spMkLst>
            <pc:docMk/>
            <pc:sldMk cId="1603008812" sldId="7333"/>
            <ac:spMk id="1052" creationId="{6B46F363-7892-ED27-3967-3B1C3DEB3AFF}"/>
          </ac:spMkLst>
        </pc:spChg>
        <pc:spChg chg="mod">
          <ac:chgData name="Bez, Florian" userId="30d7df6a-5295-4d75-a650-5a1fab7b8b2e" providerId="ADAL" clId="{DEF8C959-161B-48E6-918F-19FB2A9D3909}" dt="2023-04-21T09:53:26.427" v="9997"/>
          <ac:spMkLst>
            <pc:docMk/>
            <pc:sldMk cId="1603008812" sldId="7333"/>
            <ac:spMk id="1053" creationId="{26D2C6FA-D185-EE88-0D12-BC18104B4F33}"/>
          </ac:spMkLst>
        </pc:spChg>
        <pc:spChg chg="mod">
          <ac:chgData name="Bez, Florian" userId="30d7df6a-5295-4d75-a650-5a1fab7b8b2e" providerId="ADAL" clId="{DEF8C959-161B-48E6-918F-19FB2A9D3909}" dt="2023-04-21T09:53:26.427" v="9997"/>
          <ac:spMkLst>
            <pc:docMk/>
            <pc:sldMk cId="1603008812" sldId="7333"/>
            <ac:spMk id="1054" creationId="{40D87283-B444-8152-84EF-03DB24E7B31E}"/>
          </ac:spMkLst>
        </pc:spChg>
        <pc:spChg chg="mod">
          <ac:chgData name="Bez, Florian" userId="30d7df6a-5295-4d75-a650-5a1fab7b8b2e" providerId="ADAL" clId="{DEF8C959-161B-48E6-918F-19FB2A9D3909}" dt="2023-04-21T09:53:26.427" v="9997"/>
          <ac:spMkLst>
            <pc:docMk/>
            <pc:sldMk cId="1603008812" sldId="7333"/>
            <ac:spMk id="1055" creationId="{07B3C3A5-402E-748F-F127-11EB701899A0}"/>
          </ac:spMkLst>
        </pc:spChg>
        <pc:spChg chg="mod">
          <ac:chgData name="Bez, Florian" userId="30d7df6a-5295-4d75-a650-5a1fab7b8b2e" providerId="ADAL" clId="{DEF8C959-161B-48E6-918F-19FB2A9D3909}" dt="2023-04-21T09:53:26.427" v="9997"/>
          <ac:spMkLst>
            <pc:docMk/>
            <pc:sldMk cId="1603008812" sldId="7333"/>
            <ac:spMk id="1056" creationId="{9121A45C-D443-D637-9D05-003C894D0EEE}"/>
          </ac:spMkLst>
        </pc:spChg>
        <pc:spChg chg="mod">
          <ac:chgData name="Bez, Florian" userId="30d7df6a-5295-4d75-a650-5a1fab7b8b2e" providerId="ADAL" clId="{DEF8C959-161B-48E6-918F-19FB2A9D3909}" dt="2023-04-21T09:53:26.427" v="9997"/>
          <ac:spMkLst>
            <pc:docMk/>
            <pc:sldMk cId="1603008812" sldId="7333"/>
            <ac:spMk id="1057" creationId="{E383DE39-1738-CD3C-B2DD-DE65DB8BDFDC}"/>
          </ac:spMkLst>
        </pc:spChg>
        <pc:spChg chg="mod">
          <ac:chgData name="Bez, Florian" userId="30d7df6a-5295-4d75-a650-5a1fab7b8b2e" providerId="ADAL" clId="{DEF8C959-161B-48E6-918F-19FB2A9D3909}" dt="2023-04-21T09:53:26.427" v="9997"/>
          <ac:spMkLst>
            <pc:docMk/>
            <pc:sldMk cId="1603008812" sldId="7333"/>
            <ac:spMk id="1058" creationId="{37B0BCF3-1617-A1BC-261B-EA82D9113397}"/>
          </ac:spMkLst>
        </pc:spChg>
        <pc:spChg chg="mod">
          <ac:chgData name="Bez, Florian" userId="30d7df6a-5295-4d75-a650-5a1fab7b8b2e" providerId="ADAL" clId="{DEF8C959-161B-48E6-918F-19FB2A9D3909}" dt="2023-04-21T09:53:26.427" v="9997"/>
          <ac:spMkLst>
            <pc:docMk/>
            <pc:sldMk cId="1603008812" sldId="7333"/>
            <ac:spMk id="1059" creationId="{788F02FB-F916-1360-3AED-5328723023A4}"/>
          </ac:spMkLst>
        </pc:spChg>
        <pc:spChg chg="mod">
          <ac:chgData name="Bez, Florian" userId="30d7df6a-5295-4d75-a650-5a1fab7b8b2e" providerId="ADAL" clId="{DEF8C959-161B-48E6-918F-19FB2A9D3909}" dt="2023-04-21T09:53:26.427" v="9997"/>
          <ac:spMkLst>
            <pc:docMk/>
            <pc:sldMk cId="1603008812" sldId="7333"/>
            <ac:spMk id="1060" creationId="{ACC1B4DA-0BE5-8CBD-0772-A3AFA15CDC2B}"/>
          </ac:spMkLst>
        </pc:spChg>
        <pc:spChg chg="mod">
          <ac:chgData name="Bez, Florian" userId="30d7df6a-5295-4d75-a650-5a1fab7b8b2e" providerId="ADAL" clId="{DEF8C959-161B-48E6-918F-19FB2A9D3909}" dt="2023-04-21T09:53:26.427" v="9997"/>
          <ac:spMkLst>
            <pc:docMk/>
            <pc:sldMk cId="1603008812" sldId="7333"/>
            <ac:spMk id="1061" creationId="{10CDD83A-8E0F-DE7A-D817-2AEF86C07454}"/>
          </ac:spMkLst>
        </pc:spChg>
        <pc:spChg chg="mod">
          <ac:chgData name="Bez, Florian" userId="30d7df6a-5295-4d75-a650-5a1fab7b8b2e" providerId="ADAL" clId="{DEF8C959-161B-48E6-918F-19FB2A9D3909}" dt="2023-04-21T09:53:26.427" v="9997"/>
          <ac:spMkLst>
            <pc:docMk/>
            <pc:sldMk cId="1603008812" sldId="7333"/>
            <ac:spMk id="1062" creationId="{ABFDBCB1-BD0C-7C2C-2EE2-19FC404888FB}"/>
          </ac:spMkLst>
        </pc:spChg>
        <pc:spChg chg="mod">
          <ac:chgData name="Bez, Florian" userId="30d7df6a-5295-4d75-a650-5a1fab7b8b2e" providerId="ADAL" clId="{DEF8C959-161B-48E6-918F-19FB2A9D3909}" dt="2023-04-21T09:53:26.427" v="9997"/>
          <ac:spMkLst>
            <pc:docMk/>
            <pc:sldMk cId="1603008812" sldId="7333"/>
            <ac:spMk id="1063" creationId="{092009F0-2C8C-CAA8-86D7-F4E4227E1A9A}"/>
          </ac:spMkLst>
        </pc:spChg>
        <pc:spChg chg="mod">
          <ac:chgData name="Bez, Florian" userId="30d7df6a-5295-4d75-a650-5a1fab7b8b2e" providerId="ADAL" clId="{DEF8C959-161B-48E6-918F-19FB2A9D3909}" dt="2023-04-21T09:53:26.427" v="9997"/>
          <ac:spMkLst>
            <pc:docMk/>
            <pc:sldMk cId="1603008812" sldId="7333"/>
            <ac:spMk id="1064" creationId="{2D1ED13F-6745-05BF-5282-B6AFD629AE37}"/>
          </ac:spMkLst>
        </pc:spChg>
        <pc:spChg chg="mod">
          <ac:chgData name="Bez, Florian" userId="30d7df6a-5295-4d75-a650-5a1fab7b8b2e" providerId="ADAL" clId="{DEF8C959-161B-48E6-918F-19FB2A9D3909}" dt="2023-04-21T09:53:26.427" v="9997"/>
          <ac:spMkLst>
            <pc:docMk/>
            <pc:sldMk cId="1603008812" sldId="7333"/>
            <ac:spMk id="1065" creationId="{555785CE-DE36-B266-3FC0-B157F05E7F7A}"/>
          </ac:spMkLst>
        </pc:spChg>
        <pc:spChg chg="mod">
          <ac:chgData name="Bez, Florian" userId="30d7df6a-5295-4d75-a650-5a1fab7b8b2e" providerId="ADAL" clId="{DEF8C959-161B-48E6-918F-19FB2A9D3909}" dt="2023-04-21T09:53:26.427" v="9997"/>
          <ac:spMkLst>
            <pc:docMk/>
            <pc:sldMk cId="1603008812" sldId="7333"/>
            <ac:spMk id="1066" creationId="{B995DC79-68C1-515C-1880-DF0D030CD97C}"/>
          </ac:spMkLst>
        </pc:spChg>
        <pc:spChg chg="mod">
          <ac:chgData name="Bez, Florian" userId="30d7df6a-5295-4d75-a650-5a1fab7b8b2e" providerId="ADAL" clId="{DEF8C959-161B-48E6-918F-19FB2A9D3909}" dt="2023-04-21T09:53:26.427" v="9997"/>
          <ac:spMkLst>
            <pc:docMk/>
            <pc:sldMk cId="1603008812" sldId="7333"/>
            <ac:spMk id="1067" creationId="{91097B3C-E127-4FF7-0363-E00E81F6AB1C}"/>
          </ac:spMkLst>
        </pc:spChg>
        <pc:spChg chg="mod">
          <ac:chgData name="Bez, Florian" userId="30d7df6a-5295-4d75-a650-5a1fab7b8b2e" providerId="ADAL" clId="{DEF8C959-161B-48E6-918F-19FB2A9D3909}" dt="2023-04-21T09:53:26.427" v="9997"/>
          <ac:spMkLst>
            <pc:docMk/>
            <pc:sldMk cId="1603008812" sldId="7333"/>
            <ac:spMk id="1068" creationId="{8CAAF9DD-D816-8C4E-7F23-BF2C833CADAD}"/>
          </ac:spMkLst>
        </pc:spChg>
        <pc:spChg chg="mod">
          <ac:chgData name="Bez, Florian" userId="30d7df6a-5295-4d75-a650-5a1fab7b8b2e" providerId="ADAL" clId="{DEF8C959-161B-48E6-918F-19FB2A9D3909}" dt="2023-04-21T09:53:26.427" v="9997"/>
          <ac:spMkLst>
            <pc:docMk/>
            <pc:sldMk cId="1603008812" sldId="7333"/>
            <ac:spMk id="1069" creationId="{F767760E-1103-A806-FDA6-485AA1A83CDC}"/>
          </ac:spMkLst>
        </pc:spChg>
        <pc:spChg chg="mod">
          <ac:chgData name="Bez, Florian" userId="30d7df6a-5295-4d75-a650-5a1fab7b8b2e" providerId="ADAL" clId="{DEF8C959-161B-48E6-918F-19FB2A9D3909}" dt="2023-04-21T09:53:26.427" v="9997"/>
          <ac:spMkLst>
            <pc:docMk/>
            <pc:sldMk cId="1603008812" sldId="7333"/>
            <ac:spMk id="1070" creationId="{5FC7B8EB-5CE9-433B-FDCA-E77C969C4CE6}"/>
          </ac:spMkLst>
        </pc:spChg>
        <pc:spChg chg="mod">
          <ac:chgData name="Bez, Florian" userId="30d7df6a-5295-4d75-a650-5a1fab7b8b2e" providerId="ADAL" clId="{DEF8C959-161B-48E6-918F-19FB2A9D3909}" dt="2023-04-21T09:53:26.427" v="9997"/>
          <ac:spMkLst>
            <pc:docMk/>
            <pc:sldMk cId="1603008812" sldId="7333"/>
            <ac:spMk id="1071" creationId="{4D50A80C-23A0-7A7D-D4EE-372A74301143}"/>
          </ac:spMkLst>
        </pc:spChg>
        <pc:spChg chg="mod">
          <ac:chgData name="Bez, Florian" userId="30d7df6a-5295-4d75-a650-5a1fab7b8b2e" providerId="ADAL" clId="{DEF8C959-161B-48E6-918F-19FB2A9D3909}" dt="2023-04-21T09:53:26.427" v="9997"/>
          <ac:spMkLst>
            <pc:docMk/>
            <pc:sldMk cId="1603008812" sldId="7333"/>
            <ac:spMk id="1072" creationId="{9A0AAA66-05DD-4F58-FD69-9028944C3556}"/>
          </ac:spMkLst>
        </pc:spChg>
        <pc:spChg chg="mod">
          <ac:chgData name="Bez, Florian" userId="30d7df6a-5295-4d75-a650-5a1fab7b8b2e" providerId="ADAL" clId="{DEF8C959-161B-48E6-918F-19FB2A9D3909}" dt="2023-04-21T09:53:26.427" v="9997"/>
          <ac:spMkLst>
            <pc:docMk/>
            <pc:sldMk cId="1603008812" sldId="7333"/>
            <ac:spMk id="1073" creationId="{F20A0A4C-B3AB-F807-5528-3541303D561B}"/>
          </ac:spMkLst>
        </pc:spChg>
        <pc:spChg chg="mod">
          <ac:chgData name="Bez, Florian" userId="30d7df6a-5295-4d75-a650-5a1fab7b8b2e" providerId="ADAL" clId="{DEF8C959-161B-48E6-918F-19FB2A9D3909}" dt="2023-04-21T09:53:26.427" v="9997"/>
          <ac:spMkLst>
            <pc:docMk/>
            <pc:sldMk cId="1603008812" sldId="7333"/>
            <ac:spMk id="1074" creationId="{871C0B23-8B6B-B410-0431-380D4E9835B8}"/>
          </ac:spMkLst>
        </pc:spChg>
        <pc:spChg chg="mod">
          <ac:chgData name="Bez, Florian" userId="30d7df6a-5295-4d75-a650-5a1fab7b8b2e" providerId="ADAL" clId="{DEF8C959-161B-48E6-918F-19FB2A9D3909}" dt="2023-04-21T09:53:26.427" v="9997"/>
          <ac:spMkLst>
            <pc:docMk/>
            <pc:sldMk cId="1603008812" sldId="7333"/>
            <ac:spMk id="1075" creationId="{4875EC23-68EB-6EAF-69EF-2832F866E3F8}"/>
          </ac:spMkLst>
        </pc:spChg>
        <pc:spChg chg="mod">
          <ac:chgData name="Bez, Florian" userId="30d7df6a-5295-4d75-a650-5a1fab7b8b2e" providerId="ADAL" clId="{DEF8C959-161B-48E6-918F-19FB2A9D3909}" dt="2023-04-21T09:53:26.427" v="9997"/>
          <ac:spMkLst>
            <pc:docMk/>
            <pc:sldMk cId="1603008812" sldId="7333"/>
            <ac:spMk id="1076" creationId="{B9BA3F18-14FF-E1AB-C517-3E531E0C53A9}"/>
          </ac:spMkLst>
        </pc:spChg>
        <pc:spChg chg="mod">
          <ac:chgData name="Bez, Florian" userId="30d7df6a-5295-4d75-a650-5a1fab7b8b2e" providerId="ADAL" clId="{DEF8C959-161B-48E6-918F-19FB2A9D3909}" dt="2023-04-21T09:53:26.427" v="9997"/>
          <ac:spMkLst>
            <pc:docMk/>
            <pc:sldMk cId="1603008812" sldId="7333"/>
            <ac:spMk id="1077" creationId="{DCBF4D22-9E60-7209-90EE-23868AC350F9}"/>
          </ac:spMkLst>
        </pc:spChg>
        <pc:spChg chg="mod">
          <ac:chgData name="Bez, Florian" userId="30d7df6a-5295-4d75-a650-5a1fab7b8b2e" providerId="ADAL" clId="{DEF8C959-161B-48E6-918F-19FB2A9D3909}" dt="2023-04-21T09:53:26.427" v="9997"/>
          <ac:spMkLst>
            <pc:docMk/>
            <pc:sldMk cId="1603008812" sldId="7333"/>
            <ac:spMk id="1078" creationId="{AA00AB9B-C64E-5FBE-7F58-4ADBEAC32FDE}"/>
          </ac:spMkLst>
        </pc:spChg>
        <pc:spChg chg="mod">
          <ac:chgData name="Bez, Florian" userId="30d7df6a-5295-4d75-a650-5a1fab7b8b2e" providerId="ADAL" clId="{DEF8C959-161B-48E6-918F-19FB2A9D3909}" dt="2023-04-21T09:53:26.427" v="9997"/>
          <ac:spMkLst>
            <pc:docMk/>
            <pc:sldMk cId="1603008812" sldId="7333"/>
            <ac:spMk id="1079" creationId="{7A6A5EA9-5714-D26D-9840-912FFD7B5076}"/>
          </ac:spMkLst>
        </pc:spChg>
        <pc:spChg chg="mod">
          <ac:chgData name="Bez, Florian" userId="30d7df6a-5295-4d75-a650-5a1fab7b8b2e" providerId="ADAL" clId="{DEF8C959-161B-48E6-918F-19FB2A9D3909}" dt="2023-04-21T09:53:26.427" v="9997"/>
          <ac:spMkLst>
            <pc:docMk/>
            <pc:sldMk cId="1603008812" sldId="7333"/>
            <ac:spMk id="1080" creationId="{27A57402-3361-AF2E-85E5-4605DD002D8A}"/>
          </ac:spMkLst>
        </pc:spChg>
        <pc:spChg chg="mod">
          <ac:chgData name="Bez, Florian" userId="30d7df6a-5295-4d75-a650-5a1fab7b8b2e" providerId="ADAL" clId="{DEF8C959-161B-48E6-918F-19FB2A9D3909}" dt="2023-04-21T09:53:26.427" v="9997"/>
          <ac:spMkLst>
            <pc:docMk/>
            <pc:sldMk cId="1603008812" sldId="7333"/>
            <ac:spMk id="1081" creationId="{F23C50C7-6687-89C2-6933-8866D23925AC}"/>
          </ac:spMkLst>
        </pc:spChg>
        <pc:spChg chg="mod">
          <ac:chgData name="Bez, Florian" userId="30d7df6a-5295-4d75-a650-5a1fab7b8b2e" providerId="ADAL" clId="{DEF8C959-161B-48E6-918F-19FB2A9D3909}" dt="2023-04-21T09:53:26.427" v="9997"/>
          <ac:spMkLst>
            <pc:docMk/>
            <pc:sldMk cId="1603008812" sldId="7333"/>
            <ac:spMk id="1082" creationId="{081D1E51-3DAC-C73E-0F20-832E7B2D59EE}"/>
          </ac:spMkLst>
        </pc:spChg>
        <pc:spChg chg="mod">
          <ac:chgData name="Bez, Florian" userId="30d7df6a-5295-4d75-a650-5a1fab7b8b2e" providerId="ADAL" clId="{DEF8C959-161B-48E6-918F-19FB2A9D3909}" dt="2023-04-21T09:53:26.427" v="9997"/>
          <ac:spMkLst>
            <pc:docMk/>
            <pc:sldMk cId="1603008812" sldId="7333"/>
            <ac:spMk id="1083" creationId="{3442F22B-44AC-6183-B29D-665595468CDE}"/>
          </ac:spMkLst>
        </pc:spChg>
        <pc:spChg chg="mod">
          <ac:chgData name="Bez, Florian" userId="30d7df6a-5295-4d75-a650-5a1fab7b8b2e" providerId="ADAL" clId="{DEF8C959-161B-48E6-918F-19FB2A9D3909}" dt="2023-04-21T09:53:26.427" v="9997"/>
          <ac:spMkLst>
            <pc:docMk/>
            <pc:sldMk cId="1603008812" sldId="7333"/>
            <ac:spMk id="1084" creationId="{8E344820-FEF3-BC97-B579-DCB3187DD8E2}"/>
          </ac:spMkLst>
        </pc:spChg>
        <pc:spChg chg="mod">
          <ac:chgData name="Bez, Florian" userId="30d7df6a-5295-4d75-a650-5a1fab7b8b2e" providerId="ADAL" clId="{DEF8C959-161B-48E6-918F-19FB2A9D3909}" dt="2023-04-21T09:53:26.427" v="9997"/>
          <ac:spMkLst>
            <pc:docMk/>
            <pc:sldMk cId="1603008812" sldId="7333"/>
            <ac:spMk id="1085" creationId="{1E5ACFD5-43B1-ED0E-895E-B4CBA53CA576}"/>
          </ac:spMkLst>
        </pc:spChg>
        <pc:spChg chg="mod">
          <ac:chgData name="Bez, Florian" userId="30d7df6a-5295-4d75-a650-5a1fab7b8b2e" providerId="ADAL" clId="{DEF8C959-161B-48E6-918F-19FB2A9D3909}" dt="2023-04-21T09:53:26.427" v="9997"/>
          <ac:spMkLst>
            <pc:docMk/>
            <pc:sldMk cId="1603008812" sldId="7333"/>
            <ac:spMk id="1086" creationId="{C966B449-3CF7-F3A5-DAAC-1B8B10BFE079}"/>
          </ac:spMkLst>
        </pc:spChg>
        <pc:spChg chg="mod">
          <ac:chgData name="Bez, Florian" userId="30d7df6a-5295-4d75-a650-5a1fab7b8b2e" providerId="ADAL" clId="{DEF8C959-161B-48E6-918F-19FB2A9D3909}" dt="2023-04-21T09:53:26.427" v="9997"/>
          <ac:spMkLst>
            <pc:docMk/>
            <pc:sldMk cId="1603008812" sldId="7333"/>
            <ac:spMk id="1087" creationId="{3AEB36D5-1AA7-57B8-35E6-74BBD1C5AC54}"/>
          </ac:spMkLst>
        </pc:spChg>
        <pc:spChg chg="mod">
          <ac:chgData name="Bez, Florian" userId="30d7df6a-5295-4d75-a650-5a1fab7b8b2e" providerId="ADAL" clId="{DEF8C959-161B-48E6-918F-19FB2A9D3909}" dt="2023-04-21T09:53:26.427" v="9997"/>
          <ac:spMkLst>
            <pc:docMk/>
            <pc:sldMk cId="1603008812" sldId="7333"/>
            <ac:spMk id="1088" creationId="{0BF216B6-DAAB-B5C7-AF1A-1503260A24EE}"/>
          </ac:spMkLst>
        </pc:spChg>
        <pc:spChg chg="mod">
          <ac:chgData name="Bez, Florian" userId="30d7df6a-5295-4d75-a650-5a1fab7b8b2e" providerId="ADAL" clId="{DEF8C959-161B-48E6-918F-19FB2A9D3909}" dt="2023-04-21T09:53:26.427" v="9997"/>
          <ac:spMkLst>
            <pc:docMk/>
            <pc:sldMk cId="1603008812" sldId="7333"/>
            <ac:spMk id="1089" creationId="{2DE14766-F8DF-FA30-D858-14FB7CA9D887}"/>
          </ac:spMkLst>
        </pc:spChg>
        <pc:spChg chg="mod">
          <ac:chgData name="Bez, Florian" userId="30d7df6a-5295-4d75-a650-5a1fab7b8b2e" providerId="ADAL" clId="{DEF8C959-161B-48E6-918F-19FB2A9D3909}" dt="2023-04-21T09:53:26.427" v="9997"/>
          <ac:spMkLst>
            <pc:docMk/>
            <pc:sldMk cId="1603008812" sldId="7333"/>
            <ac:spMk id="1090" creationId="{3338E2E4-78F6-B624-5B25-2D0612627088}"/>
          </ac:spMkLst>
        </pc:spChg>
        <pc:spChg chg="mod">
          <ac:chgData name="Bez, Florian" userId="30d7df6a-5295-4d75-a650-5a1fab7b8b2e" providerId="ADAL" clId="{DEF8C959-161B-48E6-918F-19FB2A9D3909}" dt="2023-04-21T09:53:26.427" v="9997"/>
          <ac:spMkLst>
            <pc:docMk/>
            <pc:sldMk cId="1603008812" sldId="7333"/>
            <ac:spMk id="1091" creationId="{37AA4302-48A3-E23B-782B-9812490846A3}"/>
          </ac:spMkLst>
        </pc:spChg>
        <pc:spChg chg="mod">
          <ac:chgData name="Bez, Florian" userId="30d7df6a-5295-4d75-a650-5a1fab7b8b2e" providerId="ADAL" clId="{DEF8C959-161B-48E6-918F-19FB2A9D3909}" dt="2023-04-21T09:53:26.427" v="9997"/>
          <ac:spMkLst>
            <pc:docMk/>
            <pc:sldMk cId="1603008812" sldId="7333"/>
            <ac:spMk id="1092" creationId="{605A161F-1622-F439-DA24-3C06949A38BE}"/>
          </ac:spMkLst>
        </pc:spChg>
        <pc:spChg chg="mod">
          <ac:chgData name="Bez, Florian" userId="30d7df6a-5295-4d75-a650-5a1fab7b8b2e" providerId="ADAL" clId="{DEF8C959-161B-48E6-918F-19FB2A9D3909}" dt="2023-04-21T09:53:26.427" v="9997"/>
          <ac:spMkLst>
            <pc:docMk/>
            <pc:sldMk cId="1603008812" sldId="7333"/>
            <ac:spMk id="1093" creationId="{7F3CE09A-6F57-DCC0-C9BB-F7EDCFB46955}"/>
          </ac:spMkLst>
        </pc:spChg>
        <pc:spChg chg="mod">
          <ac:chgData name="Bez, Florian" userId="30d7df6a-5295-4d75-a650-5a1fab7b8b2e" providerId="ADAL" clId="{DEF8C959-161B-48E6-918F-19FB2A9D3909}" dt="2023-04-21T09:53:26.427" v="9997"/>
          <ac:spMkLst>
            <pc:docMk/>
            <pc:sldMk cId="1603008812" sldId="7333"/>
            <ac:spMk id="1094" creationId="{4AD9F85F-153F-D7B9-8A79-44CAA42835B4}"/>
          </ac:spMkLst>
        </pc:spChg>
        <pc:spChg chg="mod">
          <ac:chgData name="Bez, Florian" userId="30d7df6a-5295-4d75-a650-5a1fab7b8b2e" providerId="ADAL" clId="{DEF8C959-161B-48E6-918F-19FB2A9D3909}" dt="2023-04-21T09:53:26.427" v="9997"/>
          <ac:spMkLst>
            <pc:docMk/>
            <pc:sldMk cId="1603008812" sldId="7333"/>
            <ac:spMk id="1095" creationId="{1799557C-FC5A-B489-F1E6-27DB2E3FB286}"/>
          </ac:spMkLst>
        </pc:spChg>
        <pc:spChg chg="mod">
          <ac:chgData name="Bez, Florian" userId="30d7df6a-5295-4d75-a650-5a1fab7b8b2e" providerId="ADAL" clId="{DEF8C959-161B-48E6-918F-19FB2A9D3909}" dt="2023-04-21T09:53:26.427" v="9997"/>
          <ac:spMkLst>
            <pc:docMk/>
            <pc:sldMk cId="1603008812" sldId="7333"/>
            <ac:spMk id="1096" creationId="{D4B4A496-3CAB-E515-0C32-EF9253CD8AF0}"/>
          </ac:spMkLst>
        </pc:spChg>
        <pc:spChg chg="mod">
          <ac:chgData name="Bez, Florian" userId="30d7df6a-5295-4d75-a650-5a1fab7b8b2e" providerId="ADAL" clId="{DEF8C959-161B-48E6-918F-19FB2A9D3909}" dt="2023-04-21T09:53:26.427" v="9997"/>
          <ac:spMkLst>
            <pc:docMk/>
            <pc:sldMk cId="1603008812" sldId="7333"/>
            <ac:spMk id="1097" creationId="{10679FEC-DD0B-5513-0F94-C1095021DD14}"/>
          </ac:spMkLst>
        </pc:spChg>
        <pc:spChg chg="mod">
          <ac:chgData name="Bez, Florian" userId="30d7df6a-5295-4d75-a650-5a1fab7b8b2e" providerId="ADAL" clId="{DEF8C959-161B-48E6-918F-19FB2A9D3909}" dt="2023-04-21T09:53:26.427" v="9997"/>
          <ac:spMkLst>
            <pc:docMk/>
            <pc:sldMk cId="1603008812" sldId="7333"/>
            <ac:spMk id="1098" creationId="{0664B2E2-F203-8889-0EF0-849DB25BF05F}"/>
          </ac:spMkLst>
        </pc:spChg>
        <pc:spChg chg="mod">
          <ac:chgData name="Bez, Florian" userId="30d7df6a-5295-4d75-a650-5a1fab7b8b2e" providerId="ADAL" clId="{DEF8C959-161B-48E6-918F-19FB2A9D3909}" dt="2023-04-21T09:53:26.427" v="9997"/>
          <ac:spMkLst>
            <pc:docMk/>
            <pc:sldMk cId="1603008812" sldId="7333"/>
            <ac:spMk id="1099" creationId="{6FF087C3-9DBA-8005-71C1-73C99AF8CA11}"/>
          </ac:spMkLst>
        </pc:spChg>
        <pc:spChg chg="mod">
          <ac:chgData name="Bez, Florian" userId="30d7df6a-5295-4d75-a650-5a1fab7b8b2e" providerId="ADAL" clId="{DEF8C959-161B-48E6-918F-19FB2A9D3909}" dt="2023-04-21T09:53:26.427" v="9997"/>
          <ac:spMkLst>
            <pc:docMk/>
            <pc:sldMk cId="1603008812" sldId="7333"/>
            <ac:spMk id="1100" creationId="{51D75013-81D8-905D-C878-EC832EC390C0}"/>
          </ac:spMkLst>
        </pc:spChg>
        <pc:spChg chg="mod">
          <ac:chgData name="Bez, Florian" userId="30d7df6a-5295-4d75-a650-5a1fab7b8b2e" providerId="ADAL" clId="{DEF8C959-161B-48E6-918F-19FB2A9D3909}" dt="2023-04-21T09:53:26.427" v="9997"/>
          <ac:spMkLst>
            <pc:docMk/>
            <pc:sldMk cId="1603008812" sldId="7333"/>
            <ac:spMk id="1101" creationId="{78C34963-56C4-C9F9-17B7-EB0BE8C73BBA}"/>
          </ac:spMkLst>
        </pc:spChg>
        <pc:spChg chg="mod">
          <ac:chgData name="Bez, Florian" userId="30d7df6a-5295-4d75-a650-5a1fab7b8b2e" providerId="ADAL" clId="{DEF8C959-161B-48E6-918F-19FB2A9D3909}" dt="2023-04-21T09:53:26.427" v="9997"/>
          <ac:spMkLst>
            <pc:docMk/>
            <pc:sldMk cId="1603008812" sldId="7333"/>
            <ac:spMk id="1102" creationId="{F4F0756B-A7EC-0276-3C16-EDBC46AD670A}"/>
          </ac:spMkLst>
        </pc:spChg>
        <pc:spChg chg="mod">
          <ac:chgData name="Bez, Florian" userId="30d7df6a-5295-4d75-a650-5a1fab7b8b2e" providerId="ADAL" clId="{DEF8C959-161B-48E6-918F-19FB2A9D3909}" dt="2023-04-21T09:53:26.427" v="9997"/>
          <ac:spMkLst>
            <pc:docMk/>
            <pc:sldMk cId="1603008812" sldId="7333"/>
            <ac:spMk id="1103" creationId="{DFC1255A-D917-1DA5-3970-B0E86B459C83}"/>
          </ac:spMkLst>
        </pc:spChg>
        <pc:spChg chg="mod">
          <ac:chgData name="Bez, Florian" userId="30d7df6a-5295-4d75-a650-5a1fab7b8b2e" providerId="ADAL" clId="{DEF8C959-161B-48E6-918F-19FB2A9D3909}" dt="2023-04-21T09:53:26.427" v="9997"/>
          <ac:spMkLst>
            <pc:docMk/>
            <pc:sldMk cId="1603008812" sldId="7333"/>
            <ac:spMk id="1104" creationId="{04E60831-757A-6BB1-ABC3-ECE4F845BE1E}"/>
          </ac:spMkLst>
        </pc:spChg>
        <pc:spChg chg="mod">
          <ac:chgData name="Bez, Florian" userId="30d7df6a-5295-4d75-a650-5a1fab7b8b2e" providerId="ADAL" clId="{DEF8C959-161B-48E6-918F-19FB2A9D3909}" dt="2023-04-21T09:53:26.427" v="9997"/>
          <ac:spMkLst>
            <pc:docMk/>
            <pc:sldMk cId="1603008812" sldId="7333"/>
            <ac:spMk id="1105" creationId="{0EE2EB6C-D871-4DC5-B012-5C100C093CC3}"/>
          </ac:spMkLst>
        </pc:spChg>
        <pc:spChg chg="mod">
          <ac:chgData name="Bez, Florian" userId="30d7df6a-5295-4d75-a650-5a1fab7b8b2e" providerId="ADAL" clId="{DEF8C959-161B-48E6-918F-19FB2A9D3909}" dt="2023-04-21T09:53:26.427" v="9997"/>
          <ac:spMkLst>
            <pc:docMk/>
            <pc:sldMk cId="1603008812" sldId="7333"/>
            <ac:spMk id="1106" creationId="{60471370-199C-617C-8D1C-37246838DC0E}"/>
          </ac:spMkLst>
        </pc:spChg>
        <pc:spChg chg="mod">
          <ac:chgData name="Bez, Florian" userId="30d7df6a-5295-4d75-a650-5a1fab7b8b2e" providerId="ADAL" clId="{DEF8C959-161B-48E6-918F-19FB2A9D3909}" dt="2023-04-21T09:53:26.427" v="9997"/>
          <ac:spMkLst>
            <pc:docMk/>
            <pc:sldMk cId="1603008812" sldId="7333"/>
            <ac:spMk id="1107" creationId="{A2E9AC72-30E6-7250-0848-132A84AFDB62}"/>
          </ac:spMkLst>
        </pc:spChg>
        <pc:spChg chg="mod">
          <ac:chgData name="Bez, Florian" userId="30d7df6a-5295-4d75-a650-5a1fab7b8b2e" providerId="ADAL" clId="{DEF8C959-161B-48E6-918F-19FB2A9D3909}" dt="2023-04-21T09:53:26.427" v="9997"/>
          <ac:spMkLst>
            <pc:docMk/>
            <pc:sldMk cId="1603008812" sldId="7333"/>
            <ac:spMk id="1108" creationId="{B63E9841-D12A-9D44-C377-648F25BAE891}"/>
          </ac:spMkLst>
        </pc:spChg>
        <pc:spChg chg="mod">
          <ac:chgData name="Bez, Florian" userId="30d7df6a-5295-4d75-a650-5a1fab7b8b2e" providerId="ADAL" clId="{DEF8C959-161B-48E6-918F-19FB2A9D3909}" dt="2023-04-21T09:53:26.427" v="9997"/>
          <ac:spMkLst>
            <pc:docMk/>
            <pc:sldMk cId="1603008812" sldId="7333"/>
            <ac:spMk id="1109" creationId="{1338BE51-D591-95F0-A470-784C261DCD40}"/>
          </ac:spMkLst>
        </pc:spChg>
        <pc:spChg chg="mod">
          <ac:chgData name="Bez, Florian" userId="30d7df6a-5295-4d75-a650-5a1fab7b8b2e" providerId="ADAL" clId="{DEF8C959-161B-48E6-918F-19FB2A9D3909}" dt="2023-04-21T09:53:26.427" v="9997"/>
          <ac:spMkLst>
            <pc:docMk/>
            <pc:sldMk cId="1603008812" sldId="7333"/>
            <ac:spMk id="1110" creationId="{8006CC46-F121-DA5B-B6F8-33FDEA89D2C9}"/>
          </ac:spMkLst>
        </pc:spChg>
        <pc:spChg chg="mod">
          <ac:chgData name="Bez, Florian" userId="30d7df6a-5295-4d75-a650-5a1fab7b8b2e" providerId="ADAL" clId="{DEF8C959-161B-48E6-918F-19FB2A9D3909}" dt="2023-04-21T09:53:26.427" v="9997"/>
          <ac:spMkLst>
            <pc:docMk/>
            <pc:sldMk cId="1603008812" sldId="7333"/>
            <ac:spMk id="1111" creationId="{083C743E-73E8-37DD-E3AE-B0C134199845}"/>
          </ac:spMkLst>
        </pc:spChg>
        <pc:spChg chg="mod">
          <ac:chgData name="Bez, Florian" userId="30d7df6a-5295-4d75-a650-5a1fab7b8b2e" providerId="ADAL" clId="{DEF8C959-161B-48E6-918F-19FB2A9D3909}" dt="2023-04-21T09:53:26.427" v="9997"/>
          <ac:spMkLst>
            <pc:docMk/>
            <pc:sldMk cId="1603008812" sldId="7333"/>
            <ac:spMk id="1112" creationId="{BAA53293-2BE0-0B81-0C4B-7C3401303605}"/>
          </ac:spMkLst>
        </pc:spChg>
        <pc:spChg chg="mod">
          <ac:chgData name="Bez, Florian" userId="30d7df6a-5295-4d75-a650-5a1fab7b8b2e" providerId="ADAL" clId="{DEF8C959-161B-48E6-918F-19FB2A9D3909}" dt="2023-04-21T09:53:26.427" v="9997"/>
          <ac:spMkLst>
            <pc:docMk/>
            <pc:sldMk cId="1603008812" sldId="7333"/>
            <ac:spMk id="1113" creationId="{58C86550-88B9-F62E-531E-75364AE9261B}"/>
          </ac:spMkLst>
        </pc:spChg>
        <pc:spChg chg="mod">
          <ac:chgData name="Bez, Florian" userId="30d7df6a-5295-4d75-a650-5a1fab7b8b2e" providerId="ADAL" clId="{DEF8C959-161B-48E6-918F-19FB2A9D3909}" dt="2023-04-21T09:53:26.427" v="9997"/>
          <ac:spMkLst>
            <pc:docMk/>
            <pc:sldMk cId="1603008812" sldId="7333"/>
            <ac:spMk id="1114" creationId="{5D4370D9-7D62-5F30-1C2D-FC186103FE78}"/>
          </ac:spMkLst>
        </pc:spChg>
        <pc:spChg chg="mod">
          <ac:chgData name="Bez, Florian" userId="30d7df6a-5295-4d75-a650-5a1fab7b8b2e" providerId="ADAL" clId="{DEF8C959-161B-48E6-918F-19FB2A9D3909}" dt="2023-04-21T09:53:26.427" v="9997"/>
          <ac:spMkLst>
            <pc:docMk/>
            <pc:sldMk cId="1603008812" sldId="7333"/>
            <ac:spMk id="1115" creationId="{2A6DA3E8-EA84-1C6D-BF95-0C4B943B3D37}"/>
          </ac:spMkLst>
        </pc:spChg>
        <pc:spChg chg="mod">
          <ac:chgData name="Bez, Florian" userId="30d7df6a-5295-4d75-a650-5a1fab7b8b2e" providerId="ADAL" clId="{DEF8C959-161B-48E6-918F-19FB2A9D3909}" dt="2023-04-21T09:53:26.427" v="9997"/>
          <ac:spMkLst>
            <pc:docMk/>
            <pc:sldMk cId="1603008812" sldId="7333"/>
            <ac:spMk id="1116" creationId="{C73D9AE6-ED00-1BBE-857A-E943095D8104}"/>
          </ac:spMkLst>
        </pc:spChg>
        <pc:spChg chg="mod">
          <ac:chgData name="Bez, Florian" userId="30d7df6a-5295-4d75-a650-5a1fab7b8b2e" providerId="ADAL" clId="{DEF8C959-161B-48E6-918F-19FB2A9D3909}" dt="2023-04-21T09:53:26.427" v="9997"/>
          <ac:spMkLst>
            <pc:docMk/>
            <pc:sldMk cId="1603008812" sldId="7333"/>
            <ac:spMk id="1117" creationId="{5BB64F52-A228-ADEB-8F67-87DD91966F95}"/>
          </ac:spMkLst>
        </pc:spChg>
        <pc:spChg chg="mod">
          <ac:chgData name="Bez, Florian" userId="30d7df6a-5295-4d75-a650-5a1fab7b8b2e" providerId="ADAL" clId="{DEF8C959-161B-48E6-918F-19FB2A9D3909}" dt="2023-04-21T09:53:26.427" v="9997"/>
          <ac:spMkLst>
            <pc:docMk/>
            <pc:sldMk cId="1603008812" sldId="7333"/>
            <ac:spMk id="1118" creationId="{CCF68B9B-65ED-7783-A7B4-19A60D23C56F}"/>
          </ac:spMkLst>
        </pc:spChg>
        <pc:spChg chg="mod">
          <ac:chgData name="Bez, Florian" userId="30d7df6a-5295-4d75-a650-5a1fab7b8b2e" providerId="ADAL" clId="{DEF8C959-161B-48E6-918F-19FB2A9D3909}" dt="2023-04-21T09:53:26.427" v="9997"/>
          <ac:spMkLst>
            <pc:docMk/>
            <pc:sldMk cId="1603008812" sldId="7333"/>
            <ac:spMk id="1119" creationId="{2D97CBAD-AFB5-D81A-4C59-6844CCBF78AF}"/>
          </ac:spMkLst>
        </pc:spChg>
        <pc:spChg chg="mod">
          <ac:chgData name="Bez, Florian" userId="30d7df6a-5295-4d75-a650-5a1fab7b8b2e" providerId="ADAL" clId="{DEF8C959-161B-48E6-918F-19FB2A9D3909}" dt="2023-04-21T09:53:26.427" v="9997"/>
          <ac:spMkLst>
            <pc:docMk/>
            <pc:sldMk cId="1603008812" sldId="7333"/>
            <ac:spMk id="1120" creationId="{925A2130-2F98-6F18-44AB-26FA4C0D912B}"/>
          </ac:spMkLst>
        </pc:spChg>
        <pc:spChg chg="mod">
          <ac:chgData name="Bez, Florian" userId="30d7df6a-5295-4d75-a650-5a1fab7b8b2e" providerId="ADAL" clId="{DEF8C959-161B-48E6-918F-19FB2A9D3909}" dt="2023-04-21T09:53:26.427" v="9997"/>
          <ac:spMkLst>
            <pc:docMk/>
            <pc:sldMk cId="1603008812" sldId="7333"/>
            <ac:spMk id="1121" creationId="{FC037F79-D9B4-07C0-7CE1-34CEE90307E8}"/>
          </ac:spMkLst>
        </pc:spChg>
        <pc:spChg chg="mod">
          <ac:chgData name="Bez, Florian" userId="30d7df6a-5295-4d75-a650-5a1fab7b8b2e" providerId="ADAL" clId="{DEF8C959-161B-48E6-918F-19FB2A9D3909}" dt="2023-04-21T09:53:26.427" v="9997"/>
          <ac:spMkLst>
            <pc:docMk/>
            <pc:sldMk cId="1603008812" sldId="7333"/>
            <ac:spMk id="1122" creationId="{B549BB62-3673-8BA6-A5C7-30A3810AEAEE}"/>
          </ac:spMkLst>
        </pc:spChg>
        <pc:spChg chg="mod">
          <ac:chgData name="Bez, Florian" userId="30d7df6a-5295-4d75-a650-5a1fab7b8b2e" providerId="ADAL" clId="{DEF8C959-161B-48E6-918F-19FB2A9D3909}" dt="2023-04-21T09:53:26.427" v="9997"/>
          <ac:spMkLst>
            <pc:docMk/>
            <pc:sldMk cId="1603008812" sldId="7333"/>
            <ac:spMk id="1123" creationId="{9AEACF18-C1E9-E620-FBDE-3427170F5328}"/>
          </ac:spMkLst>
        </pc:spChg>
        <pc:spChg chg="mod">
          <ac:chgData name="Bez, Florian" userId="30d7df6a-5295-4d75-a650-5a1fab7b8b2e" providerId="ADAL" clId="{DEF8C959-161B-48E6-918F-19FB2A9D3909}" dt="2023-04-21T09:53:26.427" v="9997"/>
          <ac:spMkLst>
            <pc:docMk/>
            <pc:sldMk cId="1603008812" sldId="7333"/>
            <ac:spMk id="1124" creationId="{E7B09479-C849-7123-E2BC-24634F946C6B}"/>
          </ac:spMkLst>
        </pc:spChg>
        <pc:spChg chg="mod">
          <ac:chgData name="Bez, Florian" userId="30d7df6a-5295-4d75-a650-5a1fab7b8b2e" providerId="ADAL" clId="{DEF8C959-161B-48E6-918F-19FB2A9D3909}" dt="2023-04-21T09:53:26.427" v="9997"/>
          <ac:spMkLst>
            <pc:docMk/>
            <pc:sldMk cId="1603008812" sldId="7333"/>
            <ac:spMk id="1125" creationId="{3C679265-3DAB-AA9A-B0BB-AD6B813BF3B1}"/>
          </ac:spMkLst>
        </pc:spChg>
        <pc:spChg chg="mod">
          <ac:chgData name="Bez, Florian" userId="30d7df6a-5295-4d75-a650-5a1fab7b8b2e" providerId="ADAL" clId="{DEF8C959-161B-48E6-918F-19FB2A9D3909}" dt="2023-04-21T09:53:26.427" v="9997"/>
          <ac:spMkLst>
            <pc:docMk/>
            <pc:sldMk cId="1603008812" sldId="7333"/>
            <ac:spMk id="1126" creationId="{B09F06CB-8601-B313-5DA0-835270F5D61A}"/>
          </ac:spMkLst>
        </pc:spChg>
        <pc:spChg chg="mod">
          <ac:chgData name="Bez, Florian" userId="30d7df6a-5295-4d75-a650-5a1fab7b8b2e" providerId="ADAL" clId="{DEF8C959-161B-48E6-918F-19FB2A9D3909}" dt="2023-04-21T09:53:26.427" v="9997"/>
          <ac:spMkLst>
            <pc:docMk/>
            <pc:sldMk cId="1603008812" sldId="7333"/>
            <ac:spMk id="1127" creationId="{D3C14199-43B7-FE20-BC5B-473C2BAAA2C1}"/>
          </ac:spMkLst>
        </pc:spChg>
        <pc:spChg chg="mod">
          <ac:chgData name="Bez, Florian" userId="30d7df6a-5295-4d75-a650-5a1fab7b8b2e" providerId="ADAL" clId="{DEF8C959-161B-48E6-918F-19FB2A9D3909}" dt="2023-04-21T09:53:26.427" v="9997"/>
          <ac:spMkLst>
            <pc:docMk/>
            <pc:sldMk cId="1603008812" sldId="7333"/>
            <ac:spMk id="1128" creationId="{2A354822-0BE3-00FC-A6AD-3B44E6BA8140}"/>
          </ac:spMkLst>
        </pc:spChg>
        <pc:spChg chg="mod">
          <ac:chgData name="Bez, Florian" userId="30d7df6a-5295-4d75-a650-5a1fab7b8b2e" providerId="ADAL" clId="{DEF8C959-161B-48E6-918F-19FB2A9D3909}" dt="2023-04-21T09:53:26.427" v="9997"/>
          <ac:spMkLst>
            <pc:docMk/>
            <pc:sldMk cId="1603008812" sldId="7333"/>
            <ac:spMk id="1129" creationId="{8996884F-AA3E-F78C-DA2E-351401B332CA}"/>
          </ac:spMkLst>
        </pc:spChg>
        <pc:spChg chg="mod">
          <ac:chgData name="Bez, Florian" userId="30d7df6a-5295-4d75-a650-5a1fab7b8b2e" providerId="ADAL" clId="{DEF8C959-161B-48E6-918F-19FB2A9D3909}" dt="2023-04-21T09:53:26.427" v="9997"/>
          <ac:spMkLst>
            <pc:docMk/>
            <pc:sldMk cId="1603008812" sldId="7333"/>
            <ac:spMk id="1130" creationId="{3DD5C021-4612-356C-7B95-BF25345DA886}"/>
          </ac:spMkLst>
        </pc:spChg>
        <pc:spChg chg="mod">
          <ac:chgData name="Bez, Florian" userId="30d7df6a-5295-4d75-a650-5a1fab7b8b2e" providerId="ADAL" clId="{DEF8C959-161B-48E6-918F-19FB2A9D3909}" dt="2023-04-21T09:53:26.427" v="9997"/>
          <ac:spMkLst>
            <pc:docMk/>
            <pc:sldMk cId="1603008812" sldId="7333"/>
            <ac:spMk id="1131" creationId="{7AA6CEC6-758F-BB92-2733-62DAAE2A72D2}"/>
          </ac:spMkLst>
        </pc:spChg>
        <pc:spChg chg="mod">
          <ac:chgData name="Bez, Florian" userId="30d7df6a-5295-4d75-a650-5a1fab7b8b2e" providerId="ADAL" clId="{DEF8C959-161B-48E6-918F-19FB2A9D3909}" dt="2023-04-21T09:53:26.427" v="9997"/>
          <ac:spMkLst>
            <pc:docMk/>
            <pc:sldMk cId="1603008812" sldId="7333"/>
            <ac:spMk id="1132" creationId="{F8854A56-24EF-53F4-D19B-ECCD968B3733}"/>
          </ac:spMkLst>
        </pc:spChg>
        <pc:spChg chg="mod">
          <ac:chgData name="Bez, Florian" userId="30d7df6a-5295-4d75-a650-5a1fab7b8b2e" providerId="ADAL" clId="{DEF8C959-161B-48E6-918F-19FB2A9D3909}" dt="2023-04-21T09:53:26.427" v="9997"/>
          <ac:spMkLst>
            <pc:docMk/>
            <pc:sldMk cId="1603008812" sldId="7333"/>
            <ac:spMk id="1133" creationId="{69C9A3D0-14D9-1396-9BB7-1A640DB793E3}"/>
          </ac:spMkLst>
        </pc:spChg>
        <pc:spChg chg="mod">
          <ac:chgData name="Bez, Florian" userId="30d7df6a-5295-4d75-a650-5a1fab7b8b2e" providerId="ADAL" clId="{DEF8C959-161B-48E6-918F-19FB2A9D3909}" dt="2023-04-21T09:53:26.427" v="9997"/>
          <ac:spMkLst>
            <pc:docMk/>
            <pc:sldMk cId="1603008812" sldId="7333"/>
            <ac:spMk id="1134" creationId="{8402D586-A98A-A7F9-7C87-8F24574DCF84}"/>
          </ac:spMkLst>
        </pc:spChg>
        <pc:spChg chg="add del mod">
          <ac:chgData name="Bez, Florian" userId="30d7df6a-5295-4d75-a650-5a1fab7b8b2e" providerId="ADAL" clId="{DEF8C959-161B-48E6-918F-19FB2A9D3909}" dt="2023-04-21T09:54:10.185" v="10004" actId="478"/>
          <ac:spMkLst>
            <pc:docMk/>
            <pc:sldMk cId="1603008812" sldId="7333"/>
            <ac:spMk id="1135" creationId="{B660A5F7-4D0C-0A99-1CAD-39EE2E4C39C2}"/>
          </ac:spMkLst>
        </pc:spChg>
        <pc:spChg chg="add del mod">
          <ac:chgData name="Bez, Florian" userId="30d7df6a-5295-4d75-a650-5a1fab7b8b2e" providerId="ADAL" clId="{DEF8C959-161B-48E6-918F-19FB2A9D3909}" dt="2023-04-21T09:54:10.185" v="10004" actId="478"/>
          <ac:spMkLst>
            <pc:docMk/>
            <pc:sldMk cId="1603008812" sldId="7333"/>
            <ac:spMk id="1136" creationId="{2C7C342B-ADF2-73DF-445A-439D93135E96}"/>
          </ac:spMkLst>
        </pc:spChg>
        <pc:spChg chg="add del mod">
          <ac:chgData name="Bez, Florian" userId="30d7df6a-5295-4d75-a650-5a1fab7b8b2e" providerId="ADAL" clId="{DEF8C959-161B-48E6-918F-19FB2A9D3909}" dt="2023-04-21T09:54:10.185" v="10004" actId="478"/>
          <ac:spMkLst>
            <pc:docMk/>
            <pc:sldMk cId="1603008812" sldId="7333"/>
            <ac:spMk id="1137" creationId="{6B9F2E6A-FAC2-27D3-120F-F8A902774D85}"/>
          </ac:spMkLst>
        </pc:spChg>
        <pc:spChg chg="mod">
          <ac:chgData name="Bez, Florian" userId="30d7df6a-5295-4d75-a650-5a1fab7b8b2e" providerId="ADAL" clId="{DEF8C959-161B-48E6-918F-19FB2A9D3909}" dt="2023-04-21T09:53:26.427" v="9997"/>
          <ac:spMkLst>
            <pc:docMk/>
            <pc:sldMk cId="1603008812" sldId="7333"/>
            <ac:spMk id="1139" creationId="{9021497D-6F05-A486-4677-92F2292E2811}"/>
          </ac:spMkLst>
        </pc:spChg>
        <pc:spChg chg="mod">
          <ac:chgData name="Bez, Florian" userId="30d7df6a-5295-4d75-a650-5a1fab7b8b2e" providerId="ADAL" clId="{DEF8C959-161B-48E6-918F-19FB2A9D3909}" dt="2023-04-21T09:53:26.427" v="9997"/>
          <ac:spMkLst>
            <pc:docMk/>
            <pc:sldMk cId="1603008812" sldId="7333"/>
            <ac:spMk id="1140" creationId="{0DADF72A-1AC4-B392-78AE-3165237329FF}"/>
          </ac:spMkLst>
        </pc:spChg>
        <pc:spChg chg="mod">
          <ac:chgData name="Bez, Florian" userId="30d7df6a-5295-4d75-a650-5a1fab7b8b2e" providerId="ADAL" clId="{DEF8C959-161B-48E6-918F-19FB2A9D3909}" dt="2023-04-21T09:53:26.427" v="9997"/>
          <ac:spMkLst>
            <pc:docMk/>
            <pc:sldMk cId="1603008812" sldId="7333"/>
            <ac:spMk id="1141" creationId="{FA23B26E-9329-54E3-318F-6E529ED84D6D}"/>
          </ac:spMkLst>
        </pc:spChg>
        <pc:spChg chg="mod">
          <ac:chgData name="Bez, Florian" userId="30d7df6a-5295-4d75-a650-5a1fab7b8b2e" providerId="ADAL" clId="{DEF8C959-161B-48E6-918F-19FB2A9D3909}" dt="2023-04-21T09:53:26.427" v="9997"/>
          <ac:spMkLst>
            <pc:docMk/>
            <pc:sldMk cId="1603008812" sldId="7333"/>
            <ac:spMk id="1142" creationId="{E0A1917D-ED7B-B185-7ADF-9CE4435113A2}"/>
          </ac:spMkLst>
        </pc:spChg>
        <pc:spChg chg="add del mod">
          <ac:chgData name="Bez, Florian" userId="30d7df6a-5295-4d75-a650-5a1fab7b8b2e" providerId="ADAL" clId="{DEF8C959-161B-48E6-918F-19FB2A9D3909}" dt="2023-04-21T09:54:10.185" v="10004" actId="478"/>
          <ac:spMkLst>
            <pc:docMk/>
            <pc:sldMk cId="1603008812" sldId="7333"/>
            <ac:spMk id="1143" creationId="{B919CC10-9625-79DF-24CF-AFB357BEC680}"/>
          </ac:spMkLst>
        </pc:spChg>
        <pc:spChg chg="add del mod">
          <ac:chgData name="Bez, Florian" userId="30d7df6a-5295-4d75-a650-5a1fab7b8b2e" providerId="ADAL" clId="{DEF8C959-161B-48E6-918F-19FB2A9D3909}" dt="2023-04-21T09:54:10.185" v="10004" actId="478"/>
          <ac:spMkLst>
            <pc:docMk/>
            <pc:sldMk cId="1603008812" sldId="7333"/>
            <ac:spMk id="1144" creationId="{8AE7EAE5-961A-A80A-80F2-2D97D811A9F4}"/>
          </ac:spMkLst>
        </pc:spChg>
        <pc:spChg chg="add del mod">
          <ac:chgData name="Bez, Florian" userId="30d7df6a-5295-4d75-a650-5a1fab7b8b2e" providerId="ADAL" clId="{DEF8C959-161B-48E6-918F-19FB2A9D3909}" dt="2023-04-21T09:54:10.185" v="10004" actId="478"/>
          <ac:spMkLst>
            <pc:docMk/>
            <pc:sldMk cId="1603008812" sldId="7333"/>
            <ac:spMk id="1145" creationId="{6D4CB17A-1E22-4E7A-ACB0-2C1F00BFF63E}"/>
          </ac:spMkLst>
        </pc:spChg>
        <pc:spChg chg="add del mod">
          <ac:chgData name="Bez, Florian" userId="30d7df6a-5295-4d75-a650-5a1fab7b8b2e" providerId="ADAL" clId="{DEF8C959-161B-48E6-918F-19FB2A9D3909}" dt="2023-04-21T09:54:10.185" v="10004" actId="478"/>
          <ac:spMkLst>
            <pc:docMk/>
            <pc:sldMk cId="1603008812" sldId="7333"/>
            <ac:spMk id="1146" creationId="{5B05C0F3-221B-AF55-81B8-0F5F4643398D}"/>
          </ac:spMkLst>
        </pc:spChg>
        <pc:spChg chg="add del mod">
          <ac:chgData name="Bez, Florian" userId="30d7df6a-5295-4d75-a650-5a1fab7b8b2e" providerId="ADAL" clId="{DEF8C959-161B-48E6-918F-19FB2A9D3909}" dt="2023-04-21T09:54:10.185" v="10004" actId="478"/>
          <ac:spMkLst>
            <pc:docMk/>
            <pc:sldMk cId="1603008812" sldId="7333"/>
            <ac:spMk id="1147" creationId="{D550AFBA-8637-793B-EF08-C4751132BFDF}"/>
          </ac:spMkLst>
        </pc:spChg>
        <pc:spChg chg="add del mod">
          <ac:chgData name="Bez, Florian" userId="30d7df6a-5295-4d75-a650-5a1fab7b8b2e" providerId="ADAL" clId="{DEF8C959-161B-48E6-918F-19FB2A9D3909}" dt="2023-04-21T09:54:10.185" v="10004" actId="478"/>
          <ac:spMkLst>
            <pc:docMk/>
            <pc:sldMk cId="1603008812" sldId="7333"/>
            <ac:spMk id="1148" creationId="{5AD38A9D-3DDF-9456-650D-F67C1DD5E334}"/>
          </ac:spMkLst>
        </pc:spChg>
        <pc:spChg chg="add del mod">
          <ac:chgData name="Bez, Florian" userId="30d7df6a-5295-4d75-a650-5a1fab7b8b2e" providerId="ADAL" clId="{DEF8C959-161B-48E6-918F-19FB2A9D3909}" dt="2023-04-21T09:54:10.185" v="10004" actId="478"/>
          <ac:spMkLst>
            <pc:docMk/>
            <pc:sldMk cId="1603008812" sldId="7333"/>
            <ac:spMk id="1149" creationId="{C241737D-3F9D-583C-4E61-8A74FB7AB4A9}"/>
          </ac:spMkLst>
        </pc:spChg>
        <pc:spChg chg="add del mod">
          <ac:chgData name="Bez, Florian" userId="30d7df6a-5295-4d75-a650-5a1fab7b8b2e" providerId="ADAL" clId="{DEF8C959-161B-48E6-918F-19FB2A9D3909}" dt="2023-04-21T09:54:10.185" v="10004" actId="478"/>
          <ac:spMkLst>
            <pc:docMk/>
            <pc:sldMk cId="1603008812" sldId="7333"/>
            <ac:spMk id="1151" creationId="{0AABA4D5-F80F-FE9E-7749-F5AC1C8639EA}"/>
          </ac:spMkLst>
        </pc:spChg>
        <pc:spChg chg="add del mod">
          <ac:chgData name="Bez, Florian" userId="30d7df6a-5295-4d75-a650-5a1fab7b8b2e" providerId="ADAL" clId="{DEF8C959-161B-48E6-918F-19FB2A9D3909}" dt="2023-04-21T09:54:10.185" v="10004" actId="478"/>
          <ac:spMkLst>
            <pc:docMk/>
            <pc:sldMk cId="1603008812" sldId="7333"/>
            <ac:spMk id="1152" creationId="{BDC34173-8669-27EB-1174-787C073782C3}"/>
          </ac:spMkLst>
        </pc:spChg>
        <pc:spChg chg="add del mod">
          <ac:chgData name="Bez, Florian" userId="30d7df6a-5295-4d75-a650-5a1fab7b8b2e" providerId="ADAL" clId="{DEF8C959-161B-48E6-918F-19FB2A9D3909}" dt="2023-04-21T09:54:10.185" v="10004" actId="478"/>
          <ac:spMkLst>
            <pc:docMk/>
            <pc:sldMk cId="1603008812" sldId="7333"/>
            <ac:spMk id="1153" creationId="{74B09A97-4F18-366C-D9AF-2AF9131206E0}"/>
          </ac:spMkLst>
        </pc:spChg>
        <pc:spChg chg="add del mod">
          <ac:chgData name="Bez, Florian" userId="30d7df6a-5295-4d75-a650-5a1fab7b8b2e" providerId="ADAL" clId="{DEF8C959-161B-48E6-918F-19FB2A9D3909}" dt="2023-04-21T09:54:10.185" v="10004" actId="478"/>
          <ac:spMkLst>
            <pc:docMk/>
            <pc:sldMk cId="1603008812" sldId="7333"/>
            <ac:spMk id="1154" creationId="{161983CF-D37C-0C85-F11B-04FA2F7D1C03}"/>
          </ac:spMkLst>
        </pc:spChg>
        <pc:spChg chg="add del mod">
          <ac:chgData name="Bez, Florian" userId="30d7df6a-5295-4d75-a650-5a1fab7b8b2e" providerId="ADAL" clId="{DEF8C959-161B-48E6-918F-19FB2A9D3909}" dt="2023-04-21T09:54:10.185" v="10004" actId="478"/>
          <ac:spMkLst>
            <pc:docMk/>
            <pc:sldMk cId="1603008812" sldId="7333"/>
            <ac:spMk id="1155" creationId="{B829ED4E-50BD-8922-5422-4CC8ACA283BE}"/>
          </ac:spMkLst>
        </pc:spChg>
        <pc:spChg chg="add del mod">
          <ac:chgData name="Bez, Florian" userId="30d7df6a-5295-4d75-a650-5a1fab7b8b2e" providerId="ADAL" clId="{DEF8C959-161B-48E6-918F-19FB2A9D3909}" dt="2023-04-21T09:54:10.185" v="10004" actId="478"/>
          <ac:spMkLst>
            <pc:docMk/>
            <pc:sldMk cId="1603008812" sldId="7333"/>
            <ac:spMk id="1156" creationId="{AB4B5FF4-2521-516D-C663-E987E23234E7}"/>
          </ac:spMkLst>
        </pc:spChg>
        <pc:spChg chg="add del mod">
          <ac:chgData name="Bez, Florian" userId="30d7df6a-5295-4d75-a650-5a1fab7b8b2e" providerId="ADAL" clId="{DEF8C959-161B-48E6-918F-19FB2A9D3909}" dt="2023-04-21T09:54:10.185" v="10004" actId="478"/>
          <ac:spMkLst>
            <pc:docMk/>
            <pc:sldMk cId="1603008812" sldId="7333"/>
            <ac:spMk id="1157" creationId="{6EEF40B5-B9C7-2332-9107-C3E9D8A90DDD}"/>
          </ac:spMkLst>
        </pc:spChg>
        <pc:spChg chg="add del mod">
          <ac:chgData name="Bez, Florian" userId="30d7df6a-5295-4d75-a650-5a1fab7b8b2e" providerId="ADAL" clId="{DEF8C959-161B-48E6-918F-19FB2A9D3909}" dt="2023-04-21T09:54:10.185" v="10004" actId="478"/>
          <ac:spMkLst>
            <pc:docMk/>
            <pc:sldMk cId="1603008812" sldId="7333"/>
            <ac:spMk id="1158" creationId="{1D6C8DE1-08F5-8AFF-2023-0A4D04716206}"/>
          </ac:spMkLst>
        </pc:spChg>
        <pc:spChg chg="add del mod">
          <ac:chgData name="Bez, Florian" userId="30d7df6a-5295-4d75-a650-5a1fab7b8b2e" providerId="ADAL" clId="{DEF8C959-161B-48E6-918F-19FB2A9D3909}" dt="2023-04-21T09:54:10.185" v="10004" actId="478"/>
          <ac:spMkLst>
            <pc:docMk/>
            <pc:sldMk cId="1603008812" sldId="7333"/>
            <ac:spMk id="1159" creationId="{C108F229-EF62-C7F9-6553-4D55EB881017}"/>
          </ac:spMkLst>
        </pc:spChg>
        <pc:spChg chg="add del mod">
          <ac:chgData name="Bez, Florian" userId="30d7df6a-5295-4d75-a650-5a1fab7b8b2e" providerId="ADAL" clId="{DEF8C959-161B-48E6-918F-19FB2A9D3909}" dt="2023-04-21T09:54:10.185" v="10004" actId="478"/>
          <ac:spMkLst>
            <pc:docMk/>
            <pc:sldMk cId="1603008812" sldId="7333"/>
            <ac:spMk id="1160" creationId="{C7446F41-9CE8-28C8-60A2-BD1BE6166978}"/>
          </ac:spMkLst>
        </pc:spChg>
        <pc:spChg chg="add del mod">
          <ac:chgData name="Bez, Florian" userId="30d7df6a-5295-4d75-a650-5a1fab7b8b2e" providerId="ADAL" clId="{DEF8C959-161B-48E6-918F-19FB2A9D3909}" dt="2023-04-21T09:54:10.185" v="10004" actId="478"/>
          <ac:spMkLst>
            <pc:docMk/>
            <pc:sldMk cId="1603008812" sldId="7333"/>
            <ac:spMk id="1162" creationId="{1740C3D9-C3ED-DC6C-58FE-9922584EDE8E}"/>
          </ac:spMkLst>
        </pc:spChg>
        <pc:spChg chg="add del mod">
          <ac:chgData name="Bez, Florian" userId="30d7df6a-5295-4d75-a650-5a1fab7b8b2e" providerId="ADAL" clId="{DEF8C959-161B-48E6-918F-19FB2A9D3909}" dt="2023-04-21T09:54:10.185" v="10004" actId="478"/>
          <ac:spMkLst>
            <pc:docMk/>
            <pc:sldMk cId="1603008812" sldId="7333"/>
            <ac:spMk id="1163" creationId="{3F7461C3-87AA-F992-D5E7-D1E1BE326B3C}"/>
          </ac:spMkLst>
        </pc:spChg>
        <pc:spChg chg="add del mod">
          <ac:chgData name="Bez, Florian" userId="30d7df6a-5295-4d75-a650-5a1fab7b8b2e" providerId="ADAL" clId="{DEF8C959-161B-48E6-918F-19FB2A9D3909}" dt="2023-04-21T09:54:10.185" v="10004" actId="478"/>
          <ac:spMkLst>
            <pc:docMk/>
            <pc:sldMk cId="1603008812" sldId="7333"/>
            <ac:spMk id="1164" creationId="{DFFD7679-4D9C-BADA-539E-44548336B0F8}"/>
          </ac:spMkLst>
        </pc:spChg>
        <pc:spChg chg="add del mod">
          <ac:chgData name="Bez, Florian" userId="30d7df6a-5295-4d75-a650-5a1fab7b8b2e" providerId="ADAL" clId="{DEF8C959-161B-48E6-918F-19FB2A9D3909}" dt="2023-04-21T09:54:10.185" v="10004" actId="478"/>
          <ac:spMkLst>
            <pc:docMk/>
            <pc:sldMk cId="1603008812" sldId="7333"/>
            <ac:spMk id="1165" creationId="{450ED6BC-96BC-1028-4930-035352619F54}"/>
          </ac:spMkLst>
        </pc:spChg>
        <pc:spChg chg="add del mod">
          <ac:chgData name="Bez, Florian" userId="30d7df6a-5295-4d75-a650-5a1fab7b8b2e" providerId="ADAL" clId="{DEF8C959-161B-48E6-918F-19FB2A9D3909}" dt="2023-04-21T09:54:10.185" v="10004" actId="478"/>
          <ac:spMkLst>
            <pc:docMk/>
            <pc:sldMk cId="1603008812" sldId="7333"/>
            <ac:spMk id="1166" creationId="{F96379A2-54DF-84CC-F432-1972F9865D45}"/>
          </ac:spMkLst>
        </pc:spChg>
        <pc:spChg chg="add del mod">
          <ac:chgData name="Bez, Florian" userId="30d7df6a-5295-4d75-a650-5a1fab7b8b2e" providerId="ADAL" clId="{DEF8C959-161B-48E6-918F-19FB2A9D3909}" dt="2023-04-21T09:54:10.185" v="10004" actId="478"/>
          <ac:spMkLst>
            <pc:docMk/>
            <pc:sldMk cId="1603008812" sldId="7333"/>
            <ac:spMk id="1167" creationId="{F5A9D0C6-FA60-3816-557D-D17240AEBB44}"/>
          </ac:spMkLst>
        </pc:spChg>
        <pc:spChg chg="add del mod">
          <ac:chgData name="Bez, Florian" userId="30d7df6a-5295-4d75-a650-5a1fab7b8b2e" providerId="ADAL" clId="{DEF8C959-161B-48E6-918F-19FB2A9D3909}" dt="2023-04-21T09:54:10.185" v="10004" actId="478"/>
          <ac:spMkLst>
            <pc:docMk/>
            <pc:sldMk cId="1603008812" sldId="7333"/>
            <ac:spMk id="1168" creationId="{8A32D2CF-F249-9505-F9EC-BB53887FC536}"/>
          </ac:spMkLst>
        </pc:spChg>
        <pc:spChg chg="add del mod">
          <ac:chgData name="Bez, Florian" userId="30d7df6a-5295-4d75-a650-5a1fab7b8b2e" providerId="ADAL" clId="{DEF8C959-161B-48E6-918F-19FB2A9D3909}" dt="2023-04-21T09:54:10.185" v="10004" actId="478"/>
          <ac:spMkLst>
            <pc:docMk/>
            <pc:sldMk cId="1603008812" sldId="7333"/>
            <ac:spMk id="1169" creationId="{EFBE4949-211A-18C0-8467-58B409EC5BE3}"/>
          </ac:spMkLst>
        </pc:spChg>
        <pc:spChg chg="add del mod">
          <ac:chgData name="Bez, Florian" userId="30d7df6a-5295-4d75-a650-5a1fab7b8b2e" providerId="ADAL" clId="{DEF8C959-161B-48E6-918F-19FB2A9D3909}" dt="2023-04-21T09:54:10.185" v="10004" actId="478"/>
          <ac:spMkLst>
            <pc:docMk/>
            <pc:sldMk cId="1603008812" sldId="7333"/>
            <ac:spMk id="1170" creationId="{DD4D782A-302E-8C4C-E847-5A4A82978068}"/>
          </ac:spMkLst>
        </pc:spChg>
        <pc:spChg chg="add del mod">
          <ac:chgData name="Bez, Florian" userId="30d7df6a-5295-4d75-a650-5a1fab7b8b2e" providerId="ADAL" clId="{DEF8C959-161B-48E6-918F-19FB2A9D3909}" dt="2023-04-21T09:54:10.185" v="10004" actId="478"/>
          <ac:spMkLst>
            <pc:docMk/>
            <pc:sldMk cId="1603008812" sldId="7333"/>
            <ac:spMk id="1171" creationId="{C7B1CBCA-801B-4B57-A3AD-925ABA25ABD7}"/>
          </ac:spMkLst>
        </pc:spChg>
        <pc:spChg chg="add del mod">
          <ac:chgData name="Bez, Florian" userId="30d7df6a-5295-4d75-a650-5a1fab7b8b2e" providerId="ADAL" clId="{DEF8C959-161B-48E6-918F-19FB2A9D3909}" dt="2023-04-21T09:54:10.185" v="10004" actId="478"/>
          <ac:spMkLst>
            <pc:docMk/>
            <pc:sldMk cId="1603008812" sldId="7333"/>
            <ac:spMk id="1172" creationId="{749B9081-2FCB-2F8B-D7A8-186F7069ABA2}"/>
          </ac:spMkLst>
        </pc:spChg>
        <pc:spChg chg="add del mod">
          <ac:chgData name="Bez, Florian" userId="30d7df6a-5295-4d75-a650-5a1fab7b8b2e" providerId="ADAL" clId="{DEF8C959-161B-48E6-918F-19FB2A9D3909}" dt="2023-04-21T09:54:10.185" v="10004" actId="478"/>
          <ac:spMkLst>
            <pc:docMk/>
            <pc:sldMk cId="1603008812" sldId="7333"/>
            <ac:spMk id="1173" creationId="{2F999B92-0567-1799-B0F9-27CB9E2B5C9E}"/>
          </ac:spMkLst>
        </pc:spChg>
        <pc:spChg chg="add del mod">
          <ac:chgData name="Bez, Florian" userId="30d7df6a-5295-4d75-a650-5a1fab7b8b2e" providerId="ADAL" clId="{DEF8C959-161B-48E6-918F-19FB2A9D3909}" dt="2023-04-21T09:54:10.185" v="10004" actId="478"/>
          <ac:spMkLst>
            <pc:docMk/>
            <pc:sldMk cId="1603008812" sldId="7333"/>
            <ac:spMk id="1174" creationId="{ABEFCF64-77E3-5345-602F-2012825D2341}"/>
          </ac:spMkLst>
        </pc:spChg>
        <pc:spChg chg="add del mod">
          <ac:chgData name="Bez, Florian" userId="30d7df6a-5295-4d75-a650-5a1fab7b8b2e" providerId="ADAL" clId="{DEF8C959-161B-48E6-918F-19FB2A9D3909}" dt="2023-04-21T09:54:10.185" v="10004" actId="478"/>
          <ac:spMkLst>
            <pc:docMk/>
            <pc:sldMk cId="1603008812" sldId="7333"/>
            <ac:spMk id="1175" creationId="{5FD8FA80-10F0-6D6A-1A36-C8A2615DB3E9}"/>
          </ac:spMkLst>
        </pc:spChg>
        <pc:spChg chg="add del mod">
          <ac:chgData name="Bez, Florian" userId="30d7df6a-5295-4d75-a650-5a1fab7b8b2e" providerId="ADAL" clId="{DEF8C959-161B-48E6-918F-19FB2A9D3909}" dt="2023-04-21T09:54:10.185" v="10004" actId="478"/>
          <ac:spMkLst>
            <pc:docMk/>
            <pc:sldMk cId="1603008812" sldId="7333"/>
            <ac:spMk id="1176" creationId="{D31746A2-3197-EB0B-F106-50AC159D3056}"/>
          </ac:spMkLst>
        </pc:spChg>
        <pc:spChg chg="add del mod">
          <ac:chgData name="Bez, Florian" userId="30d7df6a-5295-4d75-a650-5a1fab7b8b2e" providerId="ADAL" clId="{DEF8C959-161B-48E6-918F-19FB2A9D3909}" dt="2023-04-21T09:54:10.185" v="10004" actId="478"/>
          <ac:spMkLst>
            <pc:docMk/>
            <pc:sldMk cId="1603008812" sldId="7333"/>
            <ac:spMk id="1177" creationId="{57CA2098-1F57-CFBD-5B1A-638663142EC7}"/>
          </ac:spMkLst>
        </pc:spChg>
        <pc:spChg chg="add del mod">
          <ac:chgData name="Bez, Florian" userId="30d7df6a-5295-4d75-a650-5a1fab7b8b2e" providerId="ADAL" clId="{DEF8C959-161B-48E6-918F-19FB2A9D3909}" dt="2023-04-21T09:54:10.185" v="10004" actId="478"/>
          <ac:spMkLst>
            <pc:docMk/>
            <pc:sldMk cId="1603008812" sldId="7333"/>
            <ac:spMk id="1178" creationId="{7EA86C6B-6554-409E-1772-5006B3985EDC}"/>
          </ac:spMkLst>
        </pc:spChg>
        <pc:spChg chg="add del mod">
          <ac:chgData name="Bez, Florian" userId="30d7df6a-5295-4d75-a650-5a1fab7b8b2e" providerId="ADAL" clId="{DEF8C959-161B-48E6-918F-19FB2A9D3909}" dt="2023-04-21T09:54:10.185" v="10004" actId="478"/>
          <ac:spMkLst>
            <pc:docMk/>
            <pc:sldMk cId="1603008812" sldId="7333"/>
            <ac:spMk id="1179" creationId="{A1CE422D-2257-C2E0-9CA7-F2542CEEBB96}"/>
          </ac:spMkLst>
        </pc:spChg>
        <pc:spChg chg="add del mod">
          <ac:chgData name="Bez, Florian" userId="30d7df6a-5295-4d75-a650-5a1fab7b8b2e" providerId="ADAL" clId="{DEF8C959-161B-48E6-918F-19FB2A9D3909}" dt="2023-04-21T09:54:10.185" v="10004" actId="478"/>
          <ac:spMkLst>
            <pc:docMk/>
            <pc:sldMk cId="1603008812" sldId="7333"/>
            <ac:spMk id="1180" creationId="{51C23ADC-9664-9760-2BA2-EBAE571169F2}"/>
          </ac:spMkLst>
        </pc:spChg>
        <pc:spChg chg="add del mod">
          <ac:chgData name="Bez, Florian" userId="30d7df6a-5295-4d75-a650-5a1fab7b8b2e" providerId="ADAL" clId="{DEF8C959-161B-48E6-918F-19FB2A9D3909}" dt="2023-04-21T09:54:10.185" v="10004" actId="478"/>
          <ac:spMkLst>
            <pc:docMk/>
            <pc:sldMk cId="1603008812" sldId="7333"/>
            <ac:spMk id="1183" creationId="{93EA96D7-35F8-84A1-7C35-29404CC251B0}"/>
          </ac:spMkLst>
        </pc:spChg>
        <pc:spChg chg="add del mod">
          <ac:chgData name="Bez, Florian" userId="30d7df6a-5295-4d75-a650-5a1fab7b8b2e" providerId="ADAL" clId="{DEF8C959-161B-48E6-918F-19FB2A9D3909}" dt="2023-04-21T09:54:10.185" v="10004" actId="478"/>
          <ac:spMkLst>
            <pc:docMk/>
            <pc:sldMk cId="1603008812" sldId="7333"/>
            <ac:spMk id="1184" creationId="{D2858AB5-BA36-1A62-07A7-4AC8D1DB1C69}"/>
          </ac:spMkLst>
        </pc:spChg>
        <pc:spChg chg="add del mod">
          <ac:chgData name="Bez, Florian" userId="30d7df6a-5295-4d75-a650-5a1fab7b8b2e" providerId="ADAL" clId="{DEF8C959-161B-48E6-918F-19FB2A9D3909}" dt="2023-04-21T09:54:10.185" v="10004" actId="478"/>
          <ac:spMkLst>
            <pc:docMk/>
            <pc:sldMk cId="1603008812" sldId="7333"/>
            <ac:spMk id="1185" creationId="{D8EAF617-34B0-C6F9-5246-F182E7BD9F70}"/>
          </ac:spMkLst>
        </pc:spChg>
        <pc:spChg chg="add del mod">
          <ac:chgData name="Bez, Florian" userId="30d7df6a-5295-4d75-a650-5a1fab7b8b2e" providerId="ADAL" clId="{DEF8C959-161B-48E6-918F-19FB2A9D3909}" dt="2023-04-21T09:54:10.185" v="10004" actId="478"/>
          <ac:spMkLst>
            <pc:docMk/>
            <pc:sldMk cId="1603008812" sldId="7333"/>
            <ac:spMk id="1186" creationId="{5891FA14-AB0E-27C4-6A9B-407E11E6FF14}"/>
          </ac:spMkLst>
        </pc:spChg>
        <pc:spChg chg="add del mod">
          <ac:chgData name="Bez, Florian" userId="30d7df6a-5295-4d75-a650-5a1fab7b8b2e" providerId="ADAL" clId="{DEF8C959-161B-48E6-918F-19FB2A9D3909}" dt="2023-04-21T09:54:10.185" v="10004" actId="478"/>
          <ac:spMkLst>
            <pc:docMk/>
            <pc:sldMk cId="1603008812" sldId="7333"/>
            <ac:spMk id="1187" creationId="{94A1E14A-DE36-BA72-6E12-9F6C9F4E042E}"/>
          </ac:spMkLst>
        </pc:spChg>
        <pc:spChg chg="add del mod">
          <ac:chgData name="Bez, Florian" userId="30d7df6a-5295-4d75-a650-5a1fab7b8b2e" providerId="ADAL" clId="{DEF8C959-161B-48E6-918F-19FB2A9D3909}" dt="2023-04-21T09:54:10.185" v="10004" actId="478"/>
          <ac:spMkLst>
            <pc:docMk/>
            <pc:sldMk cId="1603008812" sldId="7333"/>
            <ac:spMk id="1188" creationId="{F10F0F21-9DEC-DDAC-DEF1-BC6115797955}"/>
          </ac:spMkLst>
        </pc:spChg>
        <pc:spChg chg="add del mod">
          <ac:chgData name="Bez, Florian" userId="30d7df6a-5295-4d75-a650-5a1fab7b8b2e" providerId="ADAL" clId="{DEF8C959-161B-48E6-918F-19FB2A9D3909}" dt="2023-04-21T09:54:10.185" v="10004" actId="478"/>
          <ac:spMkLst>
            <pc:docMk/>
            <pc:sldMk cId="1603008812" sldId="7333"/>
            <ac:spMk id="1189" creationId="{11714538-1904-AE52-10B4-B25235A3E74D}"/>
          </ac:spMkLst>
        </pc:spChg>
        <pc:spChg chg="add del mod">
          <ac:chgData name="Bez, Florian" userId="30d7df6a-5295-4d75-a650-5a1fab7b8b2e" providerId="ADAL" clId="{DEF8C959-161B-48E6-918F-19FB2A9D3909}" dt="2023-04-21T09:54:10.185" v="10004" actId="478"/>
          <ac:spMkLst>
            <pc:docMk/>
            <pc:sldMk cId="1603008812" sldId="7333"/>
            <ac:spMk id="1190" creationId="{2657D764-33A2-C59C-38FC-562AAA05F951}"/>
          </ac:spMkLst>
        </pc:spChg>
        <pc:spChg chg="add del mod">
          <ac:chgData name="Bez, Florian" userId="30d7df6a-5295-4d75-a650-5a1fab7b8b2e" providerId="ADAL" clId="{DEF8C959-161B-48E6-918F-19FB2A9D3909}" dt="2023-04-21T09:54:10.185" v="10004" actId="478"/>
          <ac:spMkLst>
            <pc:docMk/>
            <pc:sldMk cId="1603008812" sldId="7333"/>
            <ac:spMk id="1191" creationId="{201C4431-BC7F-3796-92F2-8E0F084CA26B}"/>
          </ac:spMkLst>
        </pc:spChg>
        <pc:spChg chg="add del mod">
          <ac:chgData name="Bez, Florian" userId="30d7df6a-5295-4d75-a650-5a1fab7b8b2e" providerId="ADAL" clId="{DEF8C959-161B-48E6-918F-19FB2A9D3909}" dt="2023-04-21T09:54:10.185" v="10004" actId="478"/>
          <ac:spMkLst>
            <pc:docMk/>
            <pc:sldMk cId="1603008812" sldId="7333"/>
            <ac:spMk id="1192" creationId="{62BF08BC-3395-3C36-A03F-4E4484ED85CA}"/>
          </ac:spMkLst>
        </pc:spChg>
        <pc:spChg chg="add del mod">
          <ac:chgData name="Bez, Florian" userId="30d7df6a-5295-4d75-a650-5a1fab7b8b2e" providerId="ADAL" clId="{DEF8C959-161B-48E6-918F-19FB2A9D3909}" dt="2023-04-21T09:54:10.185" v="10004" actId="478"/>
          <ac:spMkLst>
            <pc:docMk/>
            <pc:sldMk cId="1603008812" sldId="7333"/>
            <ac:spMk id="1193" creationId="{E522273A-4887-02D4-2C35-BBFDA1950C40}"/>
          </ac:spMkLst>
        </pc:spChg>
        <pc:spChg chg="add del mod">
          <ac:chgData name="Bez, Florian" userId="30d7df6a-5295-4d75-a650-5a1fab7b8b2e" providerId="ADAL" clId="{DEF8C959-161B-48E6-918F-19FB2A9D3909}" dt="2023-04-21T09:54:10.185" v="10004" actId="478"/>
          <ac:spMkLst>
            <pc:docMk/>
            <pc:sldMk cId="1603008812" sldId="7333"/>
            <ac:spMk id="1194" creationId="{075B6E9E-9458-637A-85A3-E6A33FBD8534}"/>
          </ac:spMkLst>
        </pc:spChg>
        <pc:spChg chg="add del mod">
          <ac:chgData name="Bez, Florian" userId="30d7df6a-5295-4d75-a650-5a1fab7b8b2e" providerId="ADAL" clId="{DEF8C959-161B-48E6-918F-19FB2A9D3909}" dt="2023-04-21T09:54:10.185" v="10004" actId="478"/>
          <ac:spMkLst>
            <pc:docMk/>
            <pc:sldMk cId="1603008812" sldId="7333"/>
            <ac:spMk id="1195" creationId="{4E47BE0C-832C-3FA4-9AD7-0C66E3F0DF30}"/>
          </ac:spMkLst>
        </pc:spChg>
        <pc:spChg chg="add del mod">
          <ac:chgData name="Bez, Florian" userId="30d7df6a-5295-4d75-a650-5a1fab7b8b2e" providerId="ADAL" clId="{DEF8C959-161B-48E6-918F-19FB2A9D3909}" dt="2023-04-21T09:54:10.185" v="10004" actId="478"/>
          <ac:spMkLst>
            <pc:docMk/>
            <pc:sldMk cId="1603008812" sldId="7333"/>
            <ac:spMk id="1196" creationId="{CD25C35E-94B1-76F0-9352-CF1FD9649ED1}"/>
          </ac:spMkLst>
        </pc:spChg>
        <pc:spChg chg="add del mod">
          <ac:chgData name="Bez, Florian" userId="30d7df6a-5295-4d75-a650-5a1fab7b8b2e" providerId="ADAL" clId="{DEF8C959-161B-48E6-918F-19FB2A9D3909}" dt="2023-04-21T09:54:10.185" v="10004" actId="478"/>
          <ac:spMkLst>
            <pc:docMk/>
            <pc:sldMk cId="1603008812" sldId="7333"/>
            <ac:spMk id="1197" creationId="{470BF5B0-3EFB-74C9-DF2B-549D7FEE9A98}"/>
          </ac:spMkLst>
        </pc:spChg>
        <pc:spChg chg="add del mod">
          <ac:chgData name="Bez, Florian" userId="30d7df6a-5295-4d75-a650-5a1fab7b8b2e" providerId="ADAL" clId="{DEF8C959-161B-48E6-918F-19FB2A9D3909}" dt="2023-04-21T09:54:10.185" v="10004" actId="478"/>
          <ac:spMkLst>
            <pc:docMk/>
            <pc:sldMk cId="1603008812" sldId="7333"/>
            <ac:spMk id="1198" creationId="{C8ED5D73-9A64-7CC5-147A-3281B43AB6D4}"/>
          </ac:spMkLst>
        </pc:spChg>
        <pc:spChg chg="add del mod">
          <ac:chgData name="Bez, Florian" userId="30d7df6a-5295-4d75-a650-5a1fab7b8b2e" providerId="ADAL" clId="{DEF8C959-161B-48E6-918F-19FB2A9D3909}" dt="2023-04-21T09:54:10.185" v="10004" actId="478"/>
          <ac:spMkLst>
            <pc:docMk/>
            <pc:sldMk cId="1603008812" sldId="7333"/>
            <ac:spMk id="1199" creationId="{84E6E698-8A4D-9697-9574-99C2FDC2B723}"/>
          </ac:spMkLst>
        </pc:spChg>
        <pc:spChg chg="add del mod">
          <ac:chgData name="Bez, Florian" userId="30d7df6a-5295-4d75-a650-5a1fab7b8b2e" providerId="ADAL" clId="{DEF8C959-161B-48E6-918F-19FB2A9D3909}" dt="2023-04-21T09:54:10.185" v="10004" actId="478"/>
          <ac:spMkLst>
            <pc:docMk/>
            <pc:sldMk cId="1603008812" sldId="7333"/>
            <ac:spMk id="1200" creationId="{750C7034-537D-09F3-0603-C75A9CDB3A6F}"/>
          </ac:spMkLst>
        </pc:spChg>
        <pc:spChg chg="add del mod">
          <ac:chgData name="Bez, Florian" userId="30d7df6a-5295-4d75-a650-5a1fab7b8b2e" providerId="ADAL" clId="{DEF8C959-161B-48E6-918F-19FB2A9D3909}" dt="2023-04-21T09:54:10.185" v="10004" actId="478"/>
          <ac:spMkLst>
            <pc:docMk/>
            <pc:sldMk cId="1603008812" sldId="7333"/>
            <ac:spMk id="1201" creationId="{9F84F6D9-2AFF-0E9A-83D1-1B26C39F12D4}"/>
          </ac:spMkLst>
        </pc:spChg>
        <pc:spChg chg="add del mod">
          <ac:chgData name="Bez, Florian" userId="30d7df6a-5295-4d75-a650-5a1fab7b8b2e" providerId="ADAL" clId="{DEF8C959-161B-48E6-918F-19FB2A9D3909}" dt="2023-04-21T09:54:10.185" v="10004" actId="478"/>
          <ac:spMkLst>
            <pc:docMk/>
            <pc:sldMk cId="1603008812" sldId="7333"/>
            <ac:spMk id="1202" creationId="{11B6BC15-4A63-DD0A-CF4A-4DF5C4616A6A}"/>
          </ac:spMkLst>
        </pc:spChg>
        <pc:spChg chg="add del mod">
          <ac:chgData name="Bez, Florian" userId="30d7df6a-5295-4d75-a650-5a1fab7b8b2e" providerId="ADAL" clId="{DEF8C959-161B-48E6-918F-19FB2A9D3909}" dt="2023-04-21T09:54:10.185" v="10004" actId="478"/>
          <ac:spMkLst>
            <pc:docMk/>
            <pc:sldMk cId="1603008812" sldId="7333"/>
            <ac:spMk id="1203" creationId="{C6F7CB58-2889-08D2-1E06-9E45CE555703}"/>
          </ac:spMkLst>
        </pc:spChg>
        <pc:spChg chg="add del mod">
          <ac:chgData name="Bez, Florian" userId="30d7df6a-5295-4d75-a650-5a1fab7b8b2e" providerId="ADAL" clId="{DEF8C959-161B-48E6-918F-19FB2A9D3909}" dt="2023-04-21T09:54:10.185" v="10004" actId="478"/>
          <ac:spMkLst>
            <pc:docMk/>
            <pc:sldMk cId="1603008812" sldId="7333"/>
            <ac:spMk id="1204" creationId="{9F91AA75-1221-9657-AE2E-335075F53612}"/>
          </ac:spMkLst>
        </pc:spChg>
        <pc:spChg chg="add del mod">
          <ac:chgData name="Bez, Florian" userId="30d7df6a-5295-4d75-a650-5a1fab7b8b2e" providerId="ADAL" clId="{DEF8C959-161B-48E6-918F-19FB2A9D3909}" dt="2023-04-21T09:54:10.185" v="10004" actId="478"/>
          <ac:spMkLst>
            <pc:docMk/>
            <pc:sldMk cId="1603008812" sldId="7333"/>
            <ac:spMk id="1205" creationId="{51A07F5D-B944-6328-042B-0D5463F5CE07}"/>
          </ac:spMkLst>
        </pc:spChg>
        <pc:spChg chg="add del mod">
          <ac:chgData name="Bez, Florian" userId="30d7df6a-5295-4d75-a650-5a1fab7b8b2e" providerId="ADAL" clId="{DEF8C959-161B-48E6-918F-19FB2A9D3909}" dt="2023-04-21T09:54:10.185" v="10004" actId="478"/>
          <ac:spMkLst>
            <pc:docMk/>
            <pc:sldMk cId="1603008812" sldId="7333"/>
            <ac:spMk id="1206" creationId="{E167FFAE-2D64-BDF8-F9A7-F85A52A7F4A7}"/>
          </ac:spMkLst>
        </pc:spChg>
        <pc:spChg chg="add del mod">
          <ac:chgData name="Bez, Florian" userId="30d7df6a-5295-4d75-a650-5a1fab7b8b2e" providerId="ADAL" clId="{DEF8C959-161B-48E6-918F-19FB2A9D3909}" dt="2023-04-21T09:54:10.185" v="10004" actId="478"/>
          <ac:spMkLst>
            <pc:docMk/>
            <pc:sldMk cId="1603008812" sldId="7333"/>
            <ac:spMk id="1207" creationId="{B2E87E73-7C4F-B554-1B33-D498DA0D1278}"/>
          </ac:spMkLst>
        </pc:spChg>
        <pc:spChg chg="add del mod">
          <ac:chgData name="Bez, Florian" userId="30d7df6a-5295-4d75-a650-5a1fab7b8b2e" providerId="ADAL" clId="{DEF8C959-161B-48E6-918F-19FB2A9D3909}" dt="2023-04-21T09:54:10.185" v="10004" actId="478"/>
          <ac:spMkLst>
            <pc:docMk/>
            <pc:sldMk cId="1603008812" sldId="7333"/>
            <ac:spMk id="1208" creationId="{14BC8119-FFD3-A686-08A4-1E756C081445}"/>
          </ac:spMkLst>
        </pc:spChg>
        <pc:spChg chg="add del mod">
          <ac:chgData name="Bez, Florian" userId="30d7df6a-5295-4d75-a650-5a1fab7b8b2e" providerId="ADAL" clId="{DEF8C959-161B-48E6-918F-19FB2A9D3909}" dt="2023-04-21T09:54:10.185" v="10004" actId="478"/>
          <ac:spMkLst>
            <pc:docMk/>
            <pc:sldMk cId="1603008812" sldId="7333"/>
            <ac:spMk id="1209" creationId="{DD3BEBB2-3FC7-B6CA-DB7B-07390177A6FE}"/>
          </ac:spMkLst>
        </pc:spChg>
        <pc:spChg chg="add del mod">
          <ac:chgData name="Bez, Florian" userId="30d7df6a-5295-4d75-a650-5a1fab7b8b2e" providerId="ADAL" clId="{DEF8C959-161B-48E6-918F-19FB2A9D3909}" dt="2023-04-21T09:54:10.185" v="10004" actId="478"/>
          <ac:spMkLst>
            <pc:docMk/>
            <pc:sldMk cId="1603008812" sldId="7333"/>
            <ac:spMk id="1210" creationId="{61E80AE5-19D6-017C-D5B4-38D67245053F}"/>
          </ac:spMkLst>
        </pc:spChg>
        <pc:spChg chg="add del mod">
          <ac:chgData name="Bez, Florian" userId="30d7df6a-5295-4d75-a650-5a1fab7b8b2e" providerId="ADAL" clId="{DEF8C959-161B-48E6-918F-19FB2A9D3909}" dt="2023-04-21T09:54:10.185" v="10004" actId="478"/>
          <ac:spMkLst>
            <pc:docMk/>
            <pc:sldMk cId="1603008812" sldId="7333"/>
            <ac:spMk id="1211" creationId="{6781E406-5133-0B3B-76FF-B22FA68AA4F1}"/>
          </ac:spMkLst>
        </pc:spChg>
        <pc:spChg chg="add del mod">
          <ac:chgData name="Bez, Florian" userId="30d7df6a-5295-4d75-a650-5a1fab7b8b2e" providerId="ADAL" clId="{DEF8C959-161B-48E6-918F-19FB2A9D3909}" dt="2023-04-21T09:54:10.185" v="10004" actId="478"/>
          <ac:spMkLst>
            <pc:docMk/>
            <pc:sldMk cId="1603008812" sldId="7333"/>
            <ac:spMk id="1212" creationId="{E18542CB-525E-E1B7-345C-246590983535}"/>
          </ac:spMkLst>
        </pc:spChg>
        <pc:spChg chg="add del mod">
          <ac:chgData name="Bez, Florian" userId="30d7df6a-5295-4d75-a650-5a1fab7b8b2e" providerId="ADAL" clId="{DEF8C959-161B-48E6-918F-19FB2A9D3909}" dt="2023-04-21T09:54:10.185" v="10004" actId="478"/>
          <ac:spMkLst>
            <pc:docMk/>
            <pc:sldMk cId="1603008812" sldId="7333"/>
            <ac:spMk id="1213" creationId="{73674793-6DAB-4AD0-2CC7-A5D185A62035}"/>
          </ac:spMkLst>
        </pc:spChg>
        <pc:spChg chg="add del mod">
          <ac:chgData name="Bez, Florian" userId="30d7df6a-5295-4d75-a650-5a1fab7b8b2e" providerId="ADAL" clId="{DEF8C959-161B-48E6-918F-19FB2A9D3909}" dt="2023-04-21T09:54:10.185" v="10004" actId="478"/>
          <ac:spMkLst>
            <pc:docMk/>
            <pc:sldMk cId="1603008812" sldId="7333"/>
            <ac:spMk id="1214" creationId="{C31E47CE-9F8F-933D-F66D-DC142282275D}"/>
          </ac:spMkLst>
        </pc:spChg>
        <pc:spChg chg="add del mod">
          <ac:chgData name="Bez, Florian" userId="30d7df6a-5295-4d75-a650-5a1fab7b8b2e" providerId="ADAL" clId="{DEF8C959-161B-48E6-918F-19FB2A9D3909}" dt="2023-04-21T09:54:10.185" v="10004" actId="478"/>
          <ac:spMkLst>
            <pc:docMk/>
            <pc:sldMk cId="1603008812" sldId="7333"/>
            <ac:spMk id="1215" creationId="{2146C1B2-F0B3-FAE4-1C69-25F21CFF94ED}"/>
          </ac:spMkLst>
        </pc:spChg>
        <pc:spChg chg="mod">
          <ac:chgData name="Bez, Florian" userId="30d7df6a-5295-4d75-a650-5a1fab7b8b2e" providerId="ADAL" clId="{DEF8C959-161B-48E6-918F-19FB2A9D3909}" dt="2023-04-21T09:53:48.588" v="9999"/>
          <ac:spMkLst>
            <pc:docMk/>
            <pc:sldMk cId="1603008812" sldId="7333"/>
            <ac:spMk id="1223" creationId="{2E06A297-FDE4-BF83-A203-0AD5F55140AC}"/>
          </ac:spMkLst>
        </pc:spChg>
        <pc:spChg chg="mod">
          <ac:chgData name="Bez, Florian" userId="30d7df6a-5295-4d75-a650-5a1fab7b8b2e" providerId="ADAL" clId="{DEF8C959-161B-48E6-918F-19FB2A9D3909}" dt="2023-04-21T09:53:48.588" v="9999"/>
          <ac:spMkLst>
            <pc:docMk/>
            <pc:sldMk cId="1603008812" sldId="7333"/>
            <ac:spMk id="1224" creationId="{A4ED0E66-AC90-4B9F-B9A8-7190E29AA12E}"/>
          </ac:spMkLst>
        </pc:spChg>
        <pc:spChg chg="mod">
          <ac:chgData name="Bez, Florian" userId="30d7df6a-5295-4d75-a650-5a1fab7b8b2e" providerId="ADAL" clId="{DEF8C959-161B-48E6-918F-19FB2A9D3909}" dt="2023-04-21T09:53:48.588" v="9999"/>
          <ac:spMkLst>
            <pc:docMk/>
            <pc:sldMk cId="1603008812" sldId="7333"/>
            <ac:spMk id="1225" creationId="{B5ABCC37-3D72-058A-936E-4A30DF23E08E}"/>
          </ac:spMkLst>
        </pc:spChg>
        <pc:spChg chg="mod">
          <ac:chgData name="Bez, Florian" userId="30d7df6a-5295-4d75-a650-5a1fab7b8b2e" providerId="ADAL" clId="{DEF8C959-161B-48E6-918F-19FB2A9D3909}" dt="2023-04-21T09:53:48.588" v="9999"/>
          <ac:spMkLst>
            <pc:docMk/>
            <pc:sldMk cId="1603008812" sldId="7333"/>
            <ac:spMk id="1226" creationId="{CE9CE98C-E24C-764F-2BB5-98346756642F}"/>
          </ac:spMkLst>
        </pc:spChg>
        <pc:spChg chg="mod">
          <ac:chgData name="Bez, Florian" userId="30d7df6a-5295-4d75-a650-5a1fab7b8b2e" providerId="ADAL" clId="{DEF8C959-161B-48E6-918F-19FB2A9D3909}" dt="2023-04-21T09:53:48.588" v="9999"/>
          <ac:spMkLst>
            <pc:docMk/>
            <pc:sldMk cId="1603008812" sldId="7333"/>
            <ac:spMk id="1227" creationId="{7C7E13FF-B467-B0BB-DFAA-6BFDFCB370FF}"/>
          </ac:spMkLst>
        </pc:spChg>
        <pc:spChg chg="mod">
          <ac:chgData name="Bez, Florian" userId="30d7df6a-5295-4d75-a650-5a1fab7b8b2e" providerId="ADAL" clId="{DEF8C959-161B-48E6-918F-19FB2A9D3909}" dt="2023-04-21T09:53:48.588" v="9999"/>
          <ac:spMkLst>
            <pc:docMk/>
            <pc:sldMk cId="1603008812" sldId="7333"/>
            <ac:spMk id="1228" creationId="{CEA33774-ACA8-3FD1-AC2A-D524AEB2B85A}"/>
          </ac:spMkLst>
        </pc:spChg>
        <pc:spChg chg="mod">
          <ac:chgData name="Bez, Florian" userId="30d7df6a-5295-4d75-a650-5a1fab7b8b2e" providerId="ADAL" clId="{DEF8C959-161B-48E6-918F-19FB2A9D3909}" dt="2023-04-21T09:53:48.588" v="9999"/>
          <ac:spMkLst>
            <pc:docMk/>
            <pc:sldMk cId="1603008812" sldId="7333"/>
            <ac:spMk id="1229" creationId="{BE879C57-9E60-7CB0-3C86-0C73B8382257}"/>
          </ac:spMkLst>
        </pc:spChg>
        <pc:spChg chg="mod">
          <ac:chgData name="Bez, Florian" userId="30d7df6a-5295-4d75-a650-5a1fab7b8b2e" providerId="ADAL" clId="{DEF8C959-161B-48E6-918F-19FB2A9D3909}" dt="2023-04-21T09:53:48.588" v="9999"/>
          <ac:spMkLst>
            <pc:docMk/>
            <pc:sldMk cId="1603008812" sldId="7333"/>
            <ac:spMk id="1230" creationId="{78107804-4A5F-69BB-C91A-E03D28EAB796}"/>
          </ac:spMkLst>
        </pc:spChg>
        <pc:spChg chg="mod">
          <ac:chgData name="Bez, Florian" userId="30d7df6a-5295-4d75-a650-5a1fab7b8b2e" providerId="ADAL" clId="{DEF8C959-161B-48E6-918F-19FB2A9D3909}" dt="2023-04-21T09:53:48.588" v="9999"/>
          <ac:spMkLst>
            <pc:docMk/>
            <pc:sldMk cId="1603008812" sldId="7333"/>
            <ac:spMk id="1231" creationId="{C70788FC-501A-6659-B9D5-76648AC53F0A}"/>
          </ac:spMkLst>
        </pc:spChg>
        <pc:spChg chg="mod">
          <ac:chgData name="Bez, Florian" userId="30d7df6a-5295-4d75-a650-5a1fab7b8b2e" providerId="ADAL" clId="{DEF8C959-161B-48E6-918F-19FB2A9D3909}" dt="2023-04-21T09:53:48.588" v="9999"/>
          <ac:spMkLst>
            <pc:docMk/>
            <pc:sldMk cId="1603008812" sldId="7333"/>
            <ac:spMk id="1232" creationId="{804F6941-86F2-FBF3-7100-7C6DF33869B0}"/>
          </ac:spMkLst>
        </pc:spChg>
        <pc:spChg chg="mod">
          <ac:chgData name="Bez, Florian" userId="30d7df6a-5295-4d75-a650-5a1fab7b8b2e" providerId="ADAL" clId="{DEF8C959-161B-48E6-918F-19FB2A9D3909}" dt="2023-04-21T09:53:48.588" v="9999"/>
          <ac:spMkLst>
            <pc:docMk/>
            <pc:sldMk cId="1603008812" sldId="7333"/>
            <ac:spMk id="1233" creationId="{8A1CEC1E-31BD-12A5-FDE3-5785EBC2BA00}"/>
          </ac:spMkLst>
        </pc:spChg>
        <pc:spChg chg="mod">
          <ac:chgData name="Bez, Florian" userId="30d7df6a-5295-4d75-a650-5a1fab7b8b2e" providerId="ADAL" clId="{DEF8C959-161B-48E6-918F-19FB2A9D3909}" dt="2023-04-21T09:53:48.588" v="9999"/>
          <ac:spMkLst>
            <pc:docMk/>
            <pc:sldMk cId="1603008812" sldId="7333"/>
            <ac:spMk id="1234" creationId="{BB6EFB2E-1F54-B831-C568-933219808E07}"/>
          </ac:spMkLst>
        </pc:spChg>
        <pc:spChg chg="mod">
          <ac:chgData name="Bez, Florian" userId="30d7df6a-5295-4d75-a650-5a1fab7b8b2e" providerId="ADAL" clId="{DEF8C959-161B-48E6-918F-19FB2A9D3909}" dt="2023-04-21T09:53:48.588" v="9999"/>
          <ac:spMkLst>
            <pc:docMk/>
            <pc:sldMk cId="1603008812" sldId="7333"/>
            <ac:spMk id="1235" creationId="{D1CCB0D1-BD62-690D-D12D-333BCC14F5FF}"/>
          </ac:spMkLst>
        </pc:spChg>
        <pc:spChg chg="mod">
          <ac:chgData name="Bez, Florian" userId="30d7df6a-5295-4d75-a650-5a1fab7b8b2e" providerId="ADAL" clId="{DEF8C959-161B-48E6-918F-19FB2A9D3909}" dt="2023-04-21T09:53:48.588" v="9999"/>
          <ac:spMkLst>
            <pc:docMk/>
            <pc:sldMk cId="1603008812" sldId="7333"/>
            <ac:spMk id="1236" creationId="{AE7C4A85-BBF8-6960-E3E1-8FF3A7F29676}"/>
          </ac:spMkLst>
        </pc:spChg>
        <pc:spChg chg="mod">
          <ac:chgData name="Bez, Florian" userId="30d7df6a-5295-4d75-a650-5a1fab7b8b2e" providerId="ADAL" clId="{DEF8C959-161B-48E6-918F-19FB2A9D3909}" dt="2023-04-21T09:53:48.588" v="9999"/>
          <ac:spMkLst>
            <pc:docMk/>
            <pc:sldMk cId="1603008812" sldId="7333"/>
            <ac:spMk id="1237" creationId="{87F17138-23D9-C97D-FF25-96414B1FCD44}"/>
          </ac:spMkLst>
        </pc:spChg>
        <pc:spChg chg="mod">
          <ac:chgData name="Bez, Florian" userId="30d7df6a-5295-4d75-a650-5a1fab7b8b2e" providerId="ADAL" clId="{DEF8C959-161B-48E6-918F-19FB2A9D3909}" dt="2023-04-21T09:53:48.588" v="9999"/>
          <ac:spMkLst>
            <pc:docMk/>
            <pc:sldMk cId="1603008812" sldId="7333"/>
            <ac:spMk id="1238" creationId="{8A287038-B118-4C91-86E4-B707A778FDF3}"/>
          </ac:spMkLst>
        </pc:spChg>
        <pc:spChg chg="mod">
          <ac:chgData name="Bez, Florian" userId="30d7df6a-5295-4d75-a650-5a1fab7b8b2e" providerId="ADAL" clId="{DEF8C959-161B-48E6-918F-19FB2A9D3909}" dt="2023-04-21T09:53:48.588" v="9999"/>
          <ac:spMkLst>
            <pc:docMk/>
            <pc:sldMk cId="1603008812" sldId="7333"/>
            <ac:spMk id="1239" creationId="{09D24F05-E351-7950-A84C-A95E9CDE3C31}"/>
          </ac:spMkLst>
        </pc:spChg>
        <pc:spChg chg="mod">
          <ac:chgData name="Bez, Florian" userId="30d7df6a-5295-4d75-a650-5a1fab7b8b2e" providerId="ADAL" clId="{DEF8C959-161B-48E6-918F-19FB2A9D3909}" dt="2023-04-21T09:53:48.588" v="9999"/>
          <ac:spMkLst>
            <pc:docMk/>
            <pc:sldMk cId="1603008812" sldId="7333"/>
            <ac:spMk id="1240" creationId="{C70C0A43-7B49-3985-76D8-0D79EAEFAB2C}"/>
          </ac:spMkLst>
        </pc:spChg>
        <pc:spChg chg="mod">
          <ac:chgData name="Bez, Florian" userId="30d7df6a-5295-4d75-a650-5a1fab7b8b2e" providerId="ADAL" clId="{DEF8C959-161B-48E6-918F-19FB2A9D3909}" dt="2023-04-21T09:53:48.588" v="9999"/>
          <ac:spMkLst>
            <pc:docMk/>
            <pc:sldMk cId="1603008812" sldId="7333"/>
            <ac:spMk id="1241" creationId="{57C9A564-1702-AD6B-67A2-A57E9E3B1950}"/>
          </ac:spMkLst>
        </pc:spChg>
        <pc:spChg chg="mod">
          <ac:chgData name="Bez, Florian" userId="30d7df6a-5295-4d75-a650-5a1fab7b8b2e" providerId="ADAL" clId="{DEF8C959-161B-48E6-918F-19FB2A9D3909}" dt="2023-04-21T09:53:48.588" v="9999"/>
          <ac:spMkLst>
            <pc:docMk/>
            <pc:sldMk cId="1603008812" sldId="7333"/>
            <ac:spMk id="1242" creationId="{DC86AE25-3381-9725-A682-9B3A321A531A}"/>
          </ac:spMkLst>
        </pc:spChg>
        <pc:spChg chg="mod">
          <ac:chgData name="Bez, Florian" userId="30d7df6a-5295-4d75-a650-5a1fab7b8b2e" providerId="ADAL" clId="{DEF8C959-161B-48E6-918F-19FB2A9D3909}" dt="2023-04-21T09:53:48.588" v="9999"/>
          <ac:spMkLst>
            <pc:docMk/>
            <pc:sldMk cId="1603008812" sldId="7333"/>
            <ac:spMk id="1243" creationId="{E0B69D01-B567-03C5-DC89-8CCAEF89FBEE}"/>
          </ac:spMkLst>
        </pc:spChg>
        <pc:spChg chg="mod">
          <ac:chgData name="Bez, Florian" userId="30d7df6a-5295-4d75-a650-5a1fab7b8b2e" providerId="ADAL" clId="{DEF8C959-161B-48E6-918F-19FB2A9D3909}" dt="2023-04-21T09:53:48.588" v="9999"/>
          <ac:spMkLst>
            <pc:docMk/>
            <pc:sldMk cId="1603008812" sldId="7333"/>
            <ac:spMk id="1244" creationId="{4E76D66C-6AA8-711E-447F-4E786B9FFF45}"/>
          </ac:spMkLst>
        </pc:spChg>
        <pc:spChg chg="mod">
          <ac:chgData name="Bez, Florian" userId="30d7df6a-5295-4d75-a650-5a1fab7b8b2e" providerId="ADAL" clId="{DEF8C959-161B-48E6-918F-19FB2A9D3909}" dt="2023-04-21T09:53:48.588" v="9999"/>
          <ac:spMkLst>
            <pc:docMk/>
            <pc:sldMk cId="1603008812" sldId="7333"/>
            <ac:spMk id="1245" creationId="{305668FE-A07A-5A12-9623-E6BBED6D9341}"/>
          </ac:spMkLst>
        </pc:spChg>
        <pc:spChg chg="mod">
          <ac:chgData name="Bez, Florian" userId="30d7df6a-5295-4d75-a650-5a1fab7b8b2e" providerId="ADAL" clId="{DEF8C959-161B-48E6-918F-19FB2A9D3909}" dt="2023-04-21T09:53:48.588" v="9999"/>
          <ac:spMkLst>
            <pc:docMk/>
            <pc:sldMk cId="1603008812" sldId="7333"/>
            <ac:spMk id="1248" creationId="{8080F2BA-6F43-F8AB-433D-44DC166039E1}"/>
          </ac:spMkLst>
        </pc:spChg>
        <pc:spChg chg="mod">
          <ac:chgData name="Bez, Florian" userId="30d7df6a-5295-4d75-a650-5a1fab7b8b2e" providerId="ADAL" clId="{DEF8C959-161B-48E6-918F-19FB2A9D3909}" dt="2023-04-21T09:53:48.588" v="9999"/>
          <ac:spMkLst>
            <pc:docMk/>
            <pc:sldMk cId="1603008812" sldId="7333"/>
            <ac:spMk id="1249" creationId="{5F5AB97F-5CED-B112-5523-EE7B0BC0995B}"/>
          </ac:spMkLst>
        </pc:spChg>
        <pc:spChg chg="mod">
          <ac:chgData name="Bez, Florian" userId="30d7df6a-5295-4d75-a650-5a1fab7b8b2e" providerId="ADAL" clId="{DEF8C959-161B-48E6-918F-19FB2A9D3909}" dt="2023-04-21T09:53:48.588" v="9999"/>
          <ac:spMkLst>
            <pc:docMk/>
            <pc:sldMk cId="1603008812" sldId="7333"/>
            <ac:spMk id="1250" creationId="{243249BC-7702-9F7C-93AD-DD191A80EA1F}"/>
          </ac:spMkLst>
        </pc:spChg>
        <pc:spChg chg="mod">
          <ac:chgData name="Bez, Florian" userId="30d7df6a-5295-4d75-a650-5a1fab7b8b2e" providerId="ADAL" clId="{DEF8C959-161B-48E6-918F-19FB2A9D3909}" dt="2023-04-21T09:53:48.588" v="9999"/>
          <ac:spMkLst>
            <pc:docMk/>
            <pc:sldMk cId="1603008812" sldId="7333"/>
            <ac:spMk id="1251" creationId="{A99F76FB-3035-E027-EEB5-C7A272ABB239}"/>
          </ac:spMkLst>
        </pc:spChg>
        <pc:spChg chg="mod">
          <ac:chgData name="Bez, Florian" userId="30d7df6a-5295-4d75-a650-5a1fab7b8b2e" providerId="ADAL" clId="{DEF8C959-161B-48E6-918F-19FB2A9D3909}" dt="2023-04-21T09:53:48.588" v="9999"/>
          <ac:spMkLst>
            <pc:docMk/>
            <pc:sldMk cId="1603008812" sldId="7333"/>
            <ac:spMk id="1252" creationId="{E3815D1B-406D-4EC9-0358-AB54A48DCFA5}"/>
          </ac:spMkLst>
        </pc:spChg>
        <pc:spChg chg="mod">
          <ac:chgData name="Bez, Florian" userId="30d7df6a-5295-4d75-a650-5a1fab7b8b2e" providerId="ADAL" clId="{DEF8C959-161B-48E6-918F-19FB2A9D3909}" dt="2023-04-21T09:53:48.588" v="9999"/>
          <ac:spMkLst>
            <pc:docMk/>
            <pc:sldMk cId="1603008812" sldId="7333"/>
            <ac:spMk id="1253" creationId="{58EE3388-BD42-BC66-F523-4ABB180CB60C}"/>
          </ac:spMkLst>
        </pc:spChg>
        <pc:spChg chg="mod">
          <ac:chgData name="Bez, Florian" userId="30d7df6a-5295-4d75-a650-5a1fab7b8b2e" providerId="ADAL" clId="{DEF8C959-161B-48E6-918F-19FB2A9D3909}" dt="2023-04-21T09:53:48.588" v="9999"/>
          <ac:spMkLst>
            <pc:docMk/>
            <pc:sldMk cId="1603008812" sldId="7333"/>
            <ac:spMk id="1254" creationId="{4F65C3CB-7556-6656-A258-78D2B6CB3789}"/>
          </ac:spMkLst>
        </pc:spChg>
        <pc:spChg chg="mod">
          <ac:chgData name="Bez, Florian" userId="30d7df6a-5295-4d75-a650-5a1fab7b8b2e" providerId="ADAL" clId="{DEF8C959-161B-48E6-918F-19FB2A9D3909}" dt="2023-04-21T09:53:48.588" v="9999"/>
          <ac:spMkLst>
            <pc:docMk/>
            <pc:sldMk cId="1603008812" sldId="7333"/>
            <ac:spMk id="1255" creationId="{11BFD02B-7D69-9A6B-F964-12AE1E9A0AD6}"/>
          </ac:spMkLst>
        </pc:spChg>
        <pc:spChg chg="mod">
          <ac:chgData name="Bez, Florian" userId="30d7df6a-5295-4d75-a650-5a1fab7b8b2e" providerId="ADAL" clId="{DEF8C959-161B-48E6-918F-19FB2A9D3909}" dt="2023-04-21T09:53:48.588" v="9999"/>
          <ac:spMkLst>
            <pc:docMk/>
            <pc:sldMk cId="1603008812" sldId="7333"/>
            <ac:spMk id="1256" creationId="{FF86CA96-08AA-CBD4-61F0-2944A61A70B8}"/>
          </ac:spMkLst>
        </pc:spChg>
        <pc:spChg chg="mod">
          <ac:chgData name="Bez, Florian" userId="30d7df6a-5295-4d75-a650-5a1fab7b8b2e" providerId="ADAL" clId="{DEF8C959-161B-48E6-918F-19FB2A9D3909}" dt="2023-04-21T09:53:48.588" v="9999"/>
          <ac:spMkLst>
            <pc:docMk/>
            <pc:sldMk cId="1603008812" sldId="7333"/>
            <ac:spMk id="1257" creationId="{786DF805-6347-B638-AF92-1F15EA365656}"/>
          </ac:spMkLst>
        </pc:spChg>
        <pc:spChg chg="mod">
          <ac:chgData name="Bez, Florian" userId="30d7df6a-5295-4d75-a650-5a1fab7b8b2e" providerId="ADAL" clId="{DEF8C959-161B-48E6-918F-19FB2A9D3909}" dt="2023-04-21T09:53:48.588" v="9999"/>
          <ac:spMkLst>
            <pc:docMk/>
            <pc:sldMk cId="1603008812" sldId="7333"/>
            <ac:spMk id="1258" creationId="{A798B2D6-AD93-905A-7F9B-2BB26AFAF21C}"/>
          </ac:spMkLst>
        </pc:spChg>
        <pc:spChg chg="mod">
          <ac:chgData name="Bez, Florian" userId="30d7df6a-5295-4d75-a650-5a1fab7b8b2e" providerId="ADAL" clId="{DEF8C959-161B-48E6-918F-19FB2A9D3909}" dt="2023-04-21T09:53:48.588" v="9999"/>
          <ac:spMkLst>
            <pc:docMk/>
            <pc:sldMk cId="1603008812" sldId="7333"/>
            <ac:spMk id="1259" creationId="{D441F5EC-DB38-7EFA-BB8F-9EE17A344E1E}"/>
          </ac:spMkLst>
        </pc:spChg>
        <pc:spChg chg="mod">
          <ac:chgData name="Bez, Florian" userId="30d7df6a-5295-4d75-a650-5a1fab7b8b2e" providerId="ADAL" clId="{DEF8C959-161B-48E6-918F-19FB2A9D3909}" dt="2023-04-21T09:53:48.588" v="9999"/>
          <ac:spMkLst>
            <pc:docMk/>
            <pc:sldMk cId="1603008812" sldId="7333"/>
            <ac:spMk id="1260" creationId="{A0F9656C-2C10-4210-A8E8-D7EB29CCA3F1}"/>
          </ac:spMkLst>
        </pc:spChg>
        <pc:spChg chg="mod">
          <ac:chgData name="Bez, Florian" userId="30d7df6a-5295-4d75-a650-5a1fab7b8b2e" providerId="ADAL" clId="{DEF8C959-161B-48E6-918F-19FB2A9D3909}" dt="2023-04-21T09:53:48.588" v="9999"/>
          <ac:spMkLst>
            <pc:docMk/>
            <pc:sldMk cId="1603008812" sldId="7333"/>
            <ac:spMk id="1261" creationId="{DE01208E-5B10-78F7-09BD-A882C70F8832}"/>
          </ac:spMkLst>
        </pc:spChg>
        <pc:spChg chg="mod">
          <ac:chgData name="Bez, Florian" userId="30d7df6a-5295-4d75-a650-5a1fab7b8b2e" providerId="ADAL" clId="{DEF8C959-161B-48E6-918F-19FB2A9D3909}" dt="2023-04-21T09:53:48.588" v="9999"/>
          <ac:spMkLst>
            <pc:docMk/>
            <pc:sldMk cId="1603008812" sldId="7333"/>
            <ac:spMk id="1262" creationId="{7E691915-9D1D-B359-D0A9-7B0F296958AB}"/>
          </ac:spMkLst>
        </pc:spChg>
        <pc:spChg chg="mod">
          <ac:chgData name="Bez, Florian" userId="30d7df6a-5295-4d75-a650-5a1fab7b8b2e" providerId="ADAL" clId="{DEF8C959-161B-48E6-918F-19FB2A9D3909}" dt="2023-04-21T09:53:48.588" v="9999"/>
          <ac:spMkLst>
            <pc:docMk/>
            <pc:sldMk cId="1603008812" sldId="7333"/>
            <ac:spMk id="1263" creationId="{3345EDB8-2168-8E80-75CE-00203D41B33F}"/>
          </ac:spMkLst>
        </pc:spChg>
        <pc:spChg chg="mod">
          <ac:chgData name="Bez, Florian" userId="30d7df6a-5295-4d75-a650-5a1fab7b8b2e" providerId="ADAL" clId="{DEF8C959-161B-48E6-918F-19FB2A9D3909}" dt="2023-04-21T09:53:48.588" v="9999"/>
          <ac:spMkLst>
            <pc:docMk/>
            <pc:sldMk cId="1603008812" sldId="7333"/>
            <ac:spMk id="1264" creationId="{3FA8FB62-CBC4-A82D-08C0-95336E26076B}"/>
          </ac:spMkLst>
        </pc:spChg>
        <pc:spChg chg="mod">
          <ac:chgData name="Bez, Florian" userId="30d7df6a-5295-4d75-a650-5a1fab7b8b2e" providerId="ADAL" clId="{DEF8C959-161B-48E6-918F-19FB2A9D3909}" dt="2023-04-21T09:53:48.588" v="9999"/>
          <ac:spMkLst>
            <pc:docMk/>
            <pc:sldMk cId="1603008812" sldId="7333"/>
            <ac:spMk id="1265" creationId="{933F8590-0025-93E1-D2E7-680D9E30C188}"/>
          </ac:spMkLst>
        </pc:spChg>
        <pc:spChg chg="mod">
          <ac:chgData name="Bez, Florian" userId="30d7df6a-5295-4d75-a650-5a1fab7b8b2e" providerId="ADAL" clId="{DEF8C959-161B-48E6-918F-19FB2A9D3909}" dt="2023-04-21T09:53:48.588" v="9999"/>
          <ac:spMkLst>
            <pc:docMk/>
            <pc:sldMk cId="1603008812" sldId="7333"/>
            <ac:spMk id="1266" creationId="{B7CC3024-F85C-48B5-81D2-E717E77C1F10}"/>
          </ac:spMkLst>
        </pc:spChg>
        <pc:spChg chg="mod">
          <ac:chgData name="Bez, Florian" userId="30d7df6a-5295-4d75-a650-5a1fab7b8b2e" providerId="ADAL" clId="{DEF8C959-161B-48E6-918F-19FB2A9D3909}" dt="2023-04-21T09:53:48.588" v="9999"/>
          <ac:spMkLst>
            <pc:docMk/>
            <pc:sldMk cId="1603008812" sldId="7333"/>
            <ac:spMk id="1267" creationId="{EF9AC8D6-F973-1FFE-D6AD-5992296EA7D6}"/>
          </ac:spMkLst>
        </pc:spChg>
        <pc:spChg chg="mod">
          <ac:chgData name="Bez, Florian" userId="30d7df6a-5295-4d75-a650-5a1fab7b8b2e" providerId="ADAL" clId="{DEF8C959-161B-48E6-918F-19FB2A9D3909}" dt="2023-04-21T09:53:48.588" v="9999"/>
          <ac:spMkLst>
            <pc:docMk/>
            <pc:sldMk cId="1603008812" sldId="7333"/>
            <ac:spMk id="1268" creationId="{352904C7-97C9-D8EA-D026-A80B234E2575}"/>
          </ac:spMkLst>
        </pc:spChg>
        <pc:spChg chg="mod">
          <ac:chgData name="Bez, Florian" userId="30d7df6a-5295-4d75-a650-5a1fab7b8b2e" providerId="ADAL" clId="{DEF8C959-161B-48E6-918F-19FB2A9D3909}" dt="2023-04-21T09:53:48.588" v="9999"/>
          <ac:spMkLst>
            <pc:docMk/>
            <pc:sldMk cId="1603008812" sldId="7333"/>
            <ac:spMk id="1269" creationId="{850CC802-59D0-ED4F-57BE-EDB6DD22695E}"/>
          </ac:spMkLst>
        </pc:spChg>
        <pc:spChg chg="mod">
          <ac:chgData name="Bez, Florian" userId="30d7df6a-5295-4d75-a650-5a1fab7b8b2e" providerId="ADAL" clId="{DEF8C959-161B-48E6-918F-19FB2A9D3909}" dt="2023-04-21T09:53:48.588" v="9999"/>
          <ac:spMkLst>
            <pc:docMk/>
            <pc:sldMk cId="1603008812" sldId="7333"/>
            <ac:spMk id="1270" creationId="{DC148C72-10C3-6539-9BBE-B7A07DF69186}"/>
          </ac:spMkLst>
        </pc:spChg>
        <pc:spChg chg="mod">
          <ac:chgData name="Bez, Florian" userId="30d7df6a-5295-4d75-a650-5a1fab7b8b2e" providerId="ADAL" clId="{DEF8C959-161B-48E6-918F-19FB2A9D3909}" dt="2023-04-21T09:53:48.588" v="9999"/>
          <ac:spMkLst>
            <pc:docMk/>
            <pc:sldMk cId="1603008812" sldId="7333"/>
            <ac:spMk id="1271" creationId="{456AAF0B-6676-5CDE-C168-A6281D604397}"/>
          </ac:spMkLst>
        </pc:spChg>
        <pc:spChg chg="mod">
          <ac:chgData name="Bez, Florian" userId="30d7df6a-5295-4d75-a650-5a1fab7b8b2e" providerId="ADAL" clId="{DEF8C959-161B-48E6-918F-19FB2A9D3909}" dt="2023-04-21T09:53:48.588" v="9999"/>
          <ac:spMkLst>
            <pc:docMk/>
            <pc:sldMk cId="1603008812" sldId="7333"/>
            <ac:spMk id="1272" creationId="{21BE43B1-A6A6-78A6-01CE-E393B7EA99C6}"/>
          </ac:spMkLst>
        </pc:spChg>
        <pc:spChg chg="mod">
          <ac:chgData name="Bez, Florian" userId="30d7df6a-5295-4d75-a650-5a1fab7b8b2e" providerId="ADAL" clId="{DEF8C959-161B-48E6-918F-19FB2A9D3909}" dt="2023-04-21T09:53:48.588" v="9999"/>
          <ac:spMkLst>
            <pc:docMk/>
            <pc:sldMk cId="1603008812" sldId="7333"/>
            <ac:spMk id="1273" creationId="{2B8FD354-1875-1DC2-69AC-30D4F7DADF4B}"/>
          </ac:spMkLst>
        </pc:spChg>
        <pc:spChg chg="mod">
          <ac:chgData name="Bez, Florian" userId="30d7df6a-5295-4d75-a650-5a1fab7b8b2e" providerId="ADAL" clId="{DEF8C959-161B-48E6-918F-19FB2A9D3909}" dt="2023-04-21T09:53:48.588" v="9999"/>
          <ac:spMkLst>
            <pc:docMk/>
            <pc:sldMk cId="1603008812" sldId="7333"/>
            <ac:spMk id="1274" creationId="{D99B7A4D-E26F-FD6D-76D3-0FE0CFAAA914}"/>
          </ac:spMkLst>
        </pc:spChg>
        <pc:spChg chg="mod">
          <ac:chgData name="Bez, Florian" userId="30d7df6a-5295-4d75-a650-5a1fab7b8b2e" providerId="ADAL" clId="{DEF8C959-161B-48E6-918F-19FB2A9D3909}" dt="2023-04-21T09:53:48.588" v="9999"/>
          <ac:spMkLst>
            <pc:docMk/>
            <pc:sldMk cId="1603008812" sldId="7333"/>
            <ac:spMk id="1275" creationId="{FAD051B7-5F7D-75B2-DB35-B8B2BEBF4F46}"/>
          </ac:spMkLst>
        </pc:spChg>
        <pc:spChg chg="mod">
          <ac:chgData name="Bez, Florian" userId="30d7df6a-5295-4d75-a650-5a1fab7b8b2e" providerId="ADAL" clId="{DEF8C959-161B-48E6-918F-19FB2A9D3909}" dt="2023-04-21T09:53:48.588" v="9999"/>
          <ac:spMkLst>
            <pc:docMk/>
            <pc:sldMk cId="1603008812" sldId="7333"/>
            <ac:spMk id="1276" creationId="{4044BFFF-17E0-2FD5-D23A-86CF339A826A}"/>
          </ac:spMkLst>
        </pc:spChg>
        <pc:spChg chg="mod">
          <ac:chgData name="Bez, Florian" userId="30d7df6a-5295-4d75-a650-5a1fab7b8b2e" providerId="ADAL" clId="{DEF8C959-161B-48E6-918F-19FB2A9D3909}" dt="2023-04-21T09:53:48.588" v="9999"/>
          <ac:spMkLst>
            <pc:docMk/>
            <pc:sldMk cId="1603008812" sldId="7333"/>
            <ac:spMk id="1277" creationId="{1D9AB724-A974-C986-2B0E-1335A18EC02B}"/>
          </ac:spMkLst>
        </pc:spChg>
        <pc:spChg chg="mod">
          <ac:chgData name="Bez, Florian" userId="30d7df6a-5295-4d75-a650-5a1fab7b8b2e" providerId="ADAL" clId="{DEF8C959-161B-48E6-918F-19FB2A9D3909}" dt="2023-04-21T09:53:48.588" v="9999"/>
          <ac:spMkLst>
            <pc:docMk/>
            <pc:sldMk cId="1603008812" sldId="7333"/>
            <ac:spMk id="1278" creationId="{0B7D2722-C88C-CFEE-4D5A-9DB94A025B68}"/>
          </ac:spMkLst>
        </pc:spChg>
        <pc:spChg chg="mod">
          <ac:chgData name="Bez, Florian" userId="30d7df6a-5295-4d75-a650-5a1fab7b8b2e" providerId="ADAL" clId="{DEF8C959-161B-48E6-918F-19FB2A9D3909}" dt="2023-04-21T09:53:48.588" v="9999"/>
          <ac:spMkLst>
            <pc:docMk/>
            <pc:sldMk cId="1603008812" sldId="7333"/>
            <ac:spMk id="1279" creationId="{D47CF874-4F29-25DF-9C7E-B50526B931A5}"/>
          </ac:spMkLst>
        </pc:spChg>
        <pc:spChg chg="mod">
          <ac:chgData name="Bez, Florian" userId="30d7df6a-5295-4d75-a650-5a1fab7b8b2e" providerId="ADAL" clId="{DEF8C959-161B-48E6-918F-19FB2A9D3909}" dt="2023-04-21T09:53:48.588" v="9999"/>
          <ac:spMkLst>
            <pc:docMk/>
            <pc:sldMk cId="1603008812" sldId="7333"/>
            <ac:spMk id="1280" creationId="{FB972924-6FDC-AF03-E5D6-94804A648FE1}"/>
          </ac:spMkLst>
        </pc:spChg>
        <pc:spChg chg="mod">
          <ac:chgData name="Bez, Florian" userId="30d7df6a-5295-4d75-a650-5a1fab7b8b2e" providerId="ADAL" clId="{DEF8C959-161B-48E6-918F-19FB2A9D3909}" dt="2023-04-21T09:53:48.588" v="9999"/>
          <ac:spMkLst>
            <pc:docMk/>
            <pc:sldMk cId="1603008812" sldId="7333"/>
            <ac:spMk id="1281" creationId="{DD621CF2-8B46-C976-46D1-0754A810BEA7}"/>
          </ac:spMkLst>
        </pc:spChg>
        <pc:spChg chg="mod">
          <ac:chgData name="Bez, Florian" userId="30d7df6a-5295-4d75-a650-5a1fab7b8b2e" providerId="ADAL" clId="{DEF8C959-161B-48E6-918F-19FB2A9D3909}" dt="2023-04-21T09:53:48.588" v="9999"/>
          <ac:spMkLst>
            <pc:docMk/>
            <pc:sldMk cId="1603008812" sldId="7333"/>
            <ac:spMk id="1282" creationId="{362FA1B4-AFBF-CD6E-136F-C4AF91F1FD96}"/>
          </ac:spMkLst>
        </pc:spChg>
        <pc:spChg chg="mod">
          <ac:chgData name="Bez, Florian" userId="30d7df6a-5295-4d75-a650-5a1fab7b8b2e" providerId="ADAL" clId="{DEF8C959-161B-48E6-918F-19FB2A9D3909}" dt="2023-04-21T09:53:48.588" v="9999"/>
          <ac:spMkLst>
            <pc:docMk/>
            <pc:sldMk cId="1603008812" sldId="7333"/>
            <ac:spMk id="1283" creationId="{58570C4A-E9F2-5727-2E9D-164AA77216A6}"/>
          </ac:spMkLst>
        </pc:spChg>
        <pc:spChg chg="mod">
          <ac:chgData name="Bez, Florian" userId="30d7df6a-5295-4d75-a650-5a1fab7b8b2e" providerId="ADAL" clId="{DEF8C959-161B-48E6-918F-19FB2A9D3909}" dt="2023-04-21T09:53:48.588" v="9999"/>
          <ac:spMkLst>
            <pc:docMk/>
            <pc:sldMk cId="1603008812" sldId="7333"/>
            <ac:spMk id="1284" creationId="{1404539B-CE54-C911-4CA5-3C84C2B4F98A}"/>
          </ac:spMkLst>
        </pc:spChg>
        <pc:spChg chg="mod">
          <ac:chgData name="Bez, Florian" userId="30d7df6a-5295-4d75-a650-5a1fab7b8b2e" providerId="ADAL" clId="{DEF8C959-161B-48E6-918F-19FB2A9D3909}" dt="2023-04-21T09:53:48.588" v="9999"/>
          <ac:spMkLst>
            <pc:docMk/>
            <pc:sldMk cId="1603008812" sldId="7333"/>
            <ac:spMk id="1285" creationId="{A3D2FE4E-0448-0213-4B9F-3E23BAE8C5DD}"/>
          </ac:spMkLst>
        </pc:spChg>
        <pc:spChg chg="mod">
          <ac:chgData name="Bez, Florian" userId="30d7df6a-5295-4d75-a650-5a1fab7b8b2e" providerId="ADAL" clId="{DEF8C959-161B-48E6-918F-19FB2A9D3909}" dt="2023-04-21T09:53:48.588" v="9999"/>
          <ac:spMkLst>
            <pc:docMk/>
            <pc:sldMk cId="1603008812" sldId="7333"/>
            <ac:spMk id="1286" creationId="{3D39CE68-0636-4F9D-5D34-6774037E4C31}"/>
          </ac:spMkLst>
        </pc:spChg>
        <pc:spChg chg="mod">
          <ac:chgData name="Bez, Florian" userId="30d7df6a-5295-4d75-a650-5a1fab7b8b2e" providerId="ADAL" clId="{DEF8C959-161B-48E6-918F-19FB2A9D3909}" dt="2023-04-21T09:53:48.588" v="9999"/>
          <ac:spMkLst>
            <pc:docMk/>
            <pc:sldMk cId="1603008812" sldId="7333"/>
            <ac:spMk id="1287" creationId="{3E97A88C-3B30-8823-1E45-2FB7A8FF3734}"/>
          </ac:spMkLst>
        </pc:spChg>
        <pc:spChg chg="mod">
          <ac:chgData name="Bez, Florian" userId="30d7df6a-5295-4d75-a650-5a1fab7b8b2e" providerId="ADAL" clId="{DEF8C959-161B-48E6-918F-19FB2A9D3909}" dt="2023-04-21T09:53:48.588" v="9999"/>
          <ac:spMkLst>
            <pc:docMk/>
            <pc:sldMk cId="1603008812" sldId="7333"/>
            <ac:spMk id="1288" creationId="{A6BFE176-FB9C-88B5-E3CF-1E6FC93290C1}"/>
          </ac:spMkLst>
        </pc:spChg>
        <pc:spChg chg="mod">
          <ac:chgData name="Bez, Florian" userId="30d7df6a-5295-4d75-a650-5a1fab7b8b2e" providerId="ADAL" clId="{DEF8C959-161B-48E6-918F-19FB2A9D3909}" dt="2023-04-21T09:53:48.588" v="9999"/>
          <ac:spMkLst>
            <pc:docMk/>
            <pc:sldMk cId="1603008812" sldId="7333"/>
            <ac:spMk id="1289" creationId="{DD7B1E59-556C-14C7-8153-EC5D805C0D9C}"/>
          </ac:spMkLst>
        </pc:spChg>
        <pc:spChg chg="mod">
          <ac:chgData name="Bez, Florian" userId="30d7df6a-5295-4d75-a650-5a1fab7b8b2e" providerId="ADAL" clId="{DEF8C959-161B-48E6-918F-19FB2A9D3909}" dt="2023-04-21T09:53:48.588" v="9999"/>
          <ac:spMkLst>
            <pc:docMk/>
            <pc:sldMk cId="1603008812" sldId="7333"/>
            <ac:spMk id="1290" creationId="{69F3B0EE-BA71-07B3-8BBE-D2E291A956BB}"/>
          </ac:spMkLst>
        </pc:spChg>
        <pc:spChg chg="mod">
          <ac:chgData name="Bez, Florian" userId="30d7df6a-5295-4d75-a650-5a1fab7b8b2e" providerId="ADAL" clId="{DEF8C959-161B-48E6-918F-19FB2A9D3909}" dt="2023-04-21T09:53:48.588" v="9999"/>
          <ac:spMkLst>
            <pc:docMk/>
            <pc:sldMk cId="1603008812" sldId="7333"/>
            <ac:spMk id="1291" creationId="{833C2CE2-9CB1-3688-305B-7FADC9CAFA38}"/>
          </ac:spMkLst>
        </pc:spChg>
        <pc:spChg chg="mod">
          <ac:chgData name="Bez, Florian" userId="30d7df6a-5295-4d75-a650-5a1fab7b8b2e" providerId="ADAL" clId="{DEF8C959-161B-48E6-918F-19FB2A9D3909}" dt="2023-04-21T09:53:48.588" v="9999"/>
          <ac:spMkLst>
            <pc:docMk/>
            <pc:sldMk cId="1603008812" sldId="7333"/>
            <ac:spMk id="1292" creationId="{44AB0B46-C948-340A-F6DF-491F71B7D2BA}"/>
          </ac:spMkLst>
        </pc:spChg>
        <pc:spChg chg="mod">
          <ac:chgData name="Bez, Florian" userId="30d7df6a-5295-4d75-a650-5a1fab7b8b2e" providerId="ADAL" clId="{DEF8C959-161B-48E6-918F-19FB2A9D3909}" dt="2023-04-21T09:53:48.588" v="9999"/>
          <ac:spMkLst>
            <pc:docMk/>
            <pc:sldMk cId="1603008812" sldId="7333"/>
            <ac:spMk id="1293" creationId="{96F8CC3D-D819-D9B8-79E2-F0EDB5BF2B07}"/>
          </ac:spMkLst>
        </pc:spChg>
        <pc:spChg chg="mod">
          <ac:chgData name="Bez, Florian" userId="30d7df6a-5295-4d75-a650-5a1fab7b8b2e" providerId="ADAL" clId="{DEF8C959-161B-48E6-918F-19FB2A9D3909}" dt="2023-04-21T09:53:48.588" v="9999"/>
          <ac:spMkLst>
            <pc:docMk/>
            <pc:sldMk cId="1603008812" sldId="7333"/>
            <ac:spMk id="1294" creationId="{CD118586-67C2-2804-7FB0-971BFA673CF4}"/>
          </ac:spMkLst>
        </pc:spChg>
        <pc:spChg chg="mod">
          <ac:chgData name="Bez, Florian" userId="30d7df6a-5295-4d75-a650-5a1fab7b8b2e" providerId="ADAL" clId="{DEF8C959-161B-48E6-918F-19FB2A9D3909}" dt="2023-04-21T09:53:48.588" v="9999"/>
          <ac:spMkLst>
            <pc:docMk/>
            <pc:sldMk cId="1603008812" sldId="7333"/>
            <ac:spMk id="1295" creationId="{B55CDF15-15C3-6422-7F55-115D9E3DA486}"/>
          </ac:spMkLst>
        </pc:spChg>
        <pc:spChg chg="mod">
          <ac:chgData name="Bez, Florian" userId="30d7df6a-5295-4d75-a650-5a1fab7b8b2e" providerId="ADAL" clId="{DEF8C959-161B-48E6-918F-19FB2A9D3909}" dt="2023-04-21T09:53:48.588" v="9999"/>
          <ac:spMkLst>
            <pc:docMk/>
            <pc:sldMk cId="1603008812" sldId="7333"/>
            <ac:spMk id="1296" creationId="{0943A4DF-6490-B49C-FB36-8FBABEE0359B}"/>
          </ac:spMkLst>
        </pc:spChg>
        <pc:spChg chg="mod">
          <ac:chgData name="Bez, Florian" userId="30d7df6a-5295-4d75-a650-5a1fab7b8b2e" providerId="ADAL" clId="{DEF8C959-161B-48E6-918F-19FB2A9D3909}" dt="2023-04-21T09:53:48.588" v="9999"/>
          <ac:spMkLst>
            <pc:docMk/>
            <pc:sldMk cId="1603008812" sldId="7333"/>
            <ac:spMk id="1297" creationId="{00041759-5C48-E0D3-CA5B-F77D93EB5383}"/>
          </ac:spMkLst>
        </pc:spChg>
        <pc:spChg chg="mod">
          <ac:chgData name="Bez, Florian" userId="30d7df6a-5295-4d75-a650-5a1fab7b8b2e" providerId="ADAL" clId="{DEF8C959-161B-48E6-918F-19FB2A9D3909}" dt="2023-04-21T09:53:48.588" v="9999"/>
          <ac:spMkLst>
            <pc:docMk/>
            <pc:sldMk cId="1603008812" sldId="7333"/>
            <ac:spMk id="1298" creationId="{0273FA37-2688-E5E6-E014-29C262A811D9}"/>
          </ac:spMkLst>
        </pc:spChg>
        <pc:spChg chg="mod">
          <ac:chgData name="Bez, Florian" userId="30d7df6a-5295-4d75-a650-5a1fab7b8b2e" providerId="ADAL" clId="{DEF8C959-161B-48E6-918F-19FB2A9D3909}" dt="2023-04-21T09:53:48.588" v="9999"/>
          <ac:spMkLst>
            <pc:docMk/>
            <pc:sldMk cId="1603008812" sldId="7333"/>
            <ac:spMk id="1299" creationId="{434ACBB8-53BA-4E14-C2C3-F4843CF9A9BE}"/>
          </ac:spMkLst>
        </pc:spChg>
        <pc:spChg chg="mod">
          <ac:chgData name="Bez, Florian" userId="30d7df6a-5295-4d75-a650-5a1fab7b8b2e" providerId="ADAL" clId="{DEF8C959-161B-48E6-918F-19FB2A9D3909}" dt="2023-04-21T09:53:48.588" v="9999"/>
          <ac:spMkLst>
            <pc:docMk/>
            <pc:sldMk cId="1603008812" sldId="7333"/>
            <ac:spMk id="1300" creationId="{5B51D8E1-1973-7AC2-71BF-95C863B8AAD5}"/>
          </ac:spMkLst>
        </pc:spChg>
        <pc:spChg chg="mod">
          <ac:chgData name="Bez, Florian" userId="30d7df6a-5295-4d75-a650-5a1fab7b8b2e" providerId="ADAL" clId="{DEF8C959-161B-48E6-918F-19FB2A9D3909}" dt="2023-04-21T09:53:48.588" v="9999"/>
          <ac:spMkLst>
            <pc:docMk/>
            <pc:sldMk cId="1603008812" sldId="7333"/>
            <ac:spMk id="1301" creationId="{B7E4F341-A66E-05E1-9477-88E3B7D8FFED}"/>
          </ac:spMkLst>
        </pc:spChg>
        <pc:spChg chg="mod">
          <ac:chgData name="Bez, Florian" userId="30d7df6a-5295-4d75-a650-5a1fab7b8b2e" providerId="ADAL" clId="{DEF8C959-161B-48E6-918F-19FB2A9D3909}" dt="2023-04-21T09:53:48.588" v="9999"/>
          <ac:spMkLst>
            <pc:docMk/>
            <pc:sldMk cId="1603008812" sldId="7333"/>
            <ac:spMk id="1302" creationId="{800C6EAC-D410-5276-E333-065A55ED8DC7}"/>
          </ac:spMkLst>
        </pc:spChg>
        <pc:spChg chg="mod">
          <ac:chgData name="Bez, Florian" userId="30d7df6a-5295-4d75-a650-5a1fab7b8b2e" providerId="ADAL" clId="{DEF8C959-161B-48E6-918F-19FB2A9D3909}" dt="2023-04-21T09:53:48.588" v="9999"/>
          <ac:spMkLst>
            <pc:docMk/>
            <pc:sldMk cId="1603008812" sldId="7333"/>
            <ac:spMk id="1303" creationId="{D2674F73-D071-3A4B-3C8B-130E92CFE931}"/>
          </ac:spMkLst>
        </pc:spChg>
        <pc:spChg chg="mod">
          <ac:chgData name="Bez, Florian" userId="30d7df6a-5295-4d75-a650-5a1fab7b8b2e" providerId="ADAL" clId="{DEF8C959-161B-48E6-918F-19FB2A9D3909}" dt="2023-04-21T09:53:48.588" v="9999"/>
          <ac:spMkLst>
            <pc:docMk/>
            <pc:sldMk cId="1603008812" sldId="7333"/>
            <ac:spMk id="1304" creationId="{B2173AC1-1541-8CF7-72D2-58C09AB0DE32}"/>
          </ac:spMkLst>
        </pc:spChg>
        <pc:spChg chg="mod">
          <ac:chgData name="Bez, Florian" userId="30d7df6a-5295-4d75-a650-5a1fab7b8b2e" providerId="ADAL" clId="{DEF8C959-161B-48E6-918F-19FB2A9D3909}" dt="2023-04-21T09:53:48.588" v="9999"/>
          <ac:spMkLst>
            <pc:docMk/>
            <pc:sldMk cId="1603008812" sldId="7333"/>
            <ac:spMk id="1305" creationId="{17828A49-A711-B094-52BA-263E6B610821}"/>
          </ac:spMkLst>
        </pc:spChg>
        <pc:spChg chg="mod">
          <ac:chgData name="Bez, Florian" userId="30d7df6a-5295-4d75-a650-5a1fab7b8b2e" providerId="ADAL" clId="{DEF8C959-161B-48E6-918F-19FB2A9D3909}" dt="2023-04-21T09:53:48.588" v="9999"/>
          <ac:spMkLst>
            <pc:docMk/>
            <pc:sldMk cId="1603008812" sldId="7333"/>
            <ac:spMk id="1306" creationId="{9B16530F-4BCE-50E3-F2DE-6E00FCBE8D83}"/>
          </ac:spMkLst>
        </pc:spChg>
        <pc:spChg chg="mod">
          <ac:chgData name="Bez, Florian" userId="30d7df6a-5295-4d75-a650-5a1fab7b8b2e" providerId="ADAL" clId="{DEF8C959-161B-48E6-918F-19FB2A9D3909}" dt="2023-04-21T09:53:48.588" v="9999"/>
          <ac:spMkLst>
            <pc:docMk/>
            <pc:sldMk cId="1603008812" sldId="7333"/>
            <ac:spMk id="1307" creationId="{25C8F5DE-C282-F31A-EF09-FFEDBA2CBA11}"/>
          </ac:spMkLst>
        </pc:spChg>
        <pc:spChg chg="mod">
          <ac:chgData name="Bez, Florian" userId="30d7df6a-5295-4d75-a650-5a1fab7b8b2e" providerId="ADAL" clId="{DEF8C959-161B-48E6-918F-19FB2A9D3909}" dt="2023-04-21T09:53:48.588" v="9999"/>
          <ac:spMkLst>
            <pc:docMk/>
            <pc:sldMk cId="1603008812" sldId="7333"/>
            <ac:spMk id="1308" creationId="{E9743FEC-52DE-6BC8-9AE5-D3F7C4360A0D}"/>
          </ac:spMkLst>
        </pc:spChg>
        <pc:spChg chg="mod">
          <ac:chgData name="Bez, Florian" userId="30d7df6a-5295-4d75-a650-5a1fab7b8b2e" providerId="ADAL" clId="{DEF8C959-161B-48E6-918F-19FB2A9D3909}" dt="2023-04-21T09:53:48.588" v="9999"/>
          <ac:spMkLst>
            <pc:docMk/>
            <pc:sldMk cId="1603008812" sldId="7333"/>
            <ac:spMk id="1309" creationId="{C5302065-8FCC-A0EC-DDB4-1C661D2C86CF}"/>
          </ac:spMkLst>
        </pc:spChg>
        <pc:spChg chg="mod">
          <ac:chgData name="Bez, Florian" userId="30d7df6a-5295-4d75-a650-5a1fab7b8b2e" providerId="ADAL" clId="{DEF8C959-161B-48E6-918F-19FB2A9D3909}" dt="2023-04-21T09:53:48.588" v="9999"/>
          <ac:spMkLst>
            <pc:docMk/>
            <pc:sldMk cId="1603008812" sldId="7333"/>
            <ac:spMk id="1310" creationId="{BA0EEC01-5D0D-ADA6-5514-0B93755E4D31}"/>
          </ac:spMkLst>
        </pc:spChg>
        <pc:spChg chg="mod">
          <ac:chgData name="Bez, Florian" userId="30d7df6a-5295-4d75-a650-5a1fab7b8b2e" providerId="ADAL" clId="{DEF8C959-161B-48E6-918F-19FB2A9D3909}" dt="2023-04-21T09:53:48.588" v="9999"/>
          <ac:spMkLst>
            <pc:docMk/>
            <pc:sldMk cId="1603008812" sldId="7333"/>
            <ac:spMk id="1311" creationId="{BA63DA3F-7A3F-8BB8-2F51-1B4405FB3442}"/>
          </ac:spMkLst>
        </pc:spChg>
        <pc:spChg chg="mod">
          <ac:chgData name="Bez, Florian" userId="30d7df6a-5295-4d75-a650-5a1fab7b8b2e" providerId="ADAL" clId="{DEF8C959-161B-48E6-918F-19FB2A9D3909}" dt="2023-04-21T09:53:48.588" v="9999"/>
          <ac:spMkLst>
            <pc:docMk/>
            <pc:sldMk cId="1603008812" sldId="7333"/>
            <ac:spMk id="1312" creationId="{979BFBCA-3F1A-9FCD-28A2-AC2756C28E80}"/>
          </ac:spMkLst>
        </pc:spChg>
        <pc:spChg chg="mod">
          <ac:chgData name="Bez, Florian" userId="30d7df6a-5295-4d75-a650-5a1fab7b8b2e" providerId="ADAL" clId="{DEF8C959-161B-48E6-918F-19FB2A9D3909}" dt="2023-04-21T09:53:48.588" v="9999"/>
          <ac:spMkLst>
            <pc:docMk/>
            <pc:sldMk cId="1603008812" sldId="7333"/>
            <ac:spMk id="1313" creationId="{B3E95892-F4CF-D091-E1F2-770C1EAF3636}"/>
          </ac:spMkLst>
        </pc:spChg>
        <pc:spChg chg="mod">
          <ac:chgData name="Bez, Florian" userId="30d7df6a-5295-4d75-a650-5a1fab7b8b2e" providerId="ADAL" clId="{DEF8C959-161B-48E6-918F-19FB2A9D3909}" dt="2023-04-21T09:53:48.588" v="9999"/>
          <ac:spMkLst>
            <pc:docMk/>
            <pc:sldMk cId="1603008812" sldId="7333"/>
            <ac:spMk id="1314" creationId="{E2F6ADF2-371F-EF63-0407-BB20B7E27A56}"/>
          </ac:spMkLst>
        </pc:spChg>
        <pc:spChg chg="mod">
          <ac:chgData name="Bez, Florian" userId="30d7df6a-5295-4d75-a650-5a1fab7b8b2e" providerId="ADAL" clId="{DEF8C959-161B-48E6-918F-19FB2A9D3909}" dt="2023-04-21T09:53:48.588" v="9999"/>
          <ac:spMkLst>
            <pc:docMk/>
            <pc:sldMk cId="1603008812" sldId="7333"/>
            <ac:spMk id="1315" creationId="{0341A54D-102A-5D4D-DD5D-F6595F242A10}"/>
          </ac:spMkLst>
        </pc:spChg>
        <pc:spChg chg="mod">
          <ac:chgData name="Bez, Florian" userId="30d7df6a-5295-4d75-a650-5a1fab7b8b2e" providerId="ADAL" clId="{DEF8C959-161B-48E6-918F-19FB2A9D3909}" dt="2023-04-21T09:53:48.588" v="9999"/>
          <ac:spMkLst>
            <pc:docMk/>
            <pc:sldMk cId="1603008812" sldId="7333"/>
            <ac:spMk id="1316" creationId="{D9F67E5D-E80C-470B-F922-28934A6E772A}"/>
          </ac:spMkLst>
        </pc:spChg>
        <pc:spChg chg="mod">
          <ac:chgData name="Bez, Florian" userId="30d7df6a-5295-4d75-a650-5a1fab7b8b2e" providerId="ADAL" clId="{DEF8C959-161B-48E6-918F-19FB2A9D3909}" dt="2023-04-21T09:53:48.588" v="9999"/>
          <ac:spMkLst>
            <pc:docMk/>
            <pc:sldMk cId="1603008812" sldId="7333"/>
            <ac:spMk id="1317" creationId="{46096639-9C6C-BF9A-226B-B20B016D1687}"/>
          </ac:spMkLst>
        </pc:spChg>
        <pc:spChg chg="mod">
          <ac:chgData name="Bez, Florian" userId="30d7df6a-5295-4d75-a650-5a1fab7b8b2e" providerId="ADAL" clId="{DEF8C959-161B-48E6-918F-19FB2A9D3909}" dt="2023-04-21T09:53:48.588" v="9999"/>
          <ac:spMkLst>
            <pc:docMk/>
            <pc:sldMk cId="1603008812" sldId="7333"/>
            <ac:spMk id="1318" creationId="{590520D4-BF2A-6C12-8401-ACDF52BB7D3E}"/>
          </ac:spMkLst>
        </pc:spChg>
        <pc:spChg chg="mod">
          <ac:chgData name="Bez, Florian" userId="30d7df6a-5295-4d75-a650-5a1fab7b8b2e" providerId="ADAL" clId="{DEF8C959-161B-48E6-918F-19FB2A9D3909}" dt="2023-04-21T09:53:48.588" v="9999"/>
          <ac:spMkLst>
            <pc:docMk/>
            <pc:sldMk cId="1603008812" sldId="7333"/>
            <ac:spMk id="1319" creationId="{47A0CC95-F2C7-9B2A-AAC7-7983BCA9B39F}"/>
          </ac:spMkLst>
        </pc:spChg>
        <pc:spChg chg="mod">
          <ac:chgData name="Bez, Florian" userId="30d7df6a-5295-4d75-a650-5a1fab7b8b2e" providerId="ADAL" clId="{DEF8C959-161B-48E6-918F-19FB2A9D3909}" dt="2023-04-21T09:53:48.588" v="9999"/>
          <ac:spMkLst>
            <pc:docMk/>
            <pc:sldMk cId="1603008812" sldId="7333"/>
            <ac:spMk id="1320" creationId="{961D45E8-ED08-DBCB-FF08-CFD6C9E618C9}"/>
          </ac:spMkLst>
        </pc:spChg>
        <pc:spChg chg="mod">
          <ac:chgData name="Bez, Florian" userId="30d7df6a-5295-4d75-a650-5a1fab7b8b2e" providerId="ADAL" clId="{DEF8C959-161B-48E6-918F-19FB2A9D3909}" dt="2023-04-21T09:53:48.588" v="9999"/>
          <ac:spMkLst>
            <pc:docMk/>
            <pc:sldMk cId="1603008812" sldId="7333"/>
            <ac:spMk id="1321" creationId="{A6866380-03E3-2CC2-0BF5-291268304B97}"/>
          </ac:spMkLst>
        </pc:spChg>
        <pc:spChg chg="mod">
          <ac:chgData name="Bez, Florian" userId="30d7df6a-5295-4d75-a650-5a1fab7b8b2e" providerId="ADAL" clId="{DEF8C959-161B-48E6-918F-19FB2A9D3909}" dt="2023-04-21T09:53:48.588" v="9999"/>
          <ac:spMkLst>
            <pc:docMk/>
            <pc:sldMk cId="1603008812" sldId="7333"/>
            <ac:spMk id="1322" creationId="{724CFC0A-0F97-91BA-9BBF-5FEE37D49A37}"/>
          </ac:spMkLst>
        </pc:spChg>
        <pc:spChg chg="mod">
          <ac:chgData name="Bez, Florian" userId="30d7df6a-5295-4d75-a650-5a1fab7b8b2e" providerId="ADAL" clId="{DEF8C959-161B-48E6-918F-19FB2A9D3909}" dt="2023-04-21T09:53:48.588" v="9999"/>
          <ac:spMkLst>
            <pc:docMk/>
            <pc:sldMk cId="1603008812" sldId="7333"/>
            <ac:spMk id="1323" creationId="{65C975A7-E733-03C7-89A5-33A3C60ECD21}"/>
          </ac:spMkLst>
        </pc:spChg>
        <pc:spChg chg="mod">
          <ac:chgData name="Bez, Florian" userId="30d7df6a-5295-4d75-a650-5a1fab7b8b2e" providerId="ADAL" clId="{DEF8C959-161B-48E6-918F-19FB2A9D3909}" dt="2023-04-21T09:53:48.588" v="9999"/>
          <ac:spMkLst>
            <pc:docMk/>
            <pc:sldMk cId="1603008812" sldId="7333"/>
            <ac:spMk id="1324" creationId="{E8C46E17-7FF9-DED4-1D3A-B0B6FB7210F3}"/>
          </ac:spMkLst>
        </pc:spChg>
        <pc:spChg chg="mod">
          <ac:chgData name="Bez, Florian" userId="30d7df6a-5295-4d75-a650-5a1fab7b8b2e" providerId="ADAL" clId="{DEF8C959-161B-48E6-918F-19FB2A9D3909}" dt="2023-04-21T09:53:48.588" v="9999"/>
          <ac:spMkLst>
            <pc:docMk/>
            <pc:sldMk cId="1603008812" sldId="7333"/>
            <ac:spMk id="1325" creationId="{07424825-C33C-4D1B-926F-ED0884093EA4}"/>
          </ac:spMkLst>
        </pc:spChg>
        <pc:spChg chg="mod">
          <ac:chgData name="Bez, Florian" userId="30d7df6a-5295-4d75-a650-5a1fab7b8b2e" providerId="ADAL" clId="{DEF8C959-161B-48E6-918F-19FB2A9D3909}" dt="2023-04-21T09:53:48.588" v="9999"/>
          <ac:spMkLst>
            <pc:docMk/>
            <pc:sldMk cId="1603008812" sldId="7333"/>
            <ac:spMk id="1326" creationId="{14405842-CEAA-F320-F805-423B1DECC77A}"/>
          </ac:spMkLst>
        </pc:spChg>
        <pc:spChg chg="mod">
          <ac:chgData name="Bez, Florian" userId="30d7df6a-5295-4d75-a650-5a1fab7b8b2e" providerId="ADAL" clId="{DEF8C959-161B-48E6-918F-19FB2A9D3909}" dt="2023-04-21T09:53:48.588" v="9999"/>
          <ac:spMkLst>
            <pc:docMk/>
            <pc:sldMk cId="1603008812" sldId="7333"/>
            <ac:spMk id="1327" creationId="{74F2D8D9-92FF-0DEE-1763-2CDC4C5D7676}"/>
          </ac:spMkLst>
        </pc:spChg>
        <pc:spChg chg="mod">
          <ac:chgData name="Bez, Florian" userId="30d7df6a-5295-4d75-a650-5a1fab7b8b2e" providerId="ADAL" clId="{DEF8C959-161B-48E6-918F-19FB2A9D3909}" dt="2023-04-21T09:53:48.588" v="9999"/>
          <ac:spMkLst>
            <pc:docMk/>
            <pc:sldMk cId="1603008812" sldId="7333"/>
            <ac:spMk id="1328" creationId="{19E27AAE-87DE-D5CD-484E-10595CF68911}"/>
          </ac:spMkLst>
        </pc:spChg>
        <pc:spChg chg="mod">
          <ac:chgData name="Bez, Florian" userId="30d7df6a-5295-4d75-a650-5a1fab7b8b2e" providerId="ADAL" clId="{DEF8C959-161B-48E6-918F-19FB2A9D3909}" dt="2023-04-21T09:53:48.588" v="9999"/>
          <ac:spMkLst>
            <pc:docMk/>
            <pc:sldMk cId="1603008812" sldId="7333"/>
            <ac:spMk id="1329" creationId="{F61A8767-A3F2-7ACE-C121-AE6D1B46F3F3}"/>
          </ac:spMkLst>
        </pc:spChg>
        <pc:spChg chg="mod">
          <ac:chgData name="Bez, Florian" userId="30d7df6a-5295-4d75-a650-5a1fab7b8b2e" providerId="ADAL" clId="{DEF8C959-161B-48E6-918F-19FB2A9D3909}" dt="2023-04-21T09:53:48.588" v="9999"/>
          <ac:spMkLst>
            <pc:docMk/>
            <pc:sldMk cId="1603008812" sldId="7333"/>
            <ac:spMk id="1330" creationId="{F7D111CE-37A0-C9ED-1E05-D56DCA71C701}"/>
          </ac:spMkLst>
        </pc:spChg>
        <pc:spChg chg="mod">
          <ac:chgData name="Bez, Florian" userId="30d7df6a-5295-4d75-a650-5a1fab7b8b2e" providerId="ADAL" clId="{DEF8C959-161B-48E6-918F-19FB2A9D3909}" dt="2023-04-21T09:53:48.588" v="9999"/>
          <ac:spMkLst>
            <pc:docMk/>
            <pc:sldMk cId="1603008812" sldId="7333"/>
            <ac:spMk id="1331" creationId="{C0E11208-1AB3-B002-A12B-A18065F32E77}"/>
          </ac:spMkLst>
        </pc:spChg>
        <pc:spChg chg="mod">
          <ac:chgData name="Bez, Florian" userId="30d7df6a-5295-4d75-a650-5a1fab7b8b2e" providerId="ADAL" clId="{DEF8C959-161B-48E6-918F-19FB2A9D3909}" dt="2023-04-21T09:53:48.588" v="9999"/>
          <ac:spMkLst>
            <pc:docMk/>
            <pc:sldMk cId="1603008812" sldId="7333"/>
            <ac:spMk id="1332" creationId="{DB548490-7E04-E353-D266-765E60344E1C}"/>
          </ac:spMkLst>
        </pc:spChg>
        <pc:spChg chg="mod">
          <ac:chgData name="Bez, Florian" userId="30d7df6a-5295-4d75-a650-5a1fab7b8b2e" providerId="ADAL" clId="{DEF8C959-161B-48E6-918F-19FB2A9D3909}" dt="2023-04-21T09:53:48.588" v="9999"/>
          <ac:spMkLst>
            <pc:docMk/>
            <pc:sldMk cId="1603008812" sldId="7333"/>
            <ac:spMk id="1333" creationId="{87122EF7-61A0-7DED-5A80-83B0697A5087}"/>
          </ac:spMkLst>
        </pc:spChg>
        <pc:spChg chg="mod">
          <ac:chgData name="Bez, Florian" userId="30d7df6a-5295-4d75-a650-5a1fab7b8b2e" providerId="ADAL" clId="{DEF8C959-161B-48E6-918F-19FB2A9D3909}" dt="2023-04-21T09:53:48.588" v="9999"/>
          <ac:spMkLst>
            <pc:docMk/>
            <pc:sldMk cId="1603008812" sldId="7333"/>
            <ac:spMk id="1334" creationId="{2298F38C-B1E1-CA9E-2797-291304D4F61B}"/>
          </ac:spMkLst>
        </pc:spChg>
        <pc:spChg chg="mod">
          <ac:chgData name="Bez, Florian" userId="30d7df6a-5295-4d75-a650-5a1fab7b8b2e" providerId="ADAL" clId="{DEF8C959-161B-48E6-918F-19FB2A9D3909}" dt="2023-04-21T09:53:48.588" v="9999"/>
          <ac:spMkLst>
            <pc:docMk/>
            <pc:sldMk cId="1603008812" sldId="7333"/>
            <ac:spMk id="1335" creationId="{E67C33D8-663C-E17A-AB06-E474B0347F56}"/>
          </ac:spMkLst>
        </pc:spChg>
        <pc:spChg chg="mod">
          <ac:chgData name="Bez, Florian" userId="30d7df6a-5295-4d75-a650-5a1fab7b8b2e" providerId="ADAL" clId="{DEF8C959-161B-48E6-918F-19FB2A9D3909}" dt="2023-04-21T09:53:48.588" v="9999"/>
          <ac:spMkLst>
            <pc:docMk/>
            <pc:sldMk cId="1603008812" sldId="7333"/>
            <ac:spMk id="1336" creationId="{5CE10585-A004-FA98-084C-35B06780A907}"/>
          </ac:spMkLst>
        </pc:spChg>
        <pc:spChg chg="mod">
          <ac:chgData name="Bez, Florian" userId="30d7df6a-5295-4d75-a650-5a1fab7b8b2e" providerId="ADAL" clId="{DEF8C959-161B-48E6-918F-19FB2A9D3909}" dt="2023-04-21T09:53:48.588" v="9999"/>
          <ac:spMkLst>
            <pc:docMk/>
            <pc:sldMk cId="1603008812" sldId="7333"/>
            <ac:spMk id="1337" creationId="{FC1CE895-6149-D36C-181E-611C1A8F2133}"/>
          </ac:spMkLst>
        </pc:spChg>
        <pc:spChg chg="mod">
          <ac:chgData name="Bez, Florian" userId="30d7df6a-5295-4d75-a650-5a1fab7b8b2e" providerId="ADAL" clId="{DEF8C959-161B-48E6-918F-19FB2A9D3909}" dt="2023-04-21T09:53:48.588" v="9999"/>
          <ac:spMkLst>
            <pc:docMk/>
            <pc:sldMk cId="1603008812" sldId="7333"/>
            <ac:spMk id="1338" creationId="{89B95F13-B7C2-9962-163F-224A8D37D3CC}"/>
          </ac:spMkLst>
        </pc:spChg>
        <pc:spChg chg="mod">
          <ac:chgData name="Bez, Florian" userId="30d7df6a-5295-4d75-a650-5a1fab7b8b2e" providerId="ADAL" clId="{DEF8C959-161B-48E6-918F-19FB2A9D3909}" dt="2023-04-21T09:53:48.588" v="9999"/>
          <ac:spMkLst>
            <pc:docMk/>
            <pc:sldMk cId="1603008812" sldId="7333"/>
            <ac:spMk id="1339" creationId="{A42CA6FF-8936-80DA-B8E9-A919B6E59EE7}"/>
          </ac:spMkLst>
        </pc:spChg>
        <pc:spChg chg="mod">
          <ac:chgData name="Bez, Florian" userId="30d7df6a-5295-4d75-a650-5a1fab7b8b2e" providerId="ADAL" clId="{DEF8C959-161B-48E6-918F-19FB2A9D3909}" dt="2023-04-21T09:53:48.588" v="9999"/>
          <ac:spMkLst>
            <pc:docMk/>
            <pc:sldMk cId="1603008812" sldId="7333"/>
            <ac:spMk id="1341" creationId="{E2672F4E-F092-E829-303F-B47C0F48CF66}"/>
          </ac:spMkLst>
        </pc:spChg>
        <pc:spChg chg="mod">
          <ac:chgData name="Bez, Florian" userId="30d7df6a-5295-4d75-a650-5a1fab7b8b2e" providerId="ADAL" clId="{DEF8C959-161B-48E6-918F-19FB2A9D3909}" dt="2023-04-21T09:53:48.588" v="9999"/>
          <ac:spMkLst>
            <pc:docMk/>
            <pc:sldMk cId="1603008812" sldId="7333"/>
            <ac:spMk id="1342" creationId="{D319DFF6-9931-99CF-D340-35FCA70A8118}"/>
          </ac:spMkLst>
        </pc:spChg>
        <pc:spChg chg="mod">
          <ac:chgData name="Bez, Florian" userId="30d7df6a-5295-4d75-a650-5a1fab7b8b2e" providerId="ADAL" clId="{DEF8C959-161B-48E6-918F-19FB2A9D3909}" dt="2023-04-21T09:53:48.588" v="9999"/>
          <ac:spMkLst>
            <pc:docMk/>
            <pc:sldMk cId="1603008812" sldId="7333"/>
            <ac:spMk id="1343" creationId="{FACE4C24-F107-0950-4C39-DD2819F8C68B}"/>
          </ac:spMkLst>
        </pc:spChg>
        <pc:spChg chg="mod">
          <ac:chgData name="Bez, Florian" userId="30d7df6a-5295-4d75-a650-5a1fab7b8b2e" providerId="ADAL" clId="{DEF8C959-161B-48E6-918F-19FB2A9D3909}" dt="2023-04-21T09:53:48.588" v="9999"/>
          <ac:spMkLst>
            <pc:docMk/>
            <pc:sldMk cId="1603008812" sldId="7333"/>
            <ac:spMk id="1344" creationId="{023E4BEC-0847-E70D-56EC-78382AF9363B}"/>
          </ac:spMkLst>
        </pc:spChg>
        <pc:spChg chg="mod">
          <ac:chgData name="Bez, Florian" userId="30d7df6a-5295-4d75-a650-5a1fab7b8b2e" providerId="ADAL" clId="{DEF8C959-161B-48E6-918F-19FB2A9D3909}" dt="2023-04-21T09:53:48.588" v="9999"/>
          <ac:spMkLst>
            <pc:docMk/>
            <pc:sldMk cId="1603008812" sldId="7333"/>
            <ac:spMk id="1345" creationId="{D148524B-A173-7E29-BC0C-C469578F7149}"/>
          </ac:spMkLst>
        </pc:spChg>
        <pc:spChg chg="mod">
          <ac:chgData name="Bez, Florian" userId="30d7df6a-5295-4d75-a650-5a1fab7b8b2e" providerId="ADAL" clId="{DEF8C959-161B-48E6-918F-19FB2A9D3909}" dt="2023-04-21T09:53:48.588" v="9999"/>
          <ac:spMkLst>
            <pc:docMk/>
            <pc:sldMk cId="1603008812" sldId="7333"/>
            <ac:spMk id="1346" creationId="{8C12BD08-F1FD-4277-0514-A292619BD3E6}"/>
          </ac:spMkLst>
        </pc:spChg>
        <pc:spChg chg="mod">
          <ac:chgData name="Bez, Florian" userId="30d7df6a-5295-4d75-a650-5a1fab7b8b2e" providerId="ADAL" clId="{DEF8C959-161B-48E6-918F-19FB2A9D3909}" dt="2023-04-21T09:53:48.588" v="9999"/>
          <ac:spMkLst>
            <pc:docMk/>
            <pc:sldMk cId="1603008812" sldId="7333"/>
            <ac:spMk id="1347" creationId="{EBA959DC-ECCE-6371-2F66-CE36E0D49275}"/>
          </ac:spMkLst>
        </pc:spChg>
        <pc:spChg chg="mod">
          <ac:chgData name="Bez, Florian" userId="30d7df6a-5295-4d75-a650-5a1fab7b8b2e" providerId="ADAL" clId="{DEF8C959-161B-48E6-918F-19FB2A9D3909}" dt="2023-04-21T09:53:48.588" v="9999"/>
          <ac:spMkLst>
            <pc:docMk/>
            <pc:sldMk cId="1603008812" sldId="7333"/>
            <ac:spMk id="1348" creationId="{9EDD3A9E-B8FD-3FD5-2320-29CA74597C35}"/>
          </ac:spMkLst>
        </pc:spChg>
        <pc:spChg chg="mod">
          <ac:chgData name="Bez, Florian" userId="30d7df6a-5295-4d75-a650-5a1fab7b8b2e" providerId="ADAL" clId="{DEF8C959-161B-48E6-918F-19FB2A9D3909}" dt="2023-04-21T09:53:48.588" v="9999"/>
          <ac:spMkLst>
            <pc:docMk/>
            <pc:sldMk cId="1603008812" sldId="7333"/>
            <ac:spMk id="1349" creationId="{8410C4A5-A09D-61D5-7324-60796C10BA11}"/>
          </ac:spMkLst>
        </pc:spChg>
        <pc:spChg chg="mod">
          <ac:chgData name="Bez, Florian" userId="30d7df6a-5295-4d75-a650-5a1fab7b8b2e" providerId="ADAL" clId="{DEF8C959-161B-48E6-918F-19FB2A9D3909}" dt="2023-04-21T09:53:48.588" v="9999"/>
          <ac:spMkLst>
            <pc:docMk/>
            <pc:sldMk cId="1603008812" sldId="7333"/>
            <ac:spMk id="1350" creationId="{CA7C71D9-0CAD-1217-1AD2-6E94AD349DA7}"/>
          </ac:spMkLst>
        </pc:spChg>
        <pc:spChg chg="mod">
          <ac:chgData name="Bez, Florian" userId="30d7df6a-5295-4d75-a650-5a1fab7b8b2e" providerId="ADAL" clId="{DEF8C959-161B-48E6-918F-19FB2A9D3909}" dt="2023-04-21T09:53:48.588" v="9999"/>
          <ac:spMkLst>
            <pc:docMk/>
            <pc:sldMk cId="1603008812" sldId="7333"/>
            <ac:spMk id="1351" creationId="{28FE5768-FA08-8FC8-89A8-5DA150D1BD15}"/>
          </ac:spMkLst>
        </pc:spChg>
        <pc:spChg chg="mod">
          <ac:chgData name="Bez, Florian" userId="30d7df6a-5295-4d75-a650-5a1fab7b8b2e" providerId="ADAL" clId="{DEF8C959-161B-48E6-918F-19FB2A9D3909}" dt="2023-04-21T09:53:48.588" v="9999"/>
          <ac:spMkLst>
            <pc:docMk/>
            <pc:sldMk cId="1603008812" sldId="7333"/>
            <ac:spMk id="1352" creationId="{2B590EE4-079A-CF2B-62EF-D55253384926}"/>
          </ac:spMkLst>
        </pc:spChg>
        <pc:spChg chg="mod">
          <ac:chgData name="Bez, Florian" userId="30d7df6a-5295-4d75-a650-5a1fab7b8b2e" providerId="ADAL" clId="{DEF8C959-161B-48E6-918F-19FB2A9D3909}" dt="2023-04-21T09:53:48.588" v="9999"/>
          <ac:spMkLst>
            <pc:docMk/>
            <pc:sldMk cId="1603008812" sldId="7333"/>
            <ac:spMk id="1353" creationId="{6AFBEA79-C6BF-F137-849C-701CE16B172F}"/>
          </ac:spMkLst>
        </pc:spChg>
        <pc:spChg chg="mod">
          <ac:chgData name="Bez, Florian" userId="30d7df6a-5295-4d75-a650-5a1fab7b8b2e" providerId="ADAL" clId="{DEF8C959-161B-48E6-918F-19FB2A9D3909}" dt="2023-04-21T09:53:48.588" v="9999"/>
          <ac:spMkLst>
            <pc:docMk/>
            <pc:sldMk cId="1603008812" sldId="7333"/>
            <ac:spMk id="1354" creationId="{DE9C50D7-5AAD-16FB-CDA9-B89AF337258B}"/>
          </ac:spMkLst>
        </pc:spChg>
        <pc:spChg chg="mod">
          <ac:chgData name="Bez, Florian" userId="30d7df6a-5295-4d75-a650-5a1fab7b8b2e" providerId="ADAL" clId="{DEF8C959-161B-48E6-918F-19FB2A9D3909}" dt="2023-04-21T09:53:48.588" v="9999"/>
          <ac:spMkLst>
            <pc:docMk/>
            <pc:sldMk cId="1603008812" sldId="7333"/>
            <ac:spMk id="1355" creationId="{20705456-9D26-F7D8-3539-5038DE9A82C0}"/>
          </ac:spMkLst>
        </pc:spChg>
        <pc:spChg chg="mod">
          <ac:chgData name="Bez, Florian" userId="30d7df6a-5295-4d75-a650-5a1fab7b8b2e" providerId="ADAL" clId="{DEF8C959-161B-48E6-918F-19FB2A9D3909}" dt="2023-04-21T09:53:48.588" v="9999"/>
          <ac:spMkLst>
            <pc:docMk/>
            <pc:sldMk cId="1603008812" sldId="7333"/>
            <ac:spMk id="1356" creationId="{CFB83E14-B554-1A00-BEF2-211C582F5F3E}"/>
          </ac:spMkLst>
        </pc:spChg>
        <pc:spChg chg="mod">
          <ac:chgData name="Bez, Florian" userId="30d7df6a-5295-4d75-a650-5a1fab7b8b2e" providerId="ADAL" clId="{DEF8C959-161B-48E6-918F-19FB2A9D3909}" dt="2023-04-21T09:53:48.588" v="9999"/>
          <ac:spMkLst>
            <pc:docMk/>
            <pc:sldMk cId="1603008812" sldId="7333"/>
            <ac:spMk id="1357" creationId="{39CBDD7E-FC1D-27C6-0048-54ABEA7248C3}"/>
          </ac:spMkLst>
        </pc:spChg>
        <pc:spChg chg="mod">
          <ac:chgData name="Bez, Florian" userId="30d7df6a-5295-4d75-a650-5a1fab7b8b2e" providerId="ADAL" clId="{DEF8C959-161B-48E6-918F-19FB2A9D3909}" dt="2023-04-21T09:53:48.588" v="9999"/>
          <ac:spMkLst>
            <pc:docMk/>
            <pc:sldMk cId="1603008812" sldId="7333"/>
            <ac:spMk id="1358" creationId="{7D102D3A-CB46-1AA3-8616-C555A2FC6C34}"/>
          </ac:spMkLst>
        </pc:spChg>
        <pc:spChg chg="mod">
          <ac:chgData name="Bez, Florian" userId="30d7df6a-5295-4d75-a650-5a1fab7b8b2e" providerId="ADAL" clId="{DEF8C959-161B-48E6-918F-19FB2A9D3909}" dt="2023-04-21T09:53:48.588" v="9999"/>
          <ac:spMkLst>
            <pc:docMk/>
            <pc:sldMk cId="1603008812" sldId="7333"/>
            <ac:spMk id="1359" creationId="{E853DA07-6C59-8651-788D-42FD0422E7D7}"/>
          </ac:spMkLst>
        </pc:spChg>
        <pc:spChg chg="mod">
          <ac:chgData name="Bez, Florian" userId="30d7df6a-5295-4d75-a650-5a1fab7b8b2e" providerId="ADAL" clId="{DEF8C959-161B-48E6-918F-19FB2A9D3909}" dt="2023-04-21T09:53:48.588" v="9999"/>
          <ac:spMkLst>
            <pc:docMk/>
            <pc:sldMk cId="1603008812" sldId="7333"/>
            <ac:spMk id="1360" creationId="{B2E272E7-47AB-6A39-36B3-DB01C15CCCE8}"/>
          </ac:spMkLst>
        </pc:spChg>
        <pc:spChg chg="mod">
          <ac:chgData name="Bez, Florian" userId="30d7df6a-5295-4d75-a650-5a1fab7b8b2e" providerId="ADAL" clId="{DEF8C959-161B-48E6-918F-19FB2A9D3909}" dt="2023-04-21T09:53:48.588" v="9999"/>
          <ac:spMkLst>
            <pc:docMk/>
            <pc:sldMk cId="1603008812" sldId="7333"/>
            <ac:spMk id="1361" creationId="{5404DE25-F517-B96C-4E79-DBE42491F2DD}"/>
          </ac:spMkLst>
        </pc:spChg>
        <pc:spChg chg="mod">
          <ac:chgData name="Bez, Florian" userId="30d7df6a-5295-4d75-a650-5a1fab7b8b2e" providerId="ADAL" clId="{DEF8C959-161B-48E6-918F-19FB2A9D3909}" dt="2023-04-21T09:53:48.588" v="9999"/>
          <ac:spMkLst>
            <pc:docMk/>
            <pc:sldMk cId="1603008812" sldId="7333"/>
            <ac:spMk id="1362" creationId="{19CA5014-7191-D935-BE03-CBB32337A71F}"/>
          </ac:spMkLst>
        </pc:spChg>
        <pc:spChg chg="mod">
          <ac:chgData name="Bez, Florian" userId="30d7df6a-5295-4d75-a650-5a1fab7b8b2e" providerId="ADAL" clId="{DEF8C959-161B-48E6-918F-19FB2A9D3909}" dt="2023-04-21T09:53:48.588" v="9999"/>
          <ac:spMkLst>
            <pc:docMk/>
            <pc:sldMk cId="1603008812" sldId="7333"/>
            <ac:spMk id="1363" creationId="{1CDB7BA5-9290-BC40-3C12-844F91A1AC6F}"/>
          </ac:spMkLst>
        </pc:spChg>
        <pc:spChg chg="mod">
          <ac:chgData name="Bez, Florian" userId="30d7df6a-5295-4d75-a650-5a1fab7b8b2e" providerId="ADAL" clId="{DEF8C959-161B-48E6-918F-19FB2A9D3909}" dt="2023-04-21T09:53:48.588" v="9999"/>
          <ac:spMkLst>
            <pc:docMk/>
            <pc:sldMk cId="1603008812" sldId="7333"/>
            <ac:spMk id="1364" creationId="{485CF57A-8ADB-88C9-1271-242D676144DE}"/>
          </ac:spMkLst>
        </pc:spChg>
        <pc:spChg chg="mod">
          <ac:chgData name="Bez, Florian" userId="30d7df6a-5295-4d75-a650-5a1fab7b8b2e" providerId="ADAL" clId="{DEF8C959-161B-48E6-918F-19FB2A9D3909}" dt="2023-04-21T09:53:48.588" v="9999"/>
          <ac:spMkLst>
            <pc:docMk/>
            <pc:sldMk cId="1603008812" sldId="7333"/>
            <ac:spMk id="1365" creationId="{5F942B67-9A43-8730-E7B7-6F3B390E7C38}"/>
          </ac:spMkLst>
        </pc:spChg>
        <pc:spChg chg="mod">
          <ac:chgData name="Bez, Florian" userId="30d7df6a-5295-4d75-a650-5a1fab7b8b2e" providerId="ADAL" clId="{DEF8C959-161B-48E6-918F-19FB2A9D3909}" dt="2023-04-21T09:53:48.588" v="9999"/>
          <ac:spMkLst>
            <pc:docMk/>
            <pc:sldMk cId="1603008812" sldId="7333"/>
            <ac:spMk id="1366" creationId="{94097915-7277-5E9E-3579-8365247B2380}"/>
          </ac:spMkLst>
        </pc:spChg>
        <pc:spChg chg="mod">
          <ac:chgData name="Bez, Florian" userId="30d7df6a-5295-4d75-a650-5a1fab7b8b2e" providerId="ADAL" clId="{DEF8C959-161B-48E6-918F-19FB2A9D3909}" dt="2023-04-21T09:53:48.588" v="9999"/>
          <ac:spMkLst>
            <pc:docMk/>
            <pc:sldMk cId="1603008812" sldId="7333"/>
            <ac:spMk id="1367" creationId="{1A6C6A24-2144-56E9-7A25-EC081255F58A}"/>
          </ac:spMkLst>
        </pc:spChg>
        <pc:spChg chg="mod">
          <ac:chgData name="Bez, Florian" userId="30d7df6a-5295-4d75-a650-5a1fab7b8b2e" providerId="ADAL" clId="{DEF8C959-161B-48E6-918F-19FB2A9D3909}" dt="2023-04-21T09:53:48.588" v="9999"/>
          <ac:spMkLst>
            <pc:docMk/>
            <pc:sldMk cId="1603008812" sldId="7333"/>
            <ac:spMk id="1368" creationId="{A78A4CF0-3B9C-9A60-81FC-EC1A1E437E93}"/>
          </ac:spMkLst>
        </pc:spChg>
        <pc:spChg chg="mod">
          <ac:chgData name="Bez, Florian" userId="30d7df6a-5295-4d75-a650-5a1fab7b8b2e" providerId="ADAL" clId="{DEF8C959-161B-48E6-918F-19FB2A9D3909}" dt="2023-04-21T09:53:48.588" v="9999"/>
          <ac:spMkLst>
            <pc:docMk/>
            <pc:sldMk cId="1603008812" sldId="7333"/>
            <ac:spMk id="1369" creationId="{B52CD865-6481-1755-0E5B-14BE046EF438}"/>
          </ac:spMkLst>
        </pc:spChg>
        <pc:spChg chg="mod">
          <ac:chgData name="Bez, Florian" userId="30d7df6a-5295-4d75-a650-5a1fab7b8b2e" providerId="ADAL" clId="{DEF8C959-161B-48E6-918F-19FB2A9D3909}" dt="2023-04-21T09:53:48.588" v="9999"/>
          <ac:spMkLst>
            <pc:docMk/>
            <pc:sldMk cId="1603008812" sldId="7333"/>
            <ac:spMk id="1370" creationId="{A7BEE255-5D63-7F1F-5D51-4D56451A53A5}"/>
          </ac:spMkLst>
        </pc:spChg>
        <pc:spChg chg="mod">
          <ac:chgData name="Bez, Florian" userId="30d7df6a-5295-4d75-a650-5a1fab7b8b2e" providerId="ADAL" clId="{DEF8C959-161B-48E6-918F-19FB2A9D3909}" dt="2023-04-21T09:53:48.588" v="9999"/>
          <ac:spMkLst>
            <pc:docMk/>
            <pc:sldMk cId="1603008812" sldId="7333"/>
            <ac:spMk id="1371" creationId="{74FD2566-A09F-6148-0F84-FA918EDEEA11}"/>
          </ac:spMkLst>
        </pc:spChg>
        <pc:spChg chg="mod">
          <ac:chgData name="Bez, Florian" userId="30d7df6a-5295-4d75-a650-5a1fab7b8b2e" providerId="ADAL" clId="{DEF8C959-161B-48E6-918F-19FB2A9D3909}" dt="2023-04-21T09:53:48.588" v="9999"/>
          <ac:spMkLst>
            <pc:docMk/>
            <pc:sldMk cId="1603008812" sldId="7333"/>
            <ac:spMk id="1372" creationId="{1A231886-D008-8261-2E2E-6800A7B5071E}"/>
          </ac:spMkLst>
        </pc:spChg>
        <pc:spChg chg="mod">
          <ac:chgData name="Bez, Florian" userId="30d7df6a-5295-4d75-a650-5a1fab7b8b2e" providerId="ADAL" clId="{DEF8C959-161B-48E6-918F-19FB2A9D3909}" dt="2023-04-21T09:53:48.588" v="9999"/>
          <ac:spMkLst>
            <pc:docMk/>
            <pc:sldMk cId="1603008812" sldId="7333"/>
            <ac:spMk id="1373" creationId="{6048DACA-6544-6866-D80C-AF618D94D07B}"/>
          </ac:spMkLst>
        </pc:spChg>
        <pc:spChg chg="mod">
          <ac:chgData name="Bez, Florian" userId="30d7df6a-5295-4d75-a650-5a1fab7b8b2e" providerId="ADAL" clId="{DEF8C959-161B-48E6-918F-19FB2A9D3909}" dt="2023-04-21T09:53:48.588" v="9999"/>
          <ac:spMkLst>
            <pc:docMk/>
            <pc:sldMk cId="1603008812" sldId="7333"/>
            <ac:spMk id="1374" creationId="{45DA3C22-CE83-3E3C-C652-43C2B25D547C}"/>
          </ac:spMkLst>
        </pc:spChg>
        <pc:spChg chg="mod">
          <ac:chgData name="Bez, Florian" userId="30d7df6a-5295-4d75-a650-5a1fab7b8b2e" providerId="ADAL" clId="{DEF8C959-161B-48E6-918F-19FB2A9D3909}" dt="2023-04-21T09:53:48.588" v="9999"/>
          <ac:spMkLst>
            <pc:docMk/>
            <pc:sldMk cId="1603008812" sldId="7333"/>
            <ac:spMk id="1375" creationId="{DD3B8C2E-4F6E-2671-8900-CA0025E455A7}"/>
          </ac:spMkLst>
        </pc:spChg>
        <pc:spChg chg="mod">
          <ac:chgData name="Bez, Florian" userId="30d7df6a-5295-4d75-a650-5a1fab7b8b2e" providerId="ADAL" clId="{DEF8C959-161B-48E6-918F-19FB2A9D3909}" dt="2023-04-21T09:53:48.588" v="9999"/>
          <ac:spMkLst>
            <pc:docMk/>
            <pc:sldMk cId="1603008812" sldId="7333"/>
            <ac:spMk id="1376" creationId="{A0DE7321-A6F3-21D8-9B00-D2B2B4FD1562}"/>
          </ac:spMkLst>
        </pc:spChg>
        <pc:spChg chg="mod">
          <ac:chgData name="Bez, Florian" userId="30d7df6a-5295-4d75-a650-5a1fab7b8b2e" providerId="ADAL" clId="{DEF8C959-161B-48E6-918F-19FB2A9D3909}" dt="2023-04-21T09:53:48.588" v="9999"/>
          <ac:spMkLst>
            <pc:docMk/>
            <pc:sldMk cId="1603008812" sldId="7333"/>
            <ac:spMk id="1377" creationId="{66A5B048-3278-F3FC-3E08-B7FCF408482D}"/>
          </ac:spMkLst>
        </pc:spChg>
        <pc:spChg chg="mod">
          <ac:chgData name="Bez, Florian" userId="30d7df6a-5295-4d75-a650-5a1fab7b8b2e" providerId="ADAL" clId="{DEF8C959-161B-48E6-918F-19FB2A9D3909}" dt="2023-04-21T09:53:48.588" v="9999"/>
          <ac:spMkLst>
            <pc:docMk/>
            <pc:sldMk cId="1603008812" sldId="7333"/>
            <ac:spMk id="1378" creationId="{740388EC-EC1B-D2D4-3486-C3FE57CB5704}"/>
          </ac:spMkLst>
        </pc:spChg>
        <pc:spChg chg="mod">
          <ac:chgData name="Bez, Florian" userId="30d7df6a-5295-4d75-a650-5a1fab7b8b2e" providerId="ADAL" clId="{DEF8C959-161B-48E6-918F-19FB2A9D3909}" dt="2023-04-21T09:53:48.588" v="9999"/>
          <ac:spMkLst>
            <pc:docMk/>
            <pc:sldMk cId="1603008812" sldId="7333"/>
            <ac:spMk id="1379" creationId="{AFCB8D21-D167-E347-A819-4FBADB2F5D41}"/>
          </ac:spMkLst>
        </pc:spChg>
        <pc:spChg chg="mod">
          <ac:chgData name="Bez, Florian" userId="30d7df6a-5295-4d75-a650-5a1fab7b8b2e" providerId="ADAL" clId="{DEF8C959-161B-48E6-918F-19FB2A9D3909}" dt="2023-04-21T09:53:48.588" v="9999"/>
          <ac:spMkLst>
            <pc:docMk/>
            <pc:sldMk cId="1603008812" sldId="7333"/>
            <ac:spMk id="1380" creationId="{CA5D6EB2-6297-A301-D414-55E88D639155}"/>
          </ac:spMkLst>
        </pc:spChg>
        <pc:spChg chg="mod">
          <ac:chgData name="Bez, Florian" userId="30d7df6a-5295-4d75-a650-5a1fab7b8b2e" providerId="ADAL" clId="{DEF8C959-161B-48E6-918F-19FB2A9D3909}" dt="2023-04-21T09:53:48.588" v="9999"/>
          <ac:spMkLst>
            <pc:docMk/>
            <pc:sldMk cId="1603008812" sldId="7333"/>
            <ac:spMk id="1381" creationId="{21D618E0-B718-8F6F-4F85-102DCB33849A}"/>
          </ac:spMkLst>
        </pc:spChg>
        <pc:spChg chg="mod">
          <ac:chgData name="Bez, Florian" userId="30d7df6a-5295-4d75-a650-5a1fab7b8b2e" providerId="ADAL" clId="{DEF8C959-161B-48E6-918F-19FB2A9D3909}" dt="2023-04-21T09:53:48.588" v="9999"/>
          <ac:spMkLst>
            <pc:docMk/>
            <pc:sldMk cId="1603008812" sldId="7333"/>
            <ac:spMk id="1382" creationId="{BF4138F9-253D-1256-004D-E6236896CC09}"/>
          </ac:spMkLst>
        </pc:spChg>
        <pc:spChg chg="mod">
          <ac:chgData name="Bez, Florian" userId="30d7df6a-5295-4d75-a650-5a1fab7b8b2e" providerId="ADAL" clId="{DEF8C959-161B-48E6-918F-19FB2A9D3909}" dt="2023-04-21T09:53:48.588" v="9999"/>
          <ac:spMkLst>
            <pc:docMk/>
            <pc:sldMk cId="1603008812" sldId="7333"/>
            <ac:spMk id="1383" creationId="{BFA069D2-5EAA-D815-552D-37C1619DEF73}"/>
          </ac:spMkLst>
        </pc:spChg>
        <pc:spChg chg="mod">
          <ac:chgData name="Bez, Florian" userId="30d7df6a-5295-4d75-a650-5a1fab7b8b2e" providerId="ADAL" clId="{DEF8C959-161B-48E6-918F-19FB2A9D3909}" dt="2023-04-21T09:53:48.588" v="9999"/>
          <ac:spMkLst>
            <pc:docMk/>
            <pc:sldMk cId="1603008812" sldId="7333"/>
            <ac:spMk id="1384" creationId="{E1D8C353-579A-924B-6172-B58609FCDC8A}"/>
          </ac:spMkLst>
        </pc:spChg>
        <pc:spChg chg="mod">
          <ac:chgData name="Bez, Florian" userId="30d7df6a-5295-4d75-a650-5a1fab7b8b2e" providerId="ADAL" clId="{DEF8C959-161B-48E6-918F-19FB2A9D3909}" dt="2023-04-21T09:53:48.588" v="9999"/>
          <ac:spMkLst>
            <pc:docMk/>
            <pc:sldMk cId="1603008812" sldId="7333"/>
            <ac:spMk id="1385" creationId="{389F5EF8-E3CF-E757-33C2-90FCC3D8CDAB}"/>
          </ac:spMkLst>
        </pc:spChg>
        <pc:spChg chg="mod">
          <ac:chgData name="Bez, Florian" userId="30d7df6a-5295-4d75-a650-5a1fab7b8b2e" providerId="ADAL" clId="{DEF8C959-161B-48E6-918F-19FB2A9D3909}" dt="2023-04-21T09:53:48.588" v="9999"/>
          <ac:spMkLst>
            <pc:docMk/>
            <pc:sldMk cId="1603008812" sldId="7333"/>
            <ac:spMk id="1386" creationId="{4EC7CB47-1042-FD51-5EFB-F06739197A4D}"/>
          </ac:spMkLst>
        </pc:spChg>
        <pc:spChg chg="mod">
          <ac:chgData name="Bez, Florian" userId="30d7df6a-5295-4d75-a650-5a1fab7b8b2e" providerId="ADAL" clId="{DEF8C959-161B-48E6-918F-19FB2A9D3909}" dt="2023-04-21T09:53:48.588" v="9999"/>
          <ac:spMkLst>
            <pc:docMk/>
            <pc:sldMk cId="1603008812" sldId="7333"/>
            <ac:spMk id="1387" creationId="{1A0A0401-663C-978E-3596-B3FE264731B1}"/>
          </ac:spMkLst>
        </pc:spChg>
        <pc:spChg chg="mod">
          <ac:chgData name="Bez, Florian" userId="30d7df6a-5295-4d75-a650-5a1fab7b8b2e" providerId="ADAL" clId="{DEF8C959-161B-48E6-918F-19FB2A9D3909}" dt="2023-04-21T09:53:48.588" v="9999"/>
          <ac:spMkLst>
            <pc:docMk/>
            <pc:sldMk cId="1603008812" sldId="7333"/>
            <ac:spMk id="1388" creationId="{4C08335E-23DF-D863-99CE-C0C7B32BC21D}"/>
          </ac:spMkLst>
        </pc:spChg>
        <pc:spChg chg="mod">
          <ac:chgData name="Bez, Florian" userId="30d7df6a-5295-4d75-a650-5a1fab7b8b2e" providerId="ADAL" clId="{DEF8C959-161B-48E6-918F-19FB2A9D3909}" dt="2023-04-21T09:53:48.588" v="9999"/>
          <ac:spMkLst>
            <pc:docMk/>
            <pc:sldMk cId="1603008812" sldId="7333"/>
            <ac:spMk id="1389" creationId="{FCD86C1E-6EDC-D842-C444-633222C3FE57}"/>
          </ac:spMkLst>
        </pc:spChg>
        <pc:spChg chg="mod">
          <ac:chgData name="Bez, Florian" userId="30d7df6a-5295-4d75-a650-5a1fab7b8b2e" providerId="ADAL" clId="{DEF8C959-161B-48E6-918F-19FB2A9D3909}" dt="2023-04-21T09:53:48.588" v="9999"/>
          <ac:spMkLst>
            <pc:docMk/>
            <pc:sldMk cId="1603008812" sldId="7333"/>
            <ac:spMk id="1390" creationId="{723A780F-1AE8-E1E2-EA61-A2A520D07610}"/>
          </ac:spMkLst>
        </pc:spChg>
        <pc:spChg chg="mod">
          <ac:chgData name="Bez, Florian" userId="30d7df6a-5295-4d75-a650-5a1fab7b8b2e" providerId="ADAL" clId="{DEF8C959-161B-48E6-918F-19FB2A9D3909}" dt="2023-04-21T09:53:48.588" v="9999"/>
          <ac:spMkLst>
            <pc:docMk/>
            <pc:sldMk cId="1603008812" sldId="7333"/>
            <ac:spMk id="1391" creationId="{4039EE23-922F-B479-7E34-ECCE68C1D629}"/>
          </ac:spMkLst>
        </pc:spChg>
        <pc:spChg chg="mod">
          <ac:chgData name="Bez, Florian" userId="30d7df6a-5295-4d75-a650-5a1fab7b8b2e" providerId="ADAL" clId="{DEF8C959-161B-48E6-918F-19FB2A9D3909}" dt="2023-04-21T09:53:48.588" v="9999"/>
          <ac:spMkLst>
            <pc:docMk/>
            <pc:sldMk cId="1603008812" sldId="7333"/>
            <ac:spMk id="1392" creationId="{A4170BD9-37C6-E60B-9489-2A5957119EBA}"/>
          </ac:spMkLst>
        </pc:spChg>
        <pc:spChg chg="mod">
          <ac:chgData name="Bez, Florian" userId="30d7df6a-5295-4d75-a650-5a1fab7b8b2e" providerId="ADAL" clId="{DEF8C959-161B-48E6-918F-19FB2A9D3909}" dt="2023-04-21T09:53:48.588" v="9999"/>
          <ac:spMkLst>
            <pc:docMk/>
            <pc:sldMk cId="1603008812" sldId="7333"/>
            <ac:spMk id="1393" creationId="{8096B388-2CDE-16B6-F56C-71FFC0A25F54}"/>
          </ac:spMkLst>
        </pc:spChg>
        <pc:spChg chg="mod">
          <ac:chgData name="Bez, Florian" userId="30d7df6a-5295-4d75-a650-5a1fab7b8b2e" providerId="ADAL" clId="{DEF8C959-161B-48E6-918F-19FB2A9D3909}" dt="2023-04-21T09:53:48.588" v="9999"/>
          <ac:spMkLst>
            <pc:docMk/>
            <pc:sldMk cId="1603008812" sldId="7333"/>
            <ac:spMk id="1394" creationId="{6843A080-B031-64EE-2062-3F436695D5B0}"/>
          </ac:spMkLst>
        </pc:spChg>
        <pc:spChg chg="mod">
          <ac:chgData name="Bez, Florian" userId="30d7df6a-5295-4d75-a650-5a1fab7b8b2e" providerId="ADAL" clId="{DEF8C959-161B-48E6-918F-19FB2A9D3909}" dt="2023-04-21T09:53:48.588" v="9999"/>
          <ac:spMkLst>
            <pc:docMk/>
            <pc:sldMk cId="1603008812" sldId="7333"/>
            <ac:spMk id="1395" creationId="{82D1C167-981B-393F-F2A6-6E6E1EFE67BD}"/>
          </ac:spMkLst>
        </pc:spChg>
        <pc:spChg chg="mod">
          <ac:chgData name="Bez, Florian" userId="30d7df6a-5295-4d75-a650-5a1fab7b8b2e" providerId="ADAL" clId="{DEF8C959-161B-48E6-918F-19FB2A9D3909}" dt="2023-04-21T09:53:48.588" v="9999"/>
          <ac:spMkLst>
            <pc:docMk/>
            <pc:sldMk cId="1603008812" sldId="7333"/>
            <ac:spMk id="1396" creationId="{BC72BED0-6E40-CE53-F8DE-C9568536FA8A}"/>
          </ac:spMkLst>
        </pc:spChg>
        <pc:spChg chg="mod">
          <ac:chgData name="Bez, Florian" userId="30d7df6a-5295-4d75-a650-5a1fab7b8b2e" providerId="ADAL" clId="{DEF8C959-161B-48E6-918F-19FB2A9D3909}" dt="2023-04-21T09:53:48.588" v="9999"/>
          <ac:spMkLst>
            <pc:docMk/>
            <pc:sldMk cId="1603008812" sldId="7333"/>
            <ac:spMk id="1397" creationId="{D13E3371-2E0F-02FA-05FA-642454B725C0}"/>
          </ac:spMkLst>
        </pc:spChg>
        <pc:spChg chg="mod">
          <ac:chgData name="Bez, Florian" userId="30d7df6a-5295-4d75-a650-5a1fab7b8b2e" providerId="ADAL" clId="{DEF8C959-161B-48E6-918F-19FB2A9D3909}" dt="2023-04-21T09:53:48.588" v="9999"/>
          <ac:spMkLst>
            <pc:docMk/>
            <pc:sldMk cId="1603008812" sldId="7333"/>
            <ac:spMk id="1398" creationId="{451588C0-4D85-8D29-BA2C-CC58E0155151}"/>
          </ac:spMkLst>
        </pc:spChg>
        <pc:spChg chg="mod">
          <ac:chgData name="Bez, Florian" userId="30d7df6a-5295-4d75-a650-5a1fab7b8b2e" providerId="ADAL" clId="{DEF8C959-161B-48E6-918F-19FB2A9D3909}" dt="2023-04-21T09:53:48.588" v="9999"/>
          <ac:spMkLst>
            <pc:docMk/>
            <pc:sldMk cId="1603008812" sldId="7333"/>
            <ac:spMk id="1399" creationId="{5810593D-1791-7E2B-1D2D-934FDC965D94}"/>
          </ac:spMkLst>
        </pc:spChg>
        <pc:spChg chg="mod">
          <ac:chgData name="Bez, Florian" userId="30d7df6a-5295-4d75-a650-5a1fab7b8b2e" providerId="ADAL" clId="{DEF8C959-161B-48E6-918F-19FB2A9D3909}" dt="2023-04-21T09:53:48.588" v="9999"/>
          <ac:spMkLst>
            <pc:docMk/>
            <pc:sldMk cId="1603008812" sldId="7333"/>
            <ac:spMk id="1400" creationId="{4BABCDFA-165A-A87B-0454-F081E17E4A23}"/>
          </ac:spMkLst>
        </pc:spChg>
        <pc:spChg chg="mod">
          <ac:chgData name="Bez, Florian" userId="30d7df6a-5295-4d75-a650-5a1fab7b8b2e" providerId="ADAL" clId="{DEF8C959-161B-48E6-918F-19FB2A9D3909}" dt="2023-04-21T09:53:48.588" v="9999"/>
          <ac:spMkLst>
            <pc:docMk/>
            <pc:sldMk cId="1603008812" sldId="7333"/>
            <ac:spMk id="1401" creationId="{93FA37AF-0D91-4AD0-B3CC-A6807B7F9B0F}"/>
          </ac:spMkLst>
        </pc:spChg>
        <pc:spChg chg="mod">
          <ac:chgData name="Bez, Florian" userId="30d7df6a-5295-4d75-a650-5a1fab7b8b2e" providerId="ADAL" clId="{DEF8C959-161B-48E6-918F-19FB2A9D3909}" dt="2023-04-21T09:53:48.588" v="9999"/>
          <ac:spMkLst>
            <pc:docMk/>
            <pc:sldMk cId="1603008812" sldId="7333"/>
            <ac:spMk id="1402" creationId="{F1E8FC71-4ACD-B8BD-1C99-E908B285F00F}"/>
          </ac:spMkLst>
        </pc:spChg>
        <pc:spChg chg="mod">
          <ac:chgData name="Bez, Florian" userId="30d7df6a-5295-4d75-a650-5a1fab7b8b2e" providerId="ADAL" clId="{DEF8C959-161B-48E6-918F-19FB2A9D3909}" dt="2023-04-21T09:53:48.588" v="9999"/>
          <ac:spMkLst>
            <pc:docMk/>
            <pc:sldMk cId="1603008812" sldId="7333"/>
            <ac:spMk id="1403" creationId="{7E2A4F5B-5B36-20DC-EDE5-1F22482DA48F}"/>
          </ac:spMkLst>
        </pc:spChg>
        <pc:spChg chg="mod">
          <ac:chgData name="Bez, Florian" userId="30d7df6a-5295-4d75-a650-5a1fab7b8b2e" providerId="ADAL" clId="{DEF8C959-161B-48E6-918F-19FB2A9D3909}" dt="2023-04-21T09:53:48.588" v="9999"/>
          <ac:spMkLst>
            <pc:docMk/>
            <pc:sldMk cId="1603008812" sldId="7333"/>
            <ac:spMk id="1404" creationId="{F9C2A870-5C6A-DDEF-16E0-FF18A8B3B287}"/>
          </ac:spMkLst>
        </pc:spChg>
        <pc:spChg chg="mod">
          <ac:chgData name="Bez, Florian" userId="30d7df6a-5295-4d75-a650-5a1fab7b8b2e" providerId="ADAL" clId="{DEF8C959-161B-48E6-918F-19FB2A9D3909}" dt="2023-04-21T09:53:48.588" v="9999"/>
          <ac:spMkLst>
            <pc:docMk/>
            <pc:sldMk cId="1603008812" sldId="7333"/>
            <ac:spMk id="1405" creationId="{279B7597-6B03-A798-64CD-532AB43D3B90}"/>
          </ac:spMkLst>
        </pc:spChg>
        <pc:spChg chg="mod">
          <ac:chgData name="Bez, Florian" userId="30d7df6a-5295-4d75-a650-5a1fab7b8b2e" providerId="ADAL" clId="{DEF8C959-161B-48E6-918F-19FB2A9D3909}" dt="2023-04-21T09:53:48.588" v="9999"/>
          <ac:spMkLst>
            <pc:docMk/>
            <pc:sldMk cId="1603008812" sldId="7333"/>
            <ac:spMk id="1406" creationId="{66AEFF3D-B301-E662-45D3-31ACCAE94F62}"/>
          </ac:spMkLst>
        </pc:spChg>
        <pc:spChg chg="mod">
          <ac:chgData name="Bez, Florian" userId="30d7df6a-5295-4d75-a650-5a1fab7b8b2e" providerId="ADAL" clId="{DEF8C959-161B-48E6-918F-19FB2A9D3909}" dt="2023-04-21T09:53:48.588" v="9999"/>
          <ac:spMkLst>
            <pc:docMk/>
            <pc:sldMk cId="1603008812" sldId="7333"/>
            <ac:spMk id="1407" creationId="{D56AD567-7425-0DF3-76C3-80DA3F70F0A6}"/>
          </ac:spMkLst>
        </pc:spChg>
        <pc:spChg chg="mod">
          <ac:chgData name="Bez, Florian" userId="30d7df6a-5295-4d75-a650-5a1fab7b8b2e" providerId="ADAL" clId="{DEF8C959-161B-48E6-918F-19FB2A9D3909}" dt="2023-04-21T09:53:48.588" v="9999"/>
          <ac:spMkLst>
            <pc:docMk/>
            <pc:sldMk cId="1603008812" sldId="7333"/>
            <ac:spMk id="1408" creationId="{F5026878-3C7F-0066-3D43-720773582FF1}"/>
          </ac:spMkLst>
        </pc:spChg>
        <pc:spChg chg="mod">
          <ac:chgData name="Bez, Florian" userId="30d7df6a-5295-4d75-a650-5a1fab7b8b2e" providerId="ADAL" clId="{DEF8C959-161B-48E6-918F-19FB2A9D3909}" dt="2023-04-21T09:53:48.588" v="9999"/>
          <ac:spMkLst>
            <pc:docMk/>
            <pc:sldMk cId="1603008812" sldId="7333"/>
            <ac:spMk id="1409" creationId="{45153981-DD60-40F8-35AE-2ABD0A628879}"/>
          </ac:spMkLst>
        </pc:spChg>
        <pc:spChg chg="mod">
          <ac:chgData name="Bez, Florian" userId="30d7df6a-5295-4d75-a650-5a1fab7b8b2e" providerId="ADAL" clId="{DEF8C959-161B-48E6-918F-19FB2A9D3909}" dt="2023-04-21T09:53:48.588" v="9999"/>
          <ac:spMkLst>
            <pc:docMk/>
            <pc:sldMk cId="1603008812" sldId="7333"/>
            <ac:spMk id="1410" creationId="{40DE0F34-88C3-FFF6-9E13-5EE5DB58B38C}"/>
          </ac:spMkLst>
        </pc:spChg>
        <pc:spChg chg="mod">
          <ac:chgData name="Bez, Florian" userId="30d7df6a-5295-4d75-a650-5a1fab7b8b2e" providerId="ADAL" clId="{DEF8C959-161B-48E6-918F-19FB2A9D3909}" dt="2023-04-21T09:53:48.588" v="9999"/>
          <ac:spMkLst>
            <pc:docMk/>
            <pc:sldMk cId="1603008812" sldId="7333"/>
            <ac:spMk id="1411" creationId="{647FB1DE-7BBD-9A06-14C4-65116D7B85C9}"/>
          </ac:spMkLst>
        </pc:spChg>
        <pc:spChg chg="mod">
          <ac:chgData name="Bez, Florian" userId="30d7df6a-5295-4d75-a650-5a1fab7b8b2e" providerId="ADAL" clId="{DEF8C959-161B-48E6-918F-19FB2A9D3909}" dt="2023-04-21T09:53:48.588" v="9999"/>
          <ac:spMkLst>
            <pc:docMk/>
            <pc:sldMk cId="1603008812" sldId="7333"/>
            <ac:spMk id="1412" creationId="{8B4E49EB-BDFD-A983-A586-F0CF1880FC56}"/>
          </ac:spMkLst>
        </pc:spChg>
        <pc:spChg chg="mod">
          <ac:chgData name="Bez, Florian" userId="30d7df6a-5295-4d75-a650-5a1fab7b8b2e" providerId="ADAL" clId="{DEF8C959-161B-48E6-918F-19FB2A9D3909}" dt="2023-04-21T09:53:48.588" v="9999"/>
          <ac:spMkLst>
            <pc:docMk/>
            <pc:sldMk cId="1603008812" sldId="7333"/>
            <ac:spMk id="1413" creationId="{A004D31E-598C-96AC-8847-0AFCE797039A}"/>
          </ac:spMkLst>
        </pc:spChg>
        <pc:spChg chg="mod">
          <ac:chgData name="Bez, Florian" userId="30d7df6a-5295-4d75-a650-5a1fab7b8b2e" providerId="ADAL" clId="{DEF8C959-161B-48E6-918F-19FB2A9D3909}" dt="2023-04-21T09:53:48.588" v="9999"/>
          <ac:spMkLst>
            <pc:docMk/>
            <pc:sldMk cId="1603008812" sldId="7333"/>
            <ac:spMk id="1414" creationId="{29BCA16D-7DA8-AA37-A9CC-DEF9D2BCEE62}"/>
          </ac:spMkLst>
        </pc:spChg>
        <pc:spChg chg="mod">
          <ac:chgData name="Bez, Florian" userId="30d7df6a-5295-4d75-a650-5a1fab7b8b2e" providerId="ADAL" clId="{DEF8C959-161B-48E6-918F-19FB2A9D3909}" dt="2023-04-21T09:53:48.588" v="9999"/>
          <ac:spMkLst>
            <pc:docMk/>
            <pc:sldMk cId="1603008812" sldId="7333"/>
            <ac:spMk id="1415" creationId="{BCC689E4-BE75-3C1E-77E6-F20ACE56413E}"/>
          </ac:spMkLst>
        </pc:spChg>
        <pc:spChg chg="mod">
          <ac:chgData name="Bez, Florian" userId="30d7df6a-5295-4d75-a650-5a1fab7b8b2e" providerId="ADAL" clId="{DEF8C959-161B-48E6-918F-19FB2A9D3909}" dt="2023-04-21T09:53:48.588" v="9999"/>
          <ac:spMkLst>
            <pc:docMk/>
            <pc:sldMk cId="1603008812" sldId="7333"/>
            <ac:spMk id="1416" creationId="{6675540D-5F97-2901-0676-0269EC999266}"/>
          </ac:spMkLst>
        </pc:spChg>
        <pc:spChg chg="mod">
          <ac:chgData name="Bez, Florian" userId="30d7df6a-5295-4d75-a650-5a1fab7b8b2e" providerId="ADAL" clId="{DEF8C959-161B-48E6-918F-19FB2A9D3909}" dt="2023-04-21T09:53:48.588" v="9999"/>
          <ac:spMkLst>
            <pc:docMk/>
            <pc:sldMk cId="1603008812" sldId="7333"/>
            <ac:spMk id="1417" creationId="{2471C1C3-0366-DEBE-586F-3843B30199BE}"/>
          </ac:spMkLst>
        </pc:spChg>
        <pc:spChg chg="mod">
          <ac:chgData name="Bez, Florian" userId="30d7df6a-5295-4d75-a650-5a1fab7b8b2e" providerId="ADAL" clId="{DEF8C959-161B-48E6-918F-19FB2A9D3909}" dt="2023-04-21T09:53:48.588" v="9999"/>
          <ac:spMkLst>
            <pc:docMk/>
            <pc:sldMk cId="1603008812" sldId="7333"/>
            <ac:spMk id="1418" creationId="{4136789C-A3A7-E9E1-D809-850680F6D738}"/>
          </ac:spMkLst>
        </pc:spChg>
        <pc:spChg chg="mod">
          <ac:chgData name="Bez, Florian" userId="30d7df6a-5295-4d75-a650-5a1fab7b8b2e" providerId="ADAL" clId="{DEF8C959-161B-48E6-918F-19FB2A9D3909}" dt="2023-04-21T09:53:48.588" v="9999"/>
          <ac:spMkLst>
            <pc:docMk/>
            <pc:sldMk cId="1603008812" sldId="7333"/>
            <ac:spMk id="1419" creationId="{349CE8AB-DE88-4433-3CE9-1C951A1E9FAA}"/>
          </ac:spMkLst>
        </pc:spChg>
        <pc:spChg chg="mod">
          <ac:chgData name="Bez, Florian" userId="30d7df6a-5295-4d75-a650-5a1fab7b8b2e" providerId="ADAL" clId="{DEF8C959-161B-48E6-918F-19FB2A9D3909}" dt="2023-04-21T09:53:48.588" v="9999"/>
          <ac:spMkLst>
            <pc:docMk/>
            <pc:sldMk cId="1603008812" sldId="7333"/>
            <ac:spMk id="1420" creationId="{69AC788A-7B12-5C45-0E6C-1714D5DA6429}"/>
          </ac:spMkLst>
        </pc:spChg>
        <pc:spChg chg="mod">
          <ac:chgData name="Bez, Florian" userId="30d7df6a-5295-4d75-a650-5a1fab7b8b2e" providerId="ADAL" clId="{DEF8C959-161B-48E6-918F-19FB2A9D3909}" dt="2023-04-21T09:53:48.588" v="9999"/>
          <ac:spMkLst>
            <pc:docMk/>
            <pc:sldMk cId="1603008812" sldId="7333"/>
            <ac:spMk id="1421" creationId="{B02F6C50-4FB3-BFBA-4A84-D4E1E620F4CE}"/>
          </ac:spMkLst>
        </pc:spChg>
        <pc:spChg chg="mod">
          <ac:chgData name="Bez, Florian" userId="30d7df6a-5295-4d75-a650-5a1fab7b8b2e" providerId="ADAL" clId="{DEF8C959-161B-48E6-918F-19FB2A9D3909}" dt="2023-04-21T09:53:48.588" v="9999"/>
          <ac:spMkLst>
            <pc:docMk/>
            <pc:sldMk cId="1603008812" sldId="7333"/>
            <ac:spMk id="1422" creationId="{867B7EC1-9DE9-41B4-AC1D-34AF9AAF06EE}"/>
          </ac:spMkLst>
        </pc:spChg>
        <pc:spChg chg="mod">
          <ac:chgData name="Bez, Florian" userId="30d7df6a-5295-4d75-a650-5a1fab7b8b2e" providerId="ADAL" clId="{DEF8C959-161B-48E6-918F-19FB2A9D3909}" dt="2023-04-21T09:53:48.588" v="9999"/>
          <ac:spMkLst>
            <pc:docMk/>
            <pc:sldMk cId="1603008812" sldId="7333"/>
            <ac:spMk id="1423" creationId="{C648D241-218F-2E79-9C1C-955F6F8DEDB7}"/>
          </ac:spMkLst>
        </pc:spChg>
        <pc:spChg chg="mod">
          <ac:chgData name="Bez, Florian" userId="30d7df6a-5295-4d75-a650-5a1fab7b8b2e" providerId="ADAL" clId="{DEF8C959-161B-48E6-918F-19FB2A9D3909}" dt="2023-04-21T09:53:48.588" v="9999"/>
          <ac:spMkLst>
            <pc:docMk/>
            <pc:sldMk cId="1603008812" sldId="7333"/>
            <ac:spMk id="1424" creationId="{4BFBC00D-7EDD-CE31-AE0D-B29CF22598CA}"/>
          </ac:spMkLst>
        </pc:spChg>
        <pc:spChg chg="mod">
          <ac:chgData name="Bez, Florian" userId="30d7df6a-5295-4d75-a650-5a1fab7b8b2e" providerId="ADAL" clId="{DEF8C959-161B-48E6-918F-19FB2A9D3909}" dt="2023-04-21T09:53:48.588" v="9999"/>
          <ac:spMkLst>
            <pc:docMk/>
            <pc:sldMk cId="1603008812" sldId="7333"/>
            <ac:spMk id="1425" creationId="{43C2E677-47CB-3FD9-BD03-725E887EAA3C}"/>
          </ac:spMkLst>
        </pc:spChg>
        <pc:spChg chg="mod">
          <ac:chgData name="Bez, Florian" userId="30d7df6a-5295-4d75-a650-5a1fab7b8b2e" providerId="ADAL" clId="{DEF8C959-161B-48E6-918F-19FB2A9D3909}" dt="2023-04-21T09:53:48.588" v="9999"/>
          <ac:spMkLst>
            <pc:docMk/>
            <pc:sldMk cId="1603008812" sldId="7333"/>
            <ac:spMk id="1426" creationId="{2C112CC4-49B2-AE3C-6BBE-C8A8CD06291E}"/>
          </ac:spMkLst>
        </pc:spChg>
        <pc:spChg chg="mod">
          <ac:chgData name="Bez, Florian" userId="30d7df6a-5295-4d75-a650-5a1fab7b8b2e" providerId="ADAL" clId="{DEF8C959-161B-48E6-918F-19FB2A9D3909}" dt="2023-04-21T09:53:48.588" v="9999"/>
          <ac:spMkLst>
            <pc:docMk/>
            <pc:sldMk cId="1603008812" sldId="7333"/>
            <ac:spMk id="1427" creationId="{2C0671B3-EA01-F2E0-586E-01EAC6BB6AF9}"/>
          </ac:spMkLst>
        </pc:spChg>
        <pc:spChg chg="mod">
          <ac:chgData name="Bez, Florian" userId="30d7df6a-5295-4d75-a650-5a1fab7b8b2e" providerId="ADAL" clId="{DEF8C959-161B-48E6-918F-19FB2A9D3909}" dt="2023-04-21T09:53:48.588" v="9999"/>
          <ac:spMkLst>
            <pc:docMk/>
            <pc:sldMk cId="1603008812" sldId="7333"/>
            <ac:spMk id="1428" creationId="{038A6310-C44A-14A3-5C61-A53B05DA641E}"/>
          </ac:spMkLst>
        </pc:spChg>
        <pc:spChg chg="mod">
          <ac:chgData name="Bez, Florian" userId="30d7df6a-5295-4d75-a650-5a1fab7b8b2e" providerId="ADAL" clId="{DEF8C959-161B-48E6-918F-19FB2A9D3909}" dt="2023-04-21T09:53:48.588" v="9999"/>
          <ac:spMkLst>
            <pc:docMk/>
            <pc:sldMk cId="1603008812" sldId="7333"/>
            <ac:spMk id="1429" creationId="{14EBF422-F314-E040-DEAB-57D3043DC43D}"/>
          </ac:spMkLst>
        </pc:spChg>
        <pc:spChg chg="mod">
          <ac:chgData name="Bez, Florian" userId="30d7df6a-5295-4d75-a650-5a1fab7b8b2e" providerId="ADAL" clId="{DEF8C959-161B-48E6-918F-19FB2A9D3909}" dt="2023-04-21T09:53:48.588" v="9999"/>
          <ac:spMkLst>
            <pc:docMk/>
            <pc:sldMk cId="1603008812" sldId="7333"/>
            <ac:spMk id="1430" creationId="{70A930B8-5B13-75F6-B638-C7CF2F0372FC}"/>
          </ac:spMkLst>
        </pc:spChg>
        <pc:spChg chg="mod">
          <ac:chgData name="Bez, Florian" userId="30d7df6a-5295-4d75-a650-5a1fab7b8b2e" providerId="ADAL" clId="{DEF8C959-161B-48E6-918F-19FB2A9D3909}" dt="2023-04-21T09:53:48.588" v="9999"/>
          <ac:spMkLst>
            <pc:docMk/>
            <pc:sldMk cId="1603008812" sldId="7333"/>
            <ac:spMk id="1431" creationId="{9957840A-48C2-7A4C-B589-75425AAE8A2B}"/>
          </ac:spMkLst>
        </pc:spChg>
        <pc:spChg chg="mod">
          <ac:chgData name="Bez, Florian" userId="30d7df6a-5295-4d75-a650-5a1fab7b8b2e" providerId="ADAL" clId="{DEF8C959-161B-48E6-918F-19FB2A9D3909}" dt="2023-04-21T09:53:48.588" v="9999"/>
          <ac:spMkLst>
            <pc:docMk/>
            <pc:sldMk cId="1603008812" sldId="7333"/>
            <ac:spMk id="1432" creationId="{882E2119-B073-834D-A03E-3B6A2E54DAEC}"/>
          </ac:spMkLst>
        </pc:spChg>
        <pc:spChg chg="mod">
          <ac:chgData name="Bez, Florian" userId="30d7df6a-5295-4d75-a650-5a1fab7b8b2e" providerId="ADAL" clId="{DEF8C959-161B-48E6-918F-19FB2A9D3909}" dt="2023-04-21T09:53:48.588" v="9999"/>
          <ac:spMkLst>
            <pc:docMk/>
            <pc:sldMk cId="1603008812" sldId="7333"/>
            <ac:spMk id="1433" creationId="{650096CF-99E7-536F-173D-33A29E23C354}"/>
          </ac:spMkLst>
        </pc:spChg>
        <pc:spChg chg="mod">
          <ac:chgData name="Bez, Florian" userId="30d7df6a-5295-4d75-a650-5a1fab7b8b2e" providerId="ADAL" clId="{DEF8C959-161B-48E6-918F-19FB2A9D3909}" dt="2023-04-21T09:53:48.588" v="9999"/>
          <ac:spMkLst>
            <pc:docMk/>
            <pc:sldMk cId="1603008812" sldId="7333"/>
            <ac:spMk id="1434" creationId="{98B18695-F5B9-A809-336F-E8C370858380}"/>
          </ac:spMkLst>
        </pc:spChg>
        <pc:spChg chg="mod">
          <ac:chgData name="Bez, Florian" userId="30d7df6a-5295-4d75-a650-5a1fab7b8b2e" providerId="ADAL" clId="{DEF8C959-161B-48E6-918F-19FB2A9D3909}" dt="2023-04-21T09:53:48.588" v="9999"/>
          <ac:spMkLst>
            <pc:docMk/>
            <pc:sldMk cId="1603008812" sldId="7333"/>
            <ac:spMk id="1435" creationId="{AC8D30AB-473D-7B9E-7806-82ADD371304D}"/>
          </ac:spMkLst>
        </pc:spChg>
        <pc:spChg chg="mod">
          <ac:chgData name="Bez, Florian" userId="30d7df6a-5295-4d75-a650-5a1fab7b8b2e" providerId="ADAL" clId="{DEF8C959-161B-48E6-918F-19FB2A9D3909}" dt="2023-04-21T09:53:48.588" v="9999"/>
          <ac:spMkLst>
            <pc:docMk/>
            <pc:sldMk cId="1603008812" sldId="7333"/>
            <ac:spMk id="1436" creationId="{860EE90E-F25B-4F08-9872-0BA9D4FCE548}"/>
          </ac:spMkLst>
        </pc:spChg>
        <pc:spChg chg="mod">
          <ac:chgData name="Bez, Florian" userId="30d7df6a-5295-4d75-a650-5a1fab7b8b2e" providerId="ADAL" clId="{DEF8C959-161B-48E6-918F-19FB2A9D3909}" dt="2023-04-21T09:53:48.588" v="9999"/>
          <ac:spMkLst>
            <pc:docMk/>
            <pc:sldMk cId="1603008812" sldId="7333"/>
            <ac:spMk id="1437" creationId="{96EC5CB7-9D53-63C6-F455-4C420DA6054E}"/>
          </ac:spMkLst>
        </pc:spChg>
        <pc:spChg chg="mod">
          <ac:chgData name="Bez, Florian" userId="30d7df6a-5295-4d75-a650-5a1fab7b8b2e" providerId="ADAL" clId="{DEF8C959-161B-48E6-918F-19FB2A9D3909}" dt="2023-04-21T09:53:48.588" v="9999"/>
          <ac:spMkLst>
            <pc:docMk/>
            <pc:sldMk cId="1603008812" sldId="7333"/>
            <ac:spMk id="1438" creationId="{8363CC63-C9BF-9FAC-4DCB-315FB00F7631}"/>
          </ac:spMkLst>
        </pc:spChg>
        <pc:spChg chg="mod">
          <ac:chgData name="Bez, Florian" userId="30d7df6a-5295-4d75-a650-5a1fab7b8b2e" providerId="ADAL" clId="{DEF8C959-161B-48E6-918F-19FB2A9D3909}" dt="2023-04-21T09:53:48.588" v="9999"/>
          <ac:spMkLst>
            <pc:docMk/>
            <pc:sldMk cId="1603008812" sldId="7333"/>
            <ac:spMk id="1439" creationId="{C3C1C13B-A320-509A-1EAD-1A04AFFDB5E7}"/>
          </ac:spMkLst>
        </pc:spChg>
        <pc:spChg chg="mod">
          <ac:chgData name="Bez, Florian" userId="30d7df6a-5295-4d75-a650-5a1fab7b8b2e" providerId="ADAL" clId="{DEF8C959-161B-48E6-918F-19FB2A9D3909}" dt="2023-04-21T09:53:48.588" v="9999"/>
          <ac:spMkLst>
            <pc:docMk/>
            <pc:sldMk cId="1603008812" sldId="7333"/>
            <ac:spMk id="1440" creationId="{6F3C0E52-475C-8A83-B729-C3A188878847}"/>
          </ac:spMkLst>
        </pc:spChg>
        <pc:spChg chg="mod">
          <ac:chgData name="Bez, Florian" userId="30d7df6a-5295-4d75-a650-5a1fab7b8b2e" providerId="ADAL" clId="{DEF8C959-161B-48E6-918F-19FB2A9D3909}" dt="2023-04-21T09:53:48.588" v="9999"/>
          <ac:spMkLst>
            <pc:docMk/>
            <pc:sldMk cId="1603008812" sldId="7333"/>
            <ac:spMk id="1441" creationId="{626CE975-7134-E904-7009-4E87644AAA5F}"/>
          </ac:spMkLst>
        </pc:spChg>
        <pc:spChg chg="mod">
          <ac:chgData name="Bez, Florian" userId="30d7df6a-5295-4d75-a650-5a1fab7b8b2e" providerId="ADAL" clId="{DEF8C959-161B-48E6-918F-19FB2A9D3909}" dt="2023-04-21T09:53:48.588" v="9999"/>
          <ac:spMkLst>
            <pc:docMk/>
            <pc:sldMk cId="1603008812" sldId="7333"/>
            <ac:spMk id="1442" creationId="{44526016-09E8-5AE5-29F5-52EB9FC30AB5}"/>
          </ac:spMkLst>
        </pc:spChg>
        <pc:spChg chg="mod">
          <ac:chgData name="Bez, Florian" userId="30d7df6a-5295-4d75-a650-5a1fab7b8b2e" providerId="ADAL" clId="{DEF8C959-161B-48E6-918F-19FB2A9D3909}" dt="2023-04-21T09:53:48.588" v="9999"/>
          <ac:spMkLst>
            <pc:docMk/>
            <pc:sldMk cId="1603008812" sldId="7333"/>
            <ac:spMk id="1443" creationId="{2DD46AB1-ED43-9B35-9247-4F885A9207BF}"/>
          </ac:spMkLst>
        </pc:spChg>
        <pc:spChg chg="mod">
          <ac:chgData name="Bez, Florian" userId="30d7df6a-5295-4d75-a650-5a1fab7b8b2e" providerId="ADAL" clId="{DEF8C959-161B-48E6-918F-19FB2A9D3909}" dt="2023-04-21T09:53:48.588" v="9999"/>
          <ac:spMkLst>
            <pc:docMk/>
            <pc:sldMk cId="1603008812" sldId="7333"/>
            <ac:spMk id="1444" creationId="{D9B3DE19-06AE-7BC6-22EC-2332A3214CF8}"/>
          </ac:spMkLst>
        </pc:spChg>
        <pc:spChg chg="mod">
          <ac:chgData name="Bez, Florian" userId="30d7df6a-5295-4d75-a650-5a1fab7b8b2e" providerId="ADAL" clId="{DEF8C959-161B-48E6-918F-19FB2A9D3909}" dt="2023-04-21T09:53:48.588" v="9999"/>
          <ac:spMkLst>
            <pc:docMk/>
            <pc:sldMk cId="1603008812" sldId="7333"/>
            <ac:spMk id="1445" creationId="{0CA7A428-BD5D-C40C-04A1-146CAFA1D42D}"/>
          </ac:spMkLst>
        </pc:spChg>
        <pc:spChg chg="mod">
          <ac:chgData name="Bez, Florian" userId="30d7df6a-5295-4d75-a650-5a1fab7b8b2e" providerId="ADAL" clId="{DEF8C959-161B-48E6-918F-19FB2A9D3909}" dt="2023-04-21T09:53:48.588" v="9999"/>
          <ac:spMkLst>
            <pc:docMk/>
            <pc:sldMk cId="1603008812" sldId="7333"/>
            <ac:spMk id="1446" creationId="{683C62D5-DC9D-EE6B-FD5D-6E153188DDA7}"/>
          </ac:spMkLst>
        </pc:spChg>
        <pc:spChg chg="mod">
          <ac:chgData name="Bez, Florian" userId="30d7df6a-5295-4d75-a650-5a1fab7b8b2e" providerId="ADAL" clId="{DEF8C959-161B-48E6-918F-19FB2A9D3909}" dt="2023-04-21T09:53:48.588" v="9999"/>
          <ac:spMkLst>
            <pc:docMk/>
            <pc:sldMk cId="1603008812" sldId="7333"/>
            <ac:spMk id="1447" creationId="{3334ABDD-1FEF-7F5A-5830-E7BA43968447}"/>
          </ac:spMkLst>
        </pc:spChg>
        <pc:spChg chg="mod">
          <ac:chgData name="Bez, Florian" userId="30d7df6a-5295-4d75-a650-5a1fab7b8b2e" providerId="ADAL" clId="{DEF8C959-161B-48E6-918F-19FB2A9D3909}" dt="2023-04-21T09:53:48.588" v="9999"/>
          <ac:spMkLst>
            <pc:docMk/>
            <pc:sldMk cId="1603008812" sldId="7333"/>
            <ac:spMk id="1448" creationId="{344EE72D-2AD1-4F32-00C9-3B31A343BF7B}"/>
          </ac:spMkLst>
        </pc:spChg>
        <pc:spChg chg="mod">
          <ac:chgData name="Bez, Florian" userId="30d7df6a-5295-4d75-a650-5a1fab7b8b2e" providerId="ADAL" clId="{DEF8C959-161B-48E6-918F-19FB2A9D3909}" dt="2023-04-21T09:53:48.588" v="9999"/>
          <ac:spMkLst>
            <pc:docMk/>
            <pc:sldMk cId="1603008812" sldId="7333"/>
            <ac:spMk id="1449" creationId="{868C5F06-1495-CEFF-4A41-B43525C22C18}"/>
          </ac:spMkLst>
        </pc:spChg>
        <pc:spChg chg="mod">
          <ac:chgData name="Bez, Florian" userId="30d7df6a-5295-4d75-a650-5a1fab7b8b2e" providerId="ADAL" clId="{DEF8C959-161B-48E6-918F-19FB2A9D3909}" dt="2023-04-21T09:53:48.588" v="9999"/>
          <ac:spMkLst>
            <pc:docMk/>
            <pc:sldMk cId="1603008812" sldId="7333"/>
            <ac:spMk id="1450" creationId="{B4FFB190-F60D-FE91-29E2-B27BC8FE07BA}"/>
          </ac:spMkLst>
        </pc:spChg>
        <pc:spChg chg="mod">
          <ac:chgData name="Bez, Florian" userId="30d7df6a-5295-4d75-a650-5a1fab7b8b2e" providerId="ADAL" clId="{DEF8C959-161B-48E6-918F-19FB2A9D3909}" dt="2023-04-21T09:53:48.588" v="9999"/>
          <ac:spMkLst>
            <pc:docMk/>
            <pc:sldMk cId="1603008812" sldId="7333"/>
            <ac:spMk id="1451" creationId="{490DC1A4-414D-C365-1520-DD1FD95880D4}"/>
          </ac:spMkLst>
        </pc:spChg>
        <pc:spChg chg="mod">
          <ac:chgData name="Bez, Florian" userId="30d7df6a-5295-4d75-a650-5a1fab7b8b2e" providerId="ADAL" clId="{DEF8C959-161B-48E6-918F-19FB2A9D3909}" dt="2023-04-21T09:53:48.588" v="9999"/>
          <ac:spMkLst>
            <pc:docMk/>
            <pc:sldMk cId="1603008812" sldId="7333"/>
            <ac:spMk id="1452" creationId="{08F182AA-D7B4-1C66-F072-DF5193F6F91E}"/>
          </ac:spMkLst>
        </pc:spChg>
        <pc:spChg chg="mod">
          <ac:chgData name="Bez, Florian" userId="30d7df6a-5295-4d75-a650-5a1fab7b8b2e" providerId="ADAL" clId="{DEF8C959-161B-48E6-918F-19FB2A9D3909}" dt="2023-04-21T09:53:48.588" v="9999"/>
          <ac:spMkLst>
            <pc:docMk/>
            <pc:sldMk cId="1603008812" sldId="7333"/>
            <ac:spMk id="1453" creationId="{D0F207A6-8AFD-62D2-1744-99FF806C7BEE}"/>
          </ac:spMkLst>
        </pc:spChg>
        <pc:spChg chg="mod">
          <ac:chgData name="Bez, Florian" userId="30d7df6a-5295-4d75-a650-5a1fab7b8b2e" providerId="ADAL" clId="{DEF8C959-161B-48E6-918F-19FB2A9D3909}" dt="2023-04-21T09:53:48.588" v="9999"/>
          <ac:spMkLst>
            <pc:docMk/>
            <pc:sldMk cId="1603008812" sldId="7333"/>
            <ac:spMk id="1454" creationId="{6160A007-B1D0-5668-CA70-F096AD186E56}"/>
          </ac:spMkLst>
        </pc:spChg>
        <pc:spChg chg="mod">
          <ac:chgData name="Bez, Florian" userId="30d7df6a-5295-4d75-a650-5a1fab7b8b2e" providerId="ADAL" clId="{DEF8C959-161B-48E6-918F-19FB2A9D3909}" dt="2023-04-21T09:53:48.588" v="9999"/>
          <ac:spMkLst>
            <pc:docMk/>
            <pc:sldMk cId="1603008812" sldId="7333"/>
            <ac:spMk id="1455" creationId="{19E9E3B6-5A43-4F6C-1DB0-FFCDBB446E85}"/>
          </ac:spMkLst>
        </pc:spChg>
        <pc:spChg chg="mod">
          <ac:chgData name="Bez, Florian" userId="30d7df6a-5295-4d75-a650-5a1fab7b8b2e" providerId="ADAL" clId="{DEF8C959-161B-48E6-918F-19FB2A9D3909}" dt="2023-04-21T09:53:48.588" v="9999"/>
          <ac:spMkLst>
            <pc:docMk/>
            <pc:sldMk cId="1603008812" sldId="7333"/>
            <ac:spMk id="1456" creationId="{303EF626-85EA-AA26-833C-51FB654A2D2D}"/>
          </ac:spMkLst>
        </pc:spChg>
        <pc:spChg chg="mod">
          <ac:chgData name="Bez, Florian" userId="30d7df6a-5295-4d75-a650-5a1fab7b8b2e" providerId="ADAL" clId="{DEF8C959-161B-48E6-918F-19FB2A9D3909}" dt="2023-04-21T09:53:48.588" v="9999"/>
          <ac:spMkLst>
            <pc:docMk/>
            <pc:sldMk cId="1603008812" sldId="7333"/>
            <ac:spMk id="1457" creationId="{2B03BA39-B6D1-EB07-984D-86459EB61F4F}"/>
          </ac:spMkLst>
        </pc:spChg>
        <pc:spChg chg="mod">
          <ac:chgData name="Bez, Florian" userId="30d7df6a-5295-4d75-a650-5a1fab7b8b2e" providerId="ADAL" clId="{DEF8C959-161B-48E6-918F-19FB2A9D3909}" dt="2023-04-21T09:53:48.588" v="9999"/>
          <ac:spMkLst>
            <pc:docMk/>
            <pc:sldMk cId="1603008812" sldId="7333"/>
            <ac:spMk id="1458" creationId="{E4E61B64-05AB-948C-4782-4A5715AB7506}"/>
          </ac:spMkLst>
        </pc:spChg>
        <pc:spChg chg="mod">
          <ac:chgData name="Bez, Florian" userId="30d7df6a-5295-4d75-a650-5a1fab7b8b2e" providerId="ADAL" clId="{DEF8C959-161B-48E6-918F-19FB2A9D3909}" dt="2023-04-21T09:53:48.588" v="9999"/>
          <ac:spMkLst>
            <pc:docMk/>
            <pc:sldMk cId="1603008812" sldId="7333"/>
            <ac:spMk id="1459" creationId="{30B2A4A3-3396-CC94-5C18-8B38245446FE}"/>
          </ac:spMkLst>
        </pc:spChg>
        <pc:spChg chg="mod">
          <ac:chgData name="Bez, Florian" userId="30d7df6a-5295-4d75-a650-5a1fab7b8b2e" providerId="ADAL" clId="{DEF8C959-161B-48E6-918F-19FB2A9D3909}" dt="2023-04-21T09:53:48.588" v="9999"/>
          <ac:spMkLst>
            <pc:docMk/>
            <pc:sldMk cId="1603008812" sldId="7333"/>
            <ac:spMk id="1460" creationId="{3E8E6453-1189-D479-A4EB-4DE9EC40AA13}"/>
          </ac:spMkLst>
        </pc:spChg>
        <pc:spChg chg="mod">
          <ac:chgData name="Bez, Florian" userId="30d7df6a-5295-4d75-a650-5a1fab7b8b2e" providerId="ADAL" clId="{DEF8C959-161B-48E6-918F-19FB2A9D3909}" dt="2023-04-21T09:53:48.588" v="9999"/>
          <ac:spMkLst>
            <pc:docMk/>
            <pc:sldMk cId="1603008812" sldId="7333"/>
            <ac:spMk id="1461" creationId="{3F4DC3BE-F572-353A-637A-E4AF9308509F}"/>
          </ac:spMkLst>
        </pc:spChg>
        <pc:spChg chg="mod">
          <ac:chgData name="Bez, Florian" userId="30d7df6a-5295-4d75-a650-5a1fab7b8b2e" providerId="ADAL" clId="{DEF8C959-161B-48E6-918F-19FB2A9D3909}" dt="2023-04-21T09:53:48.588" v="9999"/>
          <ac:spMkLst>
            <pc:docMk/>
            <pc:sldMk cId="1603008812" sldId="7333"/>
            <ac:spMk id="1462" creationId="{EC03917C-5004-E311-FE11-F824CA6F13E8}"/>
          </ac:spMkLst>
        </pc:spChg>
        <pc:spChg chg="mod">
          <ac:chgData name="Bez, Florian" userId="30d7df6a-5295-4d75-a650-5a1fab7b8b2e" providerId="ADAL" clId="{DEF8C959-161B-48E6-918F-19FB2A9D3909}" dt="2023-04-21T09:53:48.588" v="9999"/>
          <ac:spMkLst>
            <pc:docMk/>
            <pc:sldMk cId="1603008812" sldId="7333"/>
            <ac:spMk id="1463" creationId="{69450245-41BA-19AC-C621-B86EBBD3FC5B}"/>
          </ac:spMkLst>
        </pc:spChg>
        <pc:spChg chg="mod">
          <ac:chgData name="Bez, Florian" userId="30d7df6a-5295-4d75-a650-5a1fab7b8b2e" providerId="ADAL" clId="{DEF8C959-161B-48E6-918F-19FB2A9D3909}" dt="2023-04-21T09:53:48.588" v="9999"/>
          <ac:spMkLst>
            <pc:docMk/>
            <pc:sldMk cId="1603008812" sldId="7333"/>
            <ac:spMk id="1464" creationId="{18094440-55CA-A802-373D-F16F8FC59115}"/>
          </ac:spMkLst>
        </pc:spChg>
        <pc:spChg chg="mod">
          <ac:chgData name="Bez, Florian" userId="30d7df6a-5295-4d75-a650-5a1fab7b8b2e" providerId="ADAL" clId="{DEF8C959-161B-48E6-918F-19FB2A9D3909}" dt="2023-04-21T09:53:48.588" v="9999"/>
          <ac:spMkLst>
            <pc:docMk/>
            <pc:sldMk cId="1603008812" sldId="7333"/>
            <ac:spMk id="1465" creationId="{56F3811C-8875-175F-452E-41F76B907CB2}"/>
          </ac:spMkLst>
        </pc:spChg>
        <pc:spChg chg="mod">
          <ac:chgData name="Bez, Florian" userId="30d7df6a-5295-4d75-a650-5a1fab7b8b2e" providerId="ADAL" clId="{DEF8C959-161B-48E6-918F-19FB2A9D3909}" dt="2023-04-21T09:53:48.588" v="9999"/>
          <ac:spMkLst>
            <pc:docMk/>
            <pc:sldMk cId="1603008812" sldId="7333"/>
            <ac:spMk id="1466" creationId="{14D1F604-8656-6AF6-46F5-E4F88FAFDA2F}"/>
          </ac:spMkLst>
        </pc:spChg>
        <pc:spChg chg="mod">
          <ac:chgData name="Bez, Florian" userId="30d7df6a-5295-4d75-a650-5a1fab7b8b2e" providerId="ADAL" clId="{DEF8C959-161B-48E6-918F-19FB2A9D3909}" dt="2023-04-21T09:53:48.588" v="9999"/>
          <ac:spMkLst>
            <pc:docMk/>
            <pc:sldMk cId="1603008812" sldId="7333"/>
            <ac:spMk id="1467" creationId="{9E0FFE34-E62D-BA47-A167-CCDA2D5CEC7A}"/>
          </ac:spMkLst>
        </pc:spChg>
        <pc:spChg chg="mod">
          <ac:chgData name="Bez, Florian" userId="30d7df6a-5295-4d75-a650-5a1fab7b8b2e" providerId="ADAL" clId="{DEF8C959-161B-48E6-918F-19FB2A9D3909}" dt="2023-04-21T09:53:48.588" v="9999"/>
          <ac:spMkLst>
            <pc:docMk/>
            <pc:sldMk cId="1603008812" sldId="7333"/>
            <ac:spMk id="1468" creationId="{9E9EE5CA-9642-43FD-BF4C-A44FE017DC32}"/>
          </ac:spMkLst>
        </pc:spChg>
        <pc:spChg chg="mod">
          <ac:chgData name="Bez, Florian" userId="30d7df6a-5295-4d75-a650-5a1fab7b8b2e" providerId="ADAL" clId="{DEF8C959-161B-48E6-918F-19FB2A9D3909}" dt="2023-04-21T09:53:48.588" v="9999"/>
          <ac:spMkLst>
            <pc:docMk/>
            <pc:sldMk cId="1603008812" sldId="7333"/>
            <ac:spMk id="1469" creationId="{9C6C9DB5-0885-2F54-6C4D-B333F50AF918}"/>
          </ac:spMkLst>
        </pc:spChg>
        <pc:spChg chg="mod">
          <ac:chgData name="Bez, Florian" userId="30d7df6a-5295-4d75-a650-5a1fab7b8b2e" providerId="ADAL" clId="{DEF8C959-161B-48E6-918F-19FB2A9D3909}" dt="2023-04-21T09:53:48.588" v="9999"/>
          <ac:spMkLst>
            <pc:docMk/>
            <pc:sldMk cId="1603008812" sldId="7333"/>
            <ac:spMk id="1470" creationId="{FEDD690F-8620-26EB-D020-32D9B408648C}"/>
          </ac:spMkLst>
        </pc:spChg>
        <pc:spChg chg="mod">
          <ac:chgData name="Bez, Florian" userId="30d7df6a-5295-4d75-a650-5a1fab7b8b2e" providerId="ADAL" clId="{DEF8C959-161B-48E6-918F-19FB2A9D3909}" dt="2023-04-21T09:53:48.588" v="9999"/>
          <ac:spMkLst>
            <pc:docMk/>
            <pc:sldMk cId="1603008812" sldId="7333"/>
            <ac:spMk id="1471" creationId="{BA3447E8-A6C1-022F-4546-A3671E8A4C66}"/>
          </ac:spMkLst>
        </pc:spChg>
        <pc:spChg chg="mod">
          <ac:chgData name="Bez, Florian" userId="30d7df6a-5295-4d75-a650-5a1fab7b8b2e" providerId="ADAL" clId="{DEF8C959-161B-48E6-918F-19FB2A9D3909}" dt="2023-04-21T09:53:48.588" v="9999"/>
          <ac:spMkLst>
            <pc:docMk/>
            <pc:sldMk cId="1603008812" sldId="7333"/>
            <ac:spMk id="1472" creationId="{B0DB97F0-1920-8D7F-13AF-A8178F4EAC1F}"/>
          </ac:spMkLst>
        </pc:spChg>
        <pc:spChg chg="mod">
          <ac:chgData name="Bez, Florian" userId="30d7df6a-5295-4d75-a650-5a1fab7b8b2e" providerId="ADAL" clId="{DEF8C959-161B-48E6-918F-19FB2A9D3909}" dt="2023-04-21T09:53:48.588" v="9999"/>
          <ac:spMkLst>
            <pc:docMk/>
            <pc:sldMk cId="1603008812" sldId="7333"/>
            <ac:spMk id="1473" creationId="{E1845E98-8BE4-739C-DB4F-558ABC107645}"/>
          </ac:spMkLst>
        </pc:spChg>
        <pc:spChg chg="mod">
          <ac:chgData name="Bez, Florian" userId="30d7df6a-5295-4d75-a650-5a1fab7b8b2e" providerId="ADAL" clId="{DEF8C959-161B-48E6-918F-19FB2A9D3909}" dt="2023-04-21T09:53:48.588" v="9999"/>
          <ac:spMkLst>
            <pc:docMk/>
            <pc:sldMk cId="1603008812" sldId="7333"/>
            <ac:spMk id="1474" creationId="{25A074C7-B7BC-74F2-1CB2-25B88F355362}"/>
          </ac:spMkLst>
        </pc:spChg>
        <pc:spChg chg="mod">
          <ac:chgData name="Bez, Florian" userId="30d7df6a-5295-4d75-a650-5a1fab7b8b2e" providerId="ADAL" clId="{DEF8C959-161B-48E6-918F-19FB2A9D3909}" dt="2023-04-21T09:53:48.588" v="9999"/>
          <ac:spMkLst>
            <pc:docMk/>
            <pc:sldMk cId="1603008812" sldId="7333"/>
            <ac:spMk id="1475" creationId="{A4E0ED22-0AB1-D821-2D6F-B939E45560B2}"/>
          </ac:spMkLst>
        </pc:spChg>
        <pc:spChg chg="mod">
          <ac:chgData name="Bez, Florian" userId="30d7df6a-5295-4d75-a650-5a1fab7b8b2e" providerId="ADAL" clId="{DEF8C959-161B-48E6-918F-19FB2A9D3909}" dt="2023-04-21T09:53:48.588" v="9999"/>
          <ac:spMkLst>
            <pc:docMk/>
            <pc:sldMk cId="1603008812" sldId="7333"/>
            <ac:spMk id="1476" creationId="{70AA4BB4-FF6D-F8A2-AB7A-C40803C34375}"/>
          </ac:spMkLst>
        </pc:spChg>
        <pc:spChg chg="mod">
          <ac:chgData name="Bez, Florian" userId="30d7df6a-5295-4d75-a650-5a1fab7b8b2e" providerId="ADAL" clId="{DEF8C959-161B-48E6-918F-19FB2A9D3909}" dt="2023-04-21T09:53:48.588" v="9999"/>
          <ac:spMkLst>
            <pc:docMk/>
            <pc:sldMk cId="1603008812" sldId="7333"/>
            <ac:spMk id="1477" creationId="{62C6D436-F605-43C5-B8DE-344148C32F61}"/>
          </ac:spMkLst>
        </pc:spChg>
        <pc:spChg chg="mod">
          <ac:chgData name="Bez, Florian" userId="30d7df6a-5295-4d75-a650-5a1fab7b8b2e" providerId="ADAL" clId="{DEF8C959-161B-48E6-918F-19FB2A9D3909}" dt="2023-04-21T09:53:48.588" v="9999"/>
          <ac:spMkLst>
            <pc:docMk/>
            <pc:sldMk cId="1603008812" sldId="7333"/>
            <ac:spMk id="1478" creationId="{41BB624E-5AC1-C174-028C-7D913E79F6A2}"/>
          </ac:spMkLst>
        </pc:spChg>
        <pc:spChg chg="mod">
          <ac:chgData name="Bez, Florian" userId="30d7df6a-5295-4d75-a650-5a1fab7b8b2e" providerId="ADAL" clId="{DEF8C959-161B-48E6-918F-19FB2A9D3909}" dt="2023-04-21T09:53:48.588" v="9999"/>
          <ac:spMkLst>
            <pc:docMk/>
            <pc:sldMk cId="1603008812" sldId="7333"/>
            <ac:spMk id="1479" creationId="{D2418DF6-849F-3AFA-A092-3B12C0B30F20}"/>
          </ac:spMkLst>
        </pc:spChg>
        <pc:spChg chg="mod">
          <ac:chgData name="Bez, Florian" userId="30d7df6a-5295-4d75-a650-5a1fab7b8b2e" providerId="ADAL" clId="{DEF8C959-161B-48E6-918F-19FB2A9D3909}" dt="2023-04-21T09:53:48.588" v="9999"/>
          <ac:spMkLst>
            <pc:docMk/>
            <pc:sldMk cId="1603008812" sldId="7333"/>
            <ac:spMk id="1480" creationId="{0420F2DF-1E79-0344-B601-800D21A1F462}"/>
          </ac:spMkLst>
        </pc:spChg>
        <pc:spChg chg="mod">
          <ac:chgData name="Bez, Florian" userId="30d7df6a-5295-4d75-a650-5a1fab7b8b2e" providerId="ADAL" clId="{DEF8C959-161B-48E6-918F-19FB2A9D3909}" dt="2023-04-21T09:53:48.588" v="9999"/>
          <ac:spMkLst>
            <pc:docMk/>
            <pc:sldMk cId="1603008812" sldId="7333"/>
            <ac:spMk id="1481" creationId="{1F74539B-F334-EBFD-6742-90AAF4E8E58B}"/>
          </ac:spMkLst>
        </pc:spChg>
        <pc:spChg chg="mod">
          <ac:chgData name="Bez, Florian" userId="30d7df6a-5295-4d75-a650-5a1fab7b8b2e" providerId="ADAL" clId="{DEF8C959-161B-48E6-918F-19FB2A9D3909}" dt="2023-04-21T09:53:48.588" v="9999"/>
          <ac:spMkLst>
            <pc:docMk/>
            <pc:sldMk cId="1603008812" sldId="7333"/>
            <ac:spMk id="1482" creationId="{6E6B6CC3-B150-669E-3742-EACBFF1D2582}"/>
          </ac:spMkLst>
        </pc:spChg>
        <pc:spChg chg="mod">
          <ac:chgData name="Bez, Florian" userId="30d7df6a-5295-4d75-a650-5a1fab7b8b2e" providerId="ADAL" clId="{DEF8C959-161B-48E6-918F-19FB2A9D3909}" dt="2023-04-21T09:53:48.588" v="9999"/>
          <ac:spMkLst>
            <pc:docMk/>
            <pc:sldMk cId="1603008812" sldId="7333"/>
            <ac:spMk id="1483" creationId="{29F06302-98E9-055A-8BD7-087F78D6ACAE}"/>
          </ac:spMkLst>
        </pc:spChg>
        <pc:spChg chg="mod">
          <ac:chgData name="Bez, Florian" userId="30d7df6a-5295-4d75-a650-5a1fab7b8b2e" providerId="ADAL" clId="{DEF8C959-161B-48E6-918F-19FB2A9D3909}" dt="2023-04-21T09:53:48.588" v="9999"/>
          <ac:spMkLst>
            <pc:docMk/>
            <pc:sldMk cId="1603008812" sldId="7333"/>
            <ac:spMk id="1484" creationId="{C06175A8-5B1C-7F6E-70C8-6A70D368005E}"/>
          </ac:spMkLst>
        </pc:spChg>
        <pc:spChg chg="mod">
          <ac:chgData name="Bez, Florian" userId="30d7df6a-5295-4d75-a650-5a1fab7b8b2e" providerId="ADAL" clId="{DEF8C959-161B-48E6-918F-19FB2A9D3909}" dt="2023-04-21T09:53:48.588" v="9999"/>
          <ac:spMkLst>
            <pc:docMk/>
            <pc:sldMk cId="1603008812" sldId="7333"/>
            <ac:spMk id="1485" creationId="{BF9223DD-1441-4639-D041-D1EE6EEF90FC}"/>
          </ac:spMkLst>
        </pc:spChg>
        <pc:spChg chg="mod">
          <ac:chgData name="Bez, Florian" userId="30d7df6a-5295-4d75-a650-5a1fab7b8b2e" providerId="ADAL" clId="{DEF8C959-161B-48E6-918F-19FB2A9D3909}" dt="2023-04-21T09:53:48.588" v="9999"/>
          <ac:spMkLst>
            <pc:docMk/>
            <pc:sldMk cId="1603008812" sldId="7333"/>
            <ac:spMk id="1486" creationId="{FE57955B-576C-6A38-F71F-4FF49B60582E}"/>
          </ac:spMkLst>
        </pc:spChg>
        <pc:spChg chg="mod">
          <ac:chgData name="Bez, Florian" userId="30d7df6a-5295-4d75-a650-5a1fab7b8b2e" providerId="ADAL" clId="{DEF8C959-161B-48E6-918F-19FB2A9D3909}" dt="2023-04-21T09:53:48.588" v="9999"/>
          <ac:spMkLst>
            <pc:docMk/>
            <pc:sldMk cId="1603008812" sldId="7333"/>
            <ac:spMk id="1487" creationId="{E163601F-AD08-F72A-8FEC-CAECD07A48D2}"/>
          </ac:spMkLst>
        </pc:spChg>
        <pc:spChg chg="mod">
          <ac:chgData name="Bez, Florian" userId="30d7df6a-5295-4d75-a650-5a1fab7b8b2e" providerId="ADAL" clId="{DEF8C959-161B-48E6-918F-19FB2A9D3909}" dt="2023-04-21T09:53:48.588" v="9999"/>
          <ac:spMkLst>
            <pc:docMk/>
            <pc:sldMk cId="1603008812" sldId="7333"/>
            <ac:spMk id="1488" creationId="{C2154434-6F36-F295-8AAC-567ECBAA4C04}"/>
          </ac:spMkLst>
        </pc:spChg>
        <pc:spChg chg="mod">
          <ac:chgData name="Bez, Florian" userId="30d7df6a-5295-4d75-a650-5a1fab7b8b2e" providerId="ADAL" clId="{DEF8C959-161B-48E6-918F-19FB2A9D3909}" dt="2023-04-21T09:53:48.588" v="9999"/>
          <ac:spMkLst>
            <pc:docMk/>
            <pc:sldMk cId="1603008812" sldId="7333"/>
            <ac:spMk id="1489" creationId="{28196E07-51B6-AC4A-E092-361EC96C781A}"/>
          </ac:spMkLst>
        </pc:spChg>
        <pc:spChg chg="mod">
          <ac:chgData name="Bez, Florian" userId="30d7df6a-5295-4d75-a650-5a1fab7b8b2e" providerId="ADAL" clId="{DEF8C959-161B-48E6-918F-19FB2A9D3909}" dt="2023-04-21T09:53:48.588" v="9999"/>
          <ac:spMkLst>
            <pc:docMk/>
            <pc:sldMk cId="1603008812" sldId="7333"/>
            <ac:spMk id="1490" creationId="{F7F6110E-F932-6E19-BD61-F8B6D5FC4F31}"/>
          </ac:spMkLst>
        </pc:spChg>
        <pc:spChg chg="mod">
          <ac:chgData name="Bez, Florian" userId="30d7df6a-5295-4d75-a650-5a1fab7b8b2e" providerId="ADAL" clId="{DEF8C959-161B-48E6-918F-19FB2A9D3909}" dt="2023-04-21T09:53:48.588" v="9999"/>
          <ac:spMkLst>
            <pc:docMk/>
            <pc:sldMk cId="1603008812" sldId="7333"/>
            <ac:spMk id="1491" creationId="{383C519B-A68F-32CB-B791-90845EFF3D93}"/>
          </ac:spMkLst>
        </pc:spChg>
        <pc:spChg chg="mod">
          <ac:chgData name="Bez, Florian" userId="30d7df6a-5295-4d75-a650-5a1fab7b8b2e" providerId="ADAL" clId="{DEF8C959-161B-48E6-918F-19FB2A9D3909}" dt="2023-04-21T09:53:48.588" v="9999"/>
          <ac:spMkLst>
            <pc:docMk/>
            <pc:sldMk cId="1603008812" sldId="7333"/>
            <ac:spMk id="1493" creationId="{3DF7C1DE-3DF1-119A-05E4-0DC111F3DFE7}"/>
          </ac:spMkLst>
        </pc:spChg>
        <pc:spChg chg="mod">
          <ac:chgData name="Bez, Florian" userId="30d7df6a-5295-4d75-a650-5a1fab7b8b2e" providerId="ADAL" clId="{DEF8C959-161B-48E6-918F-19FB2A9D3909}" dt="2023-04-21T09:53:48.588" v="9999"/>
          <ac:spMkLst>
            <pc:docMk/>
            <pc:sldMk cId="1603008812" sldId="7333"/>
            <ac:spMk id="1494" creationId="{DE700900-84E5-9B0D-6AD0-6AC65B693794}"/>
          </ac:spMkLst>
        </pc:spChg>
        <pc:spChg chg="mod">
          <ac:chgData name="Bez, Florian" userId="30d7df6a-5295-4d75-a650-5a1fab7b8b2e" providerId="ADAL" clId="{DEF8C959-161B-48E6-918F-19FB2A9D3909}" dt="2023-04-21T09:53:48.588" v="9999"/>
          <ac:spMkLst>
            <pc:docMk/>
            <pc:sldMk cId="1603008812" sldId="7333"/>
            <ac:spMk id="1495" creationId="{358DFE0B-F763-B0A4-0C71-C6EBB6758733}"/>
          </ac:spMkLst>
        </pc:spChg>
        <pc:spChg chg="mod">
          <ac:chgData name="Bez, Florian" userId="30d7df6a-5295-4d75-a650-5a1fab7b8b2e" providerId="ADAL" clId="{DEF8C959-161B-48E6-918F-19FB2A9D3909}" dt="2023-04-21T09:53:48.588" v="9999"/>
          <ac:spMkLst>
            <pc:docMk/>
            <pc:sldMk cId="1603008812" sldId="7333"/>
            <ac:spMk id="1496" creationId="{AD7AE1E0-28AE-87CA-6333-C861F7F23215}"/>
          </ac:spMkLst>
        </pc:spChg>
        <pc:spChg chg="mod">
          <ac:chgData name="Bez, Florian" userId="30d7df6a-5295-4d75-a650-5a1fab7b8b2e" providerId="ADAL" clId="{DEF8C959-161B-48E6-918F-19FB2A9D3909}" dt="2023-04-21T09:53:48.588" v="9999"/>
          <ac:spMkLst>
            <pc:docMk/>
            <pc:sldMk cId="1603008812" sldId="7333"/>
            <ac:spMk id="1497" creationId="{81A3C579-CA6B-1BC7-1A5F-43EA136B1C58}"/>
          </ac:spMkLst>
        </pc:spChg>
        <pc:spChg chg="mod">
          <ac:chgData name="Bez, Florian" userId="30d7df6a-5295-4d75-a650-5a1fab7b8b2e" providerId="ADAL" clId="{DEF8C959-161B-48E6-918F-19FB2A9D3909}" dt="2023-04-21T09:53:48.588" v="9999"/>
          <ac:spMkLst>
            <pc:docMk/>
            <pc:sldMk cId="1603008812" sldId="7333"/>
            <ac:spMk id="1498" creationId="{03E645CD-611B-B285-7DBD-A0162C3BE7F9}"/>
          </ac:spMkLst>
        </pc:spChg>
        <pc:spChg chg="mod">
          <ac:chgData name="Bez, Florian" userId="30d7df6a-5295-4d75-a650-5a1fab7b8b2e" providerId="ADAL" clId="{DEF8C959-161B-48E6-918F-19FB2A9D3909}" dt="2023-04-21T09:53:48.588" v="9999"/>
          <ac:spMkLst>
            <pc:docMk/>
            <pc:sldMk cId="1603008812" sldId="7333"/>
            <ac:spMk id="1499" creationId="{D527D120-D4E1-28D6-420A-47FBFFFC8DA7}"/>
          </ac:spMkLst>
        </pc:spChg>
        <pc:spChg chg="mod">
          <ac:chgData name="Bez, Florian" userId="30d7df6a-5295-4d75-a650-5a1fab7b8b2e" providerId="ADAL" clId="{DEF8C959-161B-48E6-918F-19FB2A9D3909}" dt="2023-04-21T09:53:48.588" v="9999"/>
          <ac:spMkLst>
            <pc:docMk/>
            <pc:sldMk cId="1603008812" sldId="7333"/>
            <ac:spMk id="1500" creationId="{5A5D6552-B81D-41E9-46F2-8131A8038973}"/>
          </ac:spMkLst>
        </pc:spChg>
        <pc:spChg chg="mod">
          <ac:chgData name="Bez, Florian" userId="30d7df6a-5295-4d75-a650-5a1fab7b8b2e" providerId="ADAL" clId="{DEF8C959-161B-48E6-918F-19FB2A9D3909}" dt="2023-04-21T09:53:48.588" v="9999"/>
          <ac:spMkLst>
            <pc:docMk/>
            <pc:sldMk cId="1603008812" sldId="7333"/>
            <ac:spMk id="1501" creationId="{BC8700DA-11CF-1690-BF90-440E364DEED3}"/>
          </ac:spMkLst>
        </pc:spChg>
        <pc:spChg chg="mod">
          <ac:chgData name="Bez, Florian" userId="30d7df6a-5295-4d75-a650-5a1fab7b8b2e" providerId="ADAL" clId="{DEF8C959-161B-48E6-918F-19FB2A9D3909}" dt="2023-04-21T09:53:48.588" v="9999"/>
          <ac:spMkLst>
            <pc:docMk/>
            <pc:sldMk cId="1603008812" sldId="7333"/>
            <ac:spMk id="1502" creationId="{C4985FB9-3659-BB13-48FC-93AD2B98583B}"/>
          </ac:spMkLst>
        </pc:spChg>
        <pc:spChg chg="mod">
          <ac:chgData name="Bez, Florian" userId="30d7df6a-5295-4d75-a650-5a1fab7b8b2e" providerId="ADAL" clId="{DEF8C959-161B-48E6-918F-19FB2A9D3909}" dt="2023-04-21T09:53:48.588" v="9999"/>
          <ac:spMkLst>
            <pc:docMk/>
            <pc:sldMk cId="1603008812" sldId="7333"/>
            <ac:spMk id="1503" creationId="{6F0F5489-BF44-2728-34E5-24DC1E494AAE}"/>
          </ac:spMkLst>
        </pc:spChg>
        <pc:spChg chg="mod">
          <ac:chgData name="Bez, Florian" userId="30d7df6a-5295-4d75-a650-5a1fab7b8b2e" providerId="ADAL" clId="{DEF8C959-161B-48E6-918F-19FB2A9D3909}" dt="2023-04-21T09:53:48.588" v="9999"/>
          <ac:spMkLst>
            <pc:docMk/>
            <pc:sldMk cId="1603008812" sldId="7333"/>
            <ac:spMk id="1504" creationId="{2EE2BEEC-CB45-D43B-8057-2F94BE407969}"/>
          </ac:spMkLst>
        </pc:spChg>
        <pc:spChg chg="mod">
          <ac:chgData name="Bez, Florian" userId="30d7df6a-5295-4d75-a650-5a1fab7b8b2e" providerId="ADAL" clId="{DEF8C959-161B-48E6-918F-19FB2A9D3909}" dt="2023-04-21T09:53:48.588" v="9999"/>
          <ac:spMkLst>
            <pc:docMk/>
            <pc:sldMk cId="1603008812" sldId="7333"/>
            <ac:spMk id="1505" creationId="{3D5FF685-0C09-F648-2962-CF5DB72A4AB4}"/>
          </ac:spMkLst>
        </pc:spChg>
        <pc:spChg chg="mod">
          <ac:chgData name="Bez, Florian" userId="30d7df6a-5295-4d75-a650-5a1fab7b8b2e" providerId="ADAL" clId="{DEF8C959-161B-48E6-918F-19FB2A9D3909}" dt="2023-04-21T09:53:48.588" v="9999"/>
          <ac:spMkLst>
            <pc:docMk/>
            <pc:sldMk cId="1603008812" sldId="7333"/>
            <ac:spMk id="1506" creationId="{21A4AF32-36AA-DDB8-2B31-3348D897302A}"/>
          </ac:spMkLst>
        </pc:spChg>
        <pc:spChg chg="mod">
          <ac:chgData name="Bez, Florian" userId="30d7df6a-5295-4d75-a650-5a1fab7b8b2e" providerId="ADAL" clId="{DEF8C959-161B-48E6-918F-19FB2A9D3909}" dt="2023-04-21T09:53:48.588" v="9999"/>
          <ac:spMkLst>
            <pc:docMk/>
            <pc:sldMk cId="1603008812" sldId="7333"/>
            <ac:spMk id="1507" creationId="{3C48D8B1-0105-2F21-338A-FED0966FABBB}"/>
          </ac:spMkLst>
        </pc:spChg>
        <pc:spChg chg="mod">
          <ac:chgData name="Bez, Florian" userId="30d7df6a-5295-4d75-a650-5a1fab7b8b2e" providerId="ADAL" clId="{DEF8C959-161B-48E6-918F-19FB2A9D3909}" dt="2023-04-21T09:53:48.588" v="9999"/>
          <ac:spMkLst>
            <pc:docMk/>
            <pc:sldMk cId="1603008812" sldId="7333"/>
            <ac:spMk id="1508" creationId="{33F1B247-BD2F-5285-CF25-78C63D3318BB}"/>
          </ac:spMkLst>
        </pc:spChg>
        <pc:spChg chg="mod">
          <ac:chgData name="Bez, Florian" userId="30d7df6a-5295-4d75-a650-5a1fab7b8b2e" providerId="ADAL" clId="{DEF8C959-161B-48E6-918F-19FB2A9D3909}" dt="2023-04-21T09:53:48.588" v="9999"/>
          <ac:spMkLst>
            <pc:docMk/>
            <pc:sldMk cId="1603008812" sldId="7333"/>
            <ac:spMk id="1509" creationId="{5AF0DEE8-04B3-D296-6281-CEA2D026A2E0}"/>
          </ac:spMkLst>
        </pc:spChg>
        <pc:spChg chg="mod">
          <ac:chgData name="Bez, Florian" userId="30d7df6a-5295-4d75-a650-5a1fab7b8b2e" providerId="ADAL" clId="{DEF8C959-161B-48E6-918F-19FB2A9D3909}" dt="2023-04-21T09:53:48.588" v="9999"/>
          <ac:spMkLst>
            <pc:docMk/>
            <pc:sldMk cId="1603008812" sldId="7333"/>
            <ac:spMk id="1510" creationId="{99B22AE6-2F51-0265-A7D3-37FA45655015}"/>
          </ac:spMkLst>
        </pc:spChg>
        <pc:spChg chg="mod">
          <ac:chgData name="Bez, Florian" userId="30d7df6a-5295-4d75-a650-5a1fab7b8b2e" providerId="ADAL" clId="{DEF8C959-161B-48E6-918F-19FB2A9D3909}" dt="2023-04-21T09:53:48.588" v="9999"/>
          <ac:spMkLst>
            <pc:docMk/>
            <pc:sldMk cId="1603008812" sldId="7333"/>
            <ac:spMk id="1511" creationId="{E11A033B-ED40-54DC-3A2C-1D09A70C5E34}"/>
          </ac:spMkLst>
        </pc:spChg>
        <pc:spChg chg="mod">
          <ac:chgData name="Bez, Florian" userId="30d7df6a-5295-4d75-a650-5a1fab7b8b2e" providerId="ADAL" clId="{DEF8C959-161B-48E6-918F-19FB2A9D3909}" dt="2023-04-21T09:53:48.588" v="9999"/>
          <ac:spMkLst>
            <pc:docMk/>
            <pc:sldMk cId="1603008812" sldId="7333"/>
            <ac:spMk id="1512" creationId="{2CB61D3E-453E-9E07-933C-F58E81036A83}"/>
          </ac:spMkLst>
        </pc:spChg>
        <pc:spChg chg="mod">
          <ac:chgData name="Bez, Florian" userId="30d7df6a-5295-4d75-a650-5a1fab7b8b2e" providerId="ADAL" clId="{DEF8C959-161B-48E6-918F-19FB2A9D3909}" dt="2023-04-21T09:53:48.588" v="9999"/>
          <ac:spMkLst>
            <pc:docMk/>
            <pc:sldMk cId="1603008812" sldId="7333"/>
            <ac:spMk id="1513" creationId="{3478C45A-C57C-4BF3-1B7D-E5AF8123B0F6}"/>
          </ac:spMkLst>
        </pc:spChg>
        <pc:spChg chg="mod">
          <ac:chgData name="Bez, Florian" userId="30d7df6a-5295-4d75-a650-5a1fab7b8b2e" providerId="ADAL" clId="{DEF8C959-161B-48E6-918F-19FB2A9D3909}" dt="2023-04-21T09:53:48.588" v="9999"/>
          <ac:spMkLst>
            <pc:docMk/>
            <pc:sldMk cId="1603008812" sldId="7333"/>
            <ac:spMk id="1514" creationId="{D390C61D-DECF-C678-9C1D-DA47E9E9BF82}"/>
          </ac:spMkLst>
        </pc:spChg>
        <pc:spChg chg="mod">
          <ac:chgData name="Bez, Florian" userId="30d7df6a-5295-4d75-a650-5a1fab7b8b2e" providerId="ADAL" clId="{DEF8C959-161B-48E6-918F-19FB2A9D3909}" dt="2023-04-21T09:53:48.588" v="9999"/>
          <ac:spMkLst>
            <pc:docMk/>
            <pc:sldMk cId="1603008812" sldId="7333"/>
            <ac:spMk id="1515" creationId="{9421EFD2-D92A-62C5-55FC-82F329D45E7B}"/>
          </ac:spMkLst>
        </pc:spChg>
        <pc:spChg chg="mod">
          <ac:chgData name="Bez, Florian" userId="30d7df6a-5295-4d75-a650-5a1fab7b8b2e" providerId="ADAL" clId="{DEF8C959-161B-48E6-918F-19FB2A9D3909}" dt="2023-04-21T09:53:48.588" v="9999"/>
          <ac:spMkLst>
            <pc:docMk/>
            <pc:sldMk cId="1603008812" sldId="7333"/>
            <ac:spMk id="1516" creationId="{650B5D16-D156-C340-F7A4-72C225CE646F}"/>
          </ac:spMkLst>
        </pc:spChg>
        <pc:spChg chg="mod">
          <ac:chgData name="Bez, Florian" userId="30d7df6a-5295-4d75-a650-5a1fab7b8b2e" providerId="ADAL" clId="{DEF8C959-161B-48E6-918F-19FB2A9D3909}" dt="2023-04-21T09:53:48.588" v="9999"/>
          <ac:spMkLst>
            <pc:docMk/>
            <pc:sldMk cId="1603008812" sldId="7333"/>
            <ac:spMk id="1517" creationId="{302F4FC2-68D3-1844-BB12-069B25FEF9C1}"/>
          </ac:spMkLst>
        </pc:spChg>
        <pc:spChg chg="mod">
          <ac:chgData name="Bez, Florian" userId="30d7df6a-5295-4d75-a650-5a1fab7b8b2e" providerId="ADAL" clId="{DEF8C959-161B-48E6-918F-19FB2A9D3909}" dt="2023-04-21T09:53:48.588" v="9999"/>
          <ac:spMkLst>
            <pc:docMk/>
            <pc:sldMk cId="1603008812" sldId="7333"/>
            <ac:spMk id="1518" creationId="{ABF5E305-7E6D-FCD4-F759-8B2C1E854AA0}"/>
          </ac:spMkLst>
        </pc:spChg>
        <pc:spChg chg="mod">
          <ac:chgData name="Bez, Florian" userId="30d7df6a-5295-4d75-a650-5a1fab7b8b2e" providerId="ADAL" clId="{DEF8C959-161B-48E6-918F-19FB2A9D3909}" dt="2023-04-21T09:53:48.588" v="9999"/>
          <ac:spMkLst>
            <pc:docMk/>
            <pc:sldMk cId="1603008812" sldId="7333"/>
            <ac:spMk id="1519" creationId="{B1C69A9A-BB8A-BD99-F9C1-A0A649DB2DA0}"/>
          </ac:spMkLst>
        </pc:spChg>
        <pc:spChg chg="mod">
          <ac:chgData name="Bez, Florian" userId="30d7df6a-5295-4d75-a650-5a1fab7b8b2e" providerId="ADAL" clId="{DEF8C959-161B-48E6-918F-19FB2A9D3909}" dt="2023-04-21T09:53:48.588" v="9999"/>
          <ac:spMkLst>
            <pc:docMk/>
            <pc:sldMk cId="1603008812" sldId="7333"/>
            <ac:spMk id="1520" creationId="{E2AD0C3A-A4AF-CB23-CD80-D606DC3B25C6}"/>
          </ac:spMkLst>
        </pc:spChg>
        <pc:spChg chg="mod">
          <ac:chgData name="Bez, Florian" userId="30d7df6a-5295-4d75-a650-5a1fab7b8b2e" providerId="ADAL" clId="{DEF8C959-161B-48E6-918F-19FB2A9D3909}" dt="2023-04-21T09:53:48.588" v="9999"/>
          <ac:spMkLst>
            <pc:docMk/>
            <pc:sldMk cId="1603008812" sldId="7333"/>
            <ac:spMk id="1521" creationId="{D3B20087-251D-51A9-1CEF-0273EE071966}"/>
          </ac:spMkLst>
        </pc:spChg>
        <pc:spChg chg="mod">
          <ac:chgData name="Bez, Florian" userId="30d7df6a-5295-4d75-a650-5a1fab7b8b2e" providerId="ADAL" clId="{DEF8C959-161B-48E6-918F-19FB2A9D3909}" dt="2023-04-21T09:53:48.588" v="9999"/>
          <ac:spMkLst>
            <pc:docMk/>
            <pc:sldMk cId="1603008812" sldId="7333"/>
            <ac:spMk id="1522" creationId="{655BC04E-6E86-728F-D106-64412B1AFD51}"/>
          </ac:spMkLst>
        </pc:spChg>
        <pc:spChg chg="mod">
          <ac:chgData name="Bez, Florian" userId="30d7df6a-5295-4d75-a650-5a1fab7b8b2e" providerId="ADAL" clId="{DEF8C959-161B-48E6-918F-19FB2A9D3909}" dt="2023-04-21T09:53:48.588" v="9999"/>
          <ac:spMkLst>
            <pc:docMk/>
            <pc:sldMk cId="1603008812" sldId="7333"/>
            <ac:spMk id="1523" creationId="{7DD7932F-126A-F25F-A327-65853AAB9EFE}"/>
          </ac:spMkLst>
        </pc:spChg>
        <pc:spChg chg="mod">
          <ac:chgData name="Bez, Florian" userId="30d7df6a-5295-4d75-a650-5a1fab7b8b2e" providerId="ADAL" clId="{DEF8C959-161B-48E6-918F-19FB2A9D3909}" dt="2023-04-21T09:53:48.588" v="9999"/>
          <ac:spMkLst>
            <pc:docMk/>
            <pc:sldMk cId="1603008812" sldId="7333"/>
            <ac:spMk id="1524" creationId="{F9FF9F7B-605F-3D10-BCF6-B992772B293C}"/>
          </ac:spMkLst>
        </pc:spChg>
        <pc:spChg chg="mod">
          <ac:chgData name="Bez, Florian" userId="30d7df6a-5295-4d75-a650-5a1fab7b8b2e" providerId="ADAL" clId="{DEF8C959-161B-48E6-918F-19FB2A9D3909}" dt="2023-04-21T09:53:48.588" v="9999"/>
          <ac:spMkLst>
            <pc:docMk/>
            <pc:sldMk cId="1603008812" sldId="7333"/>
            <ac:spMk id="1525" creationId="{FDA6A96F-2848-F826-13C3-4F62B0A0394C}"/>
          </ac:spMkLst>
        </pc:spChg>
        <pc:spChg chg="mod">
          <ac:chgData name="Bez, Florian" userId="30d7df6a-5295-4d75-a650-5a1fab7b8b2e" providerId="ADAL" clId="{DEF8C959-161B-48E6-918F-19FB2A9D3909}" dt="2023-04-21T09:53:48.588" v="9999"/>
          <ac:spMkLst>
            <pc:docMk/>
            <pc:sldMk cId="1603008812" sldId="7333"/>
            <ac:spMk id="1526" creationId="{EEC7C8E5-C0E7-6611-171B-453A3AB1F4EA}"/>
          </ac:spMkLst>
        </pc:spChg>
        <pc:spChg chg="mod">
          <ac:chgData name="Bez, Florian" userId="30d7df6a-5295-4d75-a650-5a1fab7b8b2e" providerId="ADAL" clId="{DEF8C959-161B-48E6-918F-19FB2A9D3909}" dt="2023-04-21T09:53:48.588" v="9999"/>
          <ac:spMkLst>
            <pc:docMk/>
            <pc:sldMk cId="1603008812" sldId="7333"/>
            <ac:spMk id="1527" creationId="{1158686D-3AD3-E2B2-B670-CC61FF679CFA}"/>
          </ac:spMkLst>
        </pc:spChg>
        <pc:spChg chg="mod">
          <ac:chgData name="Bez, Florian" userId="30d7df6a-5295-4d75-a650-5a1fab7b8b2e" providerId="ADAL" clId="{DEF8C959-161B-48E6-918F-19FB2A9D3909}" dt="2023-04-21T09:53:48.588" v="9999"/>
          <ac:spMkLst>
            <pc:docMk/>
            <pc:sldMk cId="1603008812" sldId="7333"/>
            <ac:spMk id="1528" creationId="{5C2FA2BC-93A5-F5FE-F6AE-3F556560468D}"/>
          </ac:spMkLst>
        </pc:spChg>
        <pc:spChg chg="mod">
          <ac:chgData name="Bez, Florian" userId="30d7df6a-5295-4d75-a650-5a1fab7b8b2e" providerId="ADAL" clId="{DEF8C959-161B-48E6-918F-19FB2A9D3909}" dt="2023-04-21T09:53:48.588" v="9999"/>
          <ac:spMkLst>
            <pc:docMk/>
            <pc:sldMk cId="1603008812" sldId="7333"/>
            <ac:spMk id="1529" creationId="{AEF49965-CCB6-0862-D29F-C2AFEA471FBC}"/>
          </ac:spMkLst>
        </pc:spChg>
        <pc:spChg chg="mod">
          <ac:chgData name="Bez, Florian" userId="30d7df6a-5295-4d75-a650-5a1fab7b8b2e" providerId="ADAL" clId="{DEF8C959-161B-48E6-918F-19FB2A9D3909}" dt="2023-04-21T09:53:48.588" v="9999"/>
          <ac:spMkLst>
            <pc:docMk/>
            <pc:sldMk cId="1603008812" sldId="7333"/>
            <ac:spMk id="1530" creationId="{5C0AE423-C7C0-30E3-AE00-09D02311116B}"/>
          </ac:spMkLst>
        </pc:spChg>
        <pc:spChg chg="mod">
          <ac:chgData name="Bez, Florian" userId="30d7df6a-5295-4d75-a650-5a1fab7b8b2e" providerId="ADAL" clId="{DEF8C959-161B-48E6-918F-19FB2A9D3909}" dt="2023-04-21T09:53:48.588" v="9999"/>
          <ac:spMkLst>
            <pc:docMk/>
            <pc:sldMk cId="1603008812" sldId="7333"/>
            <ac:spMk id="1531" creationId="{41043306-14E6-6F20-7E6D-359C0D238788}"/>
          </ac:spMkLst>
        </pc:spChg>
        <pc:spChg chg="mod">
          <ac:chgData name="Bez, Florian" userId="30d7df6a-5295-4d75-a650-5a1fab7b8b2e" providerId="ADAL" clId="{DEF8C959-161B-48E6-918F-19FB2A9D3909}" dt="2023-04-21T09:53:48.588" v="9999"/>
          <ac:spMkLst>
            <pc:docMk/>
            <pc:sldMk cId="1603008812" sldId="7333"/>
            <ac:spMk id="1532" creationId="{4BE63DD8-C2F6-63AD-B609-58A94A06C39E}"/>
          </ac:spMkLst>
        </pc:spChg>
        <pc:spChg chg="mod">
          <ac:chgData name="Bez, Florian" userId="30d7df6a-5295-4d75-a650-5a1fab7b8b2e" providerId="ADAL" clId="{DEF8C959-161B-48E6-918F-19FB2A9D3909}" dt="2023-04-21T09:53:48.588" v="9999"/>
          <ac:spMkLst>
            <pc:docMk/>
            <pc:sldMk cId="1603008812" sldId="7333"/>
            <ac:spMk id="1533" creationId="{DE3B1B4C-7B4B-0108-E28A-DB1998EAA256}"/>
          </ac:spMkLst>
        </pc:spChg>
        <pc:spChg chg="mod">
          <ac:chgData name="Bez, Florian" userId="30d7df6a-5295-4d75-a650-5a1fab7b8b2e" providerId="ADAL" clId="{DEF8C959-161B-48E6-918F-19FB2A9D3909}" dt="2023-04-21T09:53:48.588" v="9999"/>
          <ac:spMkLst>
            <pc:docMk/>
            <pc:sldMk cId="1603008812" sldId="7333"/>
            <ac:spMk id="1534" creationId="{61C6509B-236D-50F4-14BA-17E3018DF88F}"/>
          </ac:spMkLst>
        </pc:spChg>
        <pc:spChg chg="mod">
          <ac:chgData name="Bez, Florian" userId="30d7df6a-5295-4d75-a650-5a1fab7b8b2e" providerId="ADAL" clId="{DEF8C959-161B-48E6-918F-19FB2A9D3909}" dt="2023-04-21T09:53:48.588" v="9999"/>
          <ac:spMkLst>
            <pc:docMk/>
            <pc:sldMk cId="1603008812" sldId="7333"/>
            <ac:spMk id="1535" creationId="{787970E5-ECA2-25E6-5799-8853BAFEF52B}"/>
          </ac:spMkLst>
        </pc:spChg>
        <pc:spChg chg="mod">
          <ac:chgData name="Bez, Florian" userId="30d7df6a-5295-4d75-a650-5a1fab7b8b2e" providerId="ADAL" clId="{DEF8C959-161B-48E6-918F-19FB2A9D3909}" dt="2023-04-21T09:53:48.588" v="9999"/>
          <ac:spMkLst>
            <pc:docMk/>
            <pc:sldMk cId="1603008812" sldId="7333"/>
            <ac:spMk id="1536" creationId="{F2067E62-C3CA-95DA-153F-C8D90C4759FD}"/>
          </ac:spMkLst>
        </pc:spChg>
        <pc:spChg chg="mod">
          <ac:chgData name="Bez, Florian" userId="30d7df6a-5295-4d75-a650-5a1fab7b8b2e" providerId="ADAL" clId="{DEF8C959-161B-48E6-918F-19FB2A9D3909}" dt="2023-04-21T09:53:48.588" v="9999"/>
          <ac:spMkLst>
            <pc:docMk/>
            <pc:sldMk cId="1603008812" sldId="7333"/>
            <ac:spMk id="1537" creationId="{BECBE1BF-538D-A253-2CC5-D23A72FF07C9}"/>
          </ac:spMkLst>
        </pc:spChg>
        <pc:spChg chg="mod">
          <ac:chgData name="Bez, Florian" userId="30d7df6a-5295-4d75-a650-5a1fab7b8b2e" providerId="ADAL" clId="{DEF8C959-161B-48E6-918F-19FB2A9D3909}" dt="2023-04-21T09:53:48.588" v="9999"/>
          <ac:spMkLst>
            <pc:docMk/>
            <pc:sldMk cId="1603008812" sldId="7333"/>
            <ac:spMk id="1538" creationId="{AC5286B7-0326-91AD-F025-EFCEBF23CC82}"/>
          </ac:spMkLst>
        </pc:spChg>
        <pc:spChg chg="mod">
          <ac:chgData name="Bez, Florian" userId="30d7df6a-5295-4d75-a650-5a1fab7b8b2e" providerId="ADAL" clId="{DEF8C959-161B-48E6-918F-19FB2A9D3909}" dt="2023-04-21T09:53:48.588" v="9999"/>
          <ac:spMkLst>
            <pc:docMk/>
            <pc:sldMk cId="1603008812" sldId="7333"/>
            <ac:spMk id="1539" creationId="{CE1C909E-5D6F-BFE3-78CB-347CFDA72F96}"/>
          </ac:spMkLst>
        </pc:spChg>
        <pc:spChg chg="mod">
          <ac:chgData name="Bez, Florian" userId="30d7df6a-5295-4d75-a650-5a1fab7b8b2e" providerId="ADAL" clId="{DEF8C959-161B-48E6-918F-19FB2A9D3909}" dt="2023-04-21T09:53:48.588" v="9999"/>
          <ac:spMkLst>
            <pc:docMk/>
            <pc:sldMk cId="1603008812" sldId="7333"/>
            <ac:spMk id="1540" creationId="{1A3D1D95-8CA1-02E0-D3A3-0404F4637900}"/>
          </ac:spMkLst>
        </pc:spChg>
        <pc:spChg chg="mod">
          <ac:chgData name="Bez, Florian" userId="30d7df6a-5295-4d75-a650-5a1fab7b8b2e" providerId="ADAL" clId="{DEF8C959-161B-48E6-918F-19FB2A9D3909}" dt="2023-04-21T09:53:48.588" v="9999"/>
          <ac:spMkLst>
            <pc:docMk/>
            <pc:sldMk cId="1603008812" sldId="7333"/>
            <ac:spMk id="1541" creationId="{2DAB8E11-92A5-39F9-F26D-F5C800027169}"/>
          </ac:spMkLst>
        </pc:spChg>
        <pc:spChg chg="mod">
          <ac:chgData name="Bez, Florian" userId="30d7df6a-5295-4d75-a650-5a1fab7b8b2e" providerId="ADAL" clId="{DEF8C959-161B-48E6-918F-19FB2A9D3909}" dt="2023-04-21T09:53:48.588" v="9999"/>
          <ac:spMkLst>
            <pc:docMk/>
            <pc:sldMk cId="1603008812" sldId="7333"/>
            <ac:spMk id="1542" creationId="{7E242173-3E5B-3FB2-B2C5-BC70BBDCB64C}"/>
          </ac:spMkLst>
        </pc:spChg>
        <pc:spChg chg="mod">
          <ac:chgData name="Bez, Florian" userId="30d7df6a-5295-4d75-a650-5a1fab7b8b2e" providerId="ADAL" clId="{DEF8C959-161B-48E6-918F-19FB2A9D3909}" dt="2023-04-21T09:53:48.588" v="9999"/>
          <ac:spMkLst>
            <pc:docMk/>
            <pc:sldMk cId="1603008812" sldId="7333"/>
            <ac:spMk id="1543" creationId="{DD75C135-2133-5267-8708-977C48563050}"/>
          </ac:spMkLst>
        </pc:spChg>
        <pc:spChg chg="mod">
          <ac:chgData name="Bez, Florian" userId="30d7df6a-5295-4d75-a650-5a1fab7b8b2e" providerId="ADAL" clId="{DEF8C959-161B-48E6-918F-19FB2A9D3909}" dt="2023-04-21T09:53:48.588" v="9999"/>
          <ac:spMkLst>
            <pc:docMk/>
            <pc:sldMk cId="1603008812" sldId="7333"/>
            <ac:spMk id="1544" creationId="{C82179EE-6671-A044-06C9-AEAC6E96AEB5}"/>
          </ac:spMkLst>
        </pc:spChg>
        <pc:spChg chg="mod">
          <ac:chgData name="Bez, Florian" userId="30d7df6a-5295-4d75-a650-5a1fab7b8b2e" providerId="ADAL" clId="{DEF8C959-161B-48E6-918F-19FB2A9D3909}" dt="2023-04-21T09:53:48.588" v="9999"/>
          <ac:spMkLst>
            <pc:docMk/>
            <pc:sldMk cId="1603008812" sldId="7333"/>
            <ac:spMk id="1545" creationId="{E83803BD-2B90-A916-E7F2-A96F478CC8F1}"/>
          </ac:spMkLst>
        </pc:spChg>
        <pc:spChg chg="mod">
          <ac:chgData name="Bez, Florian" userId="30d7df6a-5295-4d75-a650-5a1fab7b8b2e" providerId="ADAL" clId="{DEF8C959-161B-48E6-918F-19FB2A9D3909}" dt="2023-04-21T09:53:48.588" v="9999"/>
          <ac:spMkLst>
            <pc:docMk/>
            <pc:sldMk cId="1603008812" sldId="7333"/>
            <ac:spMk id="1546" creationId="{17875ED5-1D0B-CE15-350D-3256786779A3}"/>
          </ac:spMkLst>
        </pc:spChg>
        <pc:spChg chg="mod">
          <ac:chgData name="Bez, Florian" userId="30d7df6a-5295-4d75-a650-5a1fab7b8b2e" providerId="ADAL" clId="{DEF8C959-161B-48E6-918F-19FB2A9D3909}" dt="2023-04-21T09:53:48.588" v="9999"/>
          <ac:spMkLst>
            <pc:docMk/>
            <pc:sldMk cId="1603008812" sldId="7333"/>
            <ac:spMk id="1547" creationId="{0B5A7A85-E631-1D67-5A99-5907D11CC290}"/>
          </ac:spMkLst>
        </pc:spChg>
        <pc:spChg chg="mod">
          <ac:chgData name="Bez, Florian" userId="30d7df6a-5295-4d75-a650-5a1fab7b8b2e" providerId="ADAL" clId="{DEF8C959-161B-48E6-918F-19FB2A9D3909}" dt="2023-04-21T09:53:48.588" v="9999"/>
          <ac:spMkLst>
            <pc:docMk/>
            <pc:sldMk cId="1603008812" sldId="7333"/>
            <ac:spMk id="1548" creationId="{0C59D993-B323-5710-7566-53853C6E78C3}"/>
          </ac:spMkLst>
        </pc:spChg>
        <pc:spChg chg="mod">
          <ac:chgData name="Bez, Florian" userId="30d7df6a-5295-4d75-a650-5a1fab7b8b2e" providerId="ADAL" clId="{DEF8C959-161B-48E6-918F-19FB2A9D3909}" dt="2023-04-21T09:53:48.588" v="9999"/>
          <ac:spMkLst>
            <pc:docMk/>
            <pc:sldMk cId="1603008812" sldId="7333"/>
            <ac:spMk id="1549" creationId="{FFDD9C6B-3E4D-A61D-9D58-7F4F3602CA1E}"/>
          </ac:spMkLst>
        </pc:spChg>
        <pc:spChg chg="mod">
          <ac:chgData name="Bez, Florian" userId="30d7df6a-5295-4d75-a650-5a1fab7b8b2e" providerId="ADAL" clId="{DEF8C959-161B-48E6-918F-19FB2A9D3909}" dt="2023-04-21T09:53:48.588" v="9999"/>
          <ac:spMkLst>
            <pc:docMk/>
            <pc:sldMk cId="1603008812" sldId="7333"/>
            <ac:spMk id="1550" creationId="{3E0F8618-EF76-3E8D-EE3F-B8042E689162}"/>
          </ac:spMkLst>
        </pc:spChg>
        <pc:spChg chg="mod">
          <ac:chgData name="Bez, Florian" userId="30d7df6a-5295-4d75-a650-5a1fab7b8b2e" providerId="ADAL" clId="{DEF8C959-161B-48E6-918F-19FB2A9D3909}" dt="2023-04-21T09:53:48.588" v="9999"/>
          <ac:spMkLst>
            <pc:docMk/>
            <pc:sldMk cId="1603008812" sldId="7333"/>
            <ac:spMk id="1551" creationId="{1347D464-2F21-5562-723B-343B469C991B}"/>
          </ac:spMkLst>
        </pc:spChg>
        <pc:spChg chg="mod">
          <ac:chgData name="Bez, Florian" userId="30d7df6a-5295-4d75-a650-5a1fab7b8b2e" providerId="ADAL" clId="{DEF8C959-161B-48E6-918F-19FB2A9D3909}" dt="2023-04-21T09:53:48.588" v="9999"/>
          <ac:spMkLst>
            <pc:docMk/>
            <pc:sldMk cId="1603008812" sldId="7333"/>
            <ac:spMk id="1552" creationId="{1E281CCE-77B8-4D36-6C16-1503B2299F37}"/>
          </ac:spMkLst>
        </pc:spChg>
        <pc:spChg chg="mod">
          <ac:chgData name="Bez, Florian" userId="30d7df6a-5295-4d75-a650-5a1fab7b8b2e" providerId="ADAL" clId="{DEF8C959-161B-48E6-918F-19FB2A9D3909}" dt="2023-04-21T09:53:48.588" v="9999"/>
          <ac:spMkLst>
            <pc:docMk/>
            <pc:sldMk cId="1603008812" sldId="7333"/>
            <ac:spMk id="1553" creationId="{F2E1E326-EA3E-4CC7-5460-687464997CBB}"/>
          </ac:spMkLst>
        </pc:spChg>
        <pc:spChg chg="mod">
          <ac:chgData name="Bez, Florian" userId="30d7df6a-5295-4d75-a650-5a1fab7b8b2e" providerId="ADAL" clId="{DEF8C959-161B-48E6-918F-19FB2A9D3909}" dt="2023-04-21T09:53:48.588" v="9999"/>
          <ac:spMkLst>
            <pc:docMk/>
            <pc:sldMk cId="1603008812" sldId="7333"/>
            <ac:spMk id="1554" creationId="{206E6282-414D-A283-A9B2-F6E718B01228}"/>
          </ac:spMkLst>
        </pc:spChg>
        <pc:spChg chg="mod">
          <ac:chgData name="Bez, Florian" userId="30d7df6a-5295-4d75-a650-5a1fab7b8b2e" providerId="ADAL" clId="{DEF8C959-161B-48E6-918F-19FB2A9D3909}" dt="2023-04-21T09:53:48.588" v="9999"/>
          <ac:spMkLst>
            <pc:docMk/>
            <pc:sldMk cId="1603008812" sldId="7333"/>
            <ac:spMk id="1555" creationId="{816CFCC6-2440-A70D-90E7-4C2B6F0FC624}"/>
          </ac:spMkLst>
        </pc:spChg>
        <pc:spChg chg="mod">
          <ac:chgData name="Bez, Florian" userId="30d7df6a-5295-4d75-a650-5a1fab7b8b2e" providerId="ADAL" clId="{DEF8C959-161B-48E6-918F-19FB2A9D3909}" dt="2023-04-21T09:53:48.588" v="9999"/>
          <ac:spMkLst>
            <pc:docMk/>
            <pc:sldMk cId="1603008812" sldId="7333"/>
            <ac:spMk id="1556" creationId="{1CA02287-5B93-BE81-409B-F04F339EAD0E}"/>
          </ac:spMkLst>
        </pc:spChg>
        <pc:spChg chg="mod">
          <ac:chgData name="Bez, Florian" userId="30d7df6a-5295-4d75-a650-5a1fab7b8b2e" providerId="ADAL" clId="{DEF8C959-161B-48E6-918F-19FB2A9D3909}" dt="2023-04-21T09:53:48.588" v="9999"/>
          <ac:spMkLst>
            <pc:docMk/>
            <pc:sldMk cId="1603008812" sldId="7333"/>
            <ac:spMk id="1557" creationId="{EBFE168B-64FA-61B6-C6DA-36E5065DC79B}"/>
          </ac:spMkLst>
        </pc:spChg>
        <pc:spChg chg="mod">
          <ac:chgData name="Bez, Florian" userId="30d7df6a-5295-4d75-a650-5a1fab7b8b2e" providerId="ADAL" clId="{DEF8C959-161B-48E6-918F-19FB2A9D3909}" dt="2023-04-21T09:53:48.588" v="9999"/>
          <ac:spMkLst>
            <pc:docMk/>
            <pc:sldMk cId="1603008812" sldId="7333"/>
            <ac:spMk id="1558" creationId="{2F033E60-B550-E870-3C8A-583CB47CEE83}"/>
          </ac:spMkLst>
        </pc:spChg>
        <pc:spChg chg="mod">
          <ac:chgData name="Bez, Florian" userId="30d7df6a-5295-4d75-a650-5a1fab7b8b2e" providerId="ADAL" clId="{DEF8C959-161B-48E6-918F-19FB2A9D3909}" dt="2023-04-21T09:53:48.588" v="9999"/>
          <ac:spMkLst>
            <pc:docMk/>
            <pc:sldMk cId="1603008812" sldId="7333"/>
            <ac:spMk id="1559" creationId="{D1F23393-3BF8-2533-0E70-72EAAE322A60}"/>
          </ac:spMkLst>
        </pc:spChg>
        <pc:spChg chg="mod">
          <ac:chgData name="Bez, Florian" userId="30d7df6a-5295-4d75-a650-5a1fab7b8b2e" providerId="ADAL" clId="{DEF8C959-161B-48E6-918F-19FB2A9D3909}" dt="2023-04-21T09:53:48.588" v="9999"/>
          <ac:spMkLst>
            <pc:docMk/>
            <pc:sldMk cId="1603008812" sldId="7333"/>
            <ac:spMk id="1560" creationId="{288471CE-FAD4-5089-D1C6-8CF87C8E8748}"/>
          </ac:spMkLst>
        </pc:spChg>
        <pc:spChg chg="mod">
          <ac:chgData name="Bez, Florian" userId="30d7df6a-5295-4d75-a650-5a1fab7b8b2e" providerId="ADAL" clId="{DEF8C959-161B-48E6-918F-19FB2A9D3909}" dt="2023-04-21T09:53:48.588" v="9999"/>
          <ac:spMkLst>
            <pc:docMk/>
            <pc:sldMk cId="1603008812" sldId="7333"/>
            <ac:spMk id="1561" creationId="{524A9F49-84F9-5943-472C-EDE25B0CAEF5}"/>
          </ac:spMkLst>
        </pc:spChg>
        <pc:spChg chg="mod">
          <ac:chgData name="Bez, Florian" userId="30d7df6a-5295-4d75-a650-5a1fab7b8b2e" providerId="ADAL" clId="{DEF8C959-161B-48E6-918F-19FB2A9D3909}" dt="2023-04-21T09:53:48.588" v="9999"/>
          <ac:spMkLst>
            <pc:docMk/>
            <pc:sldMk cId="1603008812" sldId="7333"/>
            <ac:spMk id="1562" creationId="{8CAF818F-6F8C-4351-9971-8883238ADB8B}"/>
          </ac:spMkLst>
        </pc:spChg>
        <pc:spChg chg="mod">
          <ac:chgData name="Bez, Florian" userId="30d7df6a-5295-4d75-a650-5a1fab7b8b2e" providerId="ADAL" clId="{DEF8C959-161B-48E6-918F-19FB2A9D3909}" dt="2023-04-21T09:53:48.588" v="9999"/>
          <ac:spMkLst>
            <pc:docMk/>
            <pc:sldMk cId="1603008812" sldId="7333"/>
            <ac:spMk id="1563" creationId="{558C5D36-86C6-0F95-9853-157E0CBC786E}"/>
          </ac:spMkLst>
        </pc:spChg>
        <pc:spChg chg="mod">
          <ac:chgData name="Bez, Florian" userId="30d7df6a-5295-4d75-a650-5a1fab7b8b2e" providerId="ADAL" clId="{DEF8C959-161B-48E6-918F-19FB2A9D3909}" dt="2023-04-21T09:53:48.588" v="9999"/>
          <ac:spMkLst>
            <pc:docMk/>
            <pc:sldMk cId="1603008812" sldId="7333"/>
            <ac:spMk id="1564" creationId="{2E3A2610-75DC-ED0F-5362-828891CC8E58}"/>
          </ac:spMkLst>
        </pc:spChg>
        <pc:spChg chg="mod">
          <ac:chgData name="Bez, Florian" userId="30d7df6a-5295-4d75-a650-5a1fab7b8b2e" providerId="ADAL" clId="{DEF8C959-161B-48E6-918F-19FB2A9D3909}" dt="2023-04-21T09:53:48.588" v="9999"/>
          <ac:spMkLst>
            <pc:docMk/>
            <pc:sldMk cId="1603008812" sldId="7333"/>
            <ac:spMk id="1565" creationId="{D96AA6F1-CC48-B0DD-1DED-0816A5477AAE}"/>
          </ac:spMkLst>
        </pc:spChg>
        <pc:spChg chg="mod">
          <ac:chgData name="Bez, Florian" userId="30d7df6a-5295-4d75-a650-5a1fab7b8b2e" providerId="ADAL" clId="{DEF8C959-161B-48E6-918F-19FB2A9D3909}" dt="2023-04-21T09:53:48.588" v="9999"/>
          <ac:spMkLst>
            <pc:docMk/>
            <pc:sldMk cId="1603008812" sldId="7333"/>
            <ac:spMk id="1566" creationId="{1F5D8BB7-5398-4E37-0FEE-0682CEDCC1BE}"/>
          </ac:spMkLst>
        </pc:spChg>
        <pc:spChg chg="mod">
          <ac:chgData name="Bez, Florian" userId="30d7df6a-5295-4d75-a650-5a1fab7b8b2e" providerId="ADAL" clId="{DEF8C959-161B-48E6-918F-19FB2A9D3909}" dt="2023-04-21T09:53:48.588" v="9999"/>
          <ac:spMkLst>
            <pc:docMk/>
            <pc:sldMk cId="1603008812" sldId="7333"/>
            <ac:spMk id="1567" creationId="{DE92B502-4D53-EAE8-0022-67547CAD9F9C}"/>
          </ac:spMkLst>
        </pc:spChg>
        <pc:spChg chg="mod">
          <ac:chgData name="Bez, Florian" userId="30d7df6a-5295-4d75-a650-5a1fab7b8b2e" providerId="ADAL" clId="{DEF8C959-161B-48E6-918F-19FB2A9D3909}" dt="2023-04-21T09:53:48.588" v="9999"/>
          <ac:spMkLst>
            <pc:docMk/>
            <pc:sldMk cId="1603008812" sldId="7333"/>
            <ac:spMk id="1568" creationId="{6FACF746-EA6D-AAF2-645A-EAA16E654553}"/>
          </ac:spMkLst>
        </pc:spChg>
        <pc:spChg chg="mod">
          <ac:chgData name="Bez, Florian" userId="30d7df6a-5295-4d75-a650-5a1fab7b8b2e" providerId="ADAL" clId="{DEF8C959-161B-48E6-918F-19FB2A9D3909}" dt="2023-04-21T09:53:48.588" v="9999"/>
          <ac:spMkLst>
            <pc:docMk/>
            <pc:sldMk cId="1603008812" sldId="7333"/>
            <ac:spMk id="1569" creationId="{2401C6FA-847C-08FC-3E5F-FB3F91B630D8}"/>
          </ac:spMkLst>
        </pc:spChg>
        <pc:spChg chg="mod">
          <ac:chgData name="Bez, Florian" userId="30d7df6a-5295-4d75-a650-5a1fab7b8b2e" providerId="ADAL" clId="{DEF8C959-161B-48E6-918F-19FB2A9D3909}" dt="2023-04-21T09:53:48.588" v="9999"/>
          <ac:spMkLst>
            <pc:docMk/>
            <pc:sldMk cId="1603008812" sldId="7333"/>
            <ac:spMk id="1570" creationId="{299C10EB-F868-D79A-6D3D-36AC9901F8BD}"/>
          </ac:spMkLst>
        </pc:spChg>
        <pc:spChg chg="mod">
          <ac:chgData name="Bez, Florian" userId="30d7df6a-5295-4d75-a650-5a1fab7b8b2e" providerId="ADAL" clId="{DEF8C959-161B-48E6-918F-19FB2A9D3909}" dt="2023-04-21T09:53:48.588" v="9999"/>
          <ac:spMkLst>
            <pc:docMk/>
            <pc:sldMk cId="1603008812" sldId="7333"/>
            <ac:spMk id="1571" creationId="{5F49B0D5-312F-6360-622C-48F9A8E1CF8A}"/>
          </ac:spMkLst>
        </pc:spChg>
        <pc:spChg chg="mod">
          <ac:chgData name="Bez, Florian" userId="30d7df6a-5295-4d75-a650-5a1fab7b8b2e" providerId="ADAL" clId="{DEF8C959-161B-48E6-918F-19FB2A9D3909}" dt="2023-04-21T09:53:48.588" v="9999"/>
          <ac:spMkLst>
            <pc:docMk/>
            <pc:sldMk cId="1603008812" sldId="7333"/>
            <ac:spMk id="1572" creationId="{E3A39451-DE4E-0AB0-B867-5312F0758716}"/>
          </ac:spMkLst>
        </pc:spChg>
        <pc:spChg chg="mod">
          <ac:chgData name="Bez, Florian" userId="30d7df6a-5295-4d75-a650-5a1fab7b8b2e" providerId="ADAL" clId="{DEF8C959-161B-48E6-918F-19FB2A9D3909}" dt="2023-04-21T09:53:48.588" v="9999"/>
          <ac:spMkLst>
            <pc:docMk/>
            <pc:sldMk cId="1603008812" sldId="7333"/>
            <ac:spMk id="1573" creationId="{A9B78B5D-F08B-A387-8784-8B06F9B95D93}"/>
          </ac:spMkLst>
        </pc:spChg>
        <pc:spChg chg="mod">
          <ac:chgData name="Bez, Florian" userId="30d7df6a-5295-4d75-a650-5a1fab7b8b2e" providerId="ADAL" clId="{DEF8C959-161B-48E6-918F-19FB2A9D3909}" dt="2023-04-21T09:53:48.588" v="9999"/>
          <ac:spMkLst>
            <pc:docMk/>
            <pc:sldMk cId="1603008812" sldId="7333"/>
            <ac:spMk id="1574" creationId="{460E6327-1AEA-5002-5669-C562A119DFF7}"/>
          </ac:spMkLst>
        </pc:spChg>
        <pc:spChg chg="mod">
          <ac:chgData name="Bez, Florian" userId="30d7df6a-5295-4d75-a650-5a1fab7b8b2e" providerId="ADAL" clId="{DEF8C959-161B-48E6-918F-19FB2A9D3909}" dt="2023-04-21T09:54:24.426" v="10005"/>
          <ac:spMkLst>
            <pc:docMk/>
            <pc:sldMk cId="1603008812" sldId="7333"/>
            <ac:spMk id="1580" creationId="{70229A9F-5226-F54A-5599-188FBA95A41B}"/>
          </ac:spMkLst>
        </pc:spChg>
        <pc:spChg chg="mod">
          <ac:chgData name="Bez, Florian" userId="30d7df6a-5295-4d75-a650-5a1fab7b8b2e" providerId="ADAL" clId="{DEF8C959-161B-48E6-918F-19FB2A9D3909}" dt="2023-04-21T09:54:24.426" v="10005"/>
          <ac:spMkLst>
            <pc:docMk/>
            <pc:sldMk cId="1603008812" sldId="7333"/>
            <ac:spMk id="1581" creationId="{0F0EE587-E95A-7B65-8AD3-11DAE6423163}"/>
          </ac:spMkLst>
        </pc:spChg>
        <pc:spChg chg="mod">
          <ac:chgData name="Bez, Florian" userId="30d7df6a-5295-4d75-a650-5a1fab7b8b2e" providerId="ADAL" clId="{DEF8C959-161B-48E6-918F-19FB2A9D3909}" dt="2023-04-21T09:54:24.426" v="10005"/>
          <ac:spMkLst>
            <pc:docMk/>
            <pc:sldMk cId="1603008812" sldId="7333"/>
            <ac:spMk id="1582" creationId="{0CAD0F0F-1F87-0E9F-B948-7C6B8208095E}"/>
          </ac:spMkLst>
        </pc:spChg>
        <pc:spChg chg="mod">
          <ac:chgData name="Bez, Florian" userId="30d7df6a-5295-4d75-a650-5a1fab7b8b2e" providerId="ADAL" clId="{DEF8C959-161B-48E6-918F-19FB2A9D3909}" dt="2023-04-21T09:54:24.426" v="10005"/>
          <ac:spMkLst>
            <pc:docMk/>
            <pc:sldMk cId="1603008812" sldId="7333"/>
            <ac:spMk id="1583" creationId="{4034E9AD-513E-B161-8F02-EDED3479416F}"/>
          </ac:spMkLst>
        </pc:spChg>
        <pc:spChg chg="mod">
          <ac:chgData name="Bez, Florian" userId="30d7df6a-5295-4d75-a650-5a1fab7b8b2e" providerId="ADAL" clId="{DEF8C959-161B-48E6-918F-19FB2A9D3909}" dt="2023-04-21T09:54:24.426" v="10005"/>
          <ac:spMkLst>
            <pc:docMk/>
            <pc:sldMk cId="1603008812" sldId="7333"/>
            <ac:spMk id="1584" creationId="{4960BD95-2970-BFD2-4FB5-96FE39ACD4A5}"/>
          </ac:spMkLst>
        </pc:spChg>
        <pc:spChg chg="mod">
          <ac:chgData name="Bez, Florian" userId="30d7df6a-5295-4d75-a650-5a1fab7b8b2e" providerId="ADAL" clId="{DEF8C959-161B-48E6-918F-19FB2A9D3909}" dt="2023-04-21T09:54:24.426" v="10005"/>
          <ac:spMkLst>
            <pc:docMk/>
            <pc:sldMk cId="1603008812" sldId="7333"/>
            <ac:spMk id="1585" creationId="{137184E3-AA7F-DC75-C7B6-879A7B85BA98}"/>
          </ac:spMkLst>
        </pc:spChg>
        <pc:spChg chg="mod">
          <ac:chgData name="Bez, Florian" userId="30d7df6a-5295-4d75-a650-5a1fab7b8b2e" providerId="ADAL" clId="{DEF8C959-161B-48E6-918F-19FB2A9D3909}" dt="2023-04-21T09:54:24.426" v="10005"/>
          <ac:spMkLst>
            <pc:docMk/>
            <pc:sldMk cId="1603008812" sldId="7333"/>
            <ac:spMk id="1586" creationId="{BBFAABA5-5ED4-3C77-E590-2B68AA6C64EB}"/>
          </ac:spMkLst>
        </pc:spChg>
        <pc:spChg chg="mod">
          <ac:chgData name="Bez, Florian" userId="30d7df6a-5295-4d75-a650-5a1fab7b8b2e" providerId="ADAL" clId="{DEF8C959-161B-48E6-918F-19FB2A9D3909}" dt="2023-04-21T09:54:24.426" v="10005"/>
          <ac:spMkLst>
            <pc:docMk/>
            <pc:sldMk cId="1603008812" sldId="7333"/>
            <ac:spMk id="1587" creationId="{16BF7D98-BB6A-1228-BF74-C33D381501AE}"/>
          </ac:spMkLst>
        </pc:spChg>
        <pc:spChg chg="mod">
          <ac:chgData name="Bez, Florian" userId="30d7df6a-5295-4d75-a650-5a1fab7b8b2e" providerId="ADAL" clId="{DEF8C959-161B-48E6-918F-19FB2A9D3909}" dt="2023-04-21T09:54:24.426" v="10005"/>
          <ac:spMkLst>
            <pc:docMk/>
            <pc:sldMk cId="1603008812" sldId="7333"/>
            <ac:spMk id="1588" creationId="{79D18B28-DD39-0D02-2E65-B73E9C99B2C5}"/>
          </ac:spMkLst>
        </pc:spChg>
        <pc:spChg chg="mod">
          <ac:chgData name="Bez, Florian" userId="30d7df6a-5295-4d75-a650-5a1fab7b8b2e" providerId="ADAL" clId="{DEF8C959-161B-48E6-918F-19FB2A9D3909}" dt="2023-04-21T09:54:24.426" v="10005"/>
          <ac:spMkLst>
            <pc:docMk/>
            <pc:sldMk cId="1603008812" sldId="7333"/>
            <ac:spMk id="1589" creationId="{3694FBF6-FEAD-3499-21DD-0F202AA99EEA}"/>
          </ac:spMkLst>
        </pc:spChg>
        <pc:spChg chg="mod">
          <ac:chgData name="Bez, Florian" userId="30d7df6a-5295-4d75-a650-5a1fab7b8b2e" providerId="ADAL" clId="{DEF8C959-161B-48E6-918F-19FB2A9D3909}" dt="2023-04-21T09:54:24.426" v="10005"/>
          <ac:spMkLst>
            <pc:docMk/>
            <pc:sldMk cId="1603008812" sldId="7333"/>
            <ac:spMk id="1590" creationId="{D42E7A3C-BF36-DA98-D569-737350BFA4AC}"/>
          </ac:spMkLst>
        </pc:spChg>
        <pc:spChg chg="mod">
          <ac:chgData name="Bez, Florian" userId="30d7df6a-5295-4d75-a650-5a1fab7b8b2e" providerId="ADAL" clId="{DEF8C959-161B-48E6-918F-19FB2A9D3909}" dt="2023-04-21T09:54:24.426" v="10005"/>
          <ac:spMkLst>
            <pc:docMk/>
            <pc:sldMk cId="1603008812" sldId="7333"/>
            <ac:spMk id="1591" creationId="{F077E2E7-C303-24B5-59ED-AEA9CA8BDB08}"/>
          </ac:spMkLst>
        </pc:spChg>
        <pc:spChg chg="mod">
          <ac:chgData name="Bez, Florian" userId="30d7df6a-5295-4d75-a650-5a1fab7b8b2e" providerId="ADAL" clId="{DEF8C959-161B-48E6-918F-19FB2A9D3909}" dt="2023-04-21T09:54:24.426" v="10005"/>
          <ac:spMkLst>
            <pc:docMk/>
            <pc:sldMk cId="1603008812" sldId="7333"/>
            <ac:spMk id="1592" creationId="{54929226-F151-1994-C988-C882A43883A7}"/>
          </ac:spMkLst>
        </pc:spChg>
        <pc:spChg chg="mod">
          <ac:chgData name="Bez, Florian" userId="30d7df6a-5295-4d75-a650-5a1fab7b8b2e" providerId="ADAL" clId="{DEF8C959-161B-48E6-918F-19FB2A9D3909}" dt="2023-04-21T09:54:24.426" v="10005"/>
          <ac:spMkLst>
            <pc:docMk/>
            <pc:sldMk cId="1603008812" sldId="7333"/>
            <ac:spMk id="1593" creationId="{08A90D0F-6626-D082-7EB6-8972AA93FFF3}"/>
          </ac:spMkLst>
        </pc:spChg>
        <pc:spChg chg="mod">
          <ac:chgData name="Bez, Florian" userId="30d7df6a-5295-4d75-a650-5a1fab7b8b2e" providerId="ADAL" clId="{DEF8C959-161B-48E6-918F-19FB2A9D3909}" dt="2023-04-21T09:54:24.426" v="10005"/>
          <ac:spMkLst>
            <pc:docMk/>
            <pc:sldMk cId="1603008812" sldId="7333"/>
            <ac:spMk id="1594" creationId="{D6D92B26-7CCE-5175-6BEA-2982E621A746}"/>
          </ac:spMkLst>
        </pc:spChg>
        <pc:spChg chg="mod">
          <ac:chgData name="Bez, Florian" userId="30d7df6a-5295-4d75-a650-5a1fab7b8b2e" providerId="ADAL" clId="{DEF8C959-161B-48E6-918F-19FB2A9D3909}" dt="2023-04-21T09:54:24.426" v="10005"/>
          <ac:spMkLst>
            <pc:docMk/>
            <pc:sldMk cId="1603008812" sldId="7333"/>
            <ac:spMk id="1595" creationId="{01B21218-0D98-D8BF-F3A5-7269B8244300}"/>
          </ac:spMkLst>
        </pc:spChg>
        <pc:spChg chg="mod">
          <ac:chgData name="Bez, Florian" userId="30d7df6a-5295-4d75-a650-5a1fab7b8b2e" providerId="ADAL" clId="{DEF8C959-161B-48E6-918F-19FB2A9D3909}" dt="2023-04-21T09:54:24.426" v="10005"/>
          <ac:spMkLst>
            <pc:docMk/>
            <pc:sldMk cId="1603008812" sldId="7333"/>
            <ac:spMk id="1596" creationId="{3837E044-D27A-6316-386C-25345DDC1488}"/>
          </ac:spMkLst>
        </pc:spChg>
        <pc:spChg chg="mod">
          <ac:chgData name="Bez, Florian" userId="30d7df6a-5295-4d75-a650-5a1fab7b8b2e" providerId="ADAL" clId="{DEF8C959-161B-48E6-918F-19FB2A9D3909}" dt="2023-04-21T09:54:24.426" v="10005"/>
          <ac:spMkLst>
            <pc:docMk/>
            <pc:sldMk cId="1603008812" sldId="7333"/>
            <ac:spMk id="1597" creationId="{CD4C5125-AF6D-B16D-4032-0198188BD0FE}"/>
          </ac:spMkLst>
        </pc:spChg>
        <pc:spChg chg="mod">
          <ac:chgData name="Bez, Florian" userId="30d7df6a-5295-4d75-a650-5a1fab7b8b2e" providerId="ADAL" clId="{DEF8C959-161B-48E6-918F-19FB2A9D3909}" dt="2023-04-21T09:54:24.426" v="10005"/>
          <ac:spMkLst>
            <pc:docMk/>
            <pc:sldMk cId="1603008812" sldId="7333"/>
            <ac:spMk id="1598" creationId="{1F8EB3A4-A831-A431-611C-2873228B6F9E}"/>
          </ac:spMkLst>
        </pc:spChg>
        <pc:spChg chg="mod">
          <ac:chgData name="Bez, Florian" userId="30d7df6a-5295-4d75-a650-5a1fab7b8b2e" providerId="ADAL" clId="{DEF8C959-161B-48E6-918F-19FB2A9D3909}" dt="2023-04-21T09:54:24.426" v="10005"/>
          <ac:spMkLst>
            <pc:docMk/>
            <pc:sldMk cId="1603008812" sldId="7333"/>
            <ac:spMk id="1599" creationId="{E4E64840-A9F0-8650-858D-D4D71BA8699B}"/>
          </ac:spMkLst>
        </pc:spChg>
        <pc:spChg chg="mod">
          <ac:chgData name="Bez, Florian" userId="30d7df6a-5295-4d75-a650-5a1fab7b8b2e" providerId="ADAL" clId="{DEF8C959-161B-48E6-918F-19FB2A9D3909}" dt="2023-04-21T09:54:24.426" v="10005"/>
          <ac:spMkLst>
            <pc:docMk/>
            <pc:sldMk cId="1603008812" sldId="7333"/>
            <ac:spMk id="1600" creationId="{EA956628-0E65-AE7A-63AC-713C13313A5D}"/>
          </ac:spMkLst>
        </pc:spChg>
        <pc:spChg chg="mod">
          <ac:chgData name="Bez, Florian" userId="30d7df6a-5295-4d75-a650-5a1fab7b8b2e" providerId="ADAL" clId="{DEF8C959-161B-48E6-918F-19FB2A9D3909}" dt="2023-04-21T09:54:24.426" v="10005"/>
          <ac:spMkLst>
            <pc:docMk/>
            <pc:sldMk cId="1603008812" sldId="7333"/>
            <ac:spMk id="1601" creationId="{12C95EBA-624C-0F7A-9FCB-795A73567FD6}"/>
          </ac:spMkLst>
        </pc:spChg>
        <pc:spChg chg="mod">
          <ac:chgData name="Bez, Florian" userId="30d7df6a-5295-4d75-a650-5a1fab7b8b2e" providerId="ADAL" clId="{DEF8C959-161B-48E6-918F-19FB2A9D3909}" dt="2023-04-21T09:54:24.426" v="10005"/>
          <ac:spMkLst>
            <pc:docMk/>
            <pc:sldMk cId="1603008812" sldId="7333"/>
            <ac:spMk id="1602" creationId="{0559D734-5CF1-3103-3131-B70B449C244F}"/>
          </ac:spMkLst>
        </pc:spChg>
        <pc:spChg chg="mod">
          <ac:chgData name="Bez, Florian" userId="30d7df6a-5295-4d75-a650-5a1fab7b8b2e" providerId="ADAL" clId="{DEF8C959-161B-48E6-918F-19FB2A9D3909}" dt="2023-04-21T09:54:24.426" v="10005"/>
          <ac:spMkLst>
            <pc:docMk/>
            <pc:sldMk cId="1603008812" sldId="7333"/>
            <ac:spMk id="1605" creationId="{BB73900E-A569-01F8-EF25-574A543E01CD}"/>
          </ac:spMkLst>
        </pc:spChg>
        <pc:spChg chg="mod">
          <ac:chgData name="Bez, Florian" userId="30d7df6a-5295-4d75-a650-5a1fab7b8b2e" providerId="ADAL" clId="{DEF8C959-161B-48E6-918F-19FB2A9D3909}" dt="2023-04-21T09:54:24.426" v="10005"/>
          <ac:spMkLst>
            <pc:docMk/>
            <pc:sldMk cId="1603008812" sldId="7333"/>
            <ac:spMk id="1606" creationId="{7887DA5A-1B26-9523-8263-29CEFA84566A}"/>
          </ac:spMkLst>
        </pc:spChg>
        <pc:spChg chg="mod">
          <ac:chgData name="Bez, Florian" userId="30d7df6a-5295-4d75-a650-5a1fab7b8b2e" providerId="ADAL" clId="{DEF8C959-161B-48E6-918F-19FB2A9D3909}" dt="2023-04-21T09:54:24.426" v="10005"/>
          <ac:spMkLst>
            <pc:docMk/>
            <pc:sldMk cId="1603008812" sldId="7333"/>
            <ac:spMk id="1607" creationId="{9A1F7C8D-FFB5-C514-DE61-08603B66D94E}"/>
          </ac:spMkLst>
        </pc:spChg>
        <pc:spChg chg="mod">
          <ac:chgData name="Bez, Florian" userId="30d7df6a-5295-4d75-a650-5a1fab7b8b2e" providerId="ADAL" clId="{DEF8C959-161B-48E6-918F-19FB2A9D3909}" dt="2023-04-21T09:54:24.426" v="10005"/>
          <ac:spMkLst>
            <pc:docMk/>
            <pc:sldMk cId="1603008812" sldId="7333"/>
            <ac:spMk id="1608" creationId="{751C95A4-9442-E859-5053-0B906F889E96}"/>
          </ac:spMkLst>
        </pc:spChg>
        <pc:spChg chg="mod">
          <ac:chgData name="Bez, Florian" userId="30d7df6a-5295-4d75-a650-5a1fab7b8b2e" providerId="ADAL" clId="{DEF8C959-161B-48E6-918F-19FB2A9D3909}" dt="2023-04-21T09:54:24.426" v="10005"/>
          <ac:spMkLst>
            <pc:docMk/>
            <pc:sldMk cId="1603008812" sldId="7333"/>
            <ac:spMk id="1609" creationId="{5EFD8C92-12E7-5B70-C36C-FA6D03678BB4}"/>
          </ac:spMkLst>
        </pc:spChg>
        <pc:spChg chg="mod">
          <ac:chgData name="Bez, Florian" userId="30d7df6a-5295-4d75-a650-5a1fab7b8b2e" providerId="ADAL" clId="{DEF8C959-161B-48E6-918F-19FB2A9D3909}" dt="2023-04-21T09:54:24.426" v="10005"/>
          <ac:spMkLst>
            <pc:docMk/>
            <pc:sldMk cId="1603008812" sldId="7333"/>
            <ac:spMk id="1610" creationId="{0CEE3DFA-1104-6B54-2311-DEC82DF3B24D}"/>
          </ac:spMkLst>
        </pc:spChg>
        <pc:spChg chg="mod">
          <ac:chgData name="Bez, Florian" userId="30d7df6a-5295-4d75-a650-5a1fab7b8b2e" providerId="ADAL" clId="{DEF8C959-161B-48E6-918F-19FB2A9D3909}" dt="2023-04-21T09:54:24.426" v="10005"/>
          <ac:spMkLst>
            <pc:docMk/>
            <pc:sldMk cId="1603008812" sldId="7333"/>
            <ac:spMk id="1611" creationId="{AF2B6C3D-21CB-AB5C-08B2-D5A95F9A5C4E}"/>
          </ac:spMkLst>
        </pc:spChg>
        <pc:spChg chg="mod">
          <ac:chgData name="Bez, Florian" userId="30d7df6a-5295-4d75-a650-5a1fab7b8b2e" providerId="ADAL" clId="{DEF8C959-161B-48E6-918F-19FB2A9D3909}" dt="2023-04-21T09:54:24.426" v="10005"/>
          <ac:spMkLst>
            <pc:docMk/>
            <pc:sldMk cId="1603008812" sldId="7333"/>
            <ac:spMk id="1612" creationId="{5AFC3195-7441-6979-5CF8-9BE9134CF936}"/>
          </ac:spMkLst>
        </pc:spChg>
        <pc:spChg chg="mod">
          <ac:chgData name="Bez, Florian" userId="30d7df6a-5295-4d75-a650-5a1fab7b8b2e" providerId="ADAL" clId="{DEF8C959-161B-48E6-918F-19FB2A9D3909}" dt="2023-04-21T09:54:24.426" v="10005"/>
          <ac:spMkLst>
            <pc:docMk/>
            <pc:sldMk cId="1603008812" sldId="7333"/>
            <ac:spMk id="1613" creationId="{7792F14F-ADAA-A8AD-0210-55E503DDDE11}"/>
          </ac:spMkLst>
        </pc:spChg>
        <pc:spChg chg="mod">
          <ac:chgData name="Bez, Florian" userId="30d7df6a-5295-4d75-a650-5a1fab7b8b2e" providerId="ADAL" clId="{DEF8C959-161B-48E6-918F-19FB2A9D3909}" dt="2023-04-21T09:54:24.426" v="10005"/>
          <ac:spMkLst>
            <pc:docMk/>
            <pc:sldMk cId="1603008812" sldId="7333"/>
            <ac:spMk id="1614" creationId="{E48EB1A0-32E4-7B61-088D-AC8013C8B550}"/>
          </ac:spMkLst>
        </pc:spChg>
        <pc:spChg chg="mod">
          <ac:chgData name="Bez, Florian" userId="30d7df6a-5295-4d75-a650-5a1fab7b8b2e" providerId="ADAL" clId="{DEF8C959-161B-48E6-918F-19FB2A9D3909}" dt="2023-04-21T09:54:24.426" v="10005"/>
          <ac:spMkLst>
            <pc:docMk/>
            <pc:sldMk cId="1603008812" sldId="7333"/>
            <ac:spMk id="1615" creationId="{49E35541-0B9F-B972-B447-16FE88F47D85}"/>
          </ac:spMkLst>
        </pc:spChg>
        <pc:spChg chg="mod">
          <ac:chgData name="Bez, Florian" userId="30d7df6a-5295-4d75-a650-5a1fab7b8b2e" providerId="ADAL" clId="{DEF8C959-161B-48E6-918F-19FB2A9D3909}" dt="2023-04-21T09:54:24.426" v="10005"/>
          <ac:spMkLst>
            <pc:docMk/>
            <pc:sldMk cId="1603008812" sldId="7333"/>
            <ac:spMk id="1616" creationId="{248A7C4D-BE87-0B36-8FF2-C0DAFBF2F69E}"/>
          </ac:spMkLst>
        </pc:spChg>
        <pc:spChg chg="mod">
          <ac:chgData name="Bez, Florian" userId="30d7df6a-5295-4d75-a650-5a1fab7b8b2e" providerId="ADAL" clId="{DEF8C959-161B-48E6-918F-19FB2A9D3909}" dt="2023-04-21T09:54:24.426" v="10005"/>
          <ac:spMkLst>
            <pc:docMk/>
            <pc:sldMk cId="1603008812" sldId="7333"/>
            <ac:spMk id="1617" creationId="{66FBF754-C9CB-B755-EA63-FA538D84B678}"/>
          </ac:spMkLst>
        </pc:spChg>
        <pc:spChg chg="mod">
          <ac:chgData name="Bez, Florian" userId="30d7df6a-5295-4d75-a650-5a1fab7b8b2e" providerId="ADAL" clId="{DEF8C959-161B-48E6-918F-19FB2A9D3909}" dt="2023-04-21T09:54:24.426" v="10005"/>
          <ac:spMkLst>
            <pc:docMk/>
            <pc:sldMk cId="1603008812" sldId="7333"/>
            <ac:spMk id="1618" creationId="{FCF4E8B7-AF9B-EB42-9E90-ACC1CCE5F5F9}"/>
          </ac:spMkLst>
        </pc:spChg>
        <pc:spChg chg="mod">
          <ac:chgData name="Bez, Florian" userId="30d7df6a-5295-4d75-a650-5a1fab7b8b2e" providerId="ADAL" clId="{DEF8C959-161B-48E6-918F-19FB2A9D3909}" dt="2023-04-21T09:54:24.426" v="10005"/>
          <ac:spMkLst>
            <pc:docMk/>
            <pc:sldMk cId="1603008812" sldId="7333"/>
            <ac:spMk id="1619" creationId="{73E3E2AB-2E62-2452-BAE9-85B552C3C979}"/>
          </ac:spMkLst>
        </pc:spChg>
        <pc:spChg chg="mod">
          <ac:chgData name="Bez, Florian" userId="30d7df6a-5295-4d75-a650-5a1fab7b8b2e" providerId="ADAL" clId="{DEF8C959-161B-48E6-918F-19FB2A9D3909}" dt="2023-04-21T09:54:24.426" v="10005"/>
          <ac:spMkLst>
            <pc:docMk/>
            <pc:sldMk cId="1603008812" sldId="7333"/>
            <ac:spMk id="1620" creationId="{BF92F8AE-717F-74FF-DF76-EA03FD0C2F4D}"/>
          </ac:spMkLst>
        </pc:spChg>
        <pc:spChg chg="mod">
          <ac:chgData name="Bez, Florian" userId="30d7df6a-5295-4d75-a650-5a1fab7b8b2e" providerId="ADAL" clId="{DEF8C959-161B-48E6-918F-19FB2A9D3909}" dt="2023-04-21T09:54:24.426" v="10005"/>
          <ac:spMkLst>
            <pc:docMk/>
            <pc:sldMk cId="1603008812" sldId="7333"/>
            <ac:spMk id="1621" creationId="{F3B6502B-969E-86AD-4D91-F908A43DFF28}"/>
          </ac:spMkLst>
        </pc:spChg>
        <pc:spChg chg="mod">
          <ac:chgData name="Bez, Florian" userId="30d7df6a-5295-4d75-a650-5a1fab7b8b2e" providerId="ADAL" clId="{DEF8C959-161B-48E6-918F-19FB2A9D3909}" dt="2023-04-21T09:54:24.426" v="10005"/>
          <ac:spMkLst>
            <pc:docMk/>
            <pc:sldMk cId="1603008812" sldId="7333"/>
            <ac:spMk id="1622" creationId="{5562C7FF-5D63-E10A-B721-CA1870B90302}"/>
          </ac:spMkLst>
        </pc:spChg>
        <pc:spChg chg="mod">
          <ac:chgData name="Bez, Florian" userId="30d7df6a-5295-4d75-a650-5a1fab7b8b2e" providerId="ADAL" clId="{DEF8C959-161B-48E6-918F-19FB2A9D3909}" dt="2023-04-21T09:54:24.426" v="10005"/>
          <ac:spMkLst>
            <pc:docMk/>
            <pc:sldMk cId="1603008812" sldId="7333"/>
            <ac:spMk id="1623" creationId="{9C943969-52C4-B644-F04F-AB4CB3B9903A}"/>
          </ac:spMkLst>
        </pc:spChg>
        <pc:spChg chg="mod">
          <ac:chgData name="Bez, Florian" userId="30d7df6a-5295-4d75-a650-5a1fab7b8b2e" providerId="ADAL" clId="{DEF8C959-161B-48E6-918F-19FB2A9D3909}" dt="2023-04-21T09:54:24.426" v="10005"/>
          <ac:spMkLst>
            <pc:docMk/>
            <pc:sldMk cId="1603008812" sldId="7333"/>
            <ac:spMk id="1624" creationId="{5D348B0F-A34C-B8FC-E231-C9B7B2F3419E}"/>
          </ac:spMkLst>
        </pc:spChg>
        <pc:spChg chg="mod">
          <ac:chgData name="Bez, Florian" userId="30d7df6a-5295-4d75-a650-5a1fab7b8b2e" providerId="ADAL" clId="{DEF8C959-161B-48E6-918F-19FB2A9D3909}" dt="2023-04-21T09:54:24.426" v="10005"/>
          <ac:spMkLst>
            <pc:docMk/>
            <pc:sldMk cId="1603008812" sldId="7333"/>
            <ac:spMk id="1625" creationId="{BAAB8FF2-1B35-BE59-BBDC-ECD07C287AA2}"/>
          </ac:spMkLst>
        </pc:spChg>
        <pc:spChg chg="mod">
          <ac:chgData name="Bez, Florian" userId="30d7df6a-5295-4d75-a650-5a1fab7b8b2e" providerId="ADAL" clId="{DEF8C959-161B-48E6-918F-19FB2A9D3909}" dt="2023-04-21T09:54:24.426" v="10005"/>
          <ac:spMkLst>
            <pc:docMk/>
            <pc:sldMk cId="1603008812" sldId="7333"/>
            <ac:spMk id="1626" creationId="{B3CA7609-5E98-D221-AE7E-72989164E390}"/>
          </ac:spMkLst>
        </pc:spChg>
        <pc:spChg chg="mod">
          <ac:chgData name="Bez, Florian" userId="30d7df6a-5295-4d75-a650-5a1fab7b8b2e" providerId="ADAL" clId="{DEF8C959-161B-48E6-918F-19FB2A9D3909}" dt="2023-04-21T09:54:24.426" v="10005"/>
          <ac:spMkLst>
            <pc:docMk/>
            <pc:sldMk cId="1603008812" sldId="7333"/>
            <ac:spMk id="1627" creationId="{9E2F88CA-CA0B-E672-B66A-974C4B142165}"/>
          </ac:spMkLst>
        </pc:spChg>
        <pc:spChg chg="mod">
          <ac:chgData name="Bez, Florian" userId="30d7df6a-5295-4d75-a650-5a1fab7b8b2e" providerId="ADAL" clId="{DEF8C959-161B-48E6-918F-19FB2A9D3909}" dt="2023-04-21T09:54:24.426" v="10005"/>
          <ac:spMkLst>
            <pc:docMk/>
            <pc:sldMk cId="1603008812" sldId="7333"/>
            <ac:spMk id="1628" creationId="{410D43FE-3211-1CD4-3400-C7186EB7CAE4}"/>
          </ac:spMkLst>
        </pc:spChg>
        <pc:spChg chg="mod">
          <ac:chgData name="Bez, Florian" userId="30d7df6a-5295-4d75-a650-5a1fab7b8b2e" providerId="ADAL" clId="{DEF8C959-161B-48E6-918F-19FB2A9D3909}" dt="2023-04-21T09:54:24.426" v="10005"/>
          <ac:spMkLst>
            <pc:docMk/>
            <pc:sldMk cId="1603008812" sldId="7333"/>
            <ac:spMk id="1629" creationId="{1FF07460-5944-CCE2-3956-734AAFE55EF6}"/>
          </ac:spMkLst>
        </pc:spChg>
        <pc:spChg chg="mod">
          <ac:chgData name="Bez, Florian" userId="30d7df6a-5295-4d75-a650-5a1fab7b8b2e" providerId="ADAL" clId="{DEF8C959-161B-48E6-918F-19FB2A9D3909}" dt="2023-04-21T09:54:24.426" v="10005"/>
          <ac:spMkLst>
            <pc:docMk/>
            <pc:sldMk cId="1603008812" sldId="7333"/>
            <ac:spMk id="1630" creationId="{7519D931-B167-EB48-9CB8-68C674CD1E35}"/>
          </ac:spMkLst>
        </pc:spChg>
        <pc:spChg chg="mod">
          <ac:chgData name="Bez, Florian" userId="30d7df6a-5295-4d75-a650-5a1fab7b8b2e" providerId="ADAL" clId="{DEF8C959-161B-48E6-918F-19FB2A9D3909}" dt="2023-04-21T09:54:24.426" v="10005"/>
          <ac:spMkLst>
            <pc:docMk/>
            <pc:sldMk cId="1603008812" sldId="7333"/>
            <ac:spMk id="1631" creationId="{908702EB-E6A9-EEBA-29A2-4A7F2C1B6943}"/>
          </ac:spMkLst>
        </pc:spChg>
        <pc:spChg chg="mod">
          <ac:chgData name="Bez, Florian" userId="30d7df6a-5295-4d75-a650-5a1fab7b8b2e" providerId="ADAL" clId="{DEF8C959-161B-48E6-918F-19FB2A9D3909}" dt="2023-04-21T09:54:24.426" v="10005"/>
          <ac:spMkLst>
            <pc:docMk/>
            <pc:sldMk cId="1603008812" sldId="7333"/>
            <ac:spMk id="1632" creationId="{DF5A0DAD-429B-5D69-A0CF-A7DA08B0876F}"/>
          </ac:spMkLst>
        </pc:spChg>
        <pc:spChg chg="mod">
          <ac:chgData name="Bez, Florian" userId="30d7df6a-5295-4d75-a650-5a1fab7b8b2e" providerId="ADAL" clId="{DEF8C959-161B-48E6-918F-19FB2A9D3909}" dt="2023-04-21T09:54:24.426" v="10005"/>
          <ac:spMkLst>
            <pc:docMk/>
            <pc:sldMk cId="1603008812" sldId="7333"/>
            <ac:spMk id="1633" creationId="{17542C81-21BE-6155-EC81-3354E058DF49}"/>
          </ac:spMkLst>
        </pc:spChg>
        <pc:spChg chg="mod">
          <ac:chgData name="Bez, Florian" userId="30d7df6a-5295-4d75-a650-5a1fab7b8b2e" providerId="ADAL" clId="{DEF8C959-161B-48E6-918F-19FB2A9D3909}" dt="2023-04-21T09:54:24.426" v="10005"/>
          <ac:spMkLst>
            <pc:docMk/>
            <pc:sldMk cId="1603008812" sldId="7333"/>
            <ac:spMk id="1634" creationId="{67FB8F28-7585-C65C-9190-27B1DFB61B4B}"/>
          </ac:spMkLst>
        </pc:spChg>
        <pc:spChg chg="mod">
          <ac:chgData name="Bez, Florian" userId="30d7df6a-5295-4d75-a650-5a1fab7b8b2e" providerId="ADAL" clId="{DEF8C959-161B-48E6-918F-19FB2A9D3909}" dt="2023-04-21T09:54:24.426" v="10005"/>
          <ac:spMkLst>
            <pc:docMk/>
            <pc:sldMk cId="1603008812" sldId="7333"/>
            <ac:spMk id="1635" creationId="{C42659FC-0128-1F94-9A31-5110EC61338B}"/>
          </ac:spMkLst>
        </pc:spChg>
        <pc:spChg chg="mod">
          <ac:chgData name="Bez, Florian" userId="30d7df6a-5295-4d75-a650-5a1fab7b8b2e" providerId="ADAL" clId="{DEF8C959-161B-48E6-918F-19FB2A9D3909}" dt="2023-04-21T09:54:24.426" v="10005"/>
          <ac:spMkLst>
            <pc:docMk/>
            <pc:sldMk cId="1603008812" sldId="7333"/>
            <ac:spMk id="1636" creationId="{10E5D75B-A601-86F0-E16F-9B8972B93735}"/>
          </ac:spMkLst>
        </pc:spChg>
        <pc:spChg chg="mod">
          <ac:chgData name="Bez, Florian" userId="30d7df6a-5295-4d75-a650-5a1fab7b8b2e" providerId="ADAL" clId="{DEF8C959-161B-48E6-918F-19FB2A9D3909}" dt="2023-04-21T09:54:24.426" v="10005"/>
          <ac:spMkLst>
            <pc:docMk/>
            <pc:sldMk cId="1603008812" sldId="7333"/>
            <ac:spMk id="1637" creationId="{DBCA7687-ED44-D854-31F8-6C530FD7E3CB}"/>
          </ac:spMkLst>
        </pc:spChg>
        <pc:spChg chg="mod">
          <ac:chgData name="Bez, Florian" userId="30d7df6a-5295-4d75-a650-5a1fab7b8b2e" providerId="ADAL" clId="{DEF8C959-161B-48E6-918F-19FB2A9D3909}" dt="2023-04-21T09:54:24.426" v="10005"/>
          <ac:spMkLst>
            <pc:docMk/>
            <pc:sldMk cId="1603008812" sldId="7333"/>
            <ac:spMk id="1638" creationId="{8AD3FA80-C5A5-4429-E699-C20A4A166797}"/>
          </ac:spMkLst>
        </pc:spChg>
        <pc:spChg chg="mod">
          <ac:chgData name="Bez, Florian" userId="30d7df6a-5295-4d75-a650-5a1fab7b8b2e" providerId="ADAL" clId="{DEF8C959-161B-48E6-918F-19FB2A9D3909}" dt="2023-04-21T09:54:24.426" v="10005"/>
          <ac:spMkLst>
            <pc:docMk/>
            <pc:sldMk cId="1603008812" sldId="7333"/>
            <ac:spMk id="1639" creationId="{31F978AB-D2D3-BF17-51C9-3D95225862C7}"/>
          </ac:spMkLst>
        </pc:spChg>
        <pc:spChg chg="mod">
          <ac:chgData name="Bez, Florian" userId="30d7df6a-5295-4d75-a650-5a1fab7b8b2e" providerId="ADAL" clId="{DEF8C959-161B-48E6-918F-19FB2A9D3909}" dt="2023-04-21T09:54:24.426" v="10005"/>
          <ac:spMkLst>
            <pc:docMk/>
            <pc:sldMk cId="1603008812" sldId="7333"/>
            <ac:spMk id="1640" creationId="{AADBAA29-CCC2-A586-20F2-7254D5B39D73}"/>
          </ac:spMkLst>
        </pc:spChg>
        <pc:spChg chg="mod">
          <ac:chgData name="Bez, Florian" userId="30d7df6a-5295-4d75-a650-5a1fab7b8b2e" providerId="ADAL" clId="{DEF8C959-161B-48E6-918F-19FB2A9D3909}" dt="2023-04-21T09:54:24.426" v="10005"/>
          <ac:spMkLst>
            <pc:docMk/>
            <pc:sldMk cId="1603008812" sldId="7333"/>
            <ac:spMk id="1641" creationId="{648A31D3-FF70-E6AE-D161-B6E60812FA48}"/>
          </ac:spMkLst>
        </pc:spChg>
        <pc:spChg chg="mod">
          <ac:chgData name="Bez, Florian" userId="30d7df6a-5295-4d75-a650-5a1fab7b8b2e" providerId="ADAL" clId="{DEF8C959-161B-48E6-918F-19FB2A9D3909}" dt="2023-04-21T09:54:24.426" v="10005"/>
          <ac:spMkLst>
            <pc:docMk/>
            <pc:sldMk cId="1603008812" sldId="7333"/>
            <ac:spMk id="1642" creationId="{229E1F9A-DFC5-13DD-E1BC-B2B293D1E65C}"/>
          </ac:spMkLst>
        </pc:spChg>
        <pc:spChg chg="mod">
          <ac:chgData name="Bez, Florian" userId="30d7df6a-5295-4d75-a650-5a1fab7b8b2e" providerId="ADAL" clId="{DEF8C959-161B-48E6-918F-19FB2A9D3909}" dt="2023-04-21T09:54:24.426" v="10005"/>
          <ac:spMkLst>
            <pc:docMk/>
            <pc:sldMk cId="1603008812" sldId="7333"/>
            <ac:spMk id="1643" creationId="{25D0EB76-6040-08AA-904A-DEBE23567499}"/>
          </ac:spMkLst>
        </pc:spChg>
        <pc:spChg chg="mod">
          <ac:chgData name="Bez, Florian" userId="30d7df6a-5295-4d75-a650-5a1fab7b8b2e" providerId="ADAL" clId="{DEF8C959-161B-48E6-918F-19FB2A9D3909}" dt="2023-04-21T09:54:24.426" v="10005"/>
          <ac:spMkLst>
            <pc:docMk/>
            <pc:sldMk cId="1603008812" sldId="7333"/>
            <ac:spMk id="1644" creationId="{3AD14B9C-E3E9-4899-2894-639EA436972D}"/>
          </ac:spMkLst>
        </pc:spChg>
        <pc:spChg chg="mod">
          <ac:chgData name="Bez, Florian" userId="30d7df6a-5295-4d75-a650-5a1fab7b8b2e" providerId="ADAL" clId="{DEF8C959-161B-48E6-918F-19FB2A9D3909}" dt="2023-04-21T09:54:24.426" v="10005"/>
          <ac:spMkLst>
            <pc:docMk/>
            <pc:sldMk cId="1603008812" sldId="7333"/>
            <ac:spMk id="1645" creationId="{4132E791-403D-4889-A038-BFA4A1822875}"/>
          </ac:spMkLst>
        </pc:spChg>
        <pc:spChg chg="mod">
          <ac:chgData name="Bez, Florian" userId="30d7df6a-5295-4d75-a650-5a1fab7b8b2e" providerId="ADAL" clId="{DEF8C959-161B-48E6-918F-19FB2A9D3909}" dt="2023-04-21T09:54:24.426" v="10005"/>
          <ac:spMkLst>
            <pc:docMk/>
            <pc:sldMk cId="1603008812" sldId="7333"/>
            <ac:spMk id="1646" creationId="{3557AE30-42D9-2EDE-D0DA-E4BFEC6679AD}"/>
          </ac:spMkLst>
        </pc:spChg>
        <pc:spChg chg="mod">
          <ac:chgData name="Bez, Florian" userId="30d7df6a-5295-4d75-a650-5a1fab7b8b2e" providerId="ADAL" clId="{DEF8C959-161B-48E6-918F-19FB2A9D3909}" dt="2023-04-21T09:54:24.426" v="10005"/>
          <ac:spMkLst>
            <pc:docMk/>
            <pc:sldMk cId="1603008812" sldId="7333"/>
            <ac:spMk id="1647" creationId="{08E911CC-7C82-BEF7-32CC-B231EE897754}"/>
          </ac:spMkLst>
        </pc:spChg>
        <pc:spChg chg="mod">
          <ac:chgData name="Bez, Florian" userId="30d7df6a-5295-4d75-a650-5a1fab7b8b2e" providerId="ADAL" clId="{DEF8C959-161B-48E6-918F-19FB2A9D3909}" dt="2023-04-21T09:54:24.426" v="10005"/>
          <ac:spMkLst>
            <pc:docMk/>
            <pc:sldMk cId="1603008812" sldId="7333"/>
            <ac:spMk id="1648" creationId="{ECCFC44E-9C5E-D69F-B09A-F62CAF43EFCC}"/>
          </ac:spMkLst>
        </pc:spChg>
        <pc:spChg chg="mod">
          <ac:chgData name="Bez, Florian" userId="30d7df6a-5295-4d75-a650-5a1fab7b8b2e" providerId="ADAL" clId="{DEF8C959-161B-48E6-918F-19FB2A9D3909}" dt="2023-04-21T09:54:24.426" v="10005"/>
          <ac:spMkLst>
            <pc:docMk/>
            <pc:sldMk cId="1603008812" sldId="7333"/>
            <ac:spMk id="1649" creationId="{028AE271-032E-4959-9C28-458BC42D1E39}"/>
          </ac:spMkLst>
        </pc:spChg>
        <pc:spChg chg="mod">
          <ac:chgData name="Bez, Florian" userId="30d7df6a-5295-4d75-a650-5a1fab7b8b2e" providerId="ADAL" clId="{DEF8C959-161B-48E6-918F-19FB2A9D3909}" dt="2023-04-21T09:54:24.426" v="10005"/>
          <ac:spMkLst>
            <pc:docMk/>
            <pc:sldMk cId="1603008812" sldId="7333"/>
            <ac:spMk id="1650" creationId="{1E2B4DAC-9D07-D858-763E-39A6745E3D7C}"/>
          </ac:spMkLst>
        </pc:spChg>
        <pc:spChg chg="mod">
          <ac:chgData name="Bez, Florian" userId="30d7df6a-5295-4d75-a650-5a1fab7b8b2e" providerId="ADAL" clId="{DEF8C959-161B-48E6-918F-19FB2A9D3909}" dt="2023-04-21T09:54:24.426" v="10005"/>
          <ac:spMkLst>
            <pc:docMk/>
            <pc:sldMk cId="1603008812" sldId="7333"/>
            <ac:spMk id="1651" creationId="{8EC1B94B-AA65-F476-B513-F052FE1A6304}"/>
          </ac:spMkLst>
        </pc:spChg>
        <pc:spChg chg="mod">
          <ac:chgData name="Bez, Florian" userId="30d7df6a-5295-4d75-a650-5a1fab7b8b2e" providerId="ADAL" clId="{DEF8C959-161B-48E6-918F-19FB2A9D3909}" dt="2023-04-21T09:54:24.426" v="10005"/>
          <ac:spMkLst>
            <pc:docMk/>
            <pc:sldMk cId="1603008812" sldId="7333"/>
            <ac:spMk id="1652" creationId="{5D5B864A-7E4B-D3BF-2538-469A94B55B64}"/>
          </ac:spMkLst>
        </pc:spChg>
        <pc:spChg chg="mod">
          <ac:chgData name="Bez, Florian" userId="30d7df6a-5295-4d75-a650-5a1fab7b8b2e" providerId="ADAL" clId="{DEF8C959-161B-48E6-918F-19FB2A9D3909}" dt="2023-04-21T09:54:24.426" v="10005"/>
          <ac:spMkLst>
            <pc:docMk/>
            <pc:sldMk cId="1603008812" sldId="7333"/>
            <ac:spMk id="1653" creationId="{C9E9993B-1EED-90A0-EBD5-1A18A601C034}"/>
          </ac:spMkLst>
        </pc:spChg>
        <pc:spChg chg="mod">
          <ac:chgData name="Bez, Florian" userId="30d7df6a-5295-4d75-a650-5a1fab7b8b2e" providerId="ADAL" clId="{DEF8C959-161B-48E6-918F-19FB2A9D3909}" dt="2023-04-21T09:54:24.426" v="10005"/>
          <ac:spMkLst>
            <pc:docMk/>
            <pc:sldMk cId="1603008812" sldId="7333"/>
            <ac:spMk id="1654" creationId="{AFAC6C95-7C45-6167-9382-55A8413575BB}"/>
          </ac:spMkLst>
        </pc:spChg>
        <pc:spChg chg="mod">
          <ac:chgData name="Bez, Florian" userId="30d7df6a-5295-4d75-a650-5a1fab7b8b2e" providerId="ADAL" clId="{DEF8C959-161B-48E6-918F-19FB2A9D3909}" dt="2023-04-21T09:54:24.426" v="10005"/>
          <ac:spMkLst>
            <pc:docMk/>
            <pc:sldMk cId="1603008812" sldId="7333"/>
            <ac:spMk id="1655" creationId="{03A83006-CCD6-28AB-3766-FBE4CD4F0C80}"/>
          </ac:spMkLst>
        </pc:spChg>
        <pc:spChg chg="mod">
          <ac:chgData name="Bez, Florian" userId="30d7df6a-5295-4d75-a650-5a1fab7b8b2e" providerId="ADAL" clId="{DEF8C959-161B-48E6-918F-19FB2A9D3909}" dt="2023-04-21T09:54:24.426" v="10005"/>
          <ac:spMkLst>
            <pc:docMk/>
            <pc:sldMk cId="1603008812" sldId="7333"/>
            <ac:spMk id="1656" creationId="{E295768D-85E2-263D-1635-6FA5C458278D}"/>
          </ac:spMkLst>
        </pc:spChg>
        <pc:spChg chg="mod">
          <ac:chgData name="Bez, Florian" userId="30d7df6a-5295-4d75-a650-5a1fab7b8b2e" providerId="ADAL" clId="{DEF8C959-161B-48E6-918F-19FB2A9D3909}" dt="2023-04-21T09:54:24.426" v="10005"/>
          <ac:spMkLst>
            <pc:docMk/>
            <pc:sldMk cId="1603008812" sldId="7333"/>
            <ac:spMk id="1657" creationId="{114F7435-9749-4294-B091-37EA9C4F2504}"/>
          </ac:spMkLst>
        </pc:spChg>
        <pc:spChg chg="mod">
          <ac:chgData name="Bez, Florian" userId="30d7df6a-5295-4d75-a650-5a1fab7b8b2e" providerId="ADAL" clId="{DEF8C959-161B-48E6-918F-19FB2A9D3909}" dt="2023-04-21T09:54:24.426" v="10005"/>
          <ac:spMkLst>
            <pc:docMk/>
            <pc:sldMk cId="1603008812" sldId="7333"/>
            <ac:spMk id="1658" creationId="{F8E61F2E-27E0-2FB2-0A37-CD7AFAEF6A5A}"/>
          </ac:spMkLst>
        </pc:spChg>
        <pc:spChg chg="mod">
          <ac:chgData name="Bez, Florian" userId="30d7df6a-5295-4d75-a650-5a1fab7b8b2e" providerId="ADAL" clId="{DEF8C959-161B-48E6-918F-19FB2A9D3909}" dt="2023-04-21T09:54:24.426" v="10005"/>
          <ac:spMkLst>
            <pc:docMk/>
            <pc:sldMk cId="1603008812" sldId="7333"/>
            <ac:spMk id="1659" creationId="{302F11A6-3E5D-72C7-9A9E-BD24B78CAC32}"/>
          </ac:spMkLst>
        </pc:spChg>
        <pc:spChg chg="mod">
          <ac:chgData name="Bez, Florian" userId="30d7df6a-5295-4d75-a650-5a1fab7b8b2e" providerId="ADAL" clId="{DEF8C959-161B-48E6-918F-19FB2A9D3909}" dt="2023-04-21T09:54:24.426" v="10005"/>
          <ac:spMkLst>
            <pc:docMk/>
            <pc:sldMk cId="1603008812" sldId="7333"/>
            <ac:spMk id="1660" creationId="{DC0D667E-2DA8-6CA7-7D0B-28CA28E8D13F}"/>
          </ac:spMkLst>
        </pc:spChg>
        <pc:spChg chg="mod">
          <ac:chgData name="Bez, Florian" userId="30d7df6a-5295-4d75-a650-5a1fab7b8b2e" providerId="ADAL" clId="{DEF8C959-161B-48E6-918F-19FB2A9D3909}" dt="2023-04-21T09:54:24.426" v="10005"/>
          <ac:spMkLst>
            <pc:docMk/>
            <pc:sldMk cId="1603008812" sldId="7333"/>
            <ac:spMk id="1661" creationId="{F5243071-6AE6-A608-F890-EAD91C96FB91}"/>
          </ac:spMkLst>
        </pc:spChg>
        <pc:spChg chg="mod">
          <ac:chgData name="Bez, Florian" userId="30d7df6a-5295-4d75-a650-5a1fab7b8b2e" providerId="ADAL" clId="{DEF8C959-161B-48E6-918F-19FB2A9D3909}" dt="2023-04-21T09:54:24.426" v="10005"/>
          <ac:spMkLst>
            <pc:docMk/>
            <pc:sldMk cId="1603008812" sldId="7333"/>
            <ac:spMk id="1662" creationId="{BDEDE277-98C7-C0A0-71F7-0C2E413C54BB}"/>
          </ac:spMkLst>
        </pc:spChg>
        <pc:spChg chg="mod">
          <ac:chgData name="Bez, Florian" userId="30d7df6a-5295-4d75-a650-5a1fab7b8b2e" providerId="ADAL" clId="{DEF8C959-161B-48E6-918F-19FB2A9D3909}" dt="2023-04-21T09:54:24.426" v="10005"/>
          <ac:spMkLst>
            <pc:docMk/>
            <pc:sldMk cId="1603008812" sldId="7333"/>
            <ac:spMk id="1663" creationId="{224C3172-0C53-992E-85C9-90193250A95F}"/>
          </ac:spMkLst>
        </pc:spChg>
        <pc:spChg chg="mod">
          <ac:chgData name="Bez, Florian" userId="30d7df6a-5295-4d75-a650-5a1fab7b8b2e" providerId="ADAL" clId="{DEF8C959-161B-48E6-918F-19FB2A9D3909}" dt="2023-04-21T09:54:24.426" v="10005"/>
          <ac:spMkLst>
            <pc:docMk/>
            <pc:sldMk cId="1603008812" sldId="7333"/>
            <ac:spMk id="1664" creationId="{A75674DB-77DC-E747-F1BA-A34B1A301EC3}"/>
          </ac:spMkLst>
        </pc:spChg>
        <pc:spChg chg="mod">
          <ac:chgData name="Bez, Florian" userId="30d7df6a-5295-4d75-a650-5a1fab7b8b2e" providerId="ADAL" clId="{DEF8C959-161B-48E6-918F-19FB2A9D3909}" dt="2023-04-21T09:54:24.426" v="10005"/>
          <ac:spMkLst>
            <pc:docMk/>
            <pc:sldMk cId="1603008812" sldId="7333"/>
            <ac:spMk id="1665" creationId="{6DFFC28E-9C6D-0CD6-55D8-6658898E32BB}"/>
          </ac:spMkLst>
        </pc:spChg>
        <pc:spChg chg="mod">
          <ac:chgData name="Bez, Florian" userId="30d7df6a-5295-4d75-a650-5a1fab7b8b2e" providerId="ADAL" clId="{DEF8C959-161B-48E6-918F-19FB2A9D3909}" dt="2023-04-21T09:54:24.426" v="10005"/>
          <ac:spMkLst>
            <pc:docMk/>
            <pc:sldMk cId="1603008812" sldId="7333"/>
            <ac:spMk id="1666" creationId="{4372BBAB-B0D3-8BEC-511B-287085BA11FB}"/>
          </ac:spMkLst>
        </pc:spChg>
        <pc:spChg chg="mod">
          <ac:chgData name="Bez, Florian" userId="30d7df6a-5295-4d75-a650-5a1fab7b8b2e" providerId="ADAL" clId="{DEF8C959-161B-48E6-918F-19FB2A9D3909}" dt="2023-04-21T09:54:24.426" v="10005"/>
          <ac:spMkLst>
            <pc:docMk/>
            <pc:sldMk cId="1603008812" sldId="7333"/>
            <ac:spMk id="1667" creationId="{239F19CB-4826-ACC2-344A-A368A0F2CB70}"/>
          </ac:spMkLst>
        </pc:spChg>
        <pc:spChg chg="mod">
          <ac:chgData name="Bez, Florian" userId="30d7df6a-5295-4d75-a650-5a1fab7b8b2e" providerId="ADAL" clId="{DEF8C959-161B-48E6-918F-19FB2A9D3909}" dt="2023-04-21T09:54:24.426" v="10005"/>
          <ac:spMkLst>
            <pc:docMk/>
            <pc:sldMk cId="1603008812" sldId="7333"/>
            <ac:spMk id="1668" creationId="{2B91E731-6FD0-00BA-6FD3-02898E074CC4}"/>
          </ac:spMkLst>
        </pc:spChg>
        <pc:spChg chg="mod">
          <ac:chgData name="Bez, Florian" userId="30d7df6a-5295-4d75-a650-5a1fab7b8b2e" providerId="ADAL" clId="{DEF8C959-161B-48E6-918F-19FB2A9D3909}" dt="2023-04-21T09:54:24.426" v="10005"/>
          <ac:spMkLst>
            <pc:docMk/>
            <pc:sldMk cId="1603008812" sldId="7333"/>
            <ac:spMk id="1669" creationId="{A97D0AE9-5BA5-A37E-D8E2-6858F0755D36}"/>
          </ac:spMkLst>
        </pc:spChg>
        <pc:spChg chg="mod">
          <ac:chgData name="Bez, Florian" userId="30d7df6a-5295-4d75-a650-5a1fab7b8b2e" providerId="ADAL" clId="{DEF8C959-161B-48E6-918F-19FB2A9D3909}" dt="2023-04-21T09:54:24.426" v="10005"/>
          <ac:spMkLst>
            <pc:docMk/>
            <pc:sldMk cId="1603008812" sldId="7333"/>
            <ac:spMk id="1670" creationId="{0409F1DB-C56A-EEB0-2E83-E94044947395}"/>
          </ac:spMkLst>
        </pc:spChg>
        <pc:spChg chg="mod">
          <ac:chgData name="Bez, Florian" userId="30d7df6a-5295-4d75-a650-5a1fab7b8b2e" providerId="ADAL" clId="{DEF8C959-161B-48E6-918F-19FB2A9D3909}" dt="2023-04-21T09:54:24.426" v="10005"/>
          <ac:spMkLst>
            <pc:docMk/>
            <pc:sldMk cId="1603008812" sldId="7333"/>
            <ac:spMk id="1671" creationId="{2252DE11-9665-23E2-A9FD-5366B2454E62}"/>
          </ac:spMkLst>
        </pc:spChg>
        <pc:spChg chg="mod">
          <ac:chgData name="Bez, Florian" userId="30d7df6a-5295-4d75-a650-5a1fab7b8b2e" providerId="ADAL" clId="{DEF8C959-161B-48E6-918F-19FB2A9D3909}" dt="2023-04-21T09:54:24.426" v="10005"/>
          <ac:spMkLst>
            <pc:docMk/>
            <pc:sldMk cId="1603008812" sldId="7333"/>
            <ac:spMk id="1672" creationId="{4F5861A4-E0DA-9D37-F5B4-5D38F06A5C67}"/>
          </ac:spMkLst>
        </pc:spChg>
        <pc:spChg chg="mod">
          <ac:chgData name="Bez, Florian" userId="30d7df6a-5295-4d75-a650-5a1fab7b8b2e" providerId="ADAL" clId="{DEF8C959-161B-48E6-918F-19FB2A9D3909}" dt="2023-04-21T09:54:24.426" v="10005"/>
          <ac:spMkLst>
            <pc:docMk/>
            <pc:sldMk cId="1603008812" sldId="7333"/>
            <ac:spMk id="1673" creationId="{E39A9DD7-F06F-9971-DA79-F3387F0E5328}"/>
          </ac:spMkLst>
        </pc:spChg>
        <pc:spChg chg="mod">
          <ac:chgData name="Bez, Florian" userId="30d7df6a-5295-4d75-a650-5a1fab7b8b2e" providerId="ADAL" clId="{DEF8C959-161B-48E6-918F-19FB2A9D3909}" dt="2023-04-21T09:54:24.426" v="10005"/>
          <ac:spMkLst>
            <pc:docMk/>
            <pc:sldMk cId="1603008812" sldId="7333"/>
            <ac:spMk id="1674" creationId="{F5D976AF-849F-3545-F2A9-C960FD9CE788}"/>
          </ac:spMkLst>
        </pc:spChg>
        <pc:spChg chg="mod">
          <ac:chgData name="Bez, Florian" userId="30d7df6a-5295-4d75-a650-5a1fab7b8b2e" providerId="ADAL" clId="{DEF8C959-161B-48E6-918F-19FB2A9D3909}" dt="2023-04-21T09:54:24.426" v="10005"/>
          <ac:spMkLst>
            <pc:docMk/>
            <pc:sldMk cId="1603008812" sldId="7333"/>
            <ac:spMk id="1675" creationId="{7AD033E7-FF8E-FE9A-1E91-A4B373D2032A}"/>
          </ac:spMkLst>
        </pc:spChg>
        <pc:spChg chg="mod">
          <ac:chgData name="Bez, Florian" userId="30d7df6a-5295-4d75-a650-5a1fab7b8b2e" providerId="ADAL" clId="{DEF8C959-161B-48E6-918F-19FB2A9D3909}" dt="2023-04-21T09:54:24.426" v="10005"/>
          <ac:spMkLst>
            <pc:docMk/>
            <pc:sldMk cId="1603008812" sldId="7333"/>
            <ac:spMk id="1676" creationId="{0AC8B4F8-0EB3-0A98-2CC8-643D40F3984C}"/>
          </ac:spMkLst>
        </pc:spChg>
        <pc:spChg chg="mod">
          <ac:chgData name="Bez, Florian" userId="30d7df6a-5295-4d75-a650-5a1fab7b8b2e" providerId="ADAL" clId="{DEF8C959-161B-48E6-918F-19FB2A9D3909}" dt="2023-04-21T09:54:24.426" v="10005"/>
          <ac:spMkLst>
            <pc:docMk/>
            <pc:sldMk cId="1603008812" sldId="7333"/>
            <ac:spMk id="1677" creationId="{58AE92D8-0226-7A71-F619-4B81513BAA70}"/>
          </ac:spMkLst>
        </pc:spChg>
        <pc:spChg chg="mod">
          <ac:chgData name="Bez, Florian" userId="30d7df6a-5295-4d75-a650-5a1fab7b8b2e" providerId="ADAL" clId="{DEF8C959-161B-48E6-918F-19FB2A9D3909}" dt="2023-04-21T09:54:24.426" v="10005"/>
          <ac:spMkLst>
            <pc:docMk/>
            <pc:sldMk cId="1603008812" sldId="7333"/>
            <ac:spMk id="1678" creationId="{8FFF85FF-1ACA-273C-BC00-0CBFE9A3906C}"/>
          </ac:spMkLst>
        </pc:spChg>
        <pc:spChg chg="mod">
          <ac:chgData name="Bez, Florian" userId="30d7df6a-5295-4d75-a650-5a1fab7b8b2e" providerId="ADAL" clId="{DEF8C959-161B-48E6-918F-19FB2A9D3909}" dt="2023-04-21T09:54:24.426" v="10005"/>
          <ac:spMkLst>
            <pc:docMk/>
            <pc:sldMk cId="1603008812" sldId="7333"/>
            <ac:spMk id="1679" creationId="{AD8BE9DA-DD93-FC2D-1CB1-320F7FF47D82}"/>
          </ac:spMkLst>
        </pc:spChg>
        <pc:spChg chg="mod">
          <ac:chgData name="Bez, Florian" userId="30d7df6a-5295-4d75-a650-5a1fab7b8b2e" providerId="ADAL" clId="{DEF8C959-161B-48E6-918F-19FB2A9D3909}" dt="2023-04-21T09:54:24.426" v="10005"/>
          <ac:spMkLst>
            <pc:docMk/>
            <pc:sldMk cId="1603008812" sldId="7333"/>
            <ac:spMk id="1680" creationId="{4FDBF1AC-FCB3-795C-F6A9-B57219771D30}"/>
          </ac:spMkLst>
        </pc:spChg>
        <pc:spChg chg="mod">
          <ac:chgData name="Bez, Florian" userId="30d7df6a-5295-4d75-a650-5a1fab7b8b2e" providerId="ADAL" clId="{DEF8C959-161B-48E6-918F-19FB2A9D3909}" dt="2023-04-21T09:54:24.426" v="10005"/>
          <ac:spMkLst>
            <pc:docMk/>
            <pc:sldMk cId="1603008812" sldId="7333"/>
            <ac:spMk id="1681" creationId="{30B941D7-F493-AA05-2E9D-3A489957E314}"/>
          </ac:spMkLst>
        </pc:spChg>
        <pc:spChg chg="mod">
          <ac:chgData name="Bez, Florian" userId="30d7df6a-5295-4d75-a650-5a1fab7b8b2e" providerId="ADAL" clId="{DEF8C959-161B-48E6-918F-19FB2A9D3909}" dt="2023-04-21T09:54:24.426" v="10005"/>
          <ac:spMkLst>
            <pc:docMk/>
            <pc:sldMk cId="1603008812" sldId="7333"/>
            <ac:spMk id="1682" creationId="{0A124FC3-3971-B07D-0D33-0AE9B18AD802}"/>
          </ac:spMkLst>
        </pc:spChg>
        <pc:spChg chg="mod">
          <ac:chgData name="Bez, Florian" userId="30d7df6a-5295-4d75-a650-5a1fab7b8b2e" providerId="ADAL" clId="{DEF8C959-161B-48E6-918F-19FB2A9D3909}" dt="2023-04-21T09:54:24.426" v="10005"/>
          <ac:spMkLst>
            <pc:docMk/>
            <pc:sldMk cId="1603008812" sldId="7333"/>
            <ac:spMk id="1683" creationId="{CBAF638E-35F6-8E84-0373-450551BB02BF}"/>
          </ac:spMkLst>
        </pc:spChg>
        <pc:spChg chg="mod">
          <ac:chgData name="Bez, Florian" userId="30d7df6a-5295-4d75-a650-5a1fab7b8b2e" providerId="ADAL" clId="{DEF8C959-161B-48E6-918F-19FB2A9D3909}" dt="2023-04-21T09:54:24.426" v="10005"/>
          <ac:spMkLst>
            <pc:docMk/>
            <pc:sldMk cId="1603008812" sldId="7333"/>
            <ac:spMk id="1684" creationId="{E691808D-90F6-AC94-F527-6EC238F74102}"/>
          </ac:spMkLst>
        </pc:spChg>
        <pc:spChg chg="mod">
          <ac:chgData name="Bez, Florian" userId="30d7df6a-5295-4d75-a650-5a1fab7b8b2e" providerId="ADAL" clId="{DEF8C959-161B-48E6-918F-19FB2A9D3909}" dt="2023-04-21T09:54:24.426" v="10005"/>
          <ac:spMkLst>
            <pc:docMk/>
            <pc:sldMk cId="1603008812" sldId="7333"/>
            <ac:spMk id="1685" creationId="{EEC0978D-2185-0F27-6D16-C15710E4F3DD}"/>
          </ac:spMkLst>
        </pc:spChg>
        <pc:spChg chg="mod">
          <ac:chgData name="Bez, Florian" userId="30d7df6a-5295-4d75-a650-5a1fab7b8b2e" providerId="ADAL" clId="{DEF8C959-161B-48E6-918F-19FB2A9D3909}" dt="2023-04-21T09:54:24.426" v="10005"/>
          <ac:spMkLst>
            <pc:docMk/>
            <pc:sldMk cId="1603008812" sldId="7333"/>
            <ac:spMk id="1686" creationId="{20B12876-77BF-15C5-7CB9-BE53F5E2BF89}"/>
          </ac:spMkLst>
        </pc:spChg>
        <pc:spChg chg="mod">
          <ac:chgData name="Bez, Florian" userId="30d7df6a-5295-4d75-a650-5a1fab7b8b2e" providerId="ADAL" clId="{DEF8C959-161B-48E6-918F-19FB2A9D3909}" dt="2023-04-21T09:54:24.426" v="10005"/>
          <ac:spMkLst>
            <pc:docMk/>
            <pc:sldMk cId="1603008812" sldId="7333"/>
            <ac:spMk id="1687" creationId="{FA0DDB7A-C06B-7E14-4E89-6366530CA4DB}"/>
          </ac:spMkLst>
        </pc:spChg>
        <pc:spChg chg="mod">
          <ac:chgData name="Bez, Florian" userId="30d7df6a-5295-4d75-a650-5a1fab7b8b2e" providerId="ADAL" clId="{DEF8C959-161B-48E6-918F-19FB2A9D3909}" dt="2023-04-21T09:54:24.426" v="10005"/>
          <ac:spMkLst>
            <pc:docMk/>
            <pc:sldMk cId="1603008812" sldId="7333"/>
            <ac:spMk id="1688" creationId="{9E9E7674-AF7E-68FF-19A2-BD79D7F2BFD8}"/>
          </ac:spMkLst>
        </pc:spChg>
        <pc:spChg chg="mod">
          <ac:chgData name="Bez, Florian" userId="30d7df6a-5295-4d75-a650-5a1fab7b8b2e" providerId="ADAL" clId="{DEF8C959-161B-48E6-918F-19FB2A9D3909}" dt="2023-04-21T09:54:24.426" v="10005"/>
          <ac:spMkLst>
            <pc:docMk/>
            <pc:sldMk cId="1603008812" sldId="7333"/>
            <ac:spMk id="1689" creationId="{1D764A78-96F8-1CCC-1304-E053C1B31FCF}"/>
          </ac:spMkLst>
        </pc:spChg>
        <pc:spChg chg="mod">
          <ac:chgData name="Bez, Florian" userId="30d7df6a-5295-4d75-a650-5a1fab7b8b2e" providerId="ADAL" clId="{DEF8C959-161B-48E6-918F-19FB2A9D3909}" dt="2023-04-21T09:54:24.426" v="10005"/>
          <ac:spMkLst>
            <pc:docMk/>
            <pc:sldMk cId="1603008812" sldId="7333"/>
            <ac:spMk id="1690" creationId="{8CF1EF83-A979-7B22-9D0B-C0E3F2D46D82}"/>
          </ac:spMkLst>
        </pc:spChg>
        <pc:spChg chg="mod">
          <ac:chgData name="Bez, Florian" userId="30d7df6a-5295-4d75-a650-5a1fab7b8b2e" providerId="ADAL" clId="{DEF8C959-161B-48E6-918F-19FB2A9D3909}" dt="2023-04-21T09:54:24.426" v="10005"/>
          <ac:spMkLst>
            <pc:docMk/>
            <pc:sldMk cId="1603008812" sldId="7333"/>
            <ac:spMk id="1691" creationId="{DA2C1419-61B9-D3DB-5537-8122E29D669A}"/>
          </ac:spMkLst>
        </pc:spChg>
        <pc:spChg chg="mod">
          <ac:chgData name="Bez, Florian" userId="30d7df6a-5295-4d75-a650-5a1fab7b8b2e" providerId="ADAL" clId="{DEF8C959-161B-48E6-918F-19FB2A9D3909}" dt="2023-04-21T09:54:24.426" v="10005"/>
          <ac:spMkLst>
            <pc:docMk/>
            <pc:sldMk cId="1603008812" sldId="7333"/>
            <ac:spMk id="1692" creationId="{495F5283-7869-EA8B-AEAA-15F43DCF4714}"/>
          </ac:spMkLst>
        </pc:spChg>
        <pc:spChg chg="mod">
          <ac:chgData name="Bez, Florian" userId="30d7df6a-5295-4d75-a650-5a1fab7b8b2e" providerId="ADAL" clId="{DEF8C959-161B-48E6-918F-19FB2A9D3909}" dt="2023-04-21T09:54:24.426" v="10005"/>
          <ac:spMkLst>
            <pc:docMk/>
            <pc:sldMk cId="1603008812" sldId="7333"/>
            <ac:spMk id="1693" creationId="{4B19C15C-697C-3C35-D4C7-E4AF32C9E926}"/>
          </ac:spMkLst>
        </pc:spChg>
        <pc:spChg chg="mod">
          <ac:chgData name="Bez, Florian" userId="30d7df6a-5295-4d75-a650-5a1fab7b8b2e" providerId="ADAL" clId="{DEF8C959-161B-48E6-918F-19FB2A9D3909}" dt="2023-04-21T09:54:24.426" v="10005"/>
          <ac:spMkLst>
            <pc:docMk/>
            <pc:sldMk cId="1603008812" sldId="7333"/>
            <ac:spMk id="1694" creationId="{36435C75-CF8F-68E0-444F-E24355F9B242}"/>
          </ac:spMkLst>
        </pc:spChg>
        <pc:spChg chg="mod">
          <ac:chgData name="Bez, Florian" userId="30d7df6a-5295-4d75-a650-5a1fab7b8b2e" providerId="ADAL" clId="{DEF8C959-161B-48E6-918F-19FB2A9D3909}" dt="2023-04-21T09:54:24.426" v="10005"/>
          <ac:spMkLst>
            <pc:docMk/>
            <pc:sldMk cId="1603008812" sldId="7333"/>
            <ac:spMk id="1695" creationId="{F4177843-B9D5-CDC6-DFF5-16B291506D8A}"/>
          </ac:spMkLst>
        </pc:spChg>
        <pc:spChg chg="mod">
          <ac:chgData name="Bez, Florian" userId="30d7df6a-5295-4d75-a650-5a1fab7b8b2e" providerId="ADAL" clId="{DEF8C959-161B-48E6-918F-19FB2A9D3909}" dt="2023-04-21T09:54:24.426" v="10005"/>
          <ac:spMkLst>
            <pc:docMk/>
            <pc:sldMk cId="1603008812" sldId="7333"/>
            <ac:spMk id="1696" creationId="{44F70CF1-90D6-430B-036A-0F259BE4F56F}"/>
          </ac:spMkLst>
        </pc:spChg>
        <pc:spChg chg="mod">
          <ac:chgData name="Bez, Florian" userId="30d7df6a-5295-4d75-a650-5a1fab7b8b2e" providerId="ADAL" clId="{DEF8C959-161B-48E6-918F-19FB2A9D3909}" dt="2023-04-21T09:54:24.426" v="10005"/>
          <ac:spMkLst>
            <pc:docMk/>
            <pc:sldMk cId="1603008812" sldId="7333"/>
            <ac:spMk id="1698" creationId="{19C0FB31-3BC8-C476-8828-E5478A11A894}"/>
          </ac:spMkLst>
        </pc:spChg>
        <pc:spChg chg="mod">
          <ac:chgData name="Bez, Florian" userId="30d7df6a-5295-4d75-a650-5a1fab7b8b2e" providerId="ADAL" clId="{DEF8C959-161B-48E6-918F-19FB2A9D3909}" dt="2023-04-21T09:54:24.426" v="10005"/>
          <ac:spMkLst>
            <pc:docMk/>
            <pc:sldMk cId="1603008812" sldId="7333"/>
            <ac:spMk id="1699" creationId="{E6B8CA27-0873-1A08-99A2-98D36D1740D0}"/>
          </ac:spMkLst>
        </pc:spChg>
        <pc:spChg chg="mod">
          <ac:chgData name="Bez, Florian" userId="30d7df6a-5295-4d75-a650-5a1fab7b8b2e" providerId="ADAL" clId="{DEF8C959-161B-48E6-918F-19FB2A9D3909}" dt="2023-04-21T09:54:24.426" v="10005"/>
          <ac:spMkLst>
            <pc:docMk/>
            <pc:sldMk cId="1603008812" sldId="7333"/>
            <ac:spMk id="1700" creationId="{69AFAE33-2AC5-F446-A2B7-AFEBCC528117}"/>
          </ac:spMkLst>
        </pc:spChg>
        <pc:spChg chg="mod">
          <ac:chgData name="Bez, Florian" userId="30d7df6a-5295-4d75-a650-5a1fab7b8b2e" providerId="ADAL" clId="{DEF8C959-161B-48E6-918F-19FB2A9D3909}" dt="2023-04-21T09:54:24.426" v="10005"/>
          <ac:spMkLst>
            <pc:docMk/>
            <pc:sldMk cId="1603008812" sldId="7333"/>
            <ac:spMk id="1701" creationId="{51395B1A-4ED2-A401-7B83-E74751DC4890}"/>
          </ac:spMkLst>
        </pc:spChg>
        <pc:spChg chg="mod">
          <ac:chgData name="Bez, Florian" userId="30d7df6a-5295-4d75-a650-5a1fab7b8b2e" providerId="ADAL" clId="{DEF8C959-161B-48E6-918F-19FB2A9D3909}" dt="2023-04-21T09:54:24.426" v="10005"/>
          <ac:spMkLst>
            <pc:docMk/>
            <pc:sldMk cId="1603008812" sldId="7333"/>
            <ac:spMk id="1702" creationId="{3F484CC4-E61E-3C92-57FB-FF338C42CCF9}"/>
          </ac:spMkLst>
        </pc:spChg>
        <pc:spChg chg="mod">
          <ac:chgData name="Bez, Florian" userId="30d7df6a-5295-4d75-a650-5a1fab7b8b2e" providerId="ADAL" clId="{DEF8C959-161B-48E6-918F-19FB2A9D3909}" dt="2023-04-21T09:54:24.426" v="10005"/>
          <ac:spMkLst>
            <pc:docMk/>
            <pc:sldMk cId="1603008812" sldId="7333"/>
            <ac:spMk id="1703" creationId="{4E83E3DB-8C79-966C-3905-FC80CED301C7}"/>
          </ac:spMkLst>
        </pc:spChg>
        <pc:spChg chg="mod">
          <ac:chgData name="Bez, Florian" userId="30d7df6a-5295-4d75-a650-5a1fab7b8b2e" providerId="ADAL" clId="{DEF8C959-161B-48E6-918F-19FB2A9D3909}" dt="2023-04-21T09:54:24.426" v="10005"/>
          <ac:spMkLst>
            <pc:docMk/>
            <pc:sldMk cId="1603008812" sldId="7333"/>
            <ac:spMk id="1704" creationId="{0E5683DF-3ECD-177C-6A67-EEBA024D0F7A}"/>
          </ac:spMkLst>
        </pc:spChg>
        <pc:spChg chg="mod">
          <ac:chgData name="Bez, Florian" userId="30d7df6a-5295-4d75-a650-5a1fab7b8b2e" providerId="ADAL" clId="{DEF8C959-161B-48E6-918F-19FB2A9D3909}" dt="2023-04-21T09:54:24.426" v="10005"/>
          <ac:spMkLst>
            <pc:docMk/>
            <pc:sldMk cId="1603008812" sldId="7333"/>
            <ac:spMk id="1705" creationId="{368BD486-F5BE-B490-E8E3-42461B2578CE}"/>
          </ac:spMkLst>
        </pc:spChg>
        <pc:spChg chg="mod">
          <ac:chgData name="Bez, Florian" userId="30d7df6a-5295-4d75-a650-5a1fab7b8b2e" providerId="ADAL" clId="{DEF8C959-161B-48E6-918F-19FB2A9D3909}" dt="2023-04-21T09:54:24.426" v="10005"/>
          <ac:spMkLst>
            <pc:docMk/>
            <pc:sldMk cId="1603008812" sldId="7333"/>
            <ac:spMk id="1706" creationId="{D87426C5-4801-272A-8FDD-B640A94B5EB7}"/>
          </ac:spMkLst>
        </pc:spChg>
        <pc:spChg chg="mod">
          <ac:chgData name="Bez, Florian" userId="30d7df6a-5295-4d75-a650-5a1fab7b8b2e" providerId="ADAL" clId="{DEF8C959-161B-48E6-918F-19FB2A9D3909}" dt="2023-04-21T09:54:24.426" v="10005"/>
          <ac:spMkLst>
            <pc:docMk/>
            <pc:sldMk cId="1603008812" sldId="7333"/>
            <ac:spMk id="1707" creationId="{74EE37F6-4752-108C-0623-878E2E06E511}"/>
          </ac:spMkLst>
        </pc:spChg>
        <pc:spChg chg="mod">
          <ac:chgData name="Bez, Florian" userId="30d7df6a-5295-4d75-a650-5a1fab7b8b2e" providerId="ADAL" clId="{DEF8C959-161B-48E6-918F-19FB2A9D3909}" dt="2023-04-21T09:54:24.426" v="10005"/>
          <ac:spMkLst>
            <pc:docMk/>
            <pc:sldMk cId="1603008812" sldId="7333"/>
            <ac:spMk id="1708" creationId="{54CCF24B-85A5-B722-1CCE-CD76BA897E09}"/>
          </ac:spMkLst>
        </pc:spChg>
        <pc:spChg chg="mod">
          <ac:chgData name="Bez, Florian" userId="30d7df6a-5295-4d75-a650-5a1fab7b8b2e" providerId="ADAL" clId="{DEF8C959-161B-48E6-918F-19FB2A9D3909}" dt="2023-04-21T09:54:24.426" v="10005"/>
          <ac:spMkLst>
            <pc:docMk/>
            <pc:sldMk cId="1603008812" sldId="7333"/>
            <ac:spMk id="1709" creationId="{7FFD2EB4-8B77-9845-AC2F-1417F6CE4CB8}"/>
          </ac:spMkLst>
        </pc:spChg>
        <pc:spChg chg="mod">
          <ac:chgData name="Bez, Florian" userId="30d7df6a-5295-4d75-a650-5a1fab7b8b2e" providerId="ADAL" clId="{DEF8C959-161B-48E6-918F-19FB2A9D3909}" dt="2023-04-21T09:54:24.426" v="10005"/>
          <ac:spMkLst>
            <pc:docMk/>
            <pc:sldMk cId="1603008812" sldId="7333"/>
            <ac:spMk id="1710" creationId="{B30B1BC7-FBB4-92E3-DBBF-BC245676E1DF}"/>
          </ac:spMkLst>
        </pc:spChg>
        <pc:spChg chg="mod">
          <ac:chgData name="Bez, Florian" userId="30d7df6a-5295-4d75-a650-5a1fab7b8b2e" providerId="ADAL" clId="{DEF8C959-161B-48E6-918F-19FB2A9D3909}" dt="2023-04-21T09:54:24.426" v="10005"/>
          <ac:spMkLst>
            <pc:docMk/>
            <pc:sldMk cId="1603008812" sldId="7333"/>
            <ac:spMk id="1711" creationId="{79D53E61-3677-7D8C-D1AD-F351BD4BEA6F}"/>
          </ac:spMkLst>
        </pc:spChg>
        <pc:spChg chg="mod">
          <ac:chgData name="Bez, Florian" userId="30d7df6a-5295-4d75-a650-5a1fab7b8b2e" providerId="ADAL" clId="{DEF8C959-161B-48E6-918F-19FB2A9D3909}" dt="2023-04-21T09:54:24.426" v="10005"/>
          <ac:spMkLst>
            <pc:docMk/>
            <pc:sldMk cId="1603008812" sldId="7333"/>
            <ac:spMk id="1712" creationId="{28C05C09-329E-A9D7-6128-C2DD395D420B}"/>
          </ac:spMkLst>
        </pc:spChg>
        <pc:spChg chg="mod">
          <ac:chgData name="Bez, Florian" userId="30d7df6a-5295-4d75-a650-5a1fab7b8b2e" providerId="ADAL" clId="{DEF8C959-161B-48E6-918F-19FB2A9D3909}" dt="2023-04-21T09:54:24.426" v="10005"/>
          <ac:spMkLst>
            <pc:docMk/>
            <pc:sldMk cId="1603008812" sldId="7333"/>
            <ac:spMk id="1713" creationId="{8ABB592A-DE33-F599-AB7B-549475142813}"/>
          </ac:spMkLst>
        </pc:spChg>
        <pc:spChg chg="mod">
          <ac:chgData name="Bez, Florian" userId="30d7df6a-5295-4d75-a650-5a1fab7b8b2e" providerId="ADAL" clId="{DEF8C959-161B-48E6-918F-19FB2A9D3909}" dt="2023-04-21T09:54:24.426" v="10005"/>
          <ac:spMkLst>
            <pc:docMk/>
            <pc:sldMk cId="1603008812" sldId="7333"/>
            <ac:spMk id="1714" creationId="{5D75C149-5A39-5D9F-22BB-3BBB7476392C}"/>
          </ac:spMkLst>
        </pc:spChg>
        <pc:spChg chg="mod">
          <ac:chgData name="Bez, Florian" userId="30d7df6a-5295-4d75-a650-5a1fab7b8b2e" providerId="ADAL" clId="{DEF8C959-161B-48E6-918F-19FB2A9D3909}" dt="2023-04-21T09:54:24.426" v="10005"/>
          <ac:spMkLst>
            <pc:docMk/>
            <pc:sldMk cId="1603008812" sldId="7333"/>
            <ac:spMk id="1715" creationId="{76275CF5-8EC4-3C5D-C20B-92FF975307C6}"/>
          </ac:spMkLst>
        </pc:spChg>
        <pc:spChg chg="mod">
          <ac:chgData name="Bez, Florian" userId="30d7df6a-5295-4d75-a650-5a1fab7b8b2e" providerId="ADAL" clId="{DEF8C959-161B-48E6-918F-19FB2A9D3909}" dt="2023-04-21T09:54:24.426" v="10005"/>
          <ac:spMkLst>
            <pc:docMk/>
            <pc:sldMk cId="1603008812" sldId="7333"/>
            <ac:spMk id="1716" creationId="{6DF4C660-C34B-F857-6673-94BDE463A07F}"/>
          </ac:spMkLst>
        </pc:spChg>
        <pc:spChg chg="mod">
          <ac:chgData name="Bez, Florian" userId="30d7df6a-5295-4d75-a650-5a1fab7b8b2e" providerId="ADAL" clId="{DEF8C959-161B-48E6-918F-19FB2A9D3909}" dt="2023-04-21T09:54:24.426" v="10005"/>
          <ac:spMkLst>
            <pc:docMk/>
            <pc:sldMk cId="1603008812" sldId="7333"/>
            <ac:spMk id="1717" creationId="{38A251A9-69AB-3AA6-23DF-EA65F4D8F283}"/>
          </ac:spMkLst>
        </pc:spChg>
        <pc:spChg chg="mod">
          <ac:chgData name="Bez, Florian" userId="30d7df6a-5295-4d75-a650-5a1fab7b8b2e" providerId="ADAL" clId="{DEF8C959-161B-48E6-918F-19FB2A9D3909}" dt="2023-04-21T09:54:24.426" v="10005"/>
          <ac:spMkLst>
            <pc:docMk/>
            <pc:sldMk cId="1603008812" sldId="7333"/>
            <ac:spMk id="1718" creationId="{D7ED50B0-9E3D-E431-9FCE-581B86CE51A3}"/>
          </ac:spMkLst>
        </pc:spChg>
        <pc:spChg chg="mod">
          <ac:chgData name="Bez, Florian" userId="30d7df6a-5295-4d75-a650-5a1fab7b8b2e" providerId="ADAL" clId="{DEF8C959-161B-48E6-918F-19FB2A9D3909}" dt="2023-04-21T09:54:24.426" v="10005"/>
          <ac:spMkLst>
            <pc:docMk/>
            <pc:sldMk cId="1603008812" sldId="7333"/>
            <ac:spMk id="1719" creationId="{2A2A56C5-6BF4-B2E7-DD5C-AF9F1E0D4CC4}"/>
          </ac:spMkLst>
        </pc:spChg>
        <pc:spChg chg="mod">
          <ac:chgData name="Bez, Florian" userId="30d7df6a-5295-4d75-a650-5a1fab7b8b2e" providerId="ADAL" clId="{DEF8C959-161B-48E6-918F-19FB2A9D3909}" dt="2023-04-21T09:54:24.426" v="10005"/>
          <ac:spMkLst>
            <pc:docMk/>
            <pc:sldMk cId="1603008812" sldId="7333"/>
            <ac:spMk id="1720" creationId="{48D31231-45F7-4377-54E0-8814B4F569B8}"/>
          </ac:spMkLst>
        </pc:spChg>
        <pc:spChg chg="mod">
          <ac:chgData name="Bez, Florian" userId="30d7df6a-5295-4d75-a650-5a1fab7b8b2e" providerId="ADAL" clId="{DEF8C959-161B-48E6-918F-19FB2A9D3909}" dt="2023-04-21T09:54:24.426" v="10005"/>
          <ac:spMkLst>
            <pc:docMk/>
            <pc:sldMk cId="1603008812" sldId="7333"/>
            <ac:spMk id="1721" creationId="{2DE9EB39-2E9D-B436-A0B4-72CB89544DA4}"/>
          </ac:spMkLst>
        </pc:spChg>
        <pc:spChg chg="mod">
          <ac:chgData name="Bez, Florian" userId="30d7df6a-5295-4d75-a650-5a1fab7b8b2e" providerId="ADAL" clId="{DEF8C959-161B-48E6-918F-19FB2A9D3909}" dt="2023-04-21T09:54:24.426" v="10005"/>
          <ac:spMkLst>
            <pc:docMk/>
            <pc:sldMk cId="1603008812" sldId="7333"/>
            <ac:spMk id="1722" creationId="{319FE41D-585D-1959-D8C3-B811AF482106}"/>
          </ac:spMkLst>
        </pc:spChg>
        <pc:spChg chg="mod">
          <ac:chgData name="Bez, Florian" userId="30d7df6a-5295-4d75-a650-5a1fab7b8b2e" providerId="ADAL" clId="{DEF8C959-161B-48E6-918F-19FB2A9D3909}" dt="2023-04-21T09:54:24.426" v="10005"/>
          <ac:spMkLst>
            <pc:docMk/>
            <pc:sldMk cId="1603008812" sldId="7333"/>
            <ac:spMk id="1723" creationId="{41C26DE3-B8F6-9B3C-4A8E-C162020B1402}"/>
          </ac:spMkLst>
        </pc:spChg>
        <pc:spChg chg="mod">
          <ac:chgData name="Bez, Florian" userId="30d7df6a-5295-4d75-a650-5a1fab7b8b2e" providerId="ADAL" clId="{DEF8C959-161B-48E6-918F-19FB2A9D3909}" dt="2023-04-21T09:54:24.426" v="10005"/>
          <ac:spMkLst>
            <pc:docMk/>
            <pc:sldMk cId="1603008812" sldId="7333"/>
            <ac:spMk id="1724" creationId="{FA0A08B2-D33A-B141-B4B1-4713121FA400}"/>
          </ac:spMkLst>
        </pc:spChg>
        <pc:spChg chg="mod">
          <ac:chgData name="Bez, Florian" userId="30d7df6a-5295-4d75-a650-5a1fab7b8b2e" providerId="ADAL" clId="{DEF8C959-161B-48E6-918F-19FB2A9D3909}" dt="2023-04-21T09:54:24.426" v="10005"/>
          <ac:spMkLst>
            <pc:docMk/>
            <pc:sldMk cId="1603008812" sldId="7333"/>
            <ac:spMk id="1725" creationId="{3F638132-B31F-937F-A1A4-FF4782FFDCA4}"/>
          </ac:spMkLst>
        </pc:spChg>
        <pc:spChg chg="mod">
          <ac:chgData name="Bez, Florian" userId="30d7df6a-5295-4d75-a650-5a1fab7b8b2e" providerId="ADAL" clId="{DEF8C959-161B-48E6-918F-19FB2A9D3909}" dt="2023-04-21T09:54:24.426" v="10005"/>
          <ac:spMkLst>
            <pc:docMk/>
            <pc:sldMk cId="1603008812" sldId="7333"/>
            <ac:spMk id="1726" creationId="{AA1D31A4-D654-0799-7848-F1D9D7E60900}"/>
          </ac:spMkLst>
        </pc:spChg>
        <pc:spChg chg="mod">
          <ac:chgData name="Bez, Florian" userId="30d7df6a-5295-4d75-a650-5a1fab7b8b2e" providerId="ADAL" clId="{DEF8C959-161B-48E6-918F-19FB2A9D3909}" dt="2023-04-21T09:54:24.426" v="10005"/>
          <ac:spMkLst>
            <pc:docMk/>
            <pc:sldMk cId="1603008812" sldId="7333"/>
            <ac:spMk id="1727" creationId="{536C02AD-C356-BE7A-95EB-A12FCAFF4F6B}"/>
          </ac:spMkLst>
        </pc:spChg>
        <pc:spChg chg="mod">
          <ac:chgData name="Bez, Florian" userId="30d7df6a-5295-4d75-a650-5a1fab7b8b2e" providerId="ADAL" clId="{DEF8C959-161B-48E6-918F-19FB2A9D3909}" dt="2023-04-21T09:54:24.426" v="10005"/>
          <ac:spMkLst>
            <pc:docMk/>
            <pc:sldMk cId="1603008812" sldId="7333"/>
            <ac:spMk id="1728" creationId="{68373461-0F8C-C9AB-232F-7E1681FF4319}"/>
          </ac:spMkLst>
        </pc:spChg>
        <pc:spChg chg="mod">
          <ac:chgData name="Bez, Florian" userId="30d7df6a-5295-4d75-a650-5a1fab7b8b2e" providerId="ADAL" clId="{DEF8C959-161B-48E6-918F-19FB2A9D3909}" dt="2023-04-21T09:54:24.426" v="10005"/>
          <ac:spMkLst>
            <pc:docMk/>
            <pc:sldMk cId="1603008812" sldId="7333"/>
            <ac:spMk id="1729" creationId="{29EFA47E-2515-CEB6-009E-A5BEE563FE07}"/>
          </ac:spMkLst>
        </pc:spChg>
        <pc:spChg chg="mod">
          <ac:chgData name="Bez, Florian" userId="30d7df6a-5295-4d75-a650-5a1fab7b8b2e" providerId="ADAL" clId="{DEF8C959-161B-48E6-918F-19FB2A9D3909}" dt="2023-04-21T09:54:24.426" v="10005"/>
          <ac:spMkLst>
            <pc:docMk/>
            <pc:sldMk cId="1603008812" sldId="7333"/>
            <ac:spMk id="1730" creationId="{DF16888D-11AF-AFE1-BB17-7A6288D2AC45}"/>
          </ac:spMkLst>
        </pc:spChg>
        <pc:spChg chg="mod">
          <ac:chgData name="Bez, Florian" userId="30d7df6a-5295-4d75-a650-5a1fab7b8b2e" providerId="ADAL" clId="{DEF8C959-161B-48E6-918F-19FB2A9D3909}" dt="2023-04-21T09:54:24.426" v="10005"/>
          <ac:spMkLst>
            <pc:docMk/>
            <pc:sldMk cId="1603008812" sldId="7333"/>
            <ac:spMk id="1731" creationId="{35FFC4C4-93F4-28B5-2434-A88F97ED5011}"/>
          </ac:spMkLst>
        </pc:spChg>
        <pc:spChg chg="mod">
          <ac:chgData name="Bez, Florian" userId="30d7df6a-5295-4d75-a650-5a1fab7b8b2e" providerId="ADAL" clId="{DEF8C959-161B-48E6-918F-19FB2A9D3909}" dt="2023-04-21T09:54:24.426" v="10005"/>
          <ac:spMkLst>
            <pc:docMk/>
            <pc:sldMk cId="1603008812" sldId="7333"/>
            <ac:spMk id="1732" creationId="{0AC2B718-9165-8A17-92D3-CA383A11ECA6}"/>
          </ac:spMkLst>
        </pc:spChg>
        <pc:spChg chg="mod">
          <ac:chgData name="Bez, Florian" userId="30d7df6a-5295-4d75-a650-5a1fab7b8b2e" providerId="ADAL" clId="{DEF8C959-161B-48E6-918F-19FB2A9D3909}" dt="2023-04-21T09:54:24.426" v="10005"/>
          <ac:spMkLst>
            <pc:docMk/>
            <pc:sldMk cId="1603008812" sldId="7333"/>
            <ac:spMk id="1733" creationId="{A1F2A4D4-5D05-2875-D1F8-720EC096956F}"/>
          </ac:spMkLst>
        </pc:spChg>
        <pc:spChg chg="mod">
          <ac:chgData name="Bez, Florian" userId="30d7df6a-5295-4d75-a650-5a1fab7b8b2e" providerId="ADAL" clId="{DEF8C959-161B-48E6-918F-19FB2A9D3909}" dt="2023-04-21T09:54:24.426" v="10005"/>
          <ac:spMkLst>
            <pc:docMk/>
            <pc:sldMk cId="1603008812" sldId="7333"/>
            <ac:spMk id="1734" creationId="{E70D9F21-A3AA-78D5-871C-DDD93BBEF6CE}"/>
          </ac:spMkLst>
        </pc:spChg>
        <pc:spChg chg="mod">
          <ac:chgData name="Bez, Florian" userId="30d7df6a-5295-4d75-a650-5a1fab7b8b2e" providerId="ADAL" clId="{DEF8C959-161B-48E6-918F-19FB2A9D3909}" dt="2023-04-21T09:54:24.426" v="10005"/>
          <ac:spMkLst>
            <pc:docMk/>
            <pc:sldMk cId="1603008812" sldId="7333"/>
            <ac:spMk id="1735" creationId="{16060325-DD9A-9867-B1D3-AEAD7D7479D5}"/>
          </ac:spMkLst>
        </pc:spChg>
        <pc:spChg chg="mod">
          <ac:chgData name="Bez, Florian" userId="30d7df6a-5295-4d75-a650-5a1fab7b8b2e" providerId="ADAL" clId="{DEF8C959-161B-48E6-918F-19FB2A9D3909}" dt="2023-04-21T09:54:24.426" v="10005"/>
          <ac:spMkLst>
            <pc:docMk/>
            <pc:sldMk cId="1603008812" sldId="7333"/>
            <ac:spMk id="1736" creationId="{03113239-9F35-99FF-BA09-FF194D4C46D3}"/>
          </ac:spMkLst>
        </pc:spChg>
        <pc:spChg chg="mod">
          <ac:chgData name="Bez, Florian" userId="30d7df6a-5295-4d75-a650-5a1fab7b8b2e" providerId="ADAL" clId="{DEF8C959-161B-48E6-918F-19FB2A9D3909}" dt="2023-04-21T09:54:24.426" v="10005"/>
          <ac:spMkLst>
            <pc:docMk/>
            <pc:sldMk cId="1603008812" sldId="7333"/>
            <ac:spMk id="1737" creationId="{F66D078D-41EA-835D-DABC-492989CBCDB4}"/>
          </ac:spMkLst>
        </pc:spChg>
        <pc:spChg chg="mod">
          <ac:chgData name="Bez, Florian" userId="30d7df6a-5295-4d75-a650-5a1fab7b8b2e" providerId="ADAL" clId="{DEF8C959-161B-48E6-918F-19FB2A9D3909}" dt="2023-04-21T09:54:24.426" v="10005"/>
          <ac:spMkLst>
            <pc:docMk/>
            <pc:sldMk cId="1603008812" sldId="7333"/>
            <ac:spMk id="1738" creationId="{7D699EC5-EDA5-C2BD-B8BF-C9A08028F269}"/>
          </ac:spMkLst>
        </pc:spChg>
        <pc:spChg chg="mod">
          <ac:chgData name="Bez, Florian" userId="30d7df6a-5295-4d75-a650-5a1fab7b8b2e" providerId="ADAL" clId="{DEF8C959-161B-48E6-918F-19FB2A9D3909}" dt="2023-04-21T09:54:24.426" v="10005"/>
          <ac:spMkLst>
            <pc:docMk/>
            <pc:sldMk cId="1603008812" sldId="7333"/>
            <ac:spMk id="1739" creationId="{BC44613D-CEFD-36CE-810B-E21F60E5DFE6}"/>
          </ac:spMkLst>
        </pc:spChg>
        <pc:spChg chg="mod">
          <ac:chgData name="Bez, Florian" userId="30d7df6a-5295-4d75-a650-5a1fab7b8b2e" providerId="ADAL" clId="{DEF8C959-161B-48E6-918F-19FB2A9D3909}" dt="2023-04-21T09:54:24.426" v="10005"/>
          <ac:spMkLst>
            <pc:docMk/>
            <pc:sldMk cId="1603008812" sldId="7333"/>
            <ac:spMk id="1740" creationId="{5445F7C1-1BC2-5E9E-8B88-CCAB9A8AA37F}"/>
          </ac:spMkLst>
        </pc:spChg>
        <pc:spChg chg="mod">
          <ac:chgData name="Bez, Florian" userId="30d7df6a-5295-4d75-a650-5a1fab7b8b2e" providerId="ADAL" clId="{DEF8C959-161B-48E6-918F-19FB2A9D3909}" dt="2023-04-21T09:54:24.426" v="10005"/>
          <ac:spMkLst>
            <pc:docMk/>
            <pc:sldMk cId="1603008812" sldId="7333"/>
            <ac:spMk id="1741" creationId="{5037243D-4EA1-2ABA-31A9-BF25CDACBBAB}"/>
          </ac:spMkLst>
        </pc:spChg>
        <pc:spChg chg="mod">
          <ac:chgData name="Bez, Florian" userId="30d7df6a-5295-4d75-a650-5a1fab7b8b2e" providerId="ADAL" clId="{DEF8C959-161B-48E6-918F-19FB2A9D3909}" dt="2023-04-21T09:54:24.426" v="10005"/>
          <ac:spMkLst>
            <pc:docMk/>
            <pc:sldMk cId="1603008812" sldId="7333"/>
            <ac:spMk id="1742" creationId="{BCCD7479-5987-1DA0-59FB-F8315808C5CA}"/>
          </ac:spMkLst>
        </pc:spChg>
        <pc:spChg chg="mod">
          <ac:chgData name="Bez, Florian" userId="30d7df6a-5295-4d75-a650-5a1fab7b8b2e" providerId="ADAL" clId="{DEF8C959-161B-48E6-918F-19FB2A9D3909}" dt="2023-04-21T09:54:24.426" v="10005"/>
          <ac:spMkLst>
            <pc:docMk/>
            <pc:sldMk cId="1603008812" sldId="7333"/>
            <ac:spMk id="1743" creationId="{61FB759A-62F3-1DDF-221F-2C379E3ABBF6}"/>
          </ac:spMkLst>
        </pc:spChg>
        <pc:spChg chg="mod">
          <ac:chgData name="Bez, Florian" userId="30d7df6a-5295-4d75-a650-5a1fab7b8b2e" providerId="ADAL" clId="{DEF8C959-161B-48E6-918F-19FB2A9D3909}" dt="2023-04-21T09:54:24.426" v="10005"/>
          <ac:spMkLst>
            <pc:docMk/>
            <pc:sldMk cId="1603008812" sldId="7333"/>
            <ac:spMk id="1744" creationId="{43421410-67E0-A9EE-D1C4-19B92F074DC7}"/>
          </ac:spMkLst>
        </pc:spChg>
        <pc:spChg chg="mod">
          <ac:chgData name="Bez, Florian" userId="30d7df6a-5295-4d75-a650-5a1fab7b8b2e" providerId="ADAL" clId="{DEF8C959-161B-48E6-918F-19FB2A9D3909}" dt="2023-04-21T09:54:24.426" v="10005"/>
          <ac:spMkLst>
            <pc:docMk/>
            <pc:sldMk cId="1603008812" sldId="7333"/>
            <ac:spMk id="1745" creationId="{94F3B46F-222E-3D72-8F4B-D3A512F34E7B}"/>
          </ac:spMkLst>
        </pc:spChg>
        <pc:spChg chg="mod">
          <ac:chgData name="Bez, Florian" userId="30d7df6a-5295-4d75-a650-5a1fab7b8b2e" providerId="ADAL" clId="{DEF8C959-161B-48E6-918F-19FB2A9D3909}" dt="2023-04-21T09:54:24.426" v="10005"/>
          <ac:spMkLst>
            <pc:docMk/>
            <pc:sldMk cId="1603008812" sldId="7333"/>
            <ac:spMk id="1746" creationId="{32AA06D2-37DF-A7C1-935D-2A5B1F58FD7B}"/>
          </ac:spMkLst>
        </pc:spChg>
        <pc:spChg chg="mod">
          <ac:chgData name="Bez, Florian" userId="30d7df6a-5295-4d75-a650-5a1fab7b8b2e" providerId="ADAL" clId="{DEF8C959-161B-48E6-918F-19FB2A9D3909}" dt="2023-04-21T09:54:24.426" v="10005"/>
          <ac:spMkLst>
            <pc:docMk/>
            <pc:sldMk cId="1603008812" sldId="7333"/>
            <ac:spMk id="1747" creationId="{8352B786-135E-3630-EDFB-B63B05BEC471}"/>
          </ac:spMkLst>
        </pc:spChg>
        <pc:spChg chg="mod">
          <ac:chgData name="Bez, Florian" userId="30d7df6a-5295-4d75-a650-5a1fab7b8b2e" providerId="ADAL" clId="{DEF8C959-161B-48E6-918F-19FB2A9D3909}" dt="2023-04-21T09:54:24.426" v="10005"/>
          <ac:spMkLst>
            <pc:docMk/>
            <pc:sldMk cId="1603008812" sldId="7333"/>
            <ac:spMk id="1748" creationId="{BABF0985-9486-8C16-4B96-4B6D6C369034}"/>
          </ac:spMkLst>
        </pc:spChg>
        <pc:spChg chg="mod">
          <ac:chgData name="Bez, Florian" userId="30d7df6a-5295-4d75-a650-5a1fab7b8b2e" providerId="ADAL" clId="{DEF8C959-161B-48E6-918F-19FB2A9D3909}" dt="2023-04-21T09:54:24.426" v="10005"/>
          <ac:spMkLst>
            <pc:docMk/>
            <pc:sldMk cId="1603008812" sldId="7333"/>
            <ac:spMk id="1749" creationId="{9D2F3B65-7C65-64D2-EF51-F1DC8A40D1DA}"/>
          </ac:spMkLst>
        </pc:spChg>
        <pc:spChg chg="mod">
          <ac:chgData name="Bez, Florian" userId="30d7df6a-5295-4d75-a650-5a1fab7b8b2e" providerId="ADAL" clId="{DEF8C959-161B-48E6-918F-19FB2A9D3909}" dt="2023-04-21T09:54:24.426" v="10005"/>
          <ac:spMkLst>
            <pc:docMk/>
            <pc:sldMk cId="1603008812" sldId="7333"/>
            <ac:spMk id="1750" creationId="{6B04D0F0-4EDC-226E-27DB-426058CB687E}"/>
          </ac:spMkLst>
        </pc:spChg>
        <pc:spChg chg="mod">
          <ac:chgData name="Bez, Florian" userId="30d7df6a-5295-4d75-a650-5a1fab7b8b2e" providerId="ADAL" clId="{DEF8C959-161B-48E6-918F-19FB2A9D3909}" dt="2023-04-21T09:54:24.426" v="10005"/>
          <ac:spMkLst>
            <pc:docMk/>
            <pc:sldMk cId="1603008812" sldId="7333"/>
            <ac:spMk id="1751" creationId="{1E21706E-39AD-8315-4733-2681BC9E9FB2}"/>
          </ac:spMkLst>
        </pc:spChg>
        <pc:spChg chg="mod">
          <ac:chgData name="Bez, Florian" userId="30d7df6a-5295-4d75-a650-5a1fab7b8b2e" providerId="ADAL" clId="{DEF8C959-161B-48E6-918F-19FB2A9D3909}" dt="2023-04-21T09:54:24.426" v="10005"/>
          <ac:spMkLst>
            <pc:docMk/>
            <pc:sldMk cId="1603008812" sldId="7333"/>
            <ac:spMk id="1752" creationId="{AD650AA4-B4CF-D028-4D54-BB74A28911E8}"/>
          </ac:spMkLst>
        </pc:spChg>
        <pc:spChg chg="mod">
          <ac:chgData name="Bez, Florian" userId="30d7df6a-5295-4d75-a650-5a1fab7b8b2e" providerId="ADAL" clId="{DEF8C959-161B-48E6-918F-19FB2A9D3909}" dt="2023-04-21T09:54:24.426" v="10005"/>
          <ac:spMkLst>
            <pc:docMk/>
            <pc:sldMk cId="1603008812" sldId="7333"/>
            <ac:spMk id="1753" creationId="{74A513D2-E717-DDA8-FCF3-2D9D0FAFC07D}"/>
          </ac:spMkLst>
        </pc:spChg>
        <pc:spChg chg="mod">
          <ac:chgData name="Bez, Florian" userId="30d7df6a-5295-4d75-a650-5a1fab7b8b2e" providerId="ADAL" clId="{DEF8C959-161B-48E6-918F-19FB2A9D3909}" dt="2023-04-21T09:54:24.426" v="10005"/>
          <ac:spMkLst>
            <pc:docMk/>
            <pc:sldMk cId="1603008812" sldId="7333"/>
            <ac:spMk id="1754" creationId="{08B449A5-6E67-2B20-A359-9AE807CB2E21}"/>
          </ac:spMkLst>
        </pc:spChg>
        <pc:spChg chg="mod">
          <ac:chgData name="Bez, Florian" userId="30d7df6a-5295-4d75-a650-5a1fab7b8b2e" providerId="ADAL" clId="{DEF8C959-161B-48E6-918F-19FB2A9D3909}" dt="2023-04-21T09:54:24.426" v="10005"/>
          <ac:spMkLst>
            <pc:docMk/>
            <pc:sldMk cId="1603008812" sldId="7333"/>
            <ac:spMk id="1755" creationId="{EF4679AF-F114-DE13-1590-6BCE69F8FBBC}"/>
          </ac:spMkLst>
        </pc:spChg>
        <pc:spChg chg="mod">
          <ac:chgData name="Bez, Florian" userId="30d7df6a-5295-4d75-a650-5a1fab7b8b2e" providerId="ADAL" clId="{DEF8C959-161B-48E6-918F-19FB2A9D3909}" dt="2023-04-21T09:54:24.426" v="10005"/>
          <ac:spMkLst>
            <pc:docMk/>
            <pc:sldMk cId="1603008812" sldId="7333"/>
            <ac:spMk id="1756" creationId="{6C663CBA-490F-C63F-AD08-137D96BBA387}"/>
          </ac:spMkLst>
        </pc:spChg>
        <pc:spChg chg="mod">
          <ac:chgData name="Bez, Florian" userId="30d7df6a-5295-4d75-a650-5a1fab7b8b2e" providerId="ADAL" clId="{DEF8C959-161B-48E6-918F-19FB2A9D3909}" dt="2023-04-21T09:54:24.426" v="10005"/>
          <ac:spMkLst>
            <pc:docMk/>
            <pc:sldMk cId="1603008812" sldId="7333"/>
            <ac:spMk id="1757" creationId="{0AB26C3C-56A8-092C-900B-063C112270D4}"/>
          </ac:spMkLst>
        </pc:spChg>
        <pc:spChg chg="mod">
          <ac:chgData name="Bez, Florian" userId="30d7df6a-5295-4d75-a650-5a1fab7b8b2e" providerId="ADAL" clId="{DEF8C959-161B-48E6-918F-19FB2A9D3909}" dt="2023-04-21T09:54:24.426" v="10005"/>
          <ac:spMkLst>
            <pc:docMk/>
            <pc:sldMk cId="1603008812" sldId="7333"/>
            <ac:spMk id="1758" creationId="{59FC78D8-580E-B603-2D48-38E046C9AA89}"/>
          </ac:spMkLst>
        </pc:spChg>
        <pc:spChg chg="mod">
          <ac:chgData name="Bez, Florian" userId="30d7df6a-5295-4d75-a650-5a1fab7b8b2e" providerId="ADAL" clId="{DEF8C959-161B-48E6-918F-19FB2A9D3909}" dt="2023-04-21T09:54:24.426" v="10005"/>
          <ac:spMkLst>
            <pc:docMk/>
            <pc:sldMk cId="1603008812" sldId="7333"/>
            <ac:spMk id="1759" creationId="{D4005AEF-CEAB-5F88-A68B-63C89E1D23F9}"/>
          </ac:spMkLst>
        </pc:spChg>
        <pc:spChg chg="mod">
          <ac:chgData name="Bez, Florian" userId="30d7df6a-5295-4d75-a650-5a1fab7b8b2e" providerId="ADAL" clId="{DEF8C959-161B-48E6-918F-19FB2A9D3909}" dt="2023-04-21T09:54:24.426" v="10005"/>
          <ac:spMkLst>
            <pc:docMk/>
            <pc:sldMk cId="1603008812" sldId="7333"/>
            <ac:spMk id="1760" creationId="{6BBA7B20-F627-782E-EFDD-548B227C2DB3}"/>
          </ac:spMkLst>
        </pc:spChg>
        <pc:spChg chg="mod">
          <ac:chgData name="Bez, Florian" userId="30d7df6a-5295-4d75-a650-5a1fab7b8b2e" providerId="ADAL" clId="{DEF8C959-161B-48E6-918F-19FB2A9D3909}" dt="2023-04-21T09:54:24.426" v="10005"/>
          <ac:spMkLst>
            <pc:docMk/>
            <pc:sldMk cId="1603008812" sldId="7333"/>
            <ac:spMk id="1761" creationId="{BC43535F-B307-FDFB-9604-DE42B2BC57D0}"/>
          </ac:spMkLst>
        </pc:spChg>
        <pc:spChg chg="mod">
          <ac:chgData name="Bez, Florian" userId="30d7df6a-5295-4d75-a650-5a1fab7b8b2e" providerId="ADAL" clId="{DEF8C959-161B-48E6-918F-19FB2A9D3909}" dt="2023-04-21T09:54:24.426" v="10005"/>
          <ac:spMkLst>
            <pc:docMk/>
            <pc:sldMk cId="1603008812" sldId="7333"/>
            <ac:spMk id="1762" creationId="{8D914028-BF51-B7F5-6A3B-F6806C63C62B}"/>
          </ac:spMkLst>
        </pc:spChg>
        <pc:spChg chg="mod">
          <ac:chgData name="Bez, Florian" userId="30d7df6a-5295-4d75-a650-5a1fab7b8b2e" providerId="ADAL" clId="{DEF8C959-161B-48E6-918F-19FB2A9D3909}" dt="2023-04-21T09:54:24.426" v="10005"/>
          <ac:spMkLst>
            <pc:docMk/>
            <pc:sldMk cId="1603008812" sldId="7333"/>
            <ac:spMk id="1763" creationId="{78C41512-D1A2-F65C-4A27-E829CC0C85F2}"/>
          </ac:spMkLst>
        </pc:spChg>
        <pc:spChg chg="mod">
          <ac:chgData name="Bez, Florian" userId="30d7df6a-5295-4d75-a650-5a1fab7b8b2e" providerId="ADAL" clId="{DEF8C959-161B-48E6-918F-19FB2A9D3909}" dt="2023-04-21T09:54:24.426" v="10005"/>
          <ac:spMkLst>
            <pc:docMk/>
            <pc:sldMk cId="1603008812" sldId="7333"/>
            <ac:spMk id="1764" creationId="{3ED92305-DACF-6E86-AC1E-BF124E0FE860}"/>
          </ac:spMkLst>
        </pc:spChg>
        <pc:spChg chg="mod">
          <ac:chgData name="Bez, Florian" userId="30d7df6a-5295-4d75-a650-5a1fab7b8b2e" providerId="ADAL" clId="{DEF8C959-161B-48E6-918F-19FB2A9D3909}" dt="2023-04-21T09:54:24.426" v="10005"/>
          <ac:spMkLst>
            <pc:docMk/>
            <pc:sldMk cId="1603008812" sldId="7333"/>
            <ac:spMk id="1765" creationId="{843F46A5-79CC-2E9D-B93D-F91C76AD7A3F}"/>
          </ac:spMkLst>
        </pc:spChg>
        <pc:spChg chg="mod">
          <ac:chgData name="Bez, Florian" userId="30d7df6a-5295-4d75-a650-5a1fab7b8b2e" providerId="ADAL" clId="{DEF8C959-161B-48E6-918F-19FB2A9D3909}" dt="2023-04-21T09:54:24.426" v="10005"/>
          <ac:spMkLst>
            <pc:docMk/>
            <pc:sldMk cId="1603008812" sldId="7333"/>
            <ac:spMk id="1766" creationId="{909EFBCE-B4D7-670D-4E43-F6380652CA20}"/>
          </ac:spMkLst>
        </pc:spChg>
        <pc:spChg chg="mod">
          <ac:chgData name="Bez, Florian" userId="30d7df6a-5295-4d75-a650-5a1fab7b8b2e" providerId="ADAL" clId="{DEF8C959-161B-48E6-918F-19FB2A9D3909}" dt="2023-04-21T09:54:24.426" v="10005"/>
          <ac:spMkLst>
            <pc:docMk/>
            <pc:sldMk cId="1603008812" sldId="7333"/>
            <ac:spMk id="1767" creationId="{78C5D83B-FF19-26EC-8905-46BC99787E59}"/>
          </ac:spMkLst>
        </pc:spChg>
        <pc:spChg chg="mod">
          <ac:chgData name="Bez, Florian" userId="30d7df6a-5295-4d75-a650-5a1fab7b8b2e" providerId="ADAL" clId="{DEF8C959-161B-48E6-918F-19FB2A9D3909}" dt="2023-04-21T09:54:24.426" v="10005"/>
          <ac:spMkLst>
            <pc:docMk/>
            <pc:sldMk cId="1603008812" sldId="7333"/>
            <ac:spMk id="1768" creationId="{E489CA2D-4459-9EB1-08AE-83C7C5A3E5AB}"/>
          </ac:spMkLst>
        </pc:spChg>
        <pc:spChg chg="mod">
          <ac:chgData name="Bez, Florian" userId="30d7df6a-5295-4d75-a650-5a1fab7b8b2e" providerId="ADAL" clId="{DEF8C959-161B-48E6-918F-19FB2A9D3909}" dt="2023-04-21T09:54:24.426" v="10005"/>
          <ac:spMkLst>
            <pc:docMk/>
            <pc:sldMk cId="1603008812" sldId="7333"/>
            <ac:spMk id="1769" creationId="{CCABF528-E69D-92E5-A729-12F92643FA03}"/>
          </ac:spMkLst>
        </pc:spChg>
        <pc:spChg chg="mod">
          <ac:chgData name="Bez, Florian" userId="30d7df6a-5295-4d75-a650-5a1fab7b8b2e" providerId="ADAL" clId="{DEF8C959-161B-48E6-918F-19FB2A9D3909}" dt="2023-04-21T09:54:24.426" v="10005"/>
          <ac:spMkLst>
            <pc:docMk/>
            <pc:sldMk cId="1603008812" sldId="7333"/>
            <ac:spMk id="1770" creationId="{32FCE4EB-EC62-238B-4BB6-E4BAD968F3AC}"/>
          </ac:spMkLst>
        </pc:spChg>
        <pc:spChg chg="mod">
          <ac:chgData name="Bez, Florian" userId="30d7df6a-5295-4d75-a650-5a1fab7b8b2e" providerId="ADAL" clId="{DEF8C959-161B-48E6-918F-19FB2A9D3909}" dt="2023-04-21T09:54:24.426" v="10005"/>
          <ac:spMkLst>
            <pc:docMk/>
            <pc:sldMk cId="1603008812" sldId="7333"/>
            <ac:spMk id="1771" creationId="{C5F28D95-40CC-609C-BC06-095158FCC9CF}"/>
          </ac:spMkLst>
        </pc:spChg>
        <pc:spChg chg="mod">
          <ac:chgData name="Bez, Florian" userId="30d7df6a-5295-4d75-a650-5a1fab7b8b2e" providerId="ADAL" clId="{DEF8C959-161B-48E6-918F-19FB2A9D3909}" dt="2023-04-21T09:54:24.426" v="10005"/>
          <ac:spMkLst>
            <pc:docMk/>
            <pc:sldMk cId="1603008812" sldId="7333"/>
            <ac:spMk id="1772" creationId="{739B6709-4052-D221-C01E-C18A52C646C4}"/>
          </ac:spMkLst>
        </pc:spChg>
        <pc:spChg chg="mod">
          <ac:chgData name="Bez, Florian" userId="30d7df6a-5295-4d75-a650-5a1fab7b8b2e" providerId="ADAL" clId="{DEF8C959-161B-48E6-918F-19FB2A9D3909}" dt="2023-04-21T09:54:24.426" v="10005"/>
          <ac:spMkLst>
            <pc:docMk/>
            <pc:sldMk cId="1603008812" sldId="7333"/>
            <ac:spMk id="1773" creationId="{C1DC70D1-225F-A4C3-59E7-D25C10C89C89}"/>
          </ac:spMkLst>
        </pc:spChg>
        <pc:spChg chg="mod">
          <ac:chgData name="Bez, Florian" userId="30d7df6a-5295-4d75-a650-5a1fab7b8b2e" providerId="ADAL" clId="{DEF8C959-161B-48E6-918F-19FB2A9D3909}" dt="2023-04-21T09:54:24.426" v="10005"/>
          <ac:spMkLst>
            <pc:docMk/>
            <pc:sldMk cId="1603008812" sldId="7333"/>
            <ac:spMk id="1774" creationId="{F46A2DEC-9F29-C4E9-55F5-AA077EC45745}"/>
          </ac:spMkLst>
        </pc:spChg>
        <pc:spChg chg="mod">
          <ac:chgData name="Bez, Florian" userId="30d7df6a-5295-4d75-a650-5a1fab7b8b2e" providerId="ADAL" clId="{DEF8C959-161B-48E6-918F-19FB2A9D3909}" dt="2023-04-21T09:54:24.426" v="10005"/>
          <ac:spMkLst>
            <pc:docMk/>
            <pc:sldMk cId="1603008812" sldId="7333"/>
            <ac:spMk id="1775" creationId="{B0530C7D-7A54-F76B-8E99-1DC28CD11B59}"/>
          </ac:spMkLst>
        </pc:spChg>
        <pc:spChg chg="mod">
          <ac:chgData name="Bez, Florian" userId="30d7df6a-5295-4d75-a650-5a1fab7b8b2e" providerId="ADAL" clId="{DEF8C959-161B-48E6-918F-19FB2A9D3909}" dt="2023-04-21T09:54:24.426" v="10005"/>
          <ac:spMkLst>
            <pc:docMk/>
            <pc:sldMk cId="1603008812" sldId="7333"/>
            <ac:spMk id="1776" creationId="{0BDB5475-B426-2BAA-EB07-C719EB50DF2E}"/>
          </ac:spMkLst>
        </pc:spChg>
        <pc:spChg chg="mod">
          <ac:chgData name="Bez, Florian" userId="30d7df6a-5295-4d75-a650-5a1fab7b8b2e" providerId="ADAL" clId="{DEF8C959-161B-48E6-918F-19FB2A9D3909}" dt="2023-04-21T09:54:24.426" v="10005"/>
          <ac:spMkLst>
            <pc:docMk/>
            <pc:sldMk cId="1603008812" sldId="7333"/>
            <ac:spMk id="1777" creationId="{AF110866-D09D-3C3F-D628-0FD04B7B8044}"/>
          </ac:spMkLst>
        </pc:spChg>
        <pc:spChg chg="mod">
          <ac:chgData name="Bez, Florian" userId="30d7df6a-5295-4d75-a650-5a1fab7b8b2e" providerId="ADAL" clId="{DEF8C959-161B-48E6-918F-19FB2A9D3909}" dt="2023-04-21T09:54:24.426" v="10005"/>
          <ac:spMkLst>
            <pc:docMk/>
            <pc:sldMk cId="1603008812" sldId="7333"/>
            <ac:spMk id="1778" creationId="{4B6E48B0-65C3-E34A-91D0-2609DDECC048}"/>
          </ac:spMkLst>
        </pc:spChg>
        <pc:spChg chg="mod">
          <ac:chgData name="Bez, Florian" userId="30d7df6a-5295-4d75-a650-5a1fab7b8b2e" providerId="ADAL" clId="{DEF8C959-161B-48E6-918F-19FB2A9D3909}" dt="2023-04-21T09:54:24.426" v="10005"/>
          <ac:spMkLst>
            <pc:docMk/>
            <pc:sldMk cId="1603008812" sldId="7333"/>
            <ac:spMk id="1779" creationId="{AC6F2F20-FAFA-D094-8EA2-4FCD5C55F49A}"/>
          </ac:spMkLst>
        </pc:spChg>
        <pc:spChg chg="mod">
          <ac:chgData name="Bez, Florian" userId="30d7df6a-5295-4d75-a650-5a1fab7b8b2e" providerId="ADAL" clId="{DEF8C959-161B-48E6-918F-19FB2A9D3909}" dt="2023-04-21T09:54:24.426" v="10005"/>
          <ac:spMkLst>
            <pc:docMk/>
            <pc:sldMk cId="1603008812" sldId="7333"/>
            <ac:spMk id="1780" creationId="{9C66AAFE-6754-D86D-6571-A82F74615C25}"/>
          </ac:spMkLst>
        </pc:spChg>
        <pc:spChg chg="mod">
          <ac:chgData name="Bez, Florian" userId="30d7df6a-5295-4d75-a650-5a1fab7b8b2e" providerId="ADAL" clId="{DEF8C959-161B-48E6-918F-19FB2A9D3909}" dt="2023-04-21T09:54:24.426" v="10005"/>
          <ac:spMkLst>
            <pc:docMk/>
            <pc:sldMk cId="1603008812" sldId="7333"/>
            <ac:spMk id="1781" creationId="{9C8D6581-1BC9-C9E7-6FA1-3FAC72BDB7F2}"/>
          </ac:spMkLst>
        </pc:spChg>
        <pc:spChg chg="mod">
          <ac:chgData name="Bez, Florian" userId="30d7df6a-5295-4d75-a650-5a1fab7b8b2e" providerId="ADAL" clId="{DEF8C959-161B-48E6-918F-19FB2A9D3909}" dt="2023-04-21T09:54:24.426" v="10005"/>
          <ac:spMkLst>
            <pc:docMk/>
            <pc:sldMk cId="1603008812" sldId="7333"/>
            <ac:spMk id="1782" creationId="{1476803A-CBB4-F85C-A022-2335D156232F}"/>
          </ac:spMkLst>
        </pc:spChg>
        <pc:spChg chg="mod">
          <ac:chgData name="Bez, Florian" userId="30d7df6a-5295-4d75-a650-5a1fab7b8b2e" providerId="ADAL" clId="{DEF8C959-161B-48E6-918F-19FB2A9D3909}" dt="2023-04-21T09:54:24.426" v="10005"/>
          <ac:spMkLst>
            <pc:docMk/>
            <pc:sldMk cId="1603008812" sldId="7333"/>
            <ac:spMk id="1783" creationId="{BE4A130F-E7AE-882B-E3F7-DFE4C01799B2}"/>
          </ac:spMkLst>
        </pc:spChg>
        <pc:spChg chg="mod">
          <ac:chgData name="Bez, Florian" userId="30d7df6a-5295-4d75-a650-5a1fab7b8b2e" providerId="ADAL" clId="{DEF8C959-161B-48E6-918F-19FB2A9D3909}" dt="2023-04-21T09:54:24.426" v="10005"/>
          <ac:spMkLst>
            <pc:docMk/>
            <pc:sldMk cId="1603008812" sldId="7333"/>
            <ac:spMk id="1784" creationId="{E09571D2-5153-31FE-BA90-D174C26BE1B9}"/>
          </ac:spMkLst>
        </pc:spChg>
        <pc:spChg chg="mod">
          <ac:chgData name="Bez, Florian" userId="30d7df6a-5295-4d75-a650-5a1fab7b8b2e" providerId="ADAL" clId="{DEF8C959-161B-48E6-918F-19FB2A9D3909}" dt="2023-04-21T09:54:24.426" v="10005"/>
          <ac:spMkLst>
            <pc:docMk/>
            <pc:sldMk cId="1603008812" sldId="7333"/>
            <ac:spMk id="1785" creationId="{7C086D09-0E07-0C80-624B-D7A938E08B94}"/>
          </ac:spMkLst>
        </pc:spChg>
        <pc:spChg chg="mod">
          <ac:chgData name="Bez, Florian" userId="30d7df6a-5295-4d75-a650-5a1fab7b8b2e" providerId="ADAL" clId="{DEF8C959-161B-48E6-918F-19FB2A9D3909}" dt="2023-04-21T09:54:24.426" v="10005"/>
          <ac:spMkLst>
            <pc:docMk/>
            <pc:sldMk cId="1603008812" sldId="7333"/>
            <ac:spMk id="1786" creationId="{7AEA4739-D814-9438-72B2-31EB09A6ABC2}"/>
          </ac:spMkLst>
        </pc:spChg>
        <pc:spChg chg="mod">
          <ac:chgData name="Bez, Florian" userId="30d7df6a-5295-4d75-a650-5a1fab7b8b2e" providerId="ADAL" clId="{DEF8C959-161B-48E6-918F-19FB2A9D3909}" dt="2023-04-21T09:54:24.426" v="10005"/>
          <ac:spMkLst>
            <pc:docMk/>
            <pc:sldMk cId="1603008812" sldId="7333"/>
            <ac:spMk id="1787" creationId="{2E93DA99-57C9-5109-F84E-744A9285EE82}"/>
          </ac:spMkLst>
        </pc:spChg>
        <pc:spChg chg="mod">
          <ac:chgData name="Bez, Florian" userId="30d7df6a-5295-4d75-a650-5a1fab7b8b2e" providerId="ADAL" clId="{DEF8C959-161B-48E6-918F-19FB2A9D3909}" dt="2023-04-21T09:54:24.426" v="10005"/>
          <ac:spMkLst>
            <pc:docMk/>
            <pc:sldMk cId="1603008812" sldId="7333"/>
            <ac:spMk id="1788" creationId="{5DE6E4F2-5E81-B3E9-AF0E-D12E4B25A171}"/>
          </ac:spMkLst>
        </pc:spChg>
        <pc:spChg chg="mod">
          <ac:chgData name="Bez, Florian" userId="30d7df6a-5295-4d75-a650-5a1fab7b8b2e" providerId="ADAL" clId="{DEF8C959-161B-48E6-918F-19FB2A9D3909}" dt="2023-04-21T09:54:24.426" v="10005"/>
          <ac:spMkLst>
            <pc:docMk/>
            <pc:sldMk cId="1603008812" sldId="7333"/>
            <ac:spMk id="1789" creationId="{FCE768FE-62B0-C85C-A640-04E4185FA2BE}"/>
          </ac:spMkLst>
        </pc:spChg>
        <pc:spChg chg="mod">
          <ac:chgData name="Bez, Florian" userId="30d7df6a-5295-4d75-a650-5a1fab7b8b2e" providerId="ADAL" clId="{DEF8C959-161B-48E6-918F-19FB2A9D3909}" dt="2023-04-21T09:54:24.426" v="10005"/>
          <ac:spMkLst>
            <pc:docMk/>
            <pc:sldMk cId="1603008812" sldId="7333"/>
            <ac:spMk id="1790" creationId="{8A11054A-743B-99B5-9417-1F6943B76844}"/>
          </ac:spMkLst>
        </pc:spChg>
        <pc:spChg chg="mod">
          <ac:chgData name="Bez, Florian" userId="30d7df6a-5295-4d75-a650-5a1fab7b8b2e" providerId="ADAL" clId="{DEF8C959-161B-48E6-918F-19FB2A9D3909}" dt="2023-04-21T09:54:24.426" v="10005"/>
          <ac:spMkLst>
            <pc:docMk/>
            <pc:sldMk cId="1603008812" sldId="7333"/>
            <ac:spMk id="1791" creationId="{AD6AD578-F218-4CBB-59CA-1FB32A301EA1}"/>
          </ac:spMkLst>
        </pc:spChg>
        <pc:spChg chg="mod">
          <ac:chgData name="Bez, Florian" userId="30d7df6a-5295-4d75-a650-5a1fab7b8b2e" providerId="ADAL" clId="{DEF8C959-161B-48E6-918F-19FB2A9D3909}" dt="2023-04-21T09:54:24.426" v="10005"/>
          <ac:spMkLst>
            <pc:docMk/>
            <pc:sldMk cId="1603008812" sldId="7333"/>
            <ac:spMk id="1792" creationId="{B7299EA6-C674-517A-8986-CA57FE63C335}"/>
          </ac:spMkLst>
        </pc:spChg>
        <pc:spChg chg="mod">
          <ac:chgData name="Bez, Florian" userId="30d7df6a-5295-4d75-a650-5a1fab7b8b2e" providerId="ADAL" clId="{DEF8C959-161B-48E6-918F-19FB2A9D3909}" dt="2023-04-21T09:54:24.426" v="10005"/>
          <ac:spMkLst>
            <pc:docMk/>
            <pc:sldMk cId="1603008812" sldId="7333"/>
            <ac:spMk id="1793" creationId="{29EA0C19-2B52-7CD7-BA9F-1A7B82C1E621}"/>
          </ac:spMkLst>
        </pc:spChg>
        <pc:spChg chg="mod">
          <ac:chgData name="Bez, Florian" userId="30d7df6a-5295-4d75-a650-5a1fab7b8b2e" providerId="ADAL" clId="{DEF8C959-161B-48E6-918F-19FB2A9D3909}" dt="2023-04-21T09:54:24.426" v="10005"/>
          <ac:spMkLst>
            <pc:docMk/>
            <pc:sldMk cId="1603008812" sldId="7333"/>
            <ac:spMk id="1794" creationId="{40F6FD5A-EBF4-3524-657B-39A9711876D5}"/>
          </ac:spMkLst>
        </pc:spChg>
        <pc:spChg chg="mod">
          <ac:chgData name="Bez, Florian" userId="30d7df6a-5295-4d75-a650-5a1fab7b8b2e" providerId="ADAL" clId="{DEF8C959-161B-48E6-918F-19FB2A9D3909}" dt="2023-04-21T09:54:24.426" v="10005"/>
          <ac:spMkLst>
            <pc:docMk/>
            <pc:sldMk cId="1603008812" sldId="7333"/>
            <ac:spMk id="1795" creationId="{499D2B52-E1AD-C10E-54D9-25F2CE627ECF}"/>
          </ac:spMkLst>
        </pc:spChg>
        <pc:spChg chg="mod">
          <ac:chgData name="Bez, Florian" userId="30d7df6a-5295-4d75-a650-5a1fab7b8b2e" providerId="ADAL" clId="{DEF8C959-161B-48E6-918F-19FB2A9D3909}" dt="2023-04-21T09:54:24.426" v="10005"/>
          <ac:spMkLst>
            <pc:docMk/>
            <pc:sldMk cId="1603008812" sldId="7333"/>
            <ac:spMk id="1796" creationId="{78BAACC4-C4E3-EDE6-3348-5FE36831076D}"/>
          </ac:spMkLst>
        </pc:spChg>
        <pc:spChg chg="mod">
          <ac:chgData name="Bez, Florian" userId="30d7df6a-5295-4d75-a650-5a1fab7b8b2e" providerId="ADAL" clId="{DEF8C959-161B-48E6-918F-19FB2A9D3909}" dt="2023-04-21T09:54:24.426" v="10005"/>
          <ac:spMkLst>
            <pc:docMk/>
            <pc:sldMk cId="1603008812" sldId="7333"/>
            <ac:spMk id="1797" creationId="{54BCABD9-5A8B-A58F-67DF-B74E31556708}"/>
          </ac:spMkLst>
        </pc:spChg>
        <pc:spChg chg="mod">
          <ac:chgData name="Bez, Florian" userId="30d7df6a-5295-4d75-a650-5a1fab7b8b2e" providerId="ADAL" clId="{DEF8C959-161B-48E6-918F-19FB2A9D3909}" dt="2023-04-21T09:54:24.426" v="10005"/>
          <ac:spMkLst>
            <pc:docMk/>
            <pc:sldMk cId="1603008812" sldId="7333"/>
            <ac:spMk id="1798" creationId="{B6F60DEB-9C98-576D-0AFB-2235C3CFA9AC}"/>
          </ac:spMkLst>
        </pc:spChg>
        <pc:spChg chg="mod">
          <ac:chgData name="Bez, Florian" userId="30d7df6a-5295-4d75-a650-5a1fab7b8b2e" providerId="ADAL" clId="{DEF8C959-161B-48E6-918F-19FB2A9D3909}" dt="2023-04-21T09:54:24.426" v="10005"/>
          <ac:spMkLst>
            <pc:docMk/>
            <pc:sldMk cId="1603008812" sldId="7333"/>
            <ac:spMk id="1799" creationId="{9B769054-7B42-38FA-61F3-98ACF94FD17B}"/>
          </ac:spMkLst>
        </pc:spChg>
        <pc:spChg chg="mod">
          <ac:chgData name="Bez, Florian" userId="30d7df6a-5295-4d75-a650-5a1fab7b8b2e" providerId="ADAL" clId="{DEF8C959-161B-48E6-918F-19FB2A9D3909}" dt="2023-04-21T09:54:24.426" v="10005"/>
          <ac:spMkLst>
            <pc:docMk/>
            <pc:sldMk cId="1603008812" sldId="7333"/>
            <ac:spMk id="1800" creationId="{6C3B6ED6-A7A7-97FD-0DC3-978EBCED6E5F}"/>
          </ac:spMkLst>
        </pc:spChg>
        <pc:spChg chg="mod">
          <ac:chgData name="Bez, Florian" userId="30d7df6a-5295-4d75-a650-5a1fab7b8b2e" providerId="ADAL" clId="{DEF8C959-161B-48E6-918F-19FB2A9D3909}" dt="2023-04-21T09:54:24.426" v="10005"/>
          <ac:spMkLst>
            <pc:docMk/>
            <pc:sldMk cId="1603008812" sldId="7333"/>
            <ac:spMk id="1801" creationId="{ECD979F2-BADE-680A-C79C-392A3C5FDC62}"/>
          </ac:spMkLst>
        </pc:spChg>
        <pc:spChg chg="mod">
          <ac:chgData name="Bez, Florian" userId="30d7df6a-5295-4d75-a650-5a1fab7b8b2e" providerId="ADAL" clId="{DEF8C959-161B-48E6-918F-19FB2A9D3909}" dt="2023-04-21T09:54:24.426" v="10005"/>
          <ac:spMkLst>
            <pc:docMk/>
            <pc:sldMk cId="1603008812" sldId="7333"/>
            <ac:spMk id="1802" creationId="{C0AC4F3D-CC35-94B5-6966-52779A08B2E0}"/>
          </ac:spMkLst>
        </pc:spChg>
        <pc:spChg chg="mod">
          <ac:chgData name="Bez, Florian" userId="30d7df6a-5295-4d75-a650-5a1fab7b8b2e" providerId="ADAL" clId="{DEF8C959-161B-48E6-918F-19FB2A9D3909}" dt="2023-04-21T09:54:24.426" v="10005"/>
          <ac:spMkLst>
            <pc:docMk/>
            <pc:sldMk cId="1603008812" sldId="7333"/>
            <ac:spMk id="1803" creationId="{12AEC5FF-5CCD-F0FD-4306-5BBF71C22FDC}"/>
          </ac:spMkLst>
        </pc:spChg>
        <pc:spChg chg="mod">
          <ac:chgData name="Bez, Florian" userId="30d7df6a-5295-4d75-a650-5a1fab7b8b2e" providerId="ADAL" clId="{DEF8C959-161B-48E6-918F-19FB2A9D3909}" dt="2023-04-21T09:54:24.426" v="10005"/>
          <ac:spMkLst>
            <pc:docMk/>
            <pc:sldMk cId="1603008812" sldId="7333"/>
            <ac:spMk id="1804" creationId="{34EDF6EC-F39A-EFB1-283D-EB15E0677EC3}"/>
          </ac:spMkLst>
        </pc:spChg>
        <pc:spChg chg="mod">
          <ac:chgData name="Bez, Florian" userId="30d7df6a-5295-4d75-a650-5a1fab7b8b2e" providerId="ADAL" clId="{DEF8C959-161B-48E6-918F-19FB2A9D3909}" dt="2023-04-21T09:54:24.426" v="10005"/>
          <ac:spMkLst>
            <pc:docMk/>
            <pc:sldMk cId="1603008812" sldId="7333"/>
            <ac:spMk id="1805" creationId="{19748CC7-845A-17B2-52DF-41DEEAD5160C}"/>
          </ac:spMkLst>
        </pc:spChg>
        <pc:spChg chg="mod">
          <ac:chgData name="Bez, Florian" userId="30d7df6a-5295-4d75-a650-5a1fab7b8b2e" providerId="ADAL" clId="{DEF8C959-161B-48E6-918F-19FB2A9D3909}" dt="2023-04-21T09:54:24.426" v="10005"/>
          <ac:spMkLst>
            <pc:docMk/>
            <pc:sldMk cId="1603008812" sldId="7333"/>
            <ac:spMk id="1806" creationId="{7E301164-8D2B-F56D-3BF8-40792BD4B3B8}"/>
          </ac:spMkLst>
        </pc:spChg>
        <pc:spChg chg="mod">
          <ac:chgData name="Bez, Florian" userId="30d7df6a-5295-4d75-a650-5a1fab7b8b2e" providerId="ADAL" clId="{DEF8C959-161B-48E6-918F-19FB2A9D3909}" dt="2023-04-21T09:54:24.426" v="10005"/>
          <ac:spMkLst>
            <pc:docMk/>
            <pc:sldMk cId="1603008812" sldId="7333"/>
            <ac:spMk id="1807" creationId="{88318BB9-026A-C35C-E682-3DEEF9C1E815}"/>
          </ac:spMkLst>
        </pc:spChg>
        <pc:spChg chg="mod">
          <ac:chgData name="Bez, Florian" userId="30d7df6a-5295-4d75-a650-5a1fab7b8b2e" providerId="ADAL" clId="{DEF8C959-161B-48E6-918F-19FB2A9D3909}" dt="2023-04-21T09:54:24.426" v="10005"/>
          <ac:spMkLst>
            <pc:docMk/>
            <pc:sldMk cId="1603008812" sldId="7333"/>
            <ac:spMk id="1808" creationId="{AF0FA913-C4D4-C08F-6016-DF3358CFDF6B}"/>
          </ac:spMkLst>
        </pc:spChg>
        <pc:spChg chg="mod">
          <ac:chgData name="Bez, Florian" userId="30d7df6a-5295-4d75-a650-5a1fab7b8b2e" providerId="ADAL" clId="{DEF8C959-161B-48E6-918F-19FB2A9D3909}" dt="2023-04-21T09:54:24.426" v="10005"/>
          <ac:spMkLst>
            <pc:docMk/>
            <pc:sldMk cId="1603008812" sldId="7333"/>
            <ac:spMk id="1809" creationId="{147E40D2-7588-1984-3DB9-CDC845992375}"/>
          </ac:spMkLst>
        </pc:spChg>
        <pc:spChg chg="mod">
          <ac:chgData name="Bez, Florian" userId="30d7df6a-5295-4d75-a650-5a1fab7b8b2e" providerId="ADAL" clId="{DEF8C959-161B-48E6-918F-19FB2A9D3909}" dt="2023-04-21T09:54:24.426" v="10005"/>
          <ac:spMkLst>
            <pc:docMk/>
            <pc:sldMk cId="1603008812" sldId="7333"/>
            <ac:spMk id="1810" creationId="{4530C406-F185-621B-607C-F7119FC5D5C5}"/>
          </ac:spMkLst>
        </pc:spChg>
        <pc:spChg chg="mod">
          <ac:chgData name="Bez, Florian" userId="30d7df6a-5295-4d75-a650-5a1fab7b8b2e" providerId="ADAL" clId="{DEF8C959-161B-48E6-918F-19FB2A9D3909}" dt="2023-04-21T09:54:24.426" v="10005"/>
          <ac:spMkLst>
            <pc:docMk/>
            <pc:sldMk cId="1603008812" sldId="7333"/>
            <ac:spMk id="1811" creationId="{A21513C3-F223-0927-2C58-ACADA31858AC}"/>
          </ac:spMkLst>
        </pc:spChg>
        <pc:spChg chg="mod">
          <ac:chgData name="Bez, Florian" userId="30d7df6a-5295-4d75-a650-5a1fab7b8b2e" providerId="ADAL" clId="{DEF8C959-161B-48E6-918F-19FB2A9D3909}" dt="2023-04-21T09:54:24.426" v="10005"/>
          <ac:spMkLst>
            <pc:docMk/>
            <pc:sldMk cId="1603008812" sldId="7333"/>
            <ac:spMk id="1812" creationId="{165BD975-88B0-26E2-564D-B48785F0364C}"/>
          </ac:spMkLst>
        </pc:spChg>
        <pc:spChg chg="mod">
          <ac:chgData name="Bez, Florian" userId="30d7df6a-5295-4d75-a650-5a1fab7b8b2e" providerId="ADAL" clId="{DEF8C959-161B-48E6-918F-19FB2A9D3909}" dt="2023-04-21T09:54:24.426" v="10005"/>
          <ac:spMkLst>
            <pc:docMk/>
            <pc:sldMk cId="1603008812" sldId="7333"/>
            <ac:spMk id="1813" creationId="{C06CB795-08DF-9615-5951-B318AEB21BA6}"/>
          </ac:spMkLst>
        </pc:spChg>
        <pc:spChg chg="mod">
          <ac:chgData name="Bez, Florian" userId="30d7df6a-5295-4d75-a650-5a1fab7b8b2e" providerId="ADAL" clId="{DEF8C959-161B-48E6-918F-19FB2A9D3909}" dt="2023-04-21T09:54:24.426" v="10005"/>
          <ac:spMkLst>
            <pc:docMk/>
            <pc:sldMk cId="1603008812" sldId="7333"/>
            <ac:spMk id="1814" creationId="{C7332C59-9276-0AB9-263A-3234EA6581E7}"/>
          </ac:spMkLst>
        </pc:spChg>
        <pc:spChg chg="mod">
          <ac:chgData name="Bez, Florian" userId="30d7df6a-5295-4d75-a650-5a1fab7b8b2e" providerId="ADAL" clId="{DEF8C959-161B-48E6-918F-19FB2A9D3909}" dt="2023-04-21T09:54:24.426" v="10005"/>
          <ac:spMkLst>
            <pc:docMk/>
            <pc:sldMk cId="1603008812" sldId="7333"/>
            <ac:spMk id="1815" creationId="{7E95C521-FFBA-C938-074A-5F843BE8C94D}"/>
          </ac:spMkLst>
        </pc:spChg>
        <pc:spChg chg="mod">
          <ac:chgData name="Bez, Florian" userId="30d7df6a-5295-4d75-a650-5a1fab7b8b2e" providerId="ADAL" clId="{DEF8C959-161B-48E6-918F-19FB2A9D3909}" dt="2023-04-21T09:54:24.426" v="10005"/>
          <ac:spMkLst>
            <pc:docMk/>
            <pc:sldMk cId="1603008812" sldId="7333"/>
            <ac:spMk id="1816" creationId="{86188631-9A32-ABCC-5018-192020CB10CC}"/>
          </ac:spMkLst>
        </pc:spChg>
        <pc:spChg chg="mod">
          <ac:chgData name="Bez, Florian" userId="30d7df6a-5295-4d75-a650-5a1fab7b8b2e" providerId="ADAL" clId="{DEF8C959-161B-48E6-918F-19FB2A9D3909}" dt="2023-04-21T09:54:24.426" v="10005"/>
          <ac:spMkLst>
            <pc:docMk/>
            <pc:sldMk cId="1603008812" sldId="7333"/>
            <ac:spMk id="1817" creationId="{A98DB799-1927-9439-2F48-29630B9AF606}"/>
          </ac:spMkLst>
        </pc:spChg>
        <pc:spChg chg="mod">
          <ac:chgData name="Bez, Florian" userId="30d7df6a-5295-4d75-a650-5a1fab7b8b2e" providerId="ADAL" clId="{DEF8C959-161B-48E6-918F-19FB2A9D3909}" dt="2023-04-21T09:54:24.426" v="10005"/>
          <ac:spMkLst>
            <pc:docMk/>
            <pc:sldMk cId="1603008812" sldId="7333"/>
            <ac:spMk id="1818" creationId="{26384E56-DB2F-122B-7EEC-7EBF40FB32E6}"/>
          </ac:spMkLst>
        </pc:spChg>
        <pc:spChg chg="mod">
          <ac:chgData name="Bez, Florian" userId="30d7df6a-5295-4d75-a650-5a1fab7b8b2e" providerId="ADAL" clId="{DEF8C959-161B-48E6-918F-19FB2A9D3909}" dt="2023-04-21T09:54:24.426" v="10005"/>
          <ac:spMkLst>
            <pc:docMk/>
            <pc:sldMk cId="1603008812" sldId="7333"/>
            <ac:spMk id="1819" creationId="{802FDBF8-AD83-907C-9087-391D2C9F2335}"/>
          </ac:spMkLst>
        </pc:spChg>
        <pc:spChg chg="mod">
          <ac:chgData name="Bez, Florian" userId="30d7df6a-5295-4d75-a650-5a1fab7b8b2e" providerId="ADAL" clId="{DEF8C959-161B-48E6-918F-19FB2A9D3909}" dt="2023-04-21T09:54:24.426" v="10005"/>
          <ac:spMkLst>
            <pc:docMk/>
            <pc:sldMk cId="1603008812" sldId="7333"/>
            <ac:spMk id="1820" creationId="{C992280A-D9B4-45B3-2C15-3B42486D113A}"/>
          </ac:spMkLst>
        </pc:spChg>
        <pc:spChg chg="mod">
          <ac:chgData name="Bez, Florian" userId="30d7df6a-5295-4d75-a650-5a1fab7b8b2e" providerId="ADAL" clId="{DEF8C959-161B-48E6-918F-19FB2A9D3909}" dt="2023-04-21T09:54:24.426" v="10005"/>
          <ac:spMkLst>
            <pc:docMk/>
            <pc:sldMk cId="1603008812" sldId="7333"/>
            <ac:spMk id="1821" creationId="{961D1F3E-6449-0A33-9EC5-83E675BD9B07}"/>
          </ac:spMkLst>
        </pc:spChg>
        <pc:spChg chg="mod">
          <ac:chgData name="Bez, Florian" userId="30d7df6a-5295-4d75-a650-5a1fab7b8b2e" providerId="ADAL" clId="{DEF8C959-161B-48E6-918F-19FB2A9D3909}" dt="2023-04-21T09:54:24.426" v="10005"/>
          <ac:spMkLst>
            <pc:docMk/>
            <pc:sldMk cId="1603008812" sldId="7333"/>
            <ac:spMk id="1822" creationId="{0B4AC325-F2EC-9E2B-DBA4-0FFF0AFE2DFA}"/>
          </ac:spMkLst>
        </pc:spChg>
        <pc:spChg chg="mod">
          <ac:chgData name="Bez, Florian" userId="30d7df6a-5295-4d75-a650-5a1fab7b8b2e" providerId="ADAL" clId="{DEF8C959-161B-48E6-918F-19FB2A9D3909}" dt="2023-04-21T09:54:24.426" v="10005"/>
          <ac:spMkLst>
            <pc:docMk/>
            <pc:sldMk cId="1603008812" sldId="7333"/>
            <ac:spMk id="1823" creationId="{2165053F-211B-9C65-4D11-FA0F04DFC456}"/>
          </ac:spMkLst>
        </pc:spChg>
        <pc:spChg chg="mod">
          <ac:chgData name="Bez, Florian" userId="30d7df6a-5295-4d75-a650-5a1fab7b8b2e" providerId="ADAL" clId="{DEF8C959-161B-48E6-918F-19FB2A9D3909}" dt="2023-04-21T09:54:24.426" v="10005"/>
          <ac:spMkLst>
            <pc:docMk/>
            <pc:sldMk cId="1603008812" sldId="7333"/>
            <ac:spMk id="1824" creationId="{0D60250A-4EA1-A537-BA3D-88C82762F1D7}"/>
          </ac:spMkLst>
        </pc:spChg>
        <pc:spChg chg="mod">
          <ac:chgData name="Bez, Florian" userId="30d7df6a-5295-4d75-a650-5a1fab7b8b2e" providerId="ADAL" clId="{DEF8C959-161B-48E6-918F-19FB2A9D3909}" dt="2023-04-21T09:54:24.426" v="10005"/>
          <ac:spMkLst>
            <pc:docMk/>
            <pc:sldMk cId="1603008812" sldId="7333"/>
            <ac:spMk id="1825" creationId="{0982889D-EC30-0F57-BD69-9CF30C78A503}"/>
          </ac:spMkLst>
        </pc:spChg>
        <pc:spChg chg="mod">
          <ac:chgData name="Bez, Florian" userId="30d7df6a-5295-4d75-a650-5a1fab7b8b2e" providerId="ADAL" clId="{DEF8C959-161B-48E6-918F-19FB2A9D3909}" dt="2023-04-21T09:54:24.426" v="10005"/>
          <ac:spMkLst>
            <pc:docMk/>
            <pc:sldMk cId="1603008812" sldId="7333"/>
            <ac:spMk id="1826" creationId="{6FBD8AC0-0C0D-4A73-5E88-73759DE6FCF7}"/>
          </ac:spMkLst>
        </pc:spChg>
        <pc:spChg chg="mod">
          <ac:chgData name="Bez, Florian" userId="30d7df6a-5295-4d75-a650-5a1fab7b8b2e" providerId="ADAL" clId="{DEF8C959-161B-48E6-918F-19FB2A9D3909}" dt="2023-04-21T09:54:24.426" v="10005"/>
          <ac:spMkLst>
            <pc:docMk/>
            <pc:sldMk cId="1603008812" sldId="7333"/>
            <ac:spMk id="1827" creationId="{25003BBB-F292-8790-1EC0-7357623022CD}"/>
          </ac:spMkLst>
        </pc:spChg>
        <pc:spChg chg="mod">
          <ac:chgData name="Bez, Florian" userId="30d7df6a-5295-4d75-a650-5a1fab7b8b2e" providerId="ADAL" clId="{DEF8C959-161B-48E6-918F-19FB2A9D3909}" dt="2023-04-21T09:54:24.426" v="10005"/>
          <ac:spMkLst>
            <pc:docMk/>
            <pc:sldMk cId="1603008812" sldId="7333"/>
            <ac:spMk id="1828" creationId="{46FCC929-0B32-970D-E505-46FDB6411CBE}"/>
          </ac:spMkLst>
        </pc:spChg>
        <pc:spChg chg="mod">
          <ac:chgData name="Bez, Florian" userId="30d7df6a-5295-4d75-a650-5a1fab7b8b2e" providerId="ADAL" clId="{DEF8C959-161B-48E6-918F-19FB2A9D3909}" dt="2023-04-21T09:54:24.426" v="10005"/>
          <ac:spMkLst>
            <pc:docMk/>
            <pc:sldMk cId="1603008812" sldId="7333"/>
            <ac:spMk id="1829" creationId="{E9049069-88DD-588B-0D30-34953756A2C2}"/>
          </ac:spMkLst>
        </pc:spChg>
        <pc:spChg chg="mod">
          <ac:chgData name="Bez, Florian" userId="30d7df6a-5295-4d75-a650-5a1fab7b8b2e" providerId="ADAL" clId="{DEF8C959-161B-48E6-918F-19FB2A9D3909}" dt="2023-04-21T09:54:24.426" v="10005"/>
          <ac:spMkLst>
            <pc:docMk/>
            <pc:sldMk cId="1603008812" sldId="7333"/>
            <ac:spMk id="1830" creationId="{56335399-1228-BFDF-DDCB-33FD96C23262}"/>
          </ac:spMkLst>
        </pc:spChg>
        <pc:spChg chg="mod">
          <ac:chgData name="Bez, Florian" userId="30d7df6a-5295-4d75-a650-5a1fab7b8b2e" providerId="ADAL" clId="{DEF8C959-161B-48E6-918F-19FB2A9D3909}" dt="2023-04-21T09:54:24.426" v="10005"/>
          <ac:spMkLst>
            <pc:docMk/>
            <pc:sldMk cId="1603008812" sldId="7333"/>
            <ac:spMk id="1831" creationId="{63553FBF-D6DD-76E4-494F-64DB7993EDF9}"/>
          </ac:spMkLst>
        </pc:spChg>
        <pc:spChg chg="mod">
          <ac:chgData name="Bez, Florian" userId="30d7df6a-5295-4d75-a650-5a1fab7b8b2e" providerId="ADAL" clId="{DEF8C959-161B-48E6-918F-19FB2A9D3909}" dt="2023-04-21T09:54:24.426" v="10005"/>
          <ac:spMkLst>
            <pc:docMk/>
            <pc:sldMk cId="1603008812" sldId="7333"/>
            <ac:spMk id="1832" creationId="{98EA0A13-7532-2760-EF12-175C925064B7}"/>
          </ac:spMkLst>
        </pc:spChg>
        <pc:spChg chg="mod">
          <ac:chgData name="Bez, Florian" userId="30d7df6a-5295-4d75-a650-5a1fab7b8b2e" providerId="ADAL" clId="{DEF8C959-161B-48E6-918F-19FB2A9D3909}" dt="2023-04-21T09:54:24.426" v="10005"/>
          <ac:spMkLst>
            <pc:docMk/>
            <pc:sldMk cId="1603008812" sldId="7333"/>
            <ac:spMk id="1833" creationId="{32C706DB-613E-8DE5-F822-F03387D50F19}"/>
          </ac:spMkLst>
        </pc:spChg>
        <pc:spChg chg="mod">
          <ac:chgData name="Bez, Florian" userId="30d7df6a-5295-4d75-a650-5a1fab7b8b2e" providerId="ADAL" clId="{DEF8C959-161B-48E6-918F-19FB2A9D3909}" dt="2023-04-21T09:54:24.426" v="10005"/>
          <ac:spMkLst>
            <pc:docMk/>
            <pc:sldMk cId="1603008812" sldId="7333"/>
            <ac:spMk id="1834" creationId="{613EEF76-613F-F83D-1BB7-03A8A67B937B}"/>
          </ac:spMkLst>
        </pc:spChg>
        <pc:spChg chg="mod">
          <ac:chgData name="Bez, Florian" userId="30d7df6a-5295-4d75-a650-5a1fab7b8b2e" providerId="ADAL" clId="{DEF8C959-161B-48E6-918F-19FB2A9D3909}" dt="2023-04-21T09:54:24.426" v="10005"/>
          <ac:spMkLst>
            <pc:docMk/>
            <pc:sldMk cId="1603008812" sldId="7333"/>
            <ac:spMk id="1835" creationId="{3B8476B8-B94D-6906-5087-092A6C730912}"/>
          </ac:spMkLst>
        </pc:spChg>
        <pc:spChg chg="mod">
          <ac:chgData name="Bez, Florian" userId="30d7df6a-5295-4d75-a650-5a1fab7b8b2e" providerId="ADAL" clId="{DEF8C959-161B-48E6-918F-19FB2A9D3909}" dt="2023-04-21T09:54:24.426" v="10005"/>
          <ac:spMkLst>
            <pc:docMk/>
            <pc:sldMk cId="1603008812" sldId="7333"/>
            <ac:spMk id="1836" creationId="{18F00E5C-A6B3-CBC4-5D55-3FA466D5C0AC}"/>
          </ac:spMkLst>
        </pc:spChg>
        <pc:spChg chg="mod">
          <ac:chgData name="Bez, Florian" userId="30d7df6a-5295-4d75-a650-5a1fab7b8b2e" providerId="ADAL" clId="{DEF8C959-161B-48E6-918F-19FB2A9D3909}" dt="2023-04-21T09:54:24.426" v="10005"/>
          <ac:spMkLst>
            <pc:docMk/>
            <pc:sldMk cId="1603008812" sldId="7333"/>
            <ac:spMk id="1837" creationId="{C1FB6709-ECB6-7AC8-6854-7B96340B0871}"/>
          </ac:spMkLst>
        </pc:spChg>
        <pc:spChg chg="mod">
          <ac:chgData name="Bez, Florian" userId="30d7df6a-5295-4d75-a650-5a1fab7b8b2e" providerId="ADAL" clId="{DEF8C959-161B-48E6-918F-19FB2A9D3909}" dt="2023-04-21T09:54:24.426" v="10005"/>
          <ac:spMkLst>
            <pc:docMk/>
            <pc:sldMk cId="1603008812" sldId="7333"/>
            <ac:spMk id="1838" creationId="{BA1B4293-DE6D-C454-6ADE-2D7F7941E989}"/>
          </ac:spMkLst>
        </pc:spChg>
        <pc:spChg chg="mod">
          <ac:chgData name="Bez, Florian" userId="30d7df6a-5295-4d75-a650-5a1fab7b8b2e" providerId="ADAL" clId="{DEF8C959-161B-48E6-918F-19FB2A9D3909}" dt="2023-04-21T09:54:24.426" v="10005"/>
          <ac:spMkLst>
            <pc:docMk/>
            <pc:sldMk cId="1603008812" sldId="7333"/>
            <ac:spMk id="1839" creationId="{1441A1DB-0306-DB82-8522-3E1B56914C77}"/>
          </ac:spMkLst>
        </pc:spChg>
        <pc:spChg chg="mod">
          <ac:chgData name="Bez, Florian" userId="30d7df6a-5295-4d75-a650-5a1fab7b8b2e" providerId="ADAL" clId="{DEF8C959-161B-48E6-918F-19FB2A9D3909}" dt="2023-04-21T09:54:24.426" v="10005"/>
          <ac:spMkLst>
            <pc:docMk/>
            <pc:sldMk cId="1603008812" sldId="7333"/>
            <ac:spMk id="1840" creationId="{99C01EA7-6BB7-F5A3-1E88-C6B62CB8124D}"/>
          </ac:spMkLst>
        </pc:spChg>
        <pc:spChg chg="mod">
          <ac:chgData name="Bez, Florian" userId="30d7df6a-5295-4d75-a650-5a1fab7b8b2e" providerId="ADAL" clId="{DEF8C959-161B-48E6-918F-19FB2A9D3909}" dt="2023-04-21T09:54:24.426" v="10005"/>
          <ac:spMkLst>
            <pc:docMk/>
            <pc:sldMk cId="1603008812" sldId="7333"/>
            <ac:spMk id="1841" creationId="{E875C2E6-55B5-EB54-2A81-693E435E6E22}"/>
          </ac:spMkLst>
        </pc:spChg>
        <pc:spChg chg="mod">
          <ac:chgData name="Bez, Florian" userId="30d7df6a-5295-4d75-a650-5a1fab7b8b2e" providerId="ADAL" clId="{DEF8C959-161B-48E6-918F-19FB2A9D3909}" dt="2023-04-21T09:54:24.426" v="10005"/>
          <ac:spMkLst>
            <pc:docMk/>
            <pc:sldMk cId="1603008812" sldId="7333"/>
            <ac:spMk id="1842" creationId="{604AFE27-7906-79F0-FEA7-A882E630DDF2}"/>
          </ac:spMkLst>
        </pc:spChg>
        <pc:spChg chg="mod">
          <ac:chgData name="Bez, Florian" userId="30d7df6a-5295-4d75-a650-5a1fab7b8b2e" providerId="ADAL" clId="{DEF8C959-161B-48E6-918F-19FB2A9D3909}" dt="2023-04-21T09:54:24.426" v="10005"/>
          <ac:spMkLst>
            <pc:docMk/>
            <pc:sldMk cId="1603008812" sldId="7333"/>
            <ac:spMk id="1843" creationId="{54017B1A-236B-3DAB-8C17-0A38872FF3E0}"/>
          </ac:spMkLst>
        </pc:spChg>
        <pc:spChg chg="mod">
          <ac:chgData name="Bez, Florian" userId="30d7df6a-5295-4d75-a650-5a1fab7b8b2e" providerId="ADAL" clId="{DEF8C959-161B-48E6-918F-19FB2A9D3909}" dt="2023-04-21T09:54:24.426" v="10005"/>
          <ac:spMkLst>
            <pc:docMk/>
            <pc:sldMk cId="1603008812" sldId="7333"/>
            <ac:spMk id="1844" creationId="{72C5C182-92A1-1357-C10B-38C0F084E407}"/>
          </ac:spMkLst>
        </pc:spChg>
        <pc:spChg chg="mod">
          <ac:chgData name="Bez, Florian" userId="30d7df6a-5295-4d75-a650-5a1fab7b8b2e" providerId="ADAL" clId="{DEF8C959-161B-48E6-918F-19FB2A9D3909}" dt="2023-04-21T09:54:24.426" v="10005"/>
          <ac:spMkLst>
            <pc:docMk/>
            <pc:sldMk cId="1603008812" sldId="7333"/>
            <ac:spMk id="1845" creationId="{BDF30E5E-7DFA-B4D6-2B03-97FB1FD1D0BF}"/>
          </ac:spMkLst>
        </pc:spChg>
        <pc:spChg chg="mod">
          <ac:chgData name="Bez, Florian" userId="30d7df6a-5295-4d75-a650-5a1fab7b8b2e" providerId="ADAL" clId="{DEF8C959-161B-48E6-918F-19FB2A9D3909}" dt="2023-04-21T09:54:24.426" v="10005"/>
          <ac:spMkLst>
            <pc:docMk/>
            <pc:sldMk cId="1603008812" sldId="7333"/>
            <ac:spMk id="1846" creationId="{939278A4-1E10-7BF1-2794-4977A53CF4E4}"/>
          </ac:spMkLst>
        </pc:spChg>
        <pc:spChg chg="mod">
          <ac:chgData name="Bez, Florian" userId="30d7df6a-5295-4d75-a650-5a1fab7b8b2e" providerId="ADAL" clId="{DEF8C959-161B-48E6-918F-19FB2A9D3909}" dt="2023-04-21T09:54:24.426" v="10005"/>
          <ac:spMkLst>
            <pc:docMk/>
            <pc:sldMk cId="1603008812" sldId="7333"/>
            <ac:spMk id="1847" creationId="{EBB3B138-3DF4-89C5-0E20-8759F8D168B2}"/>
          </ac:spMkLst>
        </pc:spChg>
        <pc:spChg chg="mod">
          <ac:chgData name="Bez, Florian" userId="30d7df6a-5295-4d75-a650-5a1fab7b8b2e" providerId="ADAL" clId="{DEF8C959-161B-48E6-918F-19FB2A9D3909}" dt="2023-04-21T09:54:24.426" v="10005"/>
          <ac:spMkLst>
            <pc:docMk/>
            <pc:sldMk cId="1603008812" sldId="7333"/>
            <ac:spMk id="1848" creationId="{F34E5DB5-2EFE-13C4-3CAA-69604BF0F9F4}"/>
          </ac:spMkLst>
        </pc:spChg>
        <pc:spChg chg="mod">
          <ac:chgData name="Bez, Florian" userId="30d7df6a-5295-4d75-a650-5a1fab7b8b2e" providerId="ADAL" clId="{DEF8C959-161B-48E6-918F-19FB2A9D3909}" dt="2023-04-21T09:54:24.426" v="10005"/>
          <ac:spMkLst>
            <pc:docMk/>
            <pc:sldMk cId="1603008812" sldId="7333"/>
            <ac:spMk id="1850" creationId="{A62C116D-5F33-7CE3-0023-70ECBE847C64}"/>
          </ac:spMkLst>
        </pc:spChg>
        <pc:spChg chg="mod">
          <ac:chgData name="Bez, Florian" userId="30d7df6a-5295-4d75-a650-5a1fab7b8b2e" providerId="ADAL" clId="{DEF8C959-161B-48E6-918F-19FB2A9D3909}" dt="2023-04-21T09:54:24.426" v="10005"/>
          <ac:spMkLst>
            <pc:docMk/>
            <pc:sldMk cId="1603008812" sldId="7333"/>
            <ac:spMk id="1851" creationId="{18C02977-0DA5-F6CC-5F29-CDA282F80C7D}"/>
          </ac:spMkLst>
        </pc:spChg>
        <pc:spChg chg="mod">
          <ac:chgData name="Bez, Florian" userId="30d7df6a-5295-4d75-a650-5a1fab7b8b2e" providerId="ADAL" clId="{DEF8C959-161B-48E6-918F-19FB2A9D3909}" dt="2023-04-21T09:54:24.426" v="10005"/>
          <ac:spMkLst>
            <pc:docMk/>
            <pc:sldMk cId="1603008812" sldId="7333"/>
            <ac:spMk id="1852" creationId="{00F6EB33-8F35-A482-40D8-BFBDB6A8CB08}"/>
          </ac:spMkLst>
        </pc:spChg>
        <pc:spChg chg="mod">
          <ac:chgData name="Bez, Florian" userId="30d7df6a-5295-4d75-a650-5a1fab7b8b2e" providerId="ADAL" clId="{DEF8C959-161B-48E6-918F-19FB2A9D3909}" dt="2023-04-21T09:54:24.426" v="10005"/>
          <ac:spMkLst>
            <pc:docMk/>
            <pc:sldMk cId="1603008812" sldId="7333"/>
            <ac:spMk id="1853" creationId="{6C97CE93-B74E-81D2-A29D-680A2E0ACD31}"/>
          </ac:spMkLst>
        </pc:spChg>
        <pc:spChg chg="mod">
          <ac:chgData name="Bez, Florian" userId="30d7df6a-5295-4d75-a650-5a1fab7b8b2e" providerId="ADAL" clId="{DEF8C959-161B-48E6-918F-19FB2A9D3909}" dt="2023-04-21T09:54:24.426" v="10005"/>
          <ac:spMkLst>
            <pc:docMk/>
            <pc:sldMk cId="1603008812" sldId="7333"/>
            <ac:spMk id="1854" creationId="{CD245487-AF0B-429B-3A43-657C554D14B8}"/>
          </ac:spMkLst>
        </pc:spChg>
        <pc:spChg chg="mod">
          <ac:chgData name="Bez, Florian" userId="30d7df6a-5295-4d75-a650-5a1fab7b8b2e" providerId="ADAL" clId="{DEF8C959-161B-48E6-918F-19FB2A9D3909}" dt="2023-04-21T09:54:24.426" v="10005"/>
          <ac:spMkLst>
            <pc:docMk/>
            <pc:sldMk cId="1603008812" sldId="7333"/>
            <ac:spMk id="1855" creationId="{E27B1B20-30D5-AA25-90E2-B2736EB75AA9}"/>
          </ac:spMkLst>
        </pc:spChg>
        <pc:spChg chg="mod">
          <ac:chgData name="Bez, Florian" userId="30d7df6a-5295-4d75-a650-5a1fab7b8b2e" providerId="ADAL" clId="{DEF8C959-161B-48E6-918F-19FB2A9D3909}" dt="2023-04-21T09:54:24.426" v="10005"/>
          <ac:spMkLst>
            <pc:docMk/>
            <pc:sldMk cId="1603008812" sldId="7333"/>
            <ac:spMk id="1856" creationId="{C6EE9EBA-B70B-E807-F05B-A7C6B50B3634}"/>
          </ac:spMkLst>
        </pc:spChg>
        <pc:spChg chg="mod">
          <ac:chgData name="Bez, Florian" userId="30d7df6a-5295-4d75-a650-5a1fab7b8b2e" providerId="ADAL" clId="{DEF8C959-161B-48E6-918F-19FB2A9D3909}" dt="2023-04-21T09:54:24.426" v="10005"/>
          <ac:spMkLst>
            <pc:docMk/>
            <pc:sldMk cId="1603008812" sldId="7333"/>
            <ac:spMk id="1857" creationId="{0B3B43E0-6953-E979-CA3A-17357C5E0E29}"/>
          </ac:spMkLst>
        </pc:spChg>
        <pc:spChg chg="mod">
          <ac:chgData name="Bez, Florian" userId="30d7df6a-5295-4d75-a650-5a1fab7b8b2e" providerId="ADAL" clId="{DEF8C959-161B-48E6-918F-19FB2A9D3909}" dt="2023-04-21T09:54:24.426" v="10005"/>
          <ac:spMkLst>
            <pc:docMk/>
            <pc:sldMk cId="1603008812" sldId="7333"/>
            <ac:spMk id="1858" creationId="{6E3EA66E-A733-6FE8-0531-62BF02405250}"/>
          </ac:spMkLst>
        </pc:spChg>
        <pc:spChg chg="mod">
          <ac:chgData name="Bez, Florian" userId="30d7df6a-5295-4d75-a650-5a1fab7b8b2e" providerId="ADAL" clId="{DEF8C959-161B-48E6-918F-19FB2A9D3909}" dt="2023-04-21T09:54:24.426" v="10005"/>
          <ac:spMkLst>
            <pc:docMk/>
            <pc:sldMk cId="1603008812" sldId="7333"/>
            <ac:spMk id="1859" creationId="{027AFBDA-CDC8-219E-8C21-0624622DBD78}"/>
          </ac:spMkLst>
        </pc:spChg>
        <pc:spChg chg="mod">
          <ac:chgData name="Bez, Florian" userId="30d7df6a-5295-4d75-a650-5a1fab7b8b2e" providerId="ADAL" clId="{DEF8C959-161B-48E6-918F-19FB2A9D3909}" dt="2023-04-21T09:54:24.426" v="10005"/>
          <ac:spMkLst>
            <pc:docMk/>
            <pc:sldMk cId="1603008812" sldId="7333"/>
            <ac:spMk id="1860" creationId="{3858A093-2A22-1203-6491-CC62C11D445C}"/>
          </ac:spMkLst>
        </pc:spChg>
        <pc:spChg chg="mod">
          <ac:chgData name="Bez, Florian" userId="30d7df6a-5295-4d75-a650-5a1fab7b8b2e" providerId="ADAL" clId="{DEF8C959-161B-48E6-918F-19FB2A9D3909}" dt="2023-04-21T09:54:24.426" v="10005"/>
          <ac:spMkLst>
            <pc:docMk/>
            <pc:sldMk cId="1603008812" sldId="7333"/>
            <ac:spMk id="1861" creationId="{040BCC1E-A977-9B33-78E8-909F09D51571}"/>
          </ac:spMkLst>
        </pc:spChg>
        <pc:spChg chg="mod">
          <ac:chgData name="Bez, Florian" userId="30d7df6a-5295-4d75-a650-5a1fab7b8b2e" providerId="ADAL" clId="{DEF8C959-161B-48E6-918F-19FB2A9D3909}" dt="2023-04-21T09:54:24.426" v="10005"/>
          <ac:spMkLst>
            <pc:docMk/>
            <pc:sldMk cId="1603008812" sldId="7333"/>
            <ac:spMk id="1862" creationId="{F6A66AB8-40FB-7332-DDEE-6E86C3DEA9E8}"/>
          </ac:spMkLst>
        </pc:spChg>
        <pc:spChg chg="mod">
          <ac:chgData name="Bez, Florian" userId="30d7df6a-5295-4d75-a650-5a1fab7b8b2e" providerId="ADAL" clId="{DEF8C959-161B-48E6-918F-19FB2A9D3909}" dt="2023-04-21T09:54:24.426" v="10005"/>
          <ac:spMkLst>
            <pc:docMk/>
            <pc:sldMk cId="1603008812" sldId="7333"/>
            <ac:spMk id="1863" creationId="{09C19D69-9688-054D-9F31-668CB82FBC66}"/>
          </ac:spMkLst>
        </pc:spChg>
        <pc:spChg chg="mod">
          <ac:chgData name="Bez, Florian" userId="30d7df6a-5295-4d75-a650-5a1fab7b8b2e" providerId="ADAL" clId="{DEF8C959-161B-48E6-918F-19FB2A9D3909}" dt="2023-04-21T09:54:24.426" v="10005"/>
          <ac:spMkLst>
            <pc:docMk/>
            <pc:sldMk cId="1603008812" sldId="7333"/>
            <ac:spMk id="1864" creationId="{EA451492-BAE1-FBF1-55DB-EA2AD6D29AB1}"/>
          </ac:spMkLst>
        </pc:spChg>
        <pc:spChg chg="mod">
          <ac:chgData name="Bez, Florian" userId="30d7df6a-5295-4d75-a650-5a1fab7b8b2e" providerId="ADAL" clId="{DEF8C959-161B-48E6-918F-19FB2A9D3909}" dt="2023-04-21T09:54:24.426" v="10005"/>
          <ac:spMkLst>
            <pc:docMk/>
            <pc:sldMk cId="1603008812" sldId="7333"/>
            <ac:spMk id="1865" creationId="{2380C20D-439F-7BD3-E897-371C802B20D1}"/>
          </ac:spMkLst>
        </pc:spChg>
        <pc:spChg chg="mod">
          <ac:chgData name="Bez, Florian" userId="30d7df6a-5295-4d75-a650-5a1fab7b8b2e" providerId="ADAL" clId="{DEF8C959-161B-48E6-918F-19FB2A9D3909}" dt="2023-04-21T09:54:24.426" v="10005"/>
          <ac:spMkLst>
            <pc:docMk/>
            <pc:sldMk cId="1603008812" sldId="7333"/>
            <ac:spMk id="1866" creationId="{26ED8003-BBE4-FB90-2308-474F4BA410EF}"/>
          </ac:spMkLst>
        </pc:spChg>
        <pc:spChg chg="mod">
          <ac:chgData name="Bez, Florian" userId="30d7df6a-5295-4d75-a650-5a1fab7b8b2e" providerId="ADAL" clId="{DEF8C959-161B-48E6-918F-19FB2A9D3909}" dt="2023-04-21T09:54:24.426" v="10005"/>
          <ac:spMkLst>
            <pc:docMk/>
            <pc:sldMk cId="1603008812" sldId="7333"/>
            <ac:spMk id="1867" creationId="{7942A1DE-9B46-69B9-73DE-0C3A4767F2D0}"/>
          </ac:spMkLst>
        </pc:spChg>
        <pc:spChg chg="mod">
          <ac:chgData name="Bez, Florian" userId="30d7df6a-5295-4d75-a650-5a1fab7b8b2e" providerId="ADAL" clId="{DEF8C959-161B-48E6-918F-19FB2A9D3909}" dt="2023-04-21T09:54:24.426" v="10005"/>
          <ac:spMkLst>
            <pc:docMk/>
            <pc:sldMk cId="1603008812" sldId="7333"/>
            <ac:spMk id="1868" creationId="{80E6A436-54FE-7318-C8F0-6DD1E15DDB04}"/>
          </ac:spMkLst>
        </pc:spChg>
        <pc:spChg chg="mod">
          <ac:chgData name="Bez, Florian" userId="30d7df6a-5295-4d75-a650-5a1fab7b8b2e" providerId="ADAL" clId="{DEF8C959-161B-48E6-918F-19FB2A9D3909}" dt="2023-04-21T09:54:24.426" v="10005"/>
          <ac:spMkLst>
            <pc:docMk/>
            <pc:sldMk cId="1603008812" sldId="7333"/>
            <ac:spMk id="1869" creationId="{2E252F5B-2B00-CD98-63A6-ACB54C375AF4}"/>
          </ac:spMkLst>
        </pc:spChg>
        <pc:spChg chg="mod">
          <ac:chgData name="Bez, Florian" userId="30d7df6a-5295-4d75-a650-5a1fab7b8b2e" providerId="ADAL" clId="{DEF8C959-161B-48E6-918F-19FB2A9D3909}" dt="2023-04-21T09:54:24.426" v="10005"/>
          <ac:spMkLst>
            <pc:docMk/>
            <pc:sldMk cId="1603008812" sldId="7333"/>
            <ac:spMk id="1870" creationId="{7CE8BA5E-B914-A672-C712-C1A6D53E5F0B}"/>
          </ac:spMkLst>
        </pc:spChg>
        <pc:spChg chg="mod">
          <ac:chgData name="Bez, Florian" userId="30d7df6a-5295-4d75-a650-5a1fab7b8b2e" providerId="ADAL" clId="{DEF8C959-161B-48E6-918F-19FB2A9D3909}" dt="2023-04-21T09:54:24.426" v="10005"/>
          <ac:spMkLst>
            <pc:docMk/>
            <pc:sldMk cId="1603008812" sldId="7333"/>
            <ac:spMk id="1871" creationId="{B83C8811-473B-BDB0-2CDD-90C0C943F12F}"/>
          </ac:spMkLst>
        </pc:spChg>
        <pc:spChg chg="mod">
          <ac:chgData name="Bez, Florian" userId="30d7df6a-5295-4d75-a650-5a1fab7b8b2e" providerId="ADAL" clId="{DEF8C959-161B-48E6-918F-19FB2A9D3909}" dt="2023-04-21T09:54:24.426" v="10005"/>
          <ac:spMkLst>
            <pc:docMk/>
            <pc:sldMk cId="1603008812" sldId="7333"/>
            <ac:spMk id="1872" creationId="{158C3564-91D6-A3C1-6102-B56247D13555}"/>
          </ac:spMkLst>
        </pc:spChg>
        <pc:spChg chg="mod">
          <ac:chgData name="Bez, Florian" userId="30d7df6a-5295-4d75-a650-5a1fab7b8b2e" providerId="ADAL" clId="{DEF8C959-161B-48E6-918F-19FB2A9D3909}" dt="2023-04-21T09:54:24.426" v="10005"/>
          <ac:spMkLst>
            <pc:docMk/>
            <pc:sldMk cId="1603008812" sldId="7333"/>
            <ac:spMk id="1873" creationId="{81C26B5E-351B-3B9B-7617-03A6543F9B36}"/>
          </ac:spMkLst>
        </pc:spChg>
        <pc:spChg chg="mod">
          <ac:chgData name="Bez, Florian" userId="30d7df6a-5295-4d75-a650-5a1fab7b8b2e" providerId="ADAL" clId="{DEF8C959-161B-48E6-918F-19FB2A9D3909}" dt="2023-04-21T09:54:24.426" v="10005"/>
          <ac:spMkLst>
            <pc:docMk/>
            <pc:sldMk cId="1603008812" sldId="7333"/>
            <ac:spMk id="1874" creationId="{A6325381-DE48-AB5C-B322-A8D14A41C434}"/>
          </ac:spMkLst>
        </pc:spChg>
        <pc:spChg chg="mod">
          <ac:chgData name="Bez, Florian" userId="30d7df6a-5295-4d75-a650-5a1fab7b8b2e" providerId="ADAL" clId="{DEF8C959-161B-48E6-918F-19FB2A9D3909}" dt="2023-04-21T09:54:24.426" v="10005"/>
          <ac:spMkLst>
            <pc:docMk/>
            <pc:sldMk cId="1603008812" sldId="7333"/>
            <ac:spMk id="1875" creationId="{EB9C2C8C-FEC8-FFDF-E8D0-CEB1B20F15DA}"/>
          </ac:spMkLst>
        </pc:spChg>
        <pc:spChg chg="mod">
          <ac:chgData name="Bez, Florian" userId="30d7df6a-5295-4d75-a650-5a1fab7b8b2e" providerId="ADAL" clId="{DEF8C959-161B-48E6-918F-19FB2A9D3909}" dt="2023-04-21T09:54:24.426" v="10005"/>
          <ac:spMkLst>
            <pc:docMk/>
            <pc:sldMk cId="1603008812" sldId="7333"/>
            <ac:spMk id="1876" creationId="{5543C9DC-B051-7504-57A1-4A8198CCD132}"/>
          </ac:spMkLst>
        </pc:spChg>
        <pc:spChg chg="mod">
          <ac:chgData name="Bez, Florian" userId="30d7df6a-5295-4d75-a650-5a1fab7b8b2e" providerId="ADAL" clId="{DEF8C959-161B-48E6-918F-19FB2A9D3909}" dt="2023-04-21T09:54:24.426" v="10005"/>
          <ac:spMkLst>
            <pc:docMk/>
            <pc:sldMk cId="1603008812" sldId="7333"/>
            <ac:spMk id="1877" creationId="{4CB0D757-6B3D-DA08-F0CB-8276343788AD}"/>
          </ac:spMkLst>
        </pc:spChg>
        <pc:spChg chg="mod">
          <ac:chgData name="Bez, Florian" userId="30d7df6a-5295-4d75-a650-5a1fab7b8b2e" providerId="ADAL" clId="{DEF8C959-161B-48E6-918F-19FB2A9D3909}" dt="2023-04-21T09:54:24.426" v="10005"/>
          <ac:spMkLst>
            <pc:docMk/>
            <pc:sldMk cId="1603008812" sldId="7333"/>
            <ac:spMk id="1878" creationId="{B5575887-5727-7DF8-0510-EF86FF5A4CCA}"/>
          </ac:spMkLst>
        </pc:spChg>
        <pc:spChg chg="mod">
          <ac:chgData name="Bez, Florian" userId="30d7df6a-5295-4d75-a650-5a1fab7b8b2e" providerId="ADAL" clId="{DEF8C959-161B-48E6-918F-19FB2A9D3909}" dt="2023-04-21T09:54:24.426" v="10005"/>
          <ac:spMkLst>
            <pc:docMk/>
            <pc:sldMk cId="1603008812" sldId="7333"/>
            <ac:spMk id="1879" creationId="{2108D6FF-4780-920A-4176-E2801EA12A2E}"/>
          </ac:spMkLst>
        </pc:spChg>
        <pc:spChg chg="mod">
          <ac:chgData name="Bez, Florian" userId="30d7df6a-5295-4d75-a650-5a1fab7b8b2e" providerId="ADAL" clId="{DEF8C959-161B-48E6-918F-19FB2A9D3909}" dt="2023-04-21T09:54:24.426" v="10005"/>
          <ac:spMkLst>
            <pc:docMk/>
            <pc:sldMk cId="1603008812" sldId="7333"/>
            <ac:spMk id="1880" creationId="{B4DF688E-DE84-6A4C-7C74-819402DF9334}"/>
          </ac:spMkLst>
        </pc:spChg>
        <pc:spChg chg="mod">
          <ac:chgData name="Bez, Florian" userId="30d7df6a-5295-4d75-a650-5a1fab7b8b2e" providerId="ADAL" clId="{DEF8C959-161B-48E6-918F-19FB2A9D3909}" dt="2023-04-21T09:54:24.426" v="10005"/>
          <ac:spMkLst>
            <pc:docMk/>
            <pc:sldMk cId="1603008812" sldId="7333"/>
            <ac:spMk id="1881" creationId="{471B2550-9139-B81A-A2E2-F10B4E8DBF07}"/>
          </ac:spMkLst>
        </pc:spChg>
        <pc:spChg chg="mod">
          <ac:chgData name="Bez, Florian" userId="30d7df6a-5295-4d75-a650-5a1fab7b8b2e" providerId="ADAL" clId="{DEF8C959-161B-48E6-918F-19FB2A9D3909}" dt="2023-04-21T09:54:24.426" v="10005"/>
          <ac:spMkLst>
            <pc:docMk/>
            <pc:sldMk cId="1603008812" sldId="7333"/>
            <ac:spMk id="1882" creationId="{624DF464-B295-E623-E206-E1E5B7EB3D87}"/>
          </ac:spMkLst>
        </pc:spChg>
        <pc:spChg chg="mod">
          <ac:chgData name="Bez, Florian" userId="30d7df6a-5295-4d75-a650-5a1fab7b8b2e" providerId="ADAL" clId="{DEF8C959-161B-48E6-918F-19FB2A9D3909}" dt="2023-04-21T09:54:24.426" v="10005"/>
          <ac:spMkLst>
            <pc:docMk/>
            <pc:sldMk cId="1603008812" sldId="7333"/>
            <ac:spMk id="1883" creationId="{3F2E4F30-04D2-ADCF-5EAB-23D82A826E37}"/>
          </ac:spMkLst>
        </pc:spChg>
        <pc:spChg chg="mod">
          <ac:chgData name="Bez, Florian" userId="30d7df6a-5295-4d75-a650-5a1fab7b8b2e" providerId="ADAL" clId="{DEF8C959-161B-48E6-918F-19FB2A9D3909}" dt="2023-04-21T09:54:24.426" v="10005"/>
          <ac:spMkLst>
            <pc:docMk/>
            <pc:sldMk cId="1603008812" sldId="7333"/>
            <ac:spMk id="1884" creationId="{4198B7FC-E113-3F60-854B-FD86FF3847CF}"/>
          </ac:spMkLst>
        </pc:spChg>
        <pc:spChg chg="mod">
          <ac:chgData name="Bez, Florian" userId="30d7df6a-5295-4d75-a650-5a1fab7b8b2e" providerId="ADAL" clId="{DEF8C959-161B-48E6-918F-19FB2A9D3909}" dt="2023-04-21T09:54:24.426" v="10005"/>
          <ac:spMkLst>
            <pc:docMk/>
            <pc:sldMk cId="1603008812" sldId="7333"/>
            <ac:spMk id="1885" creationId="{322AA166-02BD-E0E4-7D91-D44A27210E04}"/>
          </ac:spMkLst>
        </pc:spChg>
        <pc:spChg chg="mod">
          <ac:chgData name="Bez, Florian" userId="30d7df6a-5295-4d75-a650-5a1fab7b8b2e" providerId="ADAL" clId="{DEF8C959-161B-48E6-918F-19FB2A9D3909}" dt="2023-04-21T09:54:24.426" v="10005"/>
          <ac:spMkLst>
            <pc:docMk/>
            <pc:sldMk cId="1603008812" sldId="7333"/>
            <ac:spMk id="1886" creationId="{DBD6BD6B-B41B-3952-F6A7-57783579C669}"/>
          </ac:spMkLst>
        </pc:spChg>
        <pc:spChg chg="mod">
          <ac:chgData name="Bez, Florian" userId="30d7df6a-5295-4d75-a650-5a1fab7b8b2e" providerId="ADAL" clId="{DEF8C959-161B-48E6-918F-19FB2A9D3909}" dt="2023-04-21T09:54:24.426" v="10005"/>
          <ac:spMkLst>
            <pc:docMk/>
            <pc:sldMk cId="1603008812" sldId="7333"/>
            <ac:spMk id="1887" creationId="{C89A2229-F009-1B95-2524-E4D02E8DC7C8}"/>
          </ac:spMkLst>
        </pc:spChg>
        <pc:spChg chg="mod">
          <ac:chgData name="Bez, Florian" userId="30d7df6a-5295-4d75-a650-5a1fab7b8b2e" providerId="ADAL" clId="{DEF8C959-161B-48E6-918F-19FB2A9D3909}" dt="2023-04-21T09:54:24.426" v="10005"/>
          <ac:spMkLst>
            <pc:docMk/>
            <pc:sldMk cId="1603008812" sldId="7333"/>
            <ac:spMk id="1888" creationId="{D67CFF2F-0659-DC18-9512-8B8BD9027582}"/>
          </ac:spMkLst>
        </pc:spChg>
        <pc:spChg chg="mod">
          <ac:chgData name="Bez, Florian" userId="30d7df6a-5295-4d75-a650-5a1fab7b8b2e" providerId="ADAL" clId="{DEF8C959-161B-48E6-918F-19FB2A9D3909}" dt="2023-04-21T09:54:24.426" v="10005"/>
          <ac:spMkLst>
            <pc:docMk/>
            <pc:sldMk cId="1603008812" sldId="7333"/>
            <ac:spMk id="1889" creationId="{0CB001A3-488A-9AFC-8002-6D9DE64DEF25}"/>
          </ac:spMkLst>
        </pc:spChg>
        <pc:spChg chg="mod">
          <ac:chgData name="Bez, Florian" userId="30d7df6a-5295-4d75-a650-5a1fab7b8b2e" providerId="ADAL" clId="{DEF8C959-161B-48E6-918F-19FB2A9D3909}" dt="2023-04-21T09:54:24.426" v="10005"/>
          <ac:spMkLst>
            <pc:docMk/>
            <pc:sldMk cId="1603008812" sldId="7333"/>
            <ac:spMk id="1890" creationId="{78225669-BD38-ABDD-1B86-1FE5B6D2EA04}"/>
          </ac:spMkLst>
        </pc:spChg>
        <pc:spChg chg="mod">
          <ac:chgData name="Bez, Florian" userId="30d7df6a-5295-4d75-a650-5a1fab7b8b2e" providerId="ADAL" clId="{DEF8C959-161B-48E6-918F-19FB2A9D3909}" dt="2023-04-21T09:54:24.426" v="10005"/>
          <ac:spMkLst>
            <pc:docMk/>
            <pc:sldMk cId="1603008812" sldId="7333"/>
            <ac:spMk id="1891" creationId="{317FAA4B-266B-29F7-9B5B-F121B0C52FA5}"/>
          </ac:spMkLst>
        </pc:spChg>
        <pc:spChg chg="mod">
          <ac:chgData name="Bez, Florian" userId="30d7df6a-5295-4d75-a650-5a1fab7b8b2e" providerId="ADAL" clId="{DEF8C959-161B-48E6-918F-19FB2A9D3909}" dt="2023-04-21T09:54:24.426" v="10005"/>
          <ac:spMkLst>
            <pc:docMk/>
            <pc:sldMk cId="1603008812" sldId="7333"/>
            <ac:spMk id="1892" creationId="{21F33D8D-12E2-9E0B-2EFE-5E1CD294B05B}"/>
          </ac:spMkLst>
        </pc:spChg>
        <pc:spChg chg="mod">
          <ac:chgData name="Bez, Florian" userId="30d7df6a-5295-4d75-a650-5a1fab7b8b2e" providerId="ADAL" clId="{DEF8C959-161B-48E6-918F-19FB2A9D3909}" dt="2023-04-21T09:54:24.426" v="10005"/>
          <ac:spMkLst>
            <pc:docMk/>
            <pc:sldMk cId="1603008812" sldId="7333"/>
            <ac:spMk id="1893" creationId="{2C7A6F94-0147-9079-EACC-C078A0CE2173}"/>
          </ac:spMkLst>
        </pc:spChg>
        <pc:spChg chg="mod">
          <ac:chgData name="Bez, Florian" userId="30d7df6a-5295-4d75-a650-5a1fab7b8b2e" providerId="ADAL" clId="{DEF8C959-161B-48E6-918F-19FB2A9D3909}" dt="2023-04-21T09:54:24.426" v="10005"/>
          <ac:spMkLst>
            <pc:docMk/>
            <pc:sldMk cId="1603008812" sldId="7333"/>
            <ac:spMk id="1894" creationId="{C4E71586-851E-7277-1FA0-1A6CAB79956E}"/>
          </ac:spMkLst>
        </pc:spChg>
        <pc:spChg chg="mod">
          <ac:chgData name="Bez, Florian" userId="30d7df6a-5295-4d75-a650-5a1fab7b8b2e" providerId="ADAL" clId="{DEF8C959-161B-48E6-918F-19FB2A9D3909}" dt="2023-04-21T09:54:24.426" v="10005"/>
          <ac:spMkLst>
            <pc:docMk/>
            <pc:sldMk cId="1603008812" sldId="7333"/>
            <ac:spMk id="1895" creationId="{C907A7E5-6970-528B-B7E0-E7BFC7D1E565}"/>
          </ac:spMkLst>
        </pc:spChg>
        <pc:spChg chg="mod">
          <ac:chgData name="Bez, Florian" userId="30d7df6a-5295-4d75-a650-5a1fab7b8b2e" providerId="ADAL" clId="{DEF8C959-161B-48E6-918F-19FB2A9D3909}" dt="2023-04-21T09:54:24.426" v="10005"/>
          <ac:spMkLst>
            <pc:docMk/>
            <pc:sldMk cId="1603008812" sldId="7333"/>
            <ac:spMk id="1896" creationId="{1E0AB387-4D28-C22D-9F5F-6354D00A3D18}"/>
          </ac:spMkLst>
        </pc:spChg>
        <pc:spChg chg="mod">
          <ac:chgData name="Bez, Florian" userId="30d7df6a-5295-4d75-a650-5a1fab7b8b2e" providerId="ADAL" clId="{DEF8C959-161B-48E6-918F-19FB2A9D3909}" dt="2023-04-21T09:54:24.426" v="10005"/>
          <ac:spMkLst>
            <pc:docMk/>
            <pc:sldMk cId="1603008812" sldId="7333"/>
            <ac:spMk id="1897" creationId="{E46EF7A4-AF98-81C7-8FA8-3B94928D6377}"/>
          </ac:spMkLst>
        </pc:spChg>
        <pc:spChg chg="mod">
          <ac:chgData name="Bez, Florian" userId="30d7df6a-5295-4d75-a650-5a1fab7b8b2e" providerId="ADAL" clId="{DEF8C959-161B-48E6-918F-19FB2A9D3909}" dt="2023-04-21T09:54:24.426" v="10005"/>
          <ac:spMkLst>
            <pc:docMk/>
            <pc:sldMk cId="1603008812" sldId="7333"/>
            <ac:spMk id="1898" creationId="{67E457B9-BE65-B658-689B-E35B9AEE38D9}"/>
          </ac:spMkLst>
        </pc:spChg>
        <pc:spChg chg="mod">
          <ac:chgData name="Bez, Florian" userId="30d7df6a-5295-4d75-a650-5a1fab7b8b2e" providerId="ADAL" clId="{DEF8C959-161B-48E6-918F-19FB2A9D3909}" dt="2023-04-21T09:54:24.426" v="10005"/>
          <ac:spMkLst>
            <pc:docMk/>
            <pc:sldMk cId="1603008812" sldId="7333"/>
            <ac:spMk id="1899" creationId="{3ACEBDB6-30F8-81A6-846C-7400267AAECE}"/>
          </ac:spMkLst>
        </pc:spChg>
        <pc:spChg chg="mod">
          <ac:chgData name="Bez, Florian" userId="30d7df6a-5295-4d75-a650-5a1fab7b8b2e" providerId="ADAL" clId="{DEF8C959-161B-48E6-918F-19FB2A9D3909}" dt="2023-04-21T09:54:24.426" v="10005"/>
          <ac:spMkLst>
            <pc:docMk/>
            <pc:sldMk cId="1603008812" sldId="7333"/>
            <ac:spMk id="1900" creationId="{616DDE69-67F2-1113-7493-F91AF1FB310E}"/>
          </ac:spMkLst>
        </pc:spChg>
        <pc:spChg chg="mod">
          <ac:chgData name="Bez, Florian" userId="30d7df6a-5295-4d75-a650-5a1fab7b8b2e" providerId="ADAL" clId="{DEF8C959-161B-48E6-918F-19FB2A9D3909}" dt="2023-04-21T09:54:24.426" v="10005"/>
          <ac:spMkLst>
            <pc:docMk/>
            <pc:sldMk cId="1603008812" sldId="7333"/>
            <ac:spMk id="1901" creationId="{E23E2119-F7C2-8119-1CA9-AA8CBC1153BC}"/>
          </ac:spMkLst>
        </pc:spChg>
        <pc:spChg chg="mod">
          <ac:chgData name="Bez, Florian" userId="30d7df6a-5295-4d75-a650-5a1fab7b8b2e" providerId="ADAL" clId="{DEF8C959-161B-48E6-918F-19FB2A9D3909}" dt="2023-04-21T09:54:24.426" v="10005"/>
          <ac:spMkLst>
            <pc:docMk/>
            <pc:sldMk cId="1603008812" sldId="7333"/>
            <ac:spMk id="1902" creationId="{BBA9249F-2DC8-788E-4464-944E43896061}"/>
          </ac:spMkLst>
        </pc:spChg>
        <pc:spChg chg="mod">
          <ac:chgData name="Bez, Florian" userId="30d7df6a-5295-4d75-a650-5a1fab7b8b2e" providerId="ADAL" clId="{DEF8C959-161B-48E6-918F-19FB2A9D3909}" dt="2023-04-21T09:54:24.426" v="10005"/>
          <ac:spMkLst>
            <pc:docMk/>
            <pc:sldMk cId="1603008812" sldId="7333"/>
            <ac:spMk id="1903" creationId="{9333D89C-41D0-3920-6C86-A5BEC520A9F8}"/>
          </ac:spMkLst>
        </pc:spChg>
        <pc:spChg chg="mod">
          <ac:chgData name="Bez, Florian" userId="30d7df6a-5295-4d75-a650-5a1fab7b8b2e" providerId="ADAL" clId="{DEF8C959-161B-48E6-918F-19FB2A9D3909}" dt="2023-04-21T09:54:24.426" v="10005"/>
          <ac:spMkLst>
            <pc:docMk/>
            <pc:sldMk cId="1603008812" sldId="7333"/>
            <ac:spMk id="1904" creationId="{6B671245-EDC7-5367-2FBA-5350312E622D}"/>
          </ac:spMkLst>
        </pc:spChg>
        <pc:spChg chg="mod">
          <ac:chgData name="Bez, Florian" userId="30d7df6a-5295-4d75-a650-5a1fab7b8b2e" providerId="ADAL" clId="{DEF8C959-161B-48E6-918F-19FB2A9D3909}" dt="2023-04-21T09:54:24.426" v="10005"/>
          <ac:spMkLst>
            <pc:docMk/>
            <pc:sldMk cId="1603008812" sldId="7333"/>
            <ac:spMk id="1905" creationId="{19D9625E-EABC-CF46-6C93-1510E2C66378}"/>
          </ac:spMkLst>
        </pc:spChg>
        <pc:spChg chg="mod">
          <ac:chgData name="Bez, Florian" userId="30d7df6a-5295-4d75-a650-5a1fab7b8b2e" providerId="ADAL" clId="{DEF8C959-161B-48E6-918F-19FB2A9D3909}" dt="2023-04-21T09:54:24.426" v="10005"/>
          <ac:spMkLst>
            <pc:docMk/>
            <pc:sldMk cId="1603008812" sldId="7333"/>
            <ac:spMk id="1906" creationId="{CA550EDE-99F1-BE45-8CA7-0EE831BF606C}"/>
          </ac:spMkLst>
        </pc:spChg>
        <pc:spChg chg="mod">
          <ac:chgData name="Bez, Florian" userId="30d7df6a-5295-4d75-a650-5a1fab7b8b2e" providerId="ADAL" clId="{DEF8C959-161B-48E6-918F-19FB2A9D3909}" dt="2023-04-21T09:54:24.426" v="10005"/>
          <ac:spMkLst>
            <pc:docMk/>
            <pc:sldMk cId="1603008812" sldId="7333"/>
            <ac:spMk id="1907" creationId="{06AD9FD1-42BE-6AD6-60CF-9BDF5799C3D8}"/>
          </ac:spMkLst>
        </pc:spChg>
        <pc:spChg chg="mod">
          <ac:chgData name="Bez, Florian" userId="30d7df6a-5295-4d75-a650-5a1fab7b8b2e" providerId="ADAL" clId="{DEF8C959-161B-48E6-918F-19FB2A9D3909}" dt="2023-04-21T09:54:24.426" v="10005"/>
          <ac:spMkLst>
            <pc:docMk/>
            <pc:sldMk cId="1603008812" sldId="7333"/>
            <ac:spMk id="1908" creationId="{6A273295-9D93-7900-FF51-F603A700A2B2}"/>
          </ac:spMkLst>
        </pc:spChg>
        <pc:spChg chg="mod">
          <ac:chgData name="Bez, Florian" userId="30d7df6a-5295-4d75-a650-5a1fab7b8b2e" providerId="ADAL" clId="{DEF8C959-161B-48E6-918F-19FB2A9D3909}" dt="2023-04-21T09:54:24.426" v="10005"/>
          <ac:spMkLst>
            <pc:docMk/>
            <pc:sldMk cId="1603008812" sldId="7333"/>
            <ac:spMk id="1909" creationId="{314D5AF4-C9D6-7AFB-FE6E-3492A89A5B29}"/>
          </ac:spMkLst>
        </pc:spChg>
        <pc:spChg chg="mod">
          <ac:chgData name="Bez, Florian" userId="30d7df6a-5295-4d75-a650-5a1fab7b8b2e" providerId="ADAL" clId="{DEF8C959-161B-48E6-918F-19FB2A9D3909}" dt="2023-04-21T09:54:24.426" v="10005"/>
          <ac:spMkLst>
            <pc:docMk/>
            <pc:sldMk cId="1603008812" sldId="7333"/>
            <ac:spMk id="1910" creationId="{D1692397-C8E0-31B9-B404-C3103529F902}"/>
          </ac:spMkLst>
        </pc:spChg>
        <pc:spChg chg="mod">
          <ac:chgData name="Bez, Florian" userId="30d7df6a-5295-4d75-a650-5a1fab7b8b2e" providerId="ADAL" clId="{DEF8C959-161B-48E6-918F-19FB2A9D3909}" dt="2023-04-21T09:54:24.426" v="10005"/>
          <ac:spMkLst>
            <pc:docMk/>
            <pc:sldMk cId="1603008812" sldId="7333"/>
            <ac:spMk id="1911" creationId="{745F9993-F7CC-9A2E-B0FB-81A3BC77B8CD}"/>
          </ac:spMkLst>
        </pc:spChg>
        <pc:spChg chg="mod">
          <ac:chgData name="Bez, Florian" userId="30d7df6a-5295-4d75-a650-5a1fab7b8b2e" providerId="ADAL" clId="{DEF8C959-161B-48E6-918F-19FB2A9D3909}" dt="2023-04-21T09:54:24.426" v="10005"/>
          <ac:spMkLst>
            <pc:docMk/>
            <pc:sldMk cId="1603008812" sldId="7333"/>
            <ac:spMk id="1912" creationId="{38815770-001B-7061-60AB-62B519F21262}"/>
          </ac:spMkLst>
        </pc:spChg>
        <pc:spChg chg="mod">
          <ac:chgData name="Bez, Florian" userId="30d7df6a-5295-4d75-a650-5a1fab7b8b2e" providerId="ADAL" clId="{DEF8C959-161B-48E6-918F-19FB2A9D3909}" dt="2023-04-21T09:54:24.426" v="10005"/>
          <ac:spMkLst>
            <pc:docMk/>
            <pc:sldMk cId="1603008812" sldId="7333"/>
            <ac:spMk id="1913" creationId="{D009D0A8-0E4F-E38D-1C60-DDF54D7F1B69}"/>
          </ac:spMkLst>
        </pc:spChg>
        <pc:spChg chg="mod">
          <ac:chgData name="Bez, Florian" userId="30d7df6a-5295-4d75-a650-5a1fab7b8b2e" providerId="ADAL" clId="{DEF8C959-161B-48E6-918F-19FB2A9D3909}" dt="2023-04-21T09:54:24.426" v="10005"/>
          <ac:spMkLst>
            <pc:docMk/>
            <pc:sldMk cId="1603008812" sldId="7333"/>
            <ac:spMk id="1914" creationId="{92CAE828-680A-9321-3A2C-2E8A73EF2825}"/>
          </ac:spMkLst>
        </pc:spChg>
        <pc:spChg chg="mod">
          <ac:chgData name="Bez, Florian" userId="30d7df6a-5295-4d75-a650-5a1fab7b8b2e" providerId="ADAL" clId="{DEF8C959-161B-48E6-918F-19FB2A9D3909}" dt="2023-04-21T09:54:24.426" v="10005"/>
          <ac:spMkLst>
            <pc:docMk/>
            <pc:sldMk cId="1603008812" sldId="7333"/>
            <ac:spMk id="1915" creationId="{A152C136-AB5B-2CD8-55EE-6F5B71962082}"/>
          </ac:spMkLst>
        </pc:spChg>
        <pc:spChg chg="mod">
          <ac:chgData name="Bez, Florian" userId="30d7df6a-5295-4d75-a650-5a1fab7b8b2e" providerId="ADAL" clId="{DEF8C959-161B-48E6-918F-19FB2A9D3909}" dt="2023-04-21T09:54:24.426" v="10005"/>
          <ac:spMkLst>
            <pc:docMk/>
            <pc:sldMk cId="1603008812" sldId="7333"/>
            <ac:spMk id="1916" creationId="{44B29B14-CDCF-F462-0C08-4E6FE8C23D83}"/>
          </ac:spMkLst>
        </pc:spChg>
        <pc:spChg chg="mod">
          <ac:chgData name="Bez, Florian" userId="30d7df6a-5295-4d75-a650-5a1fab7b8b2e" providerId="ADAL" clId="{DEF8C959-161B-48E6-918F-19FB2A9D3909}" dt="2023-04-21T09:54:24.426" v="10005"/>
          <ac:spMkLst>
            <pc:docMk/>
            <pc:sldMk cId="1603008812" sldId="7333"/>
            <ac:spMk id="1917" creationId="{6275DE0D-9D63-E9D2-4CE9-ACC3BE106331}"/>
          </ac:spMkLst>
        </pc:spChg>
        <pc:spChg chg="mod">
          <ac:chgData name="Bez, Florian" userId="30d7df6a-5295-4d75-a650-5a1fab7b8b2e" providerId="ADAL" clId="{DEF8C959-161B-48E6-918F-19FB2A9D3909}" dt="2023-04-21T09:54:24.426" v="10005"/>
          <ac:spMkLst>
            <pc:docMk/>
            <pc:sldMk cId="1603008812" sldId="7333"/>
            <ac:spMk id="1918" creationId="{08E6D86C-BEA5-5507-EA25-DBD26ADFCA09}"/>
          </ac:spMkLst>
        </pc:spChg>
        <pc:spChg chg="mod">
          <ac:chgData name="Bez, Florian" userId="30d7df6a-5295-4d75-a650-5a1fab7b8b2e" providerId="ADAL" clId="{DEF8C959-161B-48E6-918F-19FB2A9D3909}" dt="2023-04-21T09:54:24.426" v="10005"/>
          <ac:spMkLst>
            <pc:docMk/>
            <pc:sldMk cId="1603008812" sldId="7333"/>
            <ac:spMk id="1919" creationId="{AB8219B1-F8DF-8948-D839-A8A167120238}"/>
          </ac:spMkLst>
        </pc:spChg>
        <pc:spChg chg="mod">
          <ac:chgData name="Bez, Florian" userId="30d7df6a-5295-4d75-a650-5a1fab7b8b2e" providerId="ADAL" clId="{DEF8C959-161B-48E6-918F-19FB2A9D3909}" dt="2023-04-21T09:54:24.426" v="10005"/>
          <ac:spMkLst>
            <pc:docMk/>
            <pc:sldMk cId="1603008812" sldId="7333"/>
            <ac:spMk id="1920" creationId="{DEE6C173-2C45-FBA4-6E14-F91621A965CB}"/>
          </ac:spMkLst>
        </pc:spChg>
        <pc:spChg chg="mod">
          <ac:chgData name="Bez, Florian" userId="30d7df6a-5295-4d75-a650-5a1fab7b8b2e" providerId="ADAL" clId="{DEF8C959-161B-48E6-918F-19FB2A9D3909}" dt="2023-04-21T09:54:24.426" v="10005"/>
          <ac:spMkLst>
            <pc:docMk/>
            <pc:sldMk cId="1603008812" sldId="7333"/>
            <ac:spMk id="1921" creationId="{571318C0-6B02-109D-E85A-55121DEB8997}"/>
          </ac:spMkLst>
        </pc:spChg>
        <pc:spChg chg="mod">
          <ac:chgData name="Bez, Florian" userId="30d7df6a-5295-4d75-a650-5a1fab7b8b2e" providerId="ADAL" clId="{DEF8C959-161B-48E6-918F-19FB2A9D3909}" dt="2023-04-21T09:54:24.426" v="10005"/>
          <ac:spMkLst>
            <pc:docMk/>
            <pc:sldMk cId="1603008812" sldId="7333"/>
            <ac:spMk id="1922" creationId="{97B49F56-8AC9-AA9B-F0CA-02CA751CB548}"/>
          </ac:spMkLst>
        </pc:spChg>
        <pc:spChg chg="mod">
          <ac:chgData name="Bez, Florian" userId="30d7df6a-5295-4d75-a650-5a1fab7b8b2e" providerId="ADAL" clId="{DEF8C959-161B-48E6-918F-19FB2A9D3909}" dt="2023-04-21T09:54:24.426" v="10005"/>
          <ac:spMkLst>
            <pc:docMk/>
            <pc:sldMk cId="1603008812" sldId="7333"/>
            <ac:spMk id="1923" creationId="{53E41A11-FF33-28F0-2954-9C0B4A560068}"/>
          </ac:spMkLst>
        </pc:spChg>
        <pc:spChg chg="mod">
          <ac:chgData name="Bez, Florian" userId="30d7df6a-5295-4d75-a650-5a1fab7b8b2e" providerId="ADAL" clId="{DEF8C959-161B-48E6-918F-19FB2A9D3909}" dt="2023-04-21T09:54:24.426" v="10005"/>
          <ac:spMkLst>
            <pc:docMk/>
            <pc:sldMk cId="1603008812" sldId="7333"/>
            <ac:spMk id="1924" creationId="{8C1C9AC1-6FDF-0368-8099-EBC6701B6C9D}"/>
          </ac:spMkLst>
        </pc:spChg>
        <pc:spChg chg="mod">
          <ac:chgData name="Bez, Florian" userId="30d7df6a-5295-4d75-a650-5a1fab7b8b2e" providerId="ADAL" clId="{DEF8C959-161B-48E6-918F-19FB2A9D3909}" dt="2023-04-21T09:54:24.426" v="10005"/>
          <ac:spMkLst>
            <pc:docMk/>
            <pc:sldMk cId="1603008812" sldId="7333"/>
            <ac:spMk id="1925" creationId="{957A6E7D-0CFB-7F26-2637-DD6FC845911B}"/>
          </ac:spMkLst>
        </pc:spChg>
        <pc:spChg chg="mod">
          <ac:chgData name="Bez, Florian" userId="30d7df6a-5295-4d75-a650-5a1fab7b8b2e" providerId="ADAL" clId="{DEF8C959-161B-48E6-918F-19FB2A9D3909}" dt="2023-04-21T09:54:24.426" v="10005"/>
          <ac:spMkLst>
            <pc:docMk/>
            <pc:sldMk cId="1603008812" sldId="7333"/>
            <ac:spMk id="1926" creationId="{49B0E748-2757-54FD-705C-D4334C0E8EBF}"/>
          </ac:spMkLst>
        </pc:spChg>
        <pc:spChg chg="mod">
          <ac:chgData name="Bez, Florian" userId="30d7df6a-5295-4d75-a650-5a1fab7b8b2e" providerId="ADAL" clId="{DEF8C959-161B-48E6-918F-19FB2A9D3909}" dt="2023-04-21T09:54:24.426" v="10005"/>
          <ac:spMkLst>
            <pc:docMk/>
            <pc:sldMk cId="1603008812" sldId="7333"/>
            <ac:spMk id="1927" creationId="{1415A8AF-8922-CAC1-449D-B18078333648}"/>
          </ac:spMkLst>
        </pc:spChg>
        <pc:spChg chg="mod">
          <ac:chgData name="Bez, Florian" userId="30d7df6a-5295-4d75-a650-5a1fab7b8b2e" providerId="ADAL" clId="{DEF8C959-161B-48E6-918F-19FB2A9D3909}" dt="2023-04-21T09:54:24.426" v="10005"/>
          <ac:spMkLst>
            <pc:docMk/>
            <pc:sldMk cId="1603008812" sldId="7333"/>
            <ac:spMk id="1928" creationId="{1FAE0F56-3E0A-7F66-E078-BDDB02E58EDD}"/>
          </ac:spMkLst>
        </pc:spChg>
        <pc:spChg chg="mod">
          <ac:chgData name="Bez, Florian" userId="30d7df6a-5295-4d75-a650-5a1fab7b8b2e" providerId="ADAL" clId="{DEF8C959-161B-48E6-918F-19FB2A9D3909}" dt="2023-04-21T09:54:24.426" v="10005"/>
          <ac:spMkLst>
            <pc:docMk/>
            <pc:sldMk cId="1603008812" sldId="7333"/>
            <ac:spMk id="1929" creationId="{8EE03EDD-CC2F-F95C-7FE2-D909A13F3198}"/>
          </ac:spMkLst>
        </pc:spChg>
        <pc:spChg chg="mod">
          <ac:chgData name="Bez, Florian" userId="30d7df6a-5295-4d75-a650-5a1fab7b8b2e" providerId="ADAL" clId="{DEF8C959-161B-48E6-918F-19FB2A9D3909}" dt="2023-04-21T09:54:24.426" v="10005"/>
          <ac:spMkLst>
            <pc:docMk/>
            <pc:sldMk cId="1603008812" sldId="7333"/>
            <ac:spMk id="1930" creationId="{583F67A7-84E9-5DD0-83DE-B54E89E85F50}"/>
          </ac:spMkLst>
        </pc:spChg>
        <pc:spChg chg="mod">
          <ac:chgData name="Bez, Florian" userId="30d7df6a-5295-4d75-a650-5a1fab7b8b2e" providerId="ADAL" clId="{DEF8C959-161B-48E6-918F-19FB2A9D3909}" dt="2023-04-21T09:54:24.426" v="10005"/>
          <ac:spMkLst>
            <pc:docMk/>
            <pc:sldMk cId="1603008812" sldId="7333"/>
            <ac:spMk id="1931" creationId="{924012C1-8FBF-091E-786E-24BF2309AAF4}"/>
          </ac:spMkLst>
        </pc:spChg>
        <pc:spChg chg="add mod">
          <ac:chgData name="Bez, Florian" userId="30d7df6a-5295-4d75-a650-5a1fab7b8b2e" providerId="ADAL" clId="{DEF8C959-161B-48E6-918F-19FB2A9D3909}" dt="2023-04-21T09:54:40.609" v="10006" actId="1076"/>
          <ac:spMkLst>
            <pc:docMk/>
            <pc:sldMk cId="1603008812" sldId="7333"/>
            <ac:spMk id="1932" creationId="{5729180D-23B8-361E-2E85-C473316037CF}"/>
          </ac:spMkLst>
        </pc:spChg>
        <pc:spChg chg="mod">
          <ac:chgData name="Bez, Florian" userId="30d7df6a-5295-4d75-a650-5a1fab7b8b2e" providerId="ADAL" clId="{DEF8C959-161B-48E6-918F-19FB2A9D3909}" dt="2023-04-21T09:54:24.426" v="10005"/>
          <ac:spMkLst>
            <pc:docMk/>
            <pc:sldMk cId="1603008812" sldId="7333"/>
            <ac:spMk id="1934" creationId="{7A7DDD10-1E34-B0E6-5947-3F2473088809}"/>
          </ac:spMkLst>
        </pc:spChg>
        <pc:spChg chg="mod">
          <ac:chgData name="Bez, Florian" userId="30d7df6a-5295-4d75-a650-5a1fab7b8b2e" providerId="ADAL" clId="{DEF8C959-161B-48E6-918F-19FB2A9D3909}" dt="2023-04-21T09:54:24.426" v="10005"/>
          <ac:spMkLst>
            <pc:docMk/>
            <pc:sldMk cId="1603008812" sldId="7333"/>
            <ac:spMk id="1939" creationId="{87AA4EA5-BA0A-7EA9-17DD-D4A7584D01F8}"/>
          </ac:spMkLst>
        </pc:spChg>
        <pc:spChg chg="mod">
          <ac:chgData name="Bez, Florian" userId="30d7df6a-5295-4d75-a650-5a1fab7b8b2e" providerId="ADAL" clId="{DEF8C959-161B-48E6-918F-19FB2A9D3909}" dt="2023-04-21T09:54:24.426" v="10005"/>
          <ac:spMkLst>
            <pc:docMk/>
            <pc:sldMk cId="1603008812" sldId="7333"/>
            <ac:spMk id="1940" creationId="{9EF9FAD2-37D1-50C0-A148-0D3262D2C3B2}"/>
          </ac:spMkLst>
        </pc:spChg>
        <pc:spChg chg="mod">
          <ac:chgData name="Bez, Florian" userId="30d7df6a-5295-4d75-a650-5a1fab7b8b2e" providerId="ADAL" clId="{DEF8C959-161B-48E6-918F-19FB2A9D3909}" dt="2023-04-21T09:54:24.426" v="10005"/>
          <ac:spMkLst>
            <pc:docMk/>
            <pc:sldMk cId="1603008812" sldId="7333"/>
            <ac:spMk id="1941" creationId="{3C40B81D-FE44-AAD3-75EF-E0059A8B8DFC}"/>
          </ac:spMkLst>
        </pc:spChg>
        <pc:spChg chg="mod">
          <ac:chgData name="Bez, Florian" userId="30d7df6a-5295-4d75-a650-5a1fab7b8b2e" providerId="ADAL" clId="{DEF8C959-161B-48E6-918F-19FB2A9D3909}" dt="2023-04-21T09:54:24.426" v="10005"/>
          <ac:spMkLst>
            <pc:docMk/>
            <pc:sldMk cId="1603008812" sldId="7333"/>
            <ac:spMk id="1942" creationId="{52E243C0-7F56-7A8A-4C1D-154AB19011D5}"/>
          </ac:spMkLst>
        </pc:spChg>
        <pc:spChg chg="mod">
          <ac:chgData name="Bez, Florian" userId="30d7df6a-5295-4d75-a650-5a1fab7b8b2e" providerId="ADAL" clId="{DEF8C959-161B-48E6-918F-19FB2A9D3909}" dt="2023-04-21T09:54:24.426" v="10005"/>
          <ac:spMkLst>
            <pc:docMk/>
            <pc:sldMk cId="1603008812" sldId="7333"/>
            <ac:spMk id="1943" creationId="{3259ED7C-F1B8-8137-630D-C7C9B913E980}"/>
          </ac:spMkLst>
        </pc:spChg>
        <pc:spChg chg="mod">
          <ac:chgData name="Bez, Florian" userId="30d7df6a-5295-4d75-a650-5a1fab7b8b2e" providerId="ADAL" clId="{DEF8C959-161B-48E6-918F-19FB2A9D3909}" dt="2023-04-21T09:54:24.426" v="10005"/>
          <ac:spMkLst>
            <pc:docMk/>
            <pc:sldMk cId="1603008812" sldId="7333"/>
            <ac:spMk id="1944" creationId="{4ABDC401-3440-0C09-34F5-E7D5DD875809}"/>
          </ac:spMkLst>
        </pc:spChg>
        <pc:spChg chg="mod">
          <ac:chgData name="Bez, Florian" userId="30d7df6a-5295-4d75-a650-5a1fab7b8b2e" providerId="ADAL" clId="{DEF8C959-161B-48E6-918F-19FB2A9D3909}" dt="2023-04-21T09:54:24.426" v="10005"/>
          <ac:spMkLst>
            <pc:docMk/>
            <pc:sldMk cId="1603008812" sldId="7333"/>
            <ac:spMk id="1945" creationId="{E84D020D-A33E-B3D3-6F30-BB887F20B881}"/>
          </ac:spMkLst>
        </pc:spChg>
        <pc:spChg chg="mod">
          <ac:chgData name="Bez, Florian" userId="30d7df6a-5295-4d75-a650-5a1fab7b8b2e" providerId="ADAL" clId="{DEF8C959-161B-48E6-918F-19FB2A9D3909}" dt="2023-04-21T09:54:24.426" v="10005"/>
          <ac:spMkLst>
            <pc:docMk/>
            <pc:sldMk cId="1603008812" sldId="7333"/>
            <ac:spMk id="1946" creationId="{A4077426-C52A-937F-4B28-865EA82432BC}"/>
          </ac:spMkLst>
        </pc:spChg>
        <pc:spChg chg="mod">
          <ac:chgData name="Bez, Florian" userId="30d7df6a-5295-4d75-a650-5a1fab7b8b2e" providerId="ADAL" clId="{DEF8C959-161B-48E6-918F-19FB2A9D3909}" dt="2023-04-21T09:54:24.426" v="10005"/>
          <ac:spMkLst>
            <pc:docMk/>
            <pc:sldMk cId="1603008812" sldId="7333"/>
            <ac:spMk id="1947" creationId="{78222F85-43F1-10B7-4EEF-355990961E2B}"/>
          </ac:spMkLst>
        </pc:spChg>
        <pc:spChg chg="mod">
          <ac:chgData name="Bez, Florian" userId="30d7df6a-5295-4d75-a650-5a1fab7b8b2e" providerId="ADAL" clId="{DEF8C959-161B-48E6-918F-19FB2A9D3909}" dt="2023-04-21T09:54:24.426" v="10005"/>
          <ac:spMkLst>
            <pc:docMk/>
            <pc:sldMk cId="1603008812" sldId="7333"/>
            <ac:spMk id="1948" creationId="{DB00AD06-902D-E3DA-7269-6E577C2332D4}"/>
          </ac:spMkLst>
        </pc:spChg>
        <pc:spChg chg="mod">
          <ac:chgData name="Bez, Florian" userId="30d7df6a-5295-4d75-a650-5a1fab7b8b2e" providerId="ADAL" clId="{DEF8C959-161B-48E6-918F-19FB2A9D3909}" dt="2023-04-21T09:54:24.426" v="10005"/>
          <ac:spMkLst>
            <pc:docMk/>
            <pc:sldMk cId="1603008812" sldId="7333"/>
            <ac:spMk id="1949" creationId="{F5D4BA82-E77A-9402-7CD6-1E1585FC001A}"/>
          </ac:spMkLst>
        </pc:spChg>
        <pc:spChg chg="mod">
          <ac:chgData name="Bez, Florian" userId="30d7df6a-5295-4d75-a650-5a1fab7b8b2e" providerId="ADAL" clId="{DEF8C959-161B-48E6-918F-19FB2A9D3909}" dt="2023-04-21T09:54:24.426" v="10005"/>
          <ac:spMkLst>
            <pc:docMk/>
            <pc:sldMk cId="1603008812" sldId="7333"/>
            <ac:spMk id="1950" creationId="{1279F07B-5441-A7A6-228F-38E4D1F88767}"/>
          </ac:spMkLst>
        </pc:spChg>
        <pc:spChg chg="mod">
          <ac:chgData name="Bez, Florian" userId="30d7df6a-5295-4d75-a650-5a1fab7b8b2e" providerId="ADAL" clId="{DEF8C959-161B-48E6-918F-19FB2A9D3909}" dt="2023-04-21T09:54:24.426" v="10005"/>
          <ac:spMkLst>
            <pc:docMk/>
            <pc:sldMk cId="1603008812" sldId="7333"/>
            <ac:spMk id="1951" creationId="{11935D52-023E-493A-FB7C-C69A85DA8F9B}"/>
          </ac:spMkLst>
        </pc:spChg>
        <pc:spChg chg="mod">
          <ac:chgData name="Bez, Florian" userId="30d7df6a-5295-4d75-a650-5a1fab7b8b2e" providerId="ADAL" clId="{DEF8C959-161B-48E6-918F-19FB2A9D3909}" dt="2023-04-21T09:54:24.426" v="10005"/>
          <ac:spMkLst>
            <pc:docMk/>
            <pc:sldMk cId="1603008812" sldId="7333"/>
            <ac:spMk id="1952" creationId="{2E8F9ECD-E7FA-5138-E6BF-75488412EF7C}"/>
          </ac:spMkLst>
        </pc:spChg>
        <pc:spChg chg="mod">
          <ac:chgData name="Bez, Florian" userId="30d7df6a-5295-4d75-a650-5a1fab7b8b2e" providerId="ADAL" clId="{DEF8C959-161B-48E6-918F-19FB2A9D3909}" dt="2023-04-21T09:54:24.426" v="10005"/>
          <ac:spMkLst>
            <pc:docMk/>
            <pc:sldMk cId="1603008812" sldId="7333"/>
            <ac:spMk id="1953" creationId="{6CEB0242-39D1-0742-9EB0-2EEC41EF0418}"/>
          </ac:spMkLst>
        </pc:spChg>
        <pc:spChg chg="mod">
          <ac:chgData name="Bez, Florian" userId="30d7df6a-5295-4d75-a650-5a1fab7b8b2e" providerId="ADAL" clId="{DEF8C959-161B-48E6-918F-19FB2A9D3909}" dt="2023-04-21T09:54:24.426" v="10005"/>
          <ac:spMkLst>
            <pc:docMk/>
            <pc:sldMk cId="1603008812" sldId="7333"/>
            <ac:spMk id="1954" creationId="{F70097E4-8969-34BA-62F5-2237CD64D2E4}"/>
          </ac:spMkLst>
        </pc:spChg>
        <pc:spChg chg="mod">
          <ac:chgData name="Bez, Florian" userId="30d7df6a-5295-4d75-a650-5a1fab7b8b2e" providerId="ADAL" clId="{DEF8C959-161B-48E6-918F-19FB2A9D3909}" dt="2023-04-21T09:54:24.426" v="10005"/>
          <ac:spMkLst>
            <pc:docMk/>
            <pc:sldMk cId="1603008812" sldId="7333"/>
            <ac:spMk id="1955" creationId="{97D81F4A-1276-1F14-AD27-4774F92798C8}"/>
          </ac:spMkLst>
        </pc:spChg>
        <pc:spChg chg="mod">
          <ac:chgData name="Bez, Florian" userId="30d7df6a-5295-4d75-a650-5a1fab7b8b2e" providerId="ADAL" clId="{DEF8C959-161B-48E6-918F-19FB2A9D3909}" dt="2023-04-21T09:54:24.426" v="10005"/>
          <ac:spMkLst>
            <pc:docMk/>
            <pc:sldMk cId="1603008812" sldId="7333"/>
            <ac:spMk id="1956" creationId="{AD97E57B-DC28-42FF-EE27-7B5A641708F5}"/>
          </ac:spMkLst>
        </pc:spChg>
        <pc:spChg chg="mod">
          <ac:chgData name="Bez, Florian" userId="30d7df6a-5295-4d75-a650-5a1fab7b8b2e" providerId="ADAL" clId="{DEF8C959-161B-48E6-918F-19FB2A9D3909}" dt="2023-04-21T09:54:24.426" v="10005"/>
          <ac:spMkLst>
            <pc:docMk/>
            <pc:sldMk cId="1603008812" sldId="7333"/>
            <ac:spMk id="1957" creationId="{01399D75-0F0B-FE72-E281-D058D0B46D67}"/>
          </ac:spMkLst>
        </pc:spChg>
        <pc:spChg chg="mod">
          <ac:chgData name="Bez, Florian" userId="30d7df6a-5295-4d75-a650-5a1fab7b8b2e" providerId="ADAL" clId="{DEF8C959-161B-48E6-918F-19FB2A9D3909}" dt="2023-04-21T09:54:24.426" v="10005"/>
          <ac:spMkLst>
            <pc:docMk/>
            <pc:sldMk cId="1603008812" sldId="7333"/>
            <ac:spMk id="1958" creationId="{9A95D1C8-B686-B343-BFA3-EBF4AA980DA7}"/>
          </ac:spMkLst>
        </pc:spChg>
        <pc:spChg chg="mod">
          <ac:chgData name="Bez, Florian" userId="30d7df6a-5295-4d75-a650-5a1fab7b8b2e" providerId="ADAL" clId="{DEF8C959-161B-48E6-918F-19FB2A9D3909}" dt="2023-04-21T09:54:24.426" v="10005"/>
          <ac:spMkLst>
            <pc:docMk/>
            <pc:sldMk cId="1603008812" sldId="7333"/>
            <ac:spMk id="1959" creationId="{E4A20AB2-5DB0-272C-7367-009E9A55940C}"/>
          </ac:spMkLst>
        </pc:spChg>
        <pc:spChg chg="mod">
          <ac:chgData name="Bez, Florian" userId="30d7df6a-5295-4d75-a650-5a1fab7b8b2e" providerId="ADAL" clId="{DEF8C959-161B-48E6-918F-19FB2A9D3909}" dt="2023-04-21T09:54:24.426" v="10005"/>
          <ac:spMkLst>
            <pc:docMk/>
            <pc:sldMk cId="1603008812" sldId="7333"/>
            <ac:spMk id="1960" creationId="{8DA2B841-63C4-592A-0DC4-2E6D523D41B4}"/>
          </ac:spMkLst>
        </pc:spChg>
        <pc:spChg chg="mod">
          <ac:chgData name="Bez, Florian" userId="30d7df6a-5295-4d75-a650-5a1fab7b8b2e" providerId="ADAL" clId="{DEF8C959-161B-48E6-918F-19FB2A9D3909}" dt="2023-04-21T09:54:24.426" v="10005"/>
          <ac:spMkLst>
            <pc:docMk/>
            <pc:sldMk cId="1603008812" sldId="7333"/>
            <ac:spMk id="1961" creationId="{50E99A9B-8BB5-A4A6-4776-A6AE903ED2A7}"/>
          </ac:spMkLst>
        </pc:spChg>
        <pc:spChg chg="mod">
          <ac:chgData name="Bez, Florian" userId="30d7df6a-5295-4d75-a650-5a1fab7b8b2e" providerId="ADAL" clId="{DEF8C959-161B-48E6-918F-19FB2A9D3909}" dt="2023-04-21T09:54:24.426" v="10005"/>
          <ac:spMkLst>
            <pc:docMk/>
            <pc:sldMk cId="1603008812" sldId="7333"/>
            <ac:spMk id="1962" creationId="{486B3E57-81D1-9185-5007-75E14C06915A}"/>
          </ac:spMkLst>
        </pc:spChg>
        <pc:spChg chg="mod">
          <ac:chgData name="Bez, Florian" userId="30d7df6a-5295-4d75-a650-5a1fab7b8b2e" providerId="ADAL" clId="{DEF8C959-161B-48E6-918F-19FB2A9D3909}" dt="2023-04-21T09:54:24.426" v="10005"/>
          <ac:spMkLst>
            <pc:docMk/>
            <pc:sldMk cId="1603008812" sldId="7333"/>
            <ac:spMk id="1963" creationId="{AF81C980-D1ED-DCEE-468B-76B714DAE39D}"/>
          </ac:spMkLst>
        </pc:spChg>
        <pc:spChg chg="mod">
          <ac:chgData name="Bez, Florian" userId="30d7df6a-5295-4d75-a650-5a1fab7b8b2e" providerId="ADAL" clId="{DEF8C959-161B-48E6-918F-19FB2A9D3909}" dt="2023-04-21T09:54:24.426" v="10005"/>
          <ac:spMkLst>
            <pc:docMk/>
            <pc:sldMk cId="1603008812" sldId="7333"/>
            <ac:spMk id="1964" creationId="{F70F773B-DAB8-1CBA-3CC8-0F883E1B156D}"/>
          </ac:spMkLst>
        </pc:spChg>
        <pc:spChg chg="mod">
          <ac:chgData name="Bez, Florian" userId="30d7df6a-5295-4d75-a650-5a1fab7b8b2e" providerId="ADAL" clId="{DEF8C959-161B-48E6-918F-19FB2A9D3909}" dt="2023-04-21T09:54:24.426" v="10005"/>
          <ac:spMkLst>
            <pc:docMk/>
            <pc:sldMk cId="1603008812" sldId="7333"/>
            <ac:spMk id="1965" creationId="{2737CF1F-0D99-EF4B-7916-0F3B33372CCC}"/>
          </ac:spMkLst>
        </pc:spChg>
        <pc:spChg chg="mod">
          <ac:chgData name="Bez, Florian" userId="30d7df6a-5295-4d75-a650-5a1fab7b8b2e" providerId="ADAL" clId="{DEF8C959-161B-48E6-918F-19FB2A9D3909}" dt="2023-04-21T09:54:24.426" v="10005"/>
          <ac:spMkLst>
            <pc:docMk/>
            <pc:sldMk cId="1603008812" sldId="7333"/>
            <ac:spMk id="1966" creationId="{1F6D2841-494B-B198-AA0F-FA06E9E8003C}"/>
          </ac:spMkLst>
        </pc:spChg>
        <pc:spChg chg="mod">
          <ac:chgData name="Bez, Florian" userId="30d7df6a-5295-4d75-a650-5a1fab7b8b2e" providerId="ADAL" clId="{DEF8C959-161B-48E6-918F-19FB2A9D3909}" dt="2023-04-21T09:54:24.426" v="10005"/>
          <ac:spMkLst>
            <pc:docMk/>
            <pc:sldMk cId="1603008812" sldId="7333"/>
            <ac:spMk id="1967" creationId="{A5948BA3-FCD8-9011-4E0A-24B0C2CF2570}"/>
          </ac:spMkLst>
        </pc:spChg>
        <pc:spChg chg="mod">
          <ac:chgData name="Bez, Florian" userId="30d7df6a-5295-4d75-a650-5a1fab7b8b2e" providerId="ADAL" clId="{DEF8C959-161B-48E6-918F-19FB2A9D3909}" dt="2023-04-21T09:54:24.426" v="10005"/>
          <ac:spMkLst>
            <pc:docMk/>
            <pc:sldMk cId="1603008812" sldId="7333"/>
            <ac:spMk id="1968" creationId="{A9A813FF-510A-B96B-34CE-E3A666037EBC}"/>
          </ac:spMkLst>
        </pc:spChg>
        <pc:spChg chg="mod">
          <ac:chgData name="Bez, Florian" userId="30d7df6a-5295-4d75-a650-5a1fab7b8b2e" providerId="ADAL" clId="{DEF8C959-161B-48E6-918F-19FB2A9D3909}" dt="2023-04-21T09:54:24.426" v="10005"/>
          <ac:spMkLst>
            <pc:docMk/>
            <pc:sldMk cId="1603008812" sldId="7333"/>
            <ac:spMk id="1969" creationId="{B8276A0C-0F66-05BF-F4E3-9398C47F2F0E}"/>
          </ac:spMkLst>
        </pc:spChg>
        <pc:spChg chg="mod">
          <ac:chgData name="Bez, Florian" userId="30d7df6a-5295-4d75-a650-5a1fab7b8b2e" providerId="ADAL" clId="{DEF8C959-161B-48E6-918F-19FB2A9D3909}" dt="2023-04-21T09:54:24.426" v="10005"/>
          <ac:spMkLst>
            <pc:docMk/>
            <pc:sldMk cId="1603008812" sldId="7333"/>
            <ac:spMk id="1970" creationId="{76F91341-FFFA-EAB6-8172-7C8BF90A457A}"/>
          </ac:spMkLst>
        </pc:spChg>
        <pc:spChg chg="mod">
          <ac:chgData name="Bez, Florian" userId="30d7df6a-5295-4d75-a650-5a1fab7b8b2e" providerId="ADAL" clId="{DEF8C959-161B-48E6-918F-19FB2A9D3909}" dt="2023-04-21T09:54:24.426" v="10005"/>
          <ac:spMkLst>
            <pc:docMk/>
            <pc:sldMk cId="1603008812" sldId="7333"/>
            <ac:spMk id="1971" creationId="{E41246C7-ECE6-E8E3-6D56-F0546C122E17}"/>
          </ac:spMkLst>
        </pc:spChg>
        <pc:spChg chg="mod">
          <ac:chgData name="Bez, Florian" userId="30d7df6a-5295-4d75-a650-5a1fab7b8b2e" providerId="ADAL" clId="{DEF8C959-161B-48E6-918F-19FB2A9D3909}" dt="2023-04-21T09:54:24.426" v="10005"/>
          <ac:spMkLst>
            <pc:docMk/>
            <pc:sldMk cId="1603008812" sldId="7333"/>
            <ac:spMk id="1972" creationId="{5B29EF7B-0F8E-6498-1089-1C3D878CB894}"/>
          </ac:spMkLst>
        </pc:spChg>
        <pc:spChg chg="mod">
          <ac:chgData name="Bez, Florian" userId="30d7df6a-5295-4d75-a650-5a1fab7b8b2e" providerId="ADAL" clId="{DEF8C959-161B-48E6-918F-19FB2A9D3909}" dt="2023-04-21T09:54:24.426" v="10005"/>
          <ac:spMkLst>
            <pc:docMk/>
            <pc:sldMk cId="1603008812" sldId="7333"/>
            <ac:spMk id="1973" creationId="{53A49FB3-A268-0575-4384-F1CF4EAE242F}"/>
          </ac:spMkLst>
        </pc:spChg>
        <pc:spChg chg="mod">
          <ac:chgData name="Bez, Florian" userId="30d7df6a-5295-4d75-a650-5a1fab7b8b2e" providerId="ADAL" clId="{DEF8C959-161B-48E6-918F-19FB2A9D3909}" dt="2023-04-21T09:54:24.426" v="10005"/>
          <ac:spMkLst>
            <pc:docMk/>
            <pc:sldMk cId="1603008812" sldId="7333"/>
            <ac:spMk id="1974" creationId="{5E1FD228-7610-F123-264F-809A0BEDFB1C}"/>
          </ac:spMkLst>
        </pc:spChg>
        <pc:spChg chg="mod">
          <ac:chgData name="Bez, Florian" userId="30d7df6a-5295-4d75-a650-5a1fab7b8b2e" providerId="ADAL" clId="{DEF8C959-161B-48E6-918F-19FB2A9D3909}" dt="2023-04-21T09:54:24.426" v="10005"/>
          <ac:spMkLst>
            <pc:docMk/>
            <pc:sldMk cId="1603008812" sldId="7333"/>
            <ac:spMk id="1975" creationId="{A451E946-15D0-2154-FB06-8F9FDEFE6458}"/>
          </ac:spMkLst>
        </pc:spChg>
        <pc:spChg chg="mod">
          <ac:chgData name="Bez, Florian" userId="30d7df6a-5295-4d75-a650-5a1fab7b8b2e" providerId="ADAL" clId="{DEF8C959-161B-48E6-918F-19FB2A9D3909}" dt="2023-04-21T09:54:24.426" v="10005"/>
          <ac:spMkLst>
            <pc:docMk/>
            <pc:sldMk cId="1603008812" sldId="7333"/>
            <ac:spMk id="1976" creationId="{7554D4E8-2C6F-29D8-CAA1-822B429602D7}"/>
          </ac:spMkLst>
        </pc:spChg>
        <pc:spChg chg="mod">
          <ac:chgData name="Bez, Florian" userId="30d7df6a-5295-4d75-a650-5a1fab7b8b2e" providerId="ADAL" clId="{DEF8C959-161B-48E6-918F-19FB2A9D3909}" dt="2023-04-21T09:54:24.426" v="10005"/>
          <ac:spMkLst>
            <pc:docMk/>
            <pc:sldMk cId="1603008812" sldId="7333"/>
            <ac:spMk id="1977" creationId="{F07156AC-4DCC-3192-C256-C9199DBC8C18}"/>
          </ac:spMkLst>
        </pc:spChg>
        <pc:spChg chg="mod">
          <ac:chgData name="Bez, Florian" userId="30d7df6a-5295-4d75-a650-5a1fab7b8b2e" providerId="ADAL" clId="{DEF8C959-161B-48E6-918F-19FB2A9D3909}" dt="2023-04-21T09:54:24.426" v="10005"/>
          <ac:spMkLst>
            <pc:docMk/>
            <pc:sldMk cId="1603008812" sldId="7333"/>
            <ac:spMk id="1978" creationId="{F0374C6D-9D44-0F97-9F1F-3E2783EC4C0C}"/>
          </ac:spMkLst>
        </pc:spChg>
        <pc:spChg chg="mod">
          <ac:chgData name="Bez, Florian" userId="30d7df6a-5295-4d75-a650-5a1fab7b8b2e" providerId="ADAL" clId="{DEF8C959-161B-48E6-918F-19FB2A9D3909}" dt="2023-04-21T09:54:24.426" v="10005"/>
          <ac:spMkLst>
            <pc:docMk/>
            <pc:sldMk cId="1603008812" sldId="7333"/>
            <ac:spMk id="1979" creationId="{B891E984-E0DA-0430-0084-6C5DD58196F1}"/>
          </ac:spMkLst>
        </pc:spChg>
        <pc:spChg chg="mod">
          <ac:chgData name="Bez, Florian" userId="30d7df6a-5295-4d75-a650-5a1fab7b8b2e" providerId="ADAL" clId="{DEF8C959-161B-48E6-918F-19FB2A9D3909}" dt="2023-04-21T09:54:24.426" v="10005"/>
          <ac:spMkLst>
            <pc:docMk/>
            <pc:sldMk cId="1603008812" sldId="7333"/>
            <ac:spMk id="1980" creationId="{9BE4A37F-62AD-83C7-E49C-E1C8E71A91E7}"/>
          </ac:spMkLst>
        </pc:spChg>
        <pc:spChg chg="mod">
          <ac:chgData name="Bez, Florian" userId="30d7df6a-5295-4d75-a650-5a1fab7b8b2e" providerId="ADAL" clId="{DEF8C959-161B-48E6-918F-19FB2A9D3909}" dt="2023-04-21T09:54:24.426" v="10005"/>
          <ac:spMkLst>
            <pc:docMk/>
            <pc:sldMk cId="1603008812" sldId="7333"/>
            <ac:spMk id="1981" creationId="{2D5DF4AF-503F-7077-D6A9-68D07771D3A0}"/>
          </ac:spMkLst>
        </pc:spChg>
        <pc:spChg chg="mod">
          <ac:chgData name="Bez, Florian" userId="30d7df6a-5295-4d75-a650-5a1fab7b8b2e" providerId="ADAL" clId="{DEF8C959-161B-48E6-918F-19FB2A9D3909}" dt="2023-04-21T09:54:24.426" v="10005"/>
          <ac:spMkLst>
            <pc:docMk/>
            <pc:sldMk cId="1603008812" sldId="7333"/>
            <ac:spMk id="1982" creationId="{1C86B110-5A72-0D76-0AD3-ED7948F2311E}"/>
          </ac:spMkLst>
        </pc:spChg>
        <pc:spChg chg="mod">
          <ac:chgData name="Bez, Florian" userId="30d7df6a-5295-4d75-a650-5a1fab7b8b2e" providerId="ADAL" clId="{DEF8C959-161B-48E6-918F-19FB2A9D3909}" dt="2023-04-21T09:54:24.426" v="10005"/>
          <ac:spMkLst>
            <pc:docMk/>
            <pc:sldMk cId="1603008812" sldId="7333"/>
            <ac:spMk id="1983" creationId="{75F9E10A-83B6-249D-C606-EFD79B3FDF84}"/>
          </ac:spMkLst>
        </pc:spChg>
        <pc:spChg chg="mod">
          <ac:chgData name="Bez, Florian" userId="30d7df6a-5295-4d75-a650-5a1fab7b8b2e" providerId="ADAL" clId="{DEF8C959-161B-48E6-918F-19FB2A9D3909}" dt="2023-04-21T09:54:24.426" v="10005"/>
          <ac:spMkLst>
            <pc:docMk/>
            <pc:sldMk cId="1603008812" sldId="7333"/>
            <ac:spMk id="1984" creationId="{9AEC6F59-F45B-3CE1-DF1C-1E50B935B8D4}"/>
          </ac:spMkLst>
        </pc:spChg>
        <pc:spChg chg="mod">
          <ac:chgData name="Bez, Florian" userId="30d7df6a-5295-4d75-a650-5a1fab7b8b2e" providerId="ADAL" clId="{DEF8C959-161B-48E6-918F-19FB2A9D3909}" dt="2023-04-21T09:54:24.426" v="10005"/>
          <ac:spMkLst>
            <pc:docMk/>
            <pc:sldMk cId="1603008812" sldId="7333"/>
            <ac:spMk id="1985" creationId="{E5D08EFD-3BCF-65DA-76C9-077C7DE510A1}"/>
          </ac:spMkLst>
        </pc:spChg>
        <pc:spChg chg="mod">
          <ac:chgData name="Bez, Florian" userId="30d7df6a-5295-4d75-a650-5a1fab7b8b2e" providerId="ADAL" clId="{DEF8C959-161B-48E6-918F-19FB2A9D3909}" dt="2023-04-21T09:54:24.426" v="10005"/>
          <ac:spMkLst>
            <pc:docMk/>
            <pc:sldMk cId="1603008812" sldId="7333"/>
            <ac:spMk id="1986" creationId="{FB7AAC40-8318-3C78-134C-612FB6EE87F3}"/>
          </ac:spMkLst>
        </pc:spChg>
        <pc:spChg chg="mod">
          <ac:chgData name="Bez, Florian" userId="30d7df6a-5295-4d75-a650-5a1fab7b8b2e" providerId="ADAL" clId="{DEF8C959-161B-48E6-918F-19FB2A9D3909}" dt="2023-04-21T09:54:24.426" v="10005"/>
          <ac:spMkLst>
            <pc:docMk/>
            <pc:sldMk cId="1603008812" sldId="7333"/>
            <ac:spMk id="1987" creationId="{C6664AD6-9A71-EA48-3BFA-6CD49AA51CAE}"/>
          </ac:spMkLst>
        </pc:spChg>
        <pc:spChg chg="mod">
          <ac:chgData name="Bez, Florian" userId="30d7df6a-5295-4d75-a650-5a1fab7b8b2e" providerId="ADAL" clId="{DEF8C959-161B-48E6-918F-19FB2A9D3909}" dt="2023-04-21T09:54:24.426" v="10005"/>
          <ac:spMkLst>
            <pc:docMk/>
            <pc:sldMk cId="1603008812" sldId="7333"/>
            <ac:spMk id="1988" creationId="{CFC186CC-12E2-B1B8-C69B-03E3DA87C6CA}"/>
          </ac:spMkLst>
        </pc:spChg>
        <pc:spChg chg="mod">
          <ac:chgData name="Bez, Florian" userId="30d7df6a-5295-4d75-a650-5a1fab7b8b2e" providerId="ADAL" clId="{DEF8C959-161B-48E6-918F-19FB2A9D3909}" dt="2023-04-21T09:54:24.426" v="10005"/>
          <ac:spMkLst>
            <pc:docMk/>
            <pc:sldMk cId="1603008812" sldId="7333"/>
            <ac:spMk id="1989" creationId="{7151324F-2B91-86D2-9385-3A1540600A88}"/>
          </ac:spMkLst>
        </pc:spChg>
        <pc:spChg chg="mod">
          <ac:chgData name="Bez, Florian" userId="30d7df6a-5295-4d75-a650-5a1fab7b8b2e" providerId="ADAL" clId="{DEF8C959-161B-48E6-918F-19FB2A9D3909}" dt="2023-04-21T09:54:24.426" v="10005"/>
          <ac:spMkLst>
            <pc:docMk/>
            <pc:sldMk cId="1603008812" sldId="7333"/>
            <ac:spMk id="1990" creationId="{769D2C16-6CF9-C554-87AF-9DAB7F28EB1B}"/>
          </ac:spMkLst>
        </pc:spChg>
        <pc:spChg chg="mod">
          <ac:chgData name="Bez, Florian" userId="30d7df6a-5295-4d75-a650-5a1fab7b8b2e" providerId="ADAL" clId="{DEF8C959-161B-48E6-918F-19FB2A9D3909}" dt="2023-04-21T09:54:24.426" v="10005"/>
          <ac:spMkLst>
            <pc:docMk/>
            <pc:sldMk cId="1603008812" sldId="7333"/>
            <ac:spMk id="1991" creationId="{DDA18885-AD7F-CA07-07D9-8120EDCF4F3E}"/>
          </ac:spMkLst>
        </pc:spChg>
        <pc:spChg chg="mod">
          <ac:chgData name="Bez, Florian" userId="30d7df6a-5295-4d75-a650-5a1fab7b8b2e" providerId="ADAL" clId="{DEF8C959-161B-48E6-918F-19FB2A9D3909}" dt="2023-04-21T09:54:24.426" v="10005"/>
          <ac:spMkLst>
            <pc:docMk/>
            <pc:sldMk cId="1603008812" sldId="7333"/>
            <ac:spMk id="1992" creationId="{F0DCD5B3-1837-3975-5667-345CFB5AE1A9}"/>
          </ac:spMkLst>
        </pc:spChg>
        <pc:spChg chg="mod">
          <ac:chgData name="Bez, Florian" userId="30d7df6a-5295-4d75-a650-5a1fab7b8b2e" providerId="ADAL" clId="{DEF8C959-161B-48E6-918F-19FB2A9D3909}" dt="2023-04-21T09:54:24.426" v="10005"/>
          <ac:spMkLst>
            <pc:docMk/>
            <pc:sldMk cId="1603008812" sldId="7333"/>
            <ac:spMk id="1993" creationId="{FF6AE83D-D09F-790D-F409-B8BDA22D92ED}"/>
          </ac:spMkLst>
        </pc:spChg>
        <pc:spChg chg="mod">
          <ac:chgData name="Bez, Florian" userId="30d7df6a-5295-4d75-a650-5a1fab7b8b2e" providerId="ADAL" clId="{DEF8C959-161B-48E6-918F-19FB2A9D3909}" dt="2023-04-21T09:54:24.426" v="10005"/>
          <ac:spMkLst>
            <pc:docMk/>
            <pc:sldMk cId="1603008812" sldId="7333"/>
            <ac:spMk id="1994" creationId="{52C49E6E-9F46-E6B4-7350-0C71580DA622}"/>
          </ac:spMkLst>
        </pc:spChg>
        <pc:spChg chg="mod">
          <ac:chgData name="Bez, Florian" userId="30d7df6a-5295-4d75-a650-5a1fab7b8b2e" providerId="ADAL" clId="{DEF8C959-161B-48E6-918F-19FB2A9D3909}" dt="2023-04-21T09:54:24.426" v="10005"/>
          <ac:spMkLst>
            <pc:docMk/>
            <pc:sldMk cId="1603008812" sldId="7333"/>
            <ac:spMk id="1995" creationId="{70C49A57-BB21-667D-84A7-205C8C9F28C6}"/>
          </ac:spMkLst>
        </pc:spChg>
        <pc:spChg chg="mod">
          <ac:chgData name="Bez, Florian" userId="30d7df6a-5295-4d75-a650-5a1fab7b8b2e" providerId="ADAL" clId="{DEF8C959-161B-48E6-918F-19FB2A9D3909}" dt="2023-04-21T09:54:24.426" v="10005"/>
          <ac:spMkLst>
            <pc:docMk/>
            <pc:sldMk cId="1603008812" sldId="7333"/>
            <ac:spMk id="1996" creationId="{007AA692-A991-43CB-B726-378E74A76FA6}"/>
          </ac:spMkLst>
        </pc:spChg>
        <pc:spChg chg="mod">
          <ac:chgData name="Bez, Florian" userId="30d7df6a-5295-4d75-a650-5a1fab7b8b2e" providerId="ADAL" clId="{DEF8C959-161B-48E6-918F-19FB2A9D3909}" dt="2023-04-21T09:54:24.426" v="10005"/>
          <ac:spMkLst>
            <pc:docMk/>
            <pc:sldMk cId="1603008812" sldId="7333"/>
            <ac:spMk id="1997" creationId="{F3AA8858-7944-257D-9DE1-20723CD0BB30}"/>
          </ac:spMkLst>
        </pc:spChg>
        <pc:spChg chg="mod">
          <ac:chgData name="Bez, Florian" userId="30d7df6a-5295-4d75-a650-5a1fab7b8b2e" providerId="ADAL" clId="{DEF8C959-161B-48E6-918F-19FB2A9D3909}" dt="2023-04-21T09:54:24.426" v="10005"/>
          <ac:spMkLst>
            <pc:docMk/>
            <pc:sldMk cId="1603008812" sldId="7333"/>
            <ac:spMk id="1998" creationId="{0D209EC8-DDF1-C7E8-4D35-B696AA159919}"/>
          </ac:spMkLst>
        </pc:spChg>
        <pc:spChg chg="mod">
          <ac:chgData name="Bez, Florian" userId="30d7df6a-5295-4d75-a650-5a1fab7b8b2e" providerId="ADAL" clId="{DEF8C959-161B-48E6-918F-19FB2A9D3909}" dt="2023-04-21T09:54:24.426" v="10005"/>
          <ac:spMkLst>
            <pc:docMk/>
            <pc:sldMk cId="1603008812" sldId="7333"/>
            <ac:spMk id="1999" creationId="{D09445B3-9D00-50FD-19D0-A7ADB0FD4D36}"/>
          </ac:spMkLst>
        </pc:spChg>
        <pc:spChg chg="mod">
          <ac:chgData name="Bez, Florian" userId="30d7df6a-5295-4d75-a650-5a1fab7b8b2e" providerId="ADAL" clId="{DEF8C959-161B-48E6-918F-19FB2A9D3909}" dt="2023-04-21T09:54:24.426" v="10005"/>
          <ac:spMkLst>
            <pc:docMk/>
            <pc:sldMk cId="1603008812" sldId="7333"/>
            <ac:spMk id="2000" creationId="{A9E95261-E570-C215-273E-3D42F480D93C}"/>
          </ac:spMkLst>
        </pc:spChg>
        <pc:spChg chg="mod">
          <ac:chgData name="Bez, Florian" userId="30d7df6a-5295-4d75-a650-5a1fab7b8b2e" providerId="ADAL" clId="{DEF8C959-161B-48E6-918F-19FB2A9D3909}" dt="2023-04-21T09:54:24.426" v="10005"/>
          <ac:spMkLst>
            <pc:docMk/>
            <pc:sldMk cId="1603008812" sldId="7333"/>
            <ac:spMk id="2001" creationId="{DA6439D0-D1FF-B7CA-9E4D-3549392CE77A}"/>
          </ac:spMkLst>
        </pc:spChg>
        <pc:spChg chg="mod">
          <ac:chgData name="Bez, Florian" userId="30d7df6a-5295-4d75-a650-5a1fab7b8b2e" providerId="ADAL" clId="{DEF8C959-161B-48E6-918F-19FB2A9D3909}" dt="2023-04-21T09:54:24.426" v="10005"/>
          <ac:spMkLst>
            <pc:docMk/>
            <pc:sldMk cId="1603008812" sldId="7333"/>
            <ac:spMk id="2002" creationId="{A8B9E668-D260-B871-13BB-4FF8EF2C79D8}"/>
          </ac:spMkLst>
        </pc:spChg>
        <pc:spChg chg="mod">
          <ac:chgData name="Bez, Florian" userId="30d7df6a-5295-4d75-a650-5a1fab7b8b2e" providerId="ADAL" clId="{DEF8C959-161B-48E6-918F-19FB2A9D3909}" dt="2023-04-21T09:54:24.426" v="10005"/>
          <ac:spMkLst>
            <pc:docMk/>
            <pc:sldMk cId="1603008812" sldId="7333"/>
            <ac:spMk id="2003" creationId="{0D3F6C64-4878-894E-9F69-C5E9D9817DDA}"/>
          </ac:spMkLst>
        </pc:spChg>
        <pc:spChg chg="mod">
          <ac:chgData name="Bez, Florian" userId="30d7df6a-5295-4d75-a650-5a1fab7b8b2e" providerId="ADAL" clId="{DEF8C959-161B-48E6-918F-19FB2A9D3909}" dt="2023-04-21T09:54:24.426" v="10005"/>
          <ac:spMkLst>
            <pc:docMk/>
            <pc:sldMk cId="1603008812" sldId="7333"/>
            <ac:spMk id="2004" creationId="{4617D470-E106-B6AB-29EA-42CC5CEE685C}"/>
          </ac:spMkLst>
        </pc:spChg>
        <pc:spChg chg="mod">
          <ac:chgData name="Bez, Florian" userId="30d7df6a-5295-4d75-a650-5a1fab7b8b2e" providerId="ADAL" clId="{DEF8C959-161B-48E6-918F-19FB2A9D3909}" dt="2023-04-21T09:54:24.426" v="10005"/>
          <ac:spMkLst>
            <pc:docMk/>
            <pc:sldMk cId="1603008812" sldId="7333"/>
            <ac:spMk id="2005" creationId="{67C3D1B7-76D8-B8D4-F4A0-F1F1D355755F}"/>
          </ac:spMkLst>
        </pc:spChg>
        <pc:spChg chg="mod">
          <ac:chgData name="Bez, Florian" userId="30d7df6a-5295-4d75-a650-5a1fab7b8b2e" providerId="ADAL" clId="{DEF8C959-161B-48E6-918F-19FB2A9D3909}" dt="2023-04-21T09:54:24.426" v="10005"/>
          <ac:spMkLst>
            <pc:docMk/>
            <pc:sldMk cId="1603008812" sldId="7333"/>
            <ac:spMk id="2006" creationId="{D8104D9C-4ECF-D7FC-B2EF-ACF08159AABD}"/>
          </ac:spMkLst>
        </pc:spChg>
        <pc:spChg chg="mod">
          <ac:chgData name="Bez, Florian" userId="30d7df6a-5295-4d75-a650-5a1fab7b8b2e" providerId="ADAL" clId="{DEF8C959-161B-48E6-918F-19FB2A9D3909}" dt="2023-04-21T09:54:24.426" v="10005"/>
          <ac:spMkLst>
            <pc:docMk/>
            <pc:sldMk cId="1603008812" sldId="7333"/>
            <ac:spMk id="2007" creationId="{80E74728-8916-2183-B26F-58AF488516BD}"/>
          </ac:spMkLst>
        </pc:spChg>
        <pc:spChg chg="mod">
          <ac:chgData name="Bez, Florian" userId="30d7df6a-5295-4d75-a650-5a1fab7b8b2e" providerId="ADAL" clId="{DEF8C959-161B-48E6-918F-19FB2A9D3909}" dt="2023-04-21T09:54:24.426" v="10005"/>
          <ac:spMkLst>
            <pc:docMk/>
            <pc:sldMk cId="1603008812" sldId="7333"/>
            <ac:spMk id="2008" creationId="{29D21138-0AED-1308-EBB9-1C0519C10EA0}"/>
          </ac:spMkLst>
        </pc:spChg>
        <pc:spChg chg="mod">
          <ac:chgData name="Bez, Florian" userId="30d7df6a-5295-4d75-a650-5a1fab7b8b2e" providerId="ADAL" clId="{DEF8C959-161B-48E6-918F-19FB2A9D3909}" dt="2023-04-21T09:54:24.426" v="10005"/>
          <ac:spMkLst>
            <pc:docMk/>
            <pc:sldMk cId="1603008812" sldId="7333"/>
            <ac:spMk id="2009" creationId="{8532D91F-D6AE-F3E6-5488-844955FC210F}"/>
          </ac:spMkLst>
        </pc:spChg>
        <pc:spChg chg="mod">
          <ac:chgData name="Bez, Florian" userId="30d7df6a-5295-4d75-a650-5a1fab7b8b2e" providerId="ADAL" clId="{DEF8C959-161B-48E6-918F-19FB2A9D3909}" dt="2023-04-21T09:54:24.426" v="10005"/>
          <ac:spMkLst>
            <pc:docMk/>
            <pc:sldMk cId="1603008812" sldId="7333"/>
            <ac:spMk id="2010" creationId="{1A005179-3C30-9C9C-4ADB-E2A580F72A80}"/>
          </ac:spMkLst>
        </pc:spChg>
        <pc:spChg chg="mod">
          <ac:chgData name="Bez, Florian" userId="30d7df6a-5295-4d75-a650-5a1fab7b8b2e" providerId="ADAL" clId="{DEF8C959-161B-48E6-918F-19FB2A9D3909}" dt="2023-04-21T09:54:24.426" v="10005"/>
          <ac:spMkLst>
            <pc:docMk/>
            <pc:sldMk cId="1603008812" sldId="7333"/>
            <ac:spMk id="2011" creationId="{5EB94E1D-6BCE-A1DB-1983-A7062B8D2DF7}"/>
          </ac:spMkLst>
        </pc:spChg>
        <pc:spChg chg="mod">
          <ac:chgData name="Bez, Florian" userId="30d7df6a-5295-4d75-a650-5a1fab7b8b2e" providerId="ADAL" clId="{DEF8C959-161B-48E6-918F-19FB2A9D3909}" dt="2023-04-21T09:54:24.426" v="10005"/>
          <ac:spMkLst>
            <pc:docMk/>
            <pc:sldMk cId="1603008812" sldId="7333"/>
            <ac:spMk id="2012" creationId="{4BD97624-FD66-6E77-15BB-211172133197}"/>
          </ac:spMkLst>
        </pc:spChg>
        <pc:spChg chg="mod">
          <ac:chgData name="Bez, Florian" userId="30d7df6a-5295-4d75-a650-5a1fab7b8b2e" providerId="ADAL" clId="{DEF8C959-161B-48E6-918F-19FB2A9D3909}" dt="2023-04-21T09:54:24.426" v="10005"/>
          <ac:spMkLst>
            <pc:docMk/>
            <pc:sldMk cId="1603008812" sldId="7333"/>
            <ac:spMk id="2013" creationId="{7BEF9C46-3530-0920-AA5F-DAD2BF1E888E}"/>
          </ac:spMkLst>
        </pc:spChg>
        <pc:spChg chg="mod">
          <ac:chgData name="Bez, Florian" userId="30d7df6a-5295-4d75-a650-5a1fab7b8b2e" providerId="ADAL" clId="{DEF8C959-161B-48E6-918F-19FB2A9D3909}" dt="2023-04-21T09:54:24.426" v="10005"/>
          <ac:spMkLst>
            <pc:docMk/>
            <pc:sldMk cId="1603008812" sldId="7333"/>
            <ac:spMk id="2014" creationId="{B86D782C-8B3E-3F29-D6E2-592899B3A50D}"/>
          </ac:spMkLst>
        </pc:spChg>
        <pc:spChg chg="mod">
          <ac:chgData name="Bez, Florian" userId="30d7df6a-5295-4d75-a650-5a1fab7b8b2e" providerId="ADAL" clId="{DEF8C959-161B-48E6-918F-19FB2A9D3909}" dt="2023-04-21T09:54:24.426" v="10005"/>
          <ac:spMkLst>
            <pc:docMk/>
            <pc:sldMk cId="1603008812" sldId="7333"/>
            <ac:spMk id="2015" creationId="{A411C5DC-7AB1-FD72-E3F4-68865EF2B7ED}"/>
          </ac:spMkLst>
        </pc:spChg>
        <pc:spChg chg="mod">
          <ac:chgData name="Bez, Florian" userId="30d7df6a-5295-4d75-a650-5a1fab7b8b2e" providerId="ADAL" clId="{DEF8C959-161B-48E6-918F-19FB2A9D3909}" dt="2023-04-21T09:54:24.426" v="10005"/>
          <ac:spMkLst>
            <pc:docMk/>
            <pc:sldMk cId="1603008812" sldId="7333"/>
            <ac:spMk id="2016" creationId="{800D2E3A-7BBE-B40B-6238-875A4D6CF49B}"/>
          </ac:spMkLst>
        </pc:spChg>
        <pc:spChg chg="mod">
          <ac:chgData name="Bez, Florian" userId="30d7df6a-5295-4d75-a650-5a1fab7b8b2e" providerId="ADAL" clId="{DEF8C959-161B-48E6-918F-19FB2A9D3909}" dt="2023-04-21T09:54:24.426" v="10005"/>
          <ac:spMkLst>
            <pc:docMk/>
            <pc:sldMk cId="1603008812" sldId="7333"/>
            <ac:spMk id="2017" creationId="{57A70618-1B46-CF0E-06CE-2851BD964685}"/>
          </ac:spMkLst>
        </pc:spChg>
        <pc:spChg chg="mod">
          <ac:chgData name="Bez, Florian" userId="30d7df6a-5295-4d75-a650-5a1fab7b8b2e" providerId="ADAL" clId="{DEF8C959-161B-48E6-918F-19FB2A9D3909}" dt="2023-04-21T09:54:24.426" v="10005"/>
          <ac:spMkLst>
            <pc:docMk/>
            <pc:sldMk cId="1603008812" sldId="7333"/>
            <ac:spMk id="2018" creationId="{F0DC5940-C361-20C8-899B-015BA15BA1B6}"/>
          </ac:spMkLst>
        </pc:spChg>
        <pc:spChg chg="mod">
          <ac:chgData name="Bez, Florian" userId="30d7df6a-5295-4d75-a650-5a1fab7b8b2e" providerId="ADAL" clId="{DEF8C959-161B-48E6-918F-19FB2A9D3909}" dt="2023-04-21T09:54:24.426" v="10005"/>
          <ac:spMkLst>
            <pc:docMk/>
            <pc:sldMk cId="1603008812" sldId="7333"/>
            <ac:spMk id="2019" creationId="{CB98FB68-0A9A-7E1B-17B2-2085B931C852}"/>
          </ac:spMkLst>
        </pc:spChg>
        <pc:spChg chg="mod">
          <ac:chgData name="Bez, Florian" userId="30d7df6a-5295-4d75-a650-5a1fab7b8b2e" providerId="ADAL" clId="{DEF8C959-161B-48E6-918F-19FB2A9D3909}" dt="2023-04-21T09:54:24.426" v="10005"/>
          <ac:spMkLst>
            <pc:docMk/>
            <pc:sldMk cId="1603008812" sldId="7333"/>
            <ac:spMk id="2020" creationId="{926F44CB-54CB-26B0-F006-ABC1FC345F59}"/>
          </ac:spMkLst>
        </pc:spChg>
        <pc:spChg chg="mod">
          <ac:chgData name="Bez, Florian" userId="30d7df6a-5295-4d75-a650-5a1fab7b8b2e" providerId="ADAL" clId="{DEF8C959-161B-48E6-918F-19FB2A9D3909}" dt="2023-04-21T09:54:24.426" v="10005"/>
          <ac:spMkLst>
            <pc:docMk/>
            <pc:sldMk cId="1603008812" sldId="7333"/>
            <ac:spMk id="2021" creationId="{D85641E3-4D5E-D34E-D9DA-2D93E7EE13FB}"/>
          </ac:spMkLst>
        </pc:spChg>
        <pc:spChg chg="mod">
          <ac:chgData name="Bez, Florian" userId="30d7df6a-5295-4d75-a650-5a1fab7b8b2e" providerId="ADAL" clId="{DEF8C959-161B-48E6-918F-19FB2A9D3909}" dt="2023-04-21T09:54:24.426" v="10005"/>
          <ac:spMkLst>
            <pc:docMk/>
            <pc:sldMk cId="1603008812" sldId="7333"/>
            <ac:spMk id="2022" creationId="{65E95ABA-86A0-7B13-1FA6-34EBB2F9EB50}"/>
          </ac:spMkLst>
        </pc:spChg>
        <pc:spChg chg="mod">
          <ac:chgData name="Bez, Florian" userId="30d7df6a-5295-4d75-a650-5a1fab7b8b2e" providerId="ADAL" clId="{DEF8C959-161B-48E6-918F-19FB2A9D3909}" dt="2023-04-21T09:54:24.426" v="10005"/>
          <ac:spMkLst>
            <pc:docMk/>
            <pc:sldMk cId="1603008812" sldId="7333"/>
            <ac:spMk id="2023" creationId="{E3C9AD15-E72C-C456-CD3B-192C936A3BB3}"/>
          </ac:spMkLst>
        </pc:spChg>
        <pc:spChg chg="mod">
          <ac:chgData name="Bez, Florian" userId="30d7df6a-5295-4d75-a650-5a1fab7b8b2e" providerId="ADAL" clId="{DEF8C959-161B-48E6-918F-19FB2A9D3909}" dt="2023-04-21T09:54:24.426" v="10005"/>
          <ac:spMkLst>
            <pc:docMk/>
            <pc:sldMk cId="1603008812" sldId="7333"/>
            <ac:spMk id="2024" creationId="{4069EB0B-DFC3-BBE0-90AC-98C5BB43D7E6}"/>
          </ac:spMkLst>
        </pc:spChg>
        <pc:spChg chg="mod">
          <ac:chgData name="Bez, Florian" userId="30d7df6a-5295-4d75-a650-5a1fab7b8b2e" providerId="ADAL" clId="{DEF8C959-161B-48E6-918F-19FB2A9D3909}" dt="2023-04-21T09:54:24.426" v="10005"/>
          <ac:spMkLst>
            <pc:docMk/>
            <pc:sldMk cId="1603008812" sldId="7333"/>
            <ac:spMk id="2025" creationId="{F9DDCF32-63BD-5585-729E-BE193EAB2CB5}"/>
          </ac:spMkLst>
        </pc:spChg>
        <pc:spChg chg="mod">
          <ac:chgData name="Bez, Florian" userId="30d7df6a-5295-4d75-a650-5a1fab7b8b2e" providerId="ADAL" clId="{DEF8C959-161B-48E6-918F-19FB2A9D3909}" dt="2023-04-21T09:54:24.426" v="10005"/>
          <ac:spMkLst>
            <pc:docMk/>
            <pc:sldMk cId="1603008812" sldId="7333"/>
            <ac:spMk id="2026" creationId="{5A5EF6C2-1771-BC8B-BA74-24C07EF65C83}"/>
          </ac:spMkLst>
        </pc:spChg>
        <pc:spChg chg="mod">
          <ac:chgData name="Bez, Florian" userId="30d7df6a-5295-4d75-a650-5a1fab7b8b2e" providerId="ADAL" clId="{DEF8C959-161B-48E6-918F-19FB2A9D3909}" dt="2023-04-21T09:54:24.426" v="10005"/>
          <ac:spMkLst>
            <pc:docMk/>
            <pc:sldMk cId="1603008812" sldId="7333"/>
            <ac:spMk id="2027" creationId="{B31185DB-22A5-642D-311D-0882E59799FD}"/>
          </ac:spMkLst>
        </pc:spChg>
        <pc:spChg chg="mod">
          <ac:chgData name="Bez, Florian" userId="30d7df6a-5295-4d75-a650-5a1fab7b8b2e" providerId="ADAL" clId="{DEF8C959-161B-48E6-918F-19FB2A9D3909}" dt="2023-04-21T09:54:24.426" v="10005"/>
          <ac:spMkLst>
            <pc:docMk/>
            <pc:sldMk cId="1603008812" sldId="7333"/>
            <ac:spMk id="2028" creationId="{DC939F3D-2491-5BDD-DE9B-5F5F42226133}"/>
          </ac:spMkLst>
        </pc:spChg>
        <pc:spChg chg="mod">
          <ac:chgData name="Bez, Florian" userId="30d7df6a-5295-4d75-a650-5a1fab7b8b2e" providerId="ADAL" clId="{DEF8C959-161B-48E6-918F-19FB2A9D3909}" dt="2023-04-21T09:54:24.426" v="10005"/>
          <ac:spMkLst>
            <pc:docMk/>
            <pc:sldMk cId="1603008812" sldId="7333"/>
            <ac:spMk id="2029" creationId="{F40AE1CC-7205-3643-ACCD-537CC48FB884}"/>
          </ac:spMkLst>
        </pc:spChg>
        <pc:spChg chg="mod">
          <ac:chgData name="Bez, Florian" userId="30d7df6a-5295-4d75-a650-5a1fab7b8b2e" providerId="ADAL" clId="{DEF8C959-161B-48E6-918F-19FB2A9D3909}" dt="2023-04-21T09:54:24.426" v="10005"/>
          <ac:spMkLst>
            <pc:docMk/>
            <pc:sldMk cId="1603008812" sldId="7333"/>
            <ac:spMk id="2030" creationId="{6CBAE9F9-4735-D7CF-0781-4747044B8921}"/>
          </ac:spMkLst>
        </pc:spChg>
        <pc:spChg chg="mod">
          <ac:chgData name="Bez, Florian" userId="30d7df6a-5295-4d75-a650-5a1fab7b8b2e" providerId="ADAL" clId="{DEF8C959-161B-48E6-918F-19FB2A9D3909}" dt="2023-04-21T09:54:24.426" v="10005"/>
          <ac:spMkLst>
            <pc:docMk/>
            <pc:sldMk cId="1603008812" sldId="7333"/>
            <ac:spMk id="2031" creationId="{861C5ADE-839D-261D-A006-9323236F77C2}"/>
          </ac:spMkLst>
        </pc:spChg>
        <pc:spChg chg="mod">
          <ac:chgData name="Bez, Florian" userId="30d7df6a-5295-4d75-a650-5a1fab7b8b2e" providerId="ADAL" clId="{DEF8C959-161B-48E6-918F-19FB2A9D3909}" dt="2023-04-21T09:54:24.426" v="10005"/>
          <ac:spMkLst>
            <pc:docMk/>
            <pc:sldMk cId="1603008812" sldId="7333"/>
            <ac:spMk id="2032" creationId="{8E2560CE-E9D8-99E2-51EE-0C426FFC3722}"/>
          </ac:spMkLst>
        </pc:spChg>
        <pc:spChg chg="mod">
          <ac:chgData name="Bez, Florian" userId="30d7df6a-5295-4d75-a650-5a1fab7b8b2e" providerId="ADAL" clId="{DEF8C959-161B-48E6-918F-19FB2A9D3909}" dt="2023-04-21T09:54:24.426" v="10005"/>
          <ac:spMkLst>
            <pc:docMk/>
            <pc:sldMk cId="1603008812" sldId="7333"/>
            <ac:spMk id="2033" creationId="{7761A00E-A115-6201-BD02-B60BBCAD9DDC}"/>
          </ac:spMkLst>
        </pc:spChg>
        <pc:spChg chg="mod">
          <ac:chgData name="Bez, Florian" userId="30d7df6a-5295-4d75-a650-5a1fab7b8b2e" providerId="ADAL" clId="{DEF8C959-161B-48E6-918F-19FB2A9D3909}" dt="2023-04-21T09:54:24.426" v="10005"/>
          <ac:spMkLst>
            <pc:docMk/>
            <pc:sldMk cId="1603008812" sldId="7333"/>
            <ac:spMk id="2034" creationId="{AF6891C1-A518-6526-9987-3A79DA167F2D}"/>
          </ac:spMkLst>
        </pc:spChg>
        <pc:spChg chg="mod">
          <ac:chgData name="Bez, Florian" userId="30d7df6a-5295-4d75-a650-5a1fab7b8b2e" providerId="ADAL" clId="{DEF8C959-161B-48E6-918F-19FB2A9D3909}" dt="2023-04-21T09:54:24.426" v="10005"/>
          <ac:spMkLst>
            <pc:docMk/>
            <pc:sldMk cId="1603008812" sldId="7333"/>
            <ac:spMk id="2035" creationId="{03F3FC32-DB20-1819-1019-2F20ECD5875B}"/>
          </ac:spMkLst>
        </pc:spChg>
        <pc:spChg chg="mod">
          <ac:chgData name="Bez, Florian" userId="30d7df6a-5295-4d75-a650-5a1fab7b8b2e" providerId="ADAL" clId="{DEF8C959-161B-48E6-918F-19FB2A9D3909}" dt="2023-04-21T09:54:24.426" v="10005"/>
          <ac:spMkLst>
            <pc:docMk/>
            <pc:sldMk cId="1603008812" sldId="7333"/>
            <ac:spMk id="2036" creationId="{58645892-3C18-C8F4-D157-F91E951D0190}"/>
          </ac:spMkLst>
        </pc:spChg>
        <pc:spChg chg="mod">
          <ac:chgData name="Bez, Florian" userId="30d7df6a-5295-4d75-a650-5a1fab7b8b2e" providerId="ADAL" clId="{DEF8C959-161B-48E6-918F-19FB2A9D3909}" dt="2023-04-21T09:54:24.426" v="10005"/>
          <ac:spMkLst>
            <pc:docMk/>
            <pc:sldMk cId="1603008812" sldId="7333"/>
            <ac:spMk id="2037" creationId="{B09EDD45-0D8F-8951-D96F-E02A720D305F}"/>
          </ac:spMkLst>
        </pc:spChg>
        <pc:spChg chg="mod">
          <ac:chgData name="Bez, Florian" userId="30d7df6a-5295-4d75-a650-5a1fab7b8b2e" providerId="ADAL" clId="{DEF8C959-161B-48E6-918F-19FB2A9D3909}" dt="2023-04-21T09:54:24.426" v="10005"/>
          <ac:spMkLst>
            <pc:docMk/>
            <pc:sldMk cId="1603008812" sldId="7333"/>
            <ac:spMk id="2038" creationId="{79E41829-5ED5-5FC5-0249-DCF66726915D}"/>
          </ac:spMkLst>
        </pc:spChg>
        <pc:spChg chg="mod">
          <ac:chgData name="Bez, Florian" userId="30d7df6a-5295-4d75-a650-5a1fab7b8b2e" providerId="ADAL" clId="{DEF8C959-161B-48E6-918F-19FB2A9D3909}" dt="2023-04-21T09:54:24.426" v="10005"/>
          <ac:spMkLst>
            <pc:docMk/>
            <pc:sldMk cId="1603008812" sldId="7333"/>
            <ac:spMk id="2039" creationId="{A5E603D9-2715-D101-0C0F-61930DFF5BFD}"/>
          </ac:spMkLst>
        </pc:spChg>
        <pc:spChg chg="mod">
          <ac:chgData name="Bez, Florian" userId="30d7df6a-5295-4d75-a650-5a1fab7b8b2e" providerId="ADAL" clId="{DEF8C959-161B-48E6-918F-19FB2A9D3909}" dt="2023-04-21T09:54:24.426" v="10005"/>
          <ac:spMkLst>
            <pc:docMk/>
            <pc:sldMk cId="1603008812" sldId="7333"/>
            <ac:spMk id="2040" creationId="{717C54FE-0594-010B-0CC1-3D2813AB3759}"/>
          </ac:spMkLst>
        </pc:spChg>
        <pc:spChg chg="mod">
          <ac:chgData name="Bez, Florian" userId="30d7df6a-5295-4d75-a650-5a1fab7b8b2e" providerId="ADAL" clId="{DEF8C959-161B-48E6-918F-19FB2A9D3909}" dt="2023-04-21T09:54:24.426" v="10005"/>
          <ac:spMkLst>
            <pc:docMk/>
            <pc:sldMk cId="1603008812" sldId="7333"/>
            <ac:spMk id="2041" creationId="{A98219BC-AFA0-ABF5-28F1-3117D24F38CA}"/>
          </ac:spMkLst>
        </pc:spChg>
        <pc:spChg chg="mod">
          <ac:chgData name="Bez, Florian" userId="30d7df6a-5295-4d75-a650-5a1fab7b8b2e" providerId="ADAL" clId="{DEF8C959-161B-48E6-918F-19FB2A9D3909}" dt="2023-04-21T09:54:24.426" v="10005"/>
          <ac:spMkLst>
            <pc:docMk/>
            <pc:sldMk cId="1603008812" sldId="7333"/>
            <ac:spMk id="2042" creationId="{C6CF4398-8515-6A9D-5B63-13A888F82618}"/>
          </ac:spMkLst>
        </pc:spChg>
        <pc:spChg chg="mod">
          <ac:chgData name="Bez, Florian" userId="30d7df6a-5295-4d75-a650-5a1fab7b8b2e" providerId="ADAL" clId="{DEF8C959-161B-48E6-918F-19FB2A9D3909}" dt="2023-04-21T09:54:24.426" v="10005"/>
          <ac:spMkLst>
            <pc:docMk/>
            <pc:sldMk cId="1603008812" sldId="7333"/>
            <ac:spMk id="2043" creationId="{4E8D7776-3D52-FFFB-2B18-B90717180C78}"/>
          </ac:spMkLst>
        </pc:spChg>
        <pc:spChg chg="mod">
          <ac:chgData name="Bez, Florian" userId="30d7df6a-5295-4d75-a650-5a1fab7b8b2e" providerId="ADAL" clId="{DEF8C959-161B-48E6-918F-19FB2A9D3909}" dt="2023-04-21T09:54:24.426" v="10005"/>
          <ac:spMkLst>
            <pc:docMk/>
            <pc:sldMk cId="1603008812" sldId="7333"/>
            <ac:spMk id="2044" creationId="{13336546-574C-CAF5-8017-6667E26A02FB}"/>
          </ac:spMkLst>
        </pc:spChg>
        <pc:spChg chg="mod">
          <ac:chgData name="Bez, Florian" userId="30d7df6a-5295-4d75-a650-5a1fab7b8b2e" providerId="ADAL" clId="{DEF8C959-161B-48E6-918F-19FB2A9D3909}" dt="2023-04-21T09:54:24.426" v="10005"/>
          <ac:spMkLst>
            <pc:docMk/>
            <pc:sldMk cId="1603008812" sldId="7333"/>
            <ac:spMk id="2045" creationId="{FAAC3BF2-7939-D880-1661-322EFBA7EA4C}"/>
          </ac:spMkLst>
        </pc:spChg>
        <pc:spChg chg="mod">
          <ac:chgData name="Bez, Florian" userId="30d7df6a-5295-4d75-a650-5a1fab7b8b2e" providerId="ADAL" clId="{DEF8C959-161B-48E6-918F-19FB2A9D3909}" dt="2023-04-21T09:54:24.426" v="10005"/>
          <ac:spMkLst>
            <pc:docMk/>
            <pc:sldMk cId="1603008812" sldId="7333"/>
            <ac:spMk id="2046" creationId="{CD39EBC7-C0CF-B897-0599-764FB10316FD}"/>
          </ac:spMkLst>
        </pc:spChg>
        <pc:spChg chg="mod">
          <ac:chgData name="Bez, Florian" userId="30d7df6a-5295-4d75-a650-5a1fab7b8b2e" providerId="ADAL" clId="{DEF8C959-161B-48E6-918F-19FB2A9D3909}" dt="2023-04-21T09:54:24.426" v="10005"/>
          <ac:spMkLst>
            <pc:docMk/>
            <pc:sldMk cId="1603008812" sldId="7333"/>
            <ac:spMk id="2047" creationId="{AD4BF8AF-2F16-9EAB-3D97-63AF32B3A1DC}"/>
          </ac:spMkLst>
        </pc:spChg>
        <pc:spChg chg="mod">
          <ac:chgData name="Bez, Florian" userId="30d7df6a-5295-4d75-a650-5a1fab7b8b2e" providerId="ADAL" clId="{DEF8C959-161B-48E6-918F-19FB2A9D3909}" dt="2023-04-21T09:54:24.426" v="10005"/>
          <ac:spMkLst>
            <pc:docMk/>
            <pc:sldMk cId="1603008812" sldId="7333"/>
            <ac:spMk id="2048" creationId="{1B651018-B884-B4D3-0610-39B2A7F2B8EE}"/>
          </ac:spMkLst>
        </pc:spChg>
        <pc:spChg chg="mod">
          <ac:chgData name="Bez, Florian" userId="30d7df6a-5295-4d75-a650-5a1fab7b8b2e" providerId="ADAL" clId="{DEF8C959-161B-48E6-918F-19FB2A9D3909}" dt="2023-04-21T09:54:24.426" v="10005"/>
          <ac:spMkLst>
            <pc:docMk/>
            <pc:sldMk cId="1603008812" sldId="7333"/>
            <ac:spMk id="2049" creationId="{0D29B5B6-957D-62BA-FD71-B63F3108703F}"/>
          </ac:spMkLst>
        </pc:spChg>
        <pc:spChg chg="mod">
          <ac:chgData name="Bez, Florian" userId="30d7df6a-5295-4d75-a650-5a1fab7b8b2e" providerId="ADAL" clId="{DEF8C959-161B-48E6-918F-19FB2A9D3909}" dt="2023-04-21T09:54:24.426" v="10005"/>
          <ac:spMkLst>
            <pc:docMk/>
            <pc:sldMk cId="1603008812" sldId="7333"/>
            <ac:spMk id="2050" creationId="{E3A1A26E-8106-3A3D-AF87-55C0D53EE3E6}"/>
          </ac:spMkLst>
        </pc:spChg>
        <pc:spChg chg="mod">
          <ac:chgData name="Bez, Florian" userId="30d7df6a-5295-4d75-a650-5a1fab7b8b2e" providerId="ADAL" clId="{DEF8C959-161B-48E6-918F-19FB2A9D3909}" dt="2023-04-21T09:54:24.426" v="10005"/>
          <ac:spMkLst>
            <pc:docMk/>
            <pc:sldMk cId="1603008812" sldId="7333"/>
            <ac:spMk id="2051" creationId="{DF61F8DD-AFBB-8196-ACD0-07E98FE48A37}"/>
          </ac:spMkLst>
        </pc:spChg>
        <pc:spChg chg="mod">
          <ac:chgData name="Bez, Florian" userId="30d7df6a-5295-4d75-a650-5a1fab7b8b2e" providerId="ADAL" clId="{DEF8C959-161B-48E6-918F-19FB2A9D3909}" dt="2023-04-21T09:54:24.426" v="10005"/>
          <ac:spMkLst>
            <pc:docMk/>
            <pc:sldMk cId="1603008812" sldId="7333"/>
            <ac:spMk id="2052" creationId="{1EDAF756-9AB5-1576-216C-53750872AEC1}"/>
          </ac:spMkLst>
        </pc:spChg>
        <pc:spChg chg="mod">
          <ac:chgData name="Bez, Florian" userId="30d7df6a-5295-4d75-a650-5a1fab7b8b2e" providerId="ADAL" clId="{DEF8C959-161B-48E6-918F-19FB2A9D3909}" dt="2023-04-21T09:54:24.426" v="10005"/>
          <ac:spMkLst>
            <pc:docMk/>
            <pc:sldMk cId="1603008812" sldId="7333"/>
            <ac:spMk id="2053" creationId="{9014E486-02E9-1A86-D489-FACCDC63E734}"/>
          </ac:spMkLst>
        </pc:spChg>
        <pc:spChg chg="mod">
          <ac:chgData name="Bez, Florian" userId="30d7df6a-5295-4d75-a650-5a1fab7b8b2e" providerId="ADAL" clId="{DEF8C959-161B-48E6-918F-19FB2A9D3909}" dt="2023-04-21T09:54:24.426" v="10005"/>
          <ac:spMkLst>
            <pc:docMk/>
            <pc:sldMk cId="1603008812" sldId="7333"/>
            <ac:spMk id="2054" creationId="{BBE959E0-5DFE-0A8D-173A-2D576ABD23E9}"/>
          </ac:spMkLst>
        </pc:spChg>
        <pc:spChg chg="mod">
          <ac:chgData name="Bez, Florian" userId="30d7df6a-5295-4d75-a650-5a1fab7b8b2e" providerId="ADAL" clId="{DEF8C959-161B-48E6-918F-19FB2A9D3909}" dt="2023-04-21T09:54:24.426" v="10005"/>
          <ac:spMkLst>
            <pc:docMk/>
            <pc:sldMk cId="1603008812" sldId="7333"/>
            <ac:spMk id="2055" creationId="{61869E7E-4A17-8E91-D1F5-5F123C74EB36}"/>
          </ac:spMkLst>
        </pc:spChg>
        <pc:spChg chg="mod">
          <ac:chgData name="Bez, Florian" userId="30d7df6a-5295-4d75-a650-5a1fab7b8b2e" providerId="ADAL" clId="{DEF8C959-161B-48E6-918F-19FB2A9D3909}" dt="2023-04-21T09:54:24.426" v="10005"/>
          <ac:spMkLst>
            <pc:docMk/>
            <pc:sldMk cId="1603008812" sldId="7333"/>
            <ac:spMk id="2056" creationId="{11D72CA1-9438-F7C3-6F68-BA83A29ACE40}"/>
          </ac:spMkLst>
        </pc:spChg>
        <pc:spChg chg="mod">
          <ac:chgData name="Bez, Florian" userId="30d7df6a-5295-4d75-a650-5a1fab7b8b2e" providerId="ADAL" clId="{DEF8C959-161B-48E6-918F-19FB2A9D3909}" dt="2023-04-21T09:54:24.426" v="10005"/>
          <ac:spMkLst>
            <pc:docMk/>
            <pc:sldMk cId="1603008812" sldId="7333"/>
            <ac:spMk id="2057" creationId="{F4EC49F3-A963-9BF6-8A95-0BA8E430FE25}"/>
          </ac:spMkLst>
        </pc:spChg>
        <pc:spChg chg="mod">
          <ac:chgData name="Bez, Florian" userId="30d7df6a-5295-4d75-a650-5a1fab7b8b2e" providerId="ADAL" clId="{DEF8C959-161B-48E6-918F-19FB2A9D3909}" dt="2023-04-21T09:54:24.426" v="10005"/>
          <ac:spMkLst>
            <pc:docMk/>
            <pc:sldMk cId="1603008812" sldId="7333"/>
            <ac:spMk id="2058" creationId="{EB861232-E07E-50D6-E1B5-216196432319}"/>
          </ac:spMkLst>
        </pc:spChg>
        <pc:spChg chg="mod">
          <ac:chgData name="Bez, Florian" userId="30d7df6a-5295-4d75-a650-5a1fab7b8b2e" providerId="ADAL" clId="{DEF8C959-161B-48E6-918F-19FB2A9D3909}" dt="2023-04-21T09:54:24.426" v="10005"/>
          <ac:spMkLst>
            <pc:docMk/>
            <pc:sldMk cId="1603008812" sldId="7333"/>
            <ac:spMk id="2059" creationId="{4ECA329B-AF30-91C8-CD9F-4EEA6DFC523C}"/>
          </ac:spMkLst>
        </pc:spChg>
        <pc:spChg chg="mod">
          <ac:chgData name="Bez, Florian" userId="30d7df6a-5295-4d75-a650-5a1fab7b8b2e" providerId="ADAL" clId="{DEF8C959-161B-48E6-918F-19FB2A9D3909}" dt="2023-04-21T09:54:24.426" v="10005"/>
          <ac:spMkLst>
            <pc:docMk/>
            <pc:sldMk cId="1603008812" sldId="7333"/>
            <ac:spMk id="2060" creationId="{B2BC0459-540F-A13E-C0B0-DE015DC4B737}"/>
          </ac:spMkLst>
        </pc:spChg>
        <pc:spChg chg="mod">
          <ac:chgData name="Bez, Florian" userId="30d7df6a-5295-4d75-a650-5a1fab7b8b2e" providerId="ADAL" clId="{DEF8C959-161B-48E6-918F-19FB2A9D3909}" dt="2023-04-21T09:54:24.426" v="10005"/>
          <ac:spMkLst>
            <pc:docMk/>
            <pc:sldMk cId="1603008812" sldId="7333"/>
            <ac:spMk id="2061" creationId="{08D3C1EF-C840-0674-B7F4-B0E6AE6FDD41}"/>
          </ac:spMkLst>
        </pc:spChg>
        <pc:spChg chg="mod">
          <ac:chgData name="Bez, Florian" userId="30d7df6a-5295-4d75-a650-5a1fab7b8b2e" providerId="ADAL" clId="{DEF8C959-161B-48E6-918F-19FB2A9D3909}" dt="2023-04-21T09:54:24.426" v="10005"/>
          <ac:spMkLst>
            <pc:docMk/>
            <pc:sldMk cId="1603008812" sldId="7333"/>
            <ac:spMk id="2062" creationId="{EC35A9A9-2895-6451-4B40-D3DEAC513D0B}"/>
          </ac:spMkLst>
        </pc:spChg>
        <pc:spChg chg="mod">
          <ac:chgData name="Bez, Florian" userId="30d7df6a-5295-4d75-a650-5a1fab7b8b2e" providerId="ADAL" clId="{DEF8C959-161B-48E6-918F-19FB2A9D3909}" dt="2023-04-21T09:54:24.426" v="10005"/>
          <ac:spMkLst>
            <pc:docMk/>
            <pc:sldMk cId="1603008812" sldId="7333"/>
            <ac:spMk id="2063" creationId="{269F79A9-279A-2B3F-FD08-D566D4A5C513}"/>
          </ac:spMkLst>
        </pc:spChg>
        <pc:spChg chg="mod">
          <ac:chgData name="Bez, Florian" userId="30d7df6a-5295-4d75-a650-5a1fab7b8b2e" providerId="ADAL" clId="{DEF8C959-161B-48E6-918F-19FB2A9D3909}" dt="2023-04-21T09:54:24.426" v="10005"/>
          <ac:spMkLst>
            <pc:docMk/>
            <pc:sldMk cId="1603008812" sldId="7333"/>
            <ac:spMk id="2064" creationId="{E13D5BAE-B190-035B-5510-99CE142612A1}"/>
          </ac:spMkLst>
        </pc:spChg>
        <pc:spChg chg="mod">
          <ac:chgData name="Bez, Florian" userId="30d7df6a-5295-4d75-a650-5a1fab7b8b2e" providerId="ADAL" clId="{DEF8C959-161B-48E6-918F-19FB2A9D3909}" dt="2023-04-21T09:54:24.426" v="10005"/>
          <ac:spMkLst>
            <pc:docMk/>
            <pc:sldMk cId="1603008812" sldId="7333"/>
            <ac:spMk id="2065" creationId="{B1575DE7-ACCC-7F12-FC7D-0FD2B2E164C7}"/>
          </ac:spMkLst>
        </pc:spChg>
        <pc:spChg chg="add mod">
          <ac:chgData name="Bez, Florian" userId="30d7df6a-5295-4d75-a650-5a1fab7b8b2e" providerId="ADAL" clId="{DEF8C959-161B-48E6-918F-19FB2A9D3909}" dt="2023-04-21T10:05:24.654" v="10162" actId="208"/>
          <ac:spMkLst>
            <pc:docMk/>
            <pc:sldMk cId="1603008812" sldId="7333"/>
            <ac:spMk id="2066" creationId="{9FD5619B-EF7B-54FC-B20C-25CCB6456CA6}"/>
          </ac:spMkLst>
        </pc:spChg>
        <pc:spChg chg="add mod">
          <ac:chgData name="Bez, Florian" userId="30d7df6a-5295-4d75-a650-5a1fab7b8b2e" providerId="ADAL" clId="{DEF8C959-161B-48E6-918F-19FB2A9D3909}" dt="2023-04-21T10:24:18.613" v="10390" actId="313"/>
          <ac:spMkLst>
            <pc:docMk/>
            <pc:sldMk cId="1603008812" sldId="7333"/>
            <ac:spMk id="2067" creationId="{147B6C36-0908-F793-2584-CDA6F0360A80}"/>
          </ac:spMkLst>
        </pc:spChg>
        <pc:spChg chg="add mod">
          <ac:chgData name="Bez, Florian" userId="30d7df6a-5295-4d75-a650-5a1fab7b8b2e" providerId="ADAL" clId="{DEF8C959-161B-48E6-918F-19FB2A9D3909}" dt="2023-04-21T09:54:40.609" v="10006" actId="1076"/>
          <ac:spMkLst>
            <pc:docMk/>
            <pc:sldMk cId="1603008812" sldId="7333"/>
            <ac:spMk id="2068" creationId="{9985AC06-051F-90A9-C6E9-ABE06544CB58}"/>
          </ac:spMkLst>
        </pc:spChg>
        <pc:spChg chg="mod">
          <ac:chgData name="Bez, Florian" userId="30d7df6a-5295-4d75-a650-5a1fab7b8b2e" providerId="ADAL" clId="{DEF8C959-161B-48E6-918F-19FB2A9D3909}" dt="2023-04-21T09:54:24.426" v="10005"/>
          <ac:spMkLst>
            <pc:docMk/>
            <pc:sldMk cId="1603008812" sldId="7333"/>
            <ac:spMk id="2070" creationId="{E6B4B488-3AFD-575D-F956-62A509516555}"/>
          </ac:spMkLst>
        </pc:spChg>
        <pc:spChg chg="mod">
          <ac:chgData name="Bez, Florian" userId="30d7df6a-5295-4d75-a650-5a1fab7b8b2e" providerId="ADAL" clId="{DEF8C959-161B-48E6-918F-19FB2A9D3909}" dt="2023-04-21T09:54:24.426" v="10005"/>
          <ac:spMkLst>
            <pc:docMk/>
            <pc:sldMk cId="1603008812" sldId="7333"/>
            <ac:spMk id="2071" creationId="{F8ADAB84-B6E8-939A-66FD-47D3E904EC91}"/>
          </ac:spMkLst>
        </pc:spChg>
        <pc:spChg chg="mod">
          <ac:chgData name="Bez, Florian" userId="30d7df6a-5295-4d75-a650-5a1fab7b8b2e" providerId="ADAL" clId="{DEF8C959-161B-48E6-918F-19FB2A9D3909}" dt="2023-04-21T09:54:24.426" v="10005"/>
          <ac:spMkLst>
            <pc:docMk/>
            <pc:sldMk cId="1603008812" sldId="7333"/>
            <ac:spMk id="2072" creationId="{AE2F5C88-E379-C3C0-3200-BEE8E17D0B00}"/>
          </ac:spMkLst>
        </pc:spChg>
        <pc:spChg chg="mod">
          <ac:chgData name="Bez, Florian" userId="30d7df6a-5295-4d75-a650-5a1fab7b8b2e" providerId="ADAL" clId="{DEF8C959-161B-48E6-918F-19FB2A9D3909}" dt="2023-04-21T09:54:24.426" v="10005"/>
          <ac:spMkLst>
            <pc:docMk/>
            <pc:sldMk cId="1603008812" sldId="7333"/>
            <ac:spMk id="2073" creationId="{0D653C77-6F77-8FE7-234C-472D8B2D859A}"/>
          </ac:spMkLst>
        </pc:spChg>
        <pc:spChg chg="add mod">
          <ac:chgData name="Bez, Florian" userId="30d7df6a-5295-4d75-a650-5a1fab7b8b2e" providerId="ADAL" clId="{DEF8C959-161B-48E6-918F-19FB2A9D3909}" dt="2023-04-21T09:54:40.609" v="10006" actId="1076"/>
          <ac:spMkLst>
            <pc:docMk/>
            <pc:sldMk cId="1603008812" sldId="7333"/>
            <ac:spMk id="2074" creationId="{FA375153-3E4B-D015-3351-4B2F58458D0B}"/>
          </ac:spMkLst>
        </pc:spChg>
        <pc:spChg chg="add mod">
          <ac:chgData name="Bez, Florian" userId="30d7df6a-5295-4d75-a650-5a1fab7b8b2e" providerId="ADAL" clId="{DEF8C959-161B-48E6-918F-19FB2A9D3909}" dt="2023-04-21T09:54:40.609" v="10006" actId="1076"/>
          <ac:spMkLst>
            <pc:docMk/>
            <pc:sldMk cId="1603008812" sldId="7333"/>
            <ac:spMk id="2075" creationId="{7466A94E-0DCB-73C1-1DC1-7C3DF27CC3D0}"/>
          </ac:spMkLst>
        </pc:spChg>
        <pc:spChg chg="add mod">
          <ac:chgData name="Bez, Florian" userId="30d7df6a-5295-4d75-a650-5a1fab7b8b2e" providerId="ADAL" clId="{DEF8C959-161B-48E6-918F-19FB2A9D3909}" dt="2023-04-21T09:54:40.609" v="10006" actId="1076"/>
          <ac:spMkLst>
            <pc:docMk/>
            <pc:sldMk cId="1603008812" sldId="7333"/>
            <ac:spMk id="2076" creationId="{D8D8B532-2F3F-E5E2-2BDE-AE2DFF15E982}"/>
          </ac:spMkLst>
        </pc:spChg>
        <pc:spChg chg="add mod">
          <ac:chgData name="Bez, Florian" userId="30d7df6a-5295-4d75-a650-5a1fab7b8b2e" providerId="ADAL" clId="{DEF8C959-161B-48E6-918F-19FB2A9D3909}" dt="2023-04-21T09:54:40.609" v="10006" actId="1076"/>
          <ac:spMkLst>
            <pc:docMk/>
            <pc:sldMk cId="1603008812" sldId="7333"/>
            <ac:spMk id="2077" creationId="{55B1B7F1-1DD8-1A25-4BC3-1B6B27571E9E}"/>
          </ac:spMkLst>
        </pc:spChg>
        <pc:spChg chg="add mod">
          <ac:chgData name="Bez, Florian" userId="30d7df6a-5295-4d75-a650-5a1fab7b8b2e" providerId="ADAL" clId="{DEF8C959-161B-48E6-918F-19FB2A9D3909}" dt="2023-04-21T09:54:40.609" v="10006" actId="1076"/>
          <ac:spMkLst>
            <pc:docMk/>
            <pc:sldMk cId="1603008812" sldId="7333"/>
            <ac:spMk id="2078" creationId="{C91A578D-8628-A1EE-6BE8-4ECBB9530D33}"/>
          </ac:spMkLst>
        </pc:spChg>
        <pc:spChg chg="add mod">
          <ac:chgData name="Bez, Florian" userId="30d7df6a-5295-4d75-a650-5a1fab7b8b2e" providerId="ADAL" clId="{DEF8C959-161B-48E6-918F-19FB2A9D3909}" dt="2023-04-21T09:54:40.609" v="10006" actId="1076"/>
          <ac:spMkLst>
            <pc:docMk/>
            <pc:sldMk cId="1603008812" sldId="7333"/>
            <ac:spMk id="2079" creationId="{01E0C31A-57EC-3A8D-D759-6811CE79BF17}"/>
          </ac:spMkLst>
        </pc:spChg>
        <pc:spChg chg="add mod">
          <ac:chgData name="Bez, Florian" userId="30d7df6a-5295-4d75-a650-5a1fab7b8b2e" providerId="ADAL" clId="{DEF8C959-161B-48E6-918F-19FB2A9D3909}" dt="2023-04-21T09:54:40.609" v="10006" actId="1076"/>
          <ac:spMkLst>
            <pc:docMk/>
            <pc:sldMk cId="1603008812" sldId="7333"/>
            <ac:spMk id="2080" creationId="{F185BB2C-30BC-F437-904D-63CF32BF62CC}"/>
          </ac:spMkLst>
        </pc:spChg>
        <pc:spChg chg="add mod">
          <ac:chgData name="Bez, Florian" userId="30d7df6a-5295-4d75-a650-5a1fab7b8b2e" providerId="ADAL" clId="{DEF8C959-161B-48E6-918F-19FB2A9D3909}" dt="2023-04-21T09:54:40.609" v="10006" actId="1076"/>
          <ac:spMkLst>
            <pc:docMk/>
            <pc:sldMk cId="1603008812" sldId="7333"/>
            <ac:spMk id="2082" creationId="{50F355E8-C5C0-A57A-C82E-604C30AE206E}"/>
          </ac:spMkLst>
        </pc:spChg>
        <pc:spChg chg="add mod">
          <ac:chgData name="Bez, Florian" userId="30d7df6a-5295-4d75-a650-5a1fab7b8b2e" providerId="ADAL" clId="{DEF8C959-161B-48E6-918F-19FB2A9D3909}" dt="2023-04-21T09:54:40.609" v="10006" actId="1076"/>
          <ac:spMkLst>
            <pc:docMk/>
            <pc:sldMk cId="1603008812" sldId="7333"/>
            <ac:spMk id="2083" creationId="{2C3AA6AD-B32D-63FF-9529-AC1DD513A4EA}"/>
          </ac:spMkLst>
        </pc:spChg>
        <pc:spChg chg="add mod">
          <ac:chgData name="Bez, Florian" userId="30d7df6a-5295-4d75-a650-5a1fab7b8b2e" providerId="ADAL" clId="{DEF8C959-161B-48E6-918F-19FB2A9D3909}" dt="2023-04-21T09:54:40.609" v="10006" actId="1076"/>
          <ac:spMkLst>
            <pc:docMk/>
            <pc:sldMk cId="1603008812" sldId="7333"/>
            <ac:spMk id="2084" creationId="{BF6DAA13-FB59-97C8-2F66-04459A3D963D}"/>
          </ac:spMkLst>
        </pc:spChg>
        <pc:spChg chg="add mod">
          <ac:chgData name="Bez, Florian" userId="30d7df6a-5295-4d75-a650-5a1fab7b8b2e" providerId="ADAL" clId="{DEF8C959-161B-48E6-918F-19FB2A9D3909}" dt="2023-04-21T09:54:40.609" v="10006" actId="1076"/>
          <ac:spMkLst>
            <pc:docMk/>
            <pc:sldMk cId="1603008812" sldId="7333"/>
            <ac:spMk id="2085" creationId="{71D255B6-FD8F-D83D-8434-C799B8BD8EF5}"/>
          </ac:spMkLst>
        </pc:spChg>
        <pc:spChg chg="add mod">
          <ac:chgData name="Bez, Florian" userId="30d7df6a-5295-4d75-a650-5a1fab7b8b2e" providerId="ADAL" clId="{DEF8C959-161B-48E6-918F-19FB2A9D3909}" dt="2023-04-21T09:54:40.609" v="10006" actId="1076"/>
          <ac:spMkLst>
            <pc:docMk/>
            <pc:sldMk cId="1603008812" sldId="7333"/>
            <ac:spMk id="2086" creationId="{EC085D2D-322E-FAEA-0FF8-FA5653E1E26E}"/>
          </ac:spMkLst>
        </pc:spChg>
        <pc:spChg chg="add mod">
          <ac:chgData name="Bez, Florian" userId="30d7df6a-5295-4d75-a650-5a1fab7b8b2e" providerId="ADAL" clId="{DEF8C959-161B-48E6-918F-19FB2A9D3909}" dt="2023-04-21T09:54:40.609" v="10006" actId="1076"/>
          <ac:spMkLst>
            <pc:docMk/>
            <pc:sldMk cId="1603008812" sldId="7333"/>
            <ac:spMk id="2087" creationId="{465EDE10-4A5B-73A9-418B-95B8EAC21383}"/>
          </ac:spMkLst>
        </pc:spChg>
        <pc:spChg chg="add mod">
          <ac:chgData name="Bez, Florian" userId="30d7df6a-5295-4d75-a650-5a1fab7b8b2e" providerId="ADAL" clId="{DEF8C959-161B-48E6-918F-19FB2A9D3909}" dt="2023-04-21T09:54:40.609" v="10006" actId="1076"/>
          <ac:spMkLst>
            <pc:docMk/>
            <pc:sldMk cId="1603008812" sldId="7333"/>
            <ac:spMk id="2088" creationId="{4343AE64-38CE-A163-04B9-EAC72FA273DD}"/>
          </ac:spMkLst>
        </pc:spChg>
        <pc:spChg chg="add mod">
          <ac:chgData name="Bez, Florian" userId="30d7df6a-5295-4d75-a650-5a1fab7b8b2e" providerId="ADAL" clId="{DEF8C959-161B-48E6-918F-19FB2A9D3909}" dt="2023-04-21T09:54:40.609" v="10006" actId="1076"/>
          <ac:spMkLst>
            <pc:docMk/>
            <pc:sldMk cId="1603008812" sldId="7333"/>
            <ac:spMk id="2089" creationId="{A749FD53-3C96-21EF-8951-95B88F880E91}"/>
          </ac:spMkLst>
        </pc:spChg>
        <pc:spChg chg="add mod">
          <ac:chgData name="Bez, Florian" userId="30d7df6a-5295-4d75-a650-5a1fab7b8b2e" providerId="ADAL" clId="{DEF8C959-161B-48E6-918F-19FB2A9D3909}" dt="2023-04-21T09:54:40.609" v="10006" actId="1076"/>
          <ac:spMkLst>
            <pc:docMk/>
            <pc:sldMk cId="1603008812" sldId="7333"/>
            <ac:spMk id="2090" creationId="{B35EE775-8A10-D682-B3C6-631518E58EB9}"/>
          </ac:spMkLst>
        </pc:spChg>
        <pc:spChg chg="add mod">
          <ac:chgData name="Bez, Florian" userId="30d7df6a-5295-4d75-a650-5a1fab7b8b2e" providerId="ADAL" clId="{DEF8C959-161B-48E6-918F-19FB2A9D3909}" dt="2023-04-21T09:54:40.609" v="10006" actId="1076"/>
          <ac:spMkLst>
            <pc:docMk/>
            <pc:sldMk cId="1603008812" sldId="7333"/>
            <ac:spMk id="2091" creationId="{B7001ECE-C89D-F24C-57DB-F848992817D9}"/>
          </ac:spMkLst>
        </pc:spChg>
        <pc:spChg chg="add mod">
          <ac:chgData name="Bez, Florian" userId="30d7df6a-5295-4d75-a650-5a1fab7b8b2e" providerId="ADAL" clId="{DEF8C959-161B-48E6-918F-19FB2A9D3909}" dt="2023-04-21T09:54:40.609" v="10006" actId="1076"/>
          <ac:spMkLst>
            <pc:docMk/>
            <pc:sldMk cId="1603008812" sldId="7333"/>
            <ac:spMk id="2093" creationId="{425E0C53-F262-7972-C30A-B75C0BDB001E}"/>
          </ac:spMkLst>
        </pc:spChg>
        <pc:spChg chg="add mod">
          <ac:chgData name="Bez, Florian" userId="30d7df6a-5295-4d75-a650-5a1fab7b8b2e" providerId="ADAL" clId="{DEF8C959-161B-48E6-918F-19FB2A9D3909}" dt="2023-04-21T09:54:40.609" v="10006" actId="1076"/>
          <ac:spMkLst>
            <pc:docMk/>
            <pc:sldMk cId="1603008812" sldId="7333"/>
            <ac:spMk id="2094" creationId="{9CFAA4B6-5228-67B0-2B2A-0A4ECE7EC14E}"/>
          </ac:spMkLst>
        </pc:spChg>
        <pc:spChg chg="add mod">
          <ac:chgData name="Bez, Florian" userId="30d7df6a-5295-4d75-a650-5a1fab7b8b2e" providerId="ADAL" clId="{DEF8C959-161B-48E6-918F-19FB2A9D3909}" dt="2023-04-21T09:54:40.609" v="10006" actId="1076"/>
          <ac:spMkLst>
            <pc:docMk/>
            <pc:sldMk cId="1603008812" sldId="7333"/>
            <ac:spMk id="2095" creationId="{261EE8D0-28AA-118A-D8D9-631F32608716}"/>
          </ac:spMkLst>
        </pc:spChg>
        <pc:spChg chg="add mod">
          <ac:chgData name="Bez, Florian" userId="30d7df6a-5295-4d75-a650-5a1fab7b8b2e" providerId="ADAL" clId="{DEF8C959-161B-48E6-918F-19FB2A9D3909}" dt="2023-04-21T09:54:40.609" v="10006" actId="1076"/>
          <ac:spMkLst>
            <pc:docMk/>
            <pc:sldMk cId="1603008812" sldId="7333"/>
            <ac:spMk id="2096" creationId="{80000A1C-B29C-5518-0FC4-74FEF74DADDB}"/>
          </ac:spMkLst>
        </pc:spChg>
        <pc:spChg chg="add mod">
          <ac:chgData name="Bez, Florian" userId="30d7df6a-5295-4d75-a650-5a1fab7b8b2e" providerId="ADAL" clId="{DEF8C959-161B-48E6-918F-19FB2A9D3909}" dt="2023-04-21T09:54:40.609" v="10006" actId="1076"/>
          <ac:spMkLst>
            <pc:docMk/>
            <pc:sldMk cId="1603008812" sldId="7333"/>
            <ac:spMk id="2097" creationId="{5FB4117D-7C4E-B724-4B97-21A8951BC233}"/>
          </ac:spMkLst>
        </pc:spChg>
        <pc:spChg chg="add mod">
          <ac:chgData name="Bez, Florian" userId="30d7df6a-5295-4d75-a650-5a1fab7b8b2e" providerId="ADAL" clId="{DEF8C959-161B-48E6-918F-19FB2A9D3909}" dt="2023-04-21T09:54:40.609" v="10006" actId="1076"/>
          <ac:spMkLst>
            <pc:docMk/>
            <pc:sldMk cId="1603008812" sldId="7333"/>
            <ac:spMk id="2098" creationId="{DBBBD453-C161-9A4F-F3B2-4763CCF6BCBF}"/>
          </ac:spMkLst>
        </pc:spChg>
        <pc:spChg chg="add mod">
          <ac:chgData name="Bez, Florian" userId="30d7df6a-5295-4d75-a650-5a1fab7b8b2e" providerId="ADAL" clId="{DEF8C959-161B-48E6-918F-19FB2A9D3909}" dt="2023-04-21T09:54:40.609" v="10006" actId="1076"/>
          <ac:spMkLst>
            <pc:docMk/>
            <pc:sldMk cId="1603008812" sldId="7333"/>
            <ac:spMk id="2099" creationId="{F4DBDC6D-6CD2-C2FA-E10D-08CA2FCF7D6F}"/>
          </ac:spMkLst>
        </pc:spChg>
        <pc:spChg chg="add mod">
          <ac:chgData name="Bez, Florian" userId="30d7df6a-5295-4d75-a650-5a1fab7b8b2e" providerId="ADAL" clId="{DEF8C959-161B-48E6-918F-19FB2A9D3909}" dt="2023-04-21T09:54:40.609" v="10006" actId="1076"/>
          <ac:spMkLst>
            <pc:docMk/>
            <pc:sldMk cId="1603008812" sldId="7333"/>
            <ac:spMk id="2100" creationId="{2B4B1623-B3F4-1F44-6003-82E05FBB5FF4}"/>
          </ac:spMkLst>
        </pc:spChg>
        <pc:spChg chg="add mod">
          <ac:chgData name="Bez, Florian" userId="30d7df6a-5295-4d75-a650-5a1fab7b8b2e" providerId="ADAL" clId="{DEF8C959-161B-48E6-918F-19FB2A9D3909}" dt="2023-04-21T09:54:40.609" v="10006" actId="1076"/>
          <ac:spMkLst>
            <pc:docMk/>
            <pc:sldMk cId="1603008812" sldId="7333"/>
            <ac:spMk id="2101" creationId="{333250B3-4F68-D502-B65A-CE3030FBF4F9}"/>
          </ac:spMkLst>
        </pc:spChg>
        <pc:spChg chg="add mod">
          <ac:chgData name="Bez, Florian" userId="30d7df6a-5295-4d75-a650-5a1fab7b8b2e" providerId="ADAL" clId="{DEF8C959-161B-48E6-918F-19FB2A9D3909}" dt="2023-04-21T09:54:40.609" v="10006" actId="1076"/>
          <ac:spMkLst>
            <pc:docMk/>
            <pc:sldMk cId="1603008812" sldId="7333"/>
            <ac:spMk id="2102" creationId="{F950C8BC-B825-D469-24E8-FDE9A711ADD5}"/>
          </ac:spMkLst>
        </pc:spChg>
        <pc:spChg chg="add mod">
          <ac:chgData name="Bez, Florian" userId="30d7df6a-5295-4d75-a650-5a1fab7b8b2e" providerId="ADAL" clId="{DEF8C959-161B-48E6-918F-19FB2A9D3909}" dt="2023-04-21T09:54:40.609" v="10006" actId="1076"/>
          <ac:spMkLst>
            <pc:docMk/>
            <pc:sldMk cId="1603008812" sldId="7333"/>
            <ac:spMk id="2103" creationId="{63427EB8-5794-38E5-05DB-68355F3494C2}"/>
          </ac:spMkLst>
        </pc:spChg>
        <pc:spChg chg="add mod">
          <ac:chgData name="Bez, Florian" userId="30d7df6a-5295-4d75-a650-5a1fab7b8b2e" providerId="ADAL" clId="{DEF8C959-161B-48E6-918F-19FB2A9D3909}" dt="2023-04-21T09:54:40.609" v="10006" actId="1076"/>
          <ac:spMkLst>
            <pc:docMk/>
            <pc:sldMk cId="1603008812" sldId="7333"/>
            <ac:spMk id="2104" creationId="{3A6324C1-E581-F8AA-51E5-F223337D086F}"/>
          </ac:spMkLst>
        </pc:spChg>
        <pc:spChg chg="add mod">
          <ac:chgData name="Bez, Florian" userId="30d7df6a-5295-4d75-a650-5a1fab7b8b2e" providerId="ADAL" clId="{DEF8C959-161B-48E6-918F-19FB2A9D3909}" dt="2023-04-21T09:54:40.609" v="10006" actId="1076"/>
          <ac:spMkLst>
            <pc:docMk/>
            <pc:sldMk cId="1603008812" sldId="7333"/>
            <ac:spMk id="2105" creationId="{4A1385FA-B2F5-F5FC-FDBE-8468C9724090}"/>
          </ac:spMkLst>
        </pc:spChg>
        <pc:spChg chg="add mod">
          <ac:chgData name="Bez, Florian" userId="30d7df6a-5295-4d75-a650-5a1fab7b8b2e" providerId="ADAL" clId="{DEF8C959-161B-48E6-918F-19FB2A9D3909}" dt="2023-04-21T09:54:40.609" v="10006" actId="1076"/>
          <ac:spMkLst>
            <pc:docMk/>
            <pc:sldMk cId="1603008812" sldId="7333"/>
            <ac:spMk id="2106" creationId="{B5727A70-E40D-D660-BAA1-397E9CABEA33}"/>
          </ac:spMkLst>
        </pc:spChg>
        <pc:spChg chg="add mod">
          <ac:chgData name="Bez, Florian" userId="30d7df6a-5295-4d75-a650-5a1fab7b8b2e" providerId="ADAL" clId="{DEF8C959-161B-48E6-918F-19FB2A9D3909}" dt="2023-04-21T09:54:40.609" v="10006" actId="1076"/>
          <ac:spMkLst>
            <pc:docMk/>
            <pc:sldMk cId="1603008812" sldId="7333"/>
            <ac:spMk id="2107" creationId="{45350F54-F261-7099-3AC9-C643F038D4A0}"/>
          </ac:spMkLst>
        </pc:spChg>
        <pc:spChg chg="add mod">
          <ac:chgData name="Bez, Florian" userId="30d7df6a-5295-4d75-a650-5a1fab7b8b2e" providerId="ADAL" clId="{DEF8C959-161B-48E6-918F-19FB2A9D3909}" dt="2023-04-21T09:54:40.609" v="10006" actId="1076"/>
          <ac:spMkLst>
            <pc:docMk/>
            <pc:sldMk cId="1603008812" sldId="7333"/>
            <ac:spMk id="2108" creationId="{860626ED-EFC3-575B-FD4E-637F8B84582F}"/>
          </ac:spMkLst>
        </pc:spChg>
        <pc:spChg chg="add mod">
          <ac:chgData name="Bez, Florian" userId="30d7df6a-5295-4d75-a650-5a1fab7b8b2e" providerId="ADAL" clId="{DEF8C959-161B-48E6-918F-19FB2A9D3909}" dt="2023-04-21T09:54:40.609" v="10006" actId="1076"/>
          <ac:spMkLst>
            <pc:docMk/>
            <pc:sldMk cId="1603008812" sldId="7333"/>
            <ac:spMk id="2109" creationId="{1FF396DA-8EBB-D391-72AB-D4FD0504F59D}"/>
          </ac:spMkLst>
        </pc:spChg>
        <pc:spChg chg="add mod">
          <ac:chgData name="Bez, Florian" userId="30d7df6a-5295-4d75-a650-5a1fab7b8b2e" providerId="ADAL" clId="{DEF8C959-161B-48E6-918F-19FB2A9D3909}" dt="2023-04-21T09:54:40.609" v="10006" actId="1076"/>
          <ac:spMkLst>
            <pc:docMk/>
            <pc:sldMk cId="1603008812" sldId="7333"/>
            <ac:spMk id="2110" creationId="{837EB451-830A-370D-A668-2289B418EC1E}"/>
          </ac:spMkLst>
        </pc:spChg>
        <pc:spChg chg="add mod">
          <ac:chgData name="Bez, Florian" userId="30d7df6a-5295-4d75-a650-5a1fab7b8b2e" providerId="ADAL" clId="{DEF8C959-161B-48E6-918F-19FB2A9D3909}" dt="2023-04-21T09:54:40.609" v="10006" actId="1076"/>
          <ac:spMkLst>
            <pc:docMk/>
            <pc:sldMk cId="1603008812" sldId="7333"/>
            <ac:spMk id="2111" creationId="{A8AB8A98-2F57-BF67-793E-1048BED35950}"/>
          </ac:spMkLst>
        </pc:spChg>
        <pc:spChg chg="add mod">
          <ac:chgData name="Bez, Florian" userId="30d7df6a-5295-4d75-a650-5a1fab7b8b2e" providerId="ADAL" clId="{DEF8C959-161B-48E6-918F-19FB2A9D3909}" dt="2023-04-21T09:58:36.067" v="10073" actId="208"/>
          <ac:spMkLst>
            <pc:docMk/>
            <pc:sldMk cId="1603008812" sldId="7333"/>
            <ac:spMk id="2114" creationId="{524984CC-A0AE-5CF9-0CAB-FCB7617C7875}"/>
          </ac:spMkLst>
        </pc:spChg>
        <pc:spChg chg="add mod">
          <ac:chgData name="Bez, Florian" userId="30d7df6a-5295-4d75-a650-5a1fab7b8b2e" providerId="ADAL" clId="{DEF8C959-161B-48E6-918F-19FB2A9D3909}" dt="2023-04-21T09:54:40.609" v="10006" actId="1076"/>
          <ac:spMkLst>
            <pc:docMk/>
            <pc:sldMk cId="1603008812" sldId="7333"/>
            <ac:spMk id="2115" creationId="{ED0D260B-2931-6C33-BD7A-F1E597BB3C3B}"/>
          </ac:spMkLst>
        </pc:spChg>
        <pc:spChg chg="add mod">
          <ac:chgData name="Bez, Florian" userId="30d7df6a-5295-4d75-a650-5a1fab7b8b2e" providerId="ADAL" clId="{DEF8C959-161B-48E6-918F-19FB2A9D3909}" dt="2023-04-21T09:54:40.609" v="10006" actId="1076"/>
          <ac:spMkLst>
            <pc:docMk/>
            <pc:sldMk cId="1603008812" sldId="7333"/>
            <ac:spMk id="2116" creationId="{930DC1E4-8424-CDF3-B736-BDB057EDD741}"/>
          </ac:spMkLst>
        </pc:spChg>
        <pc:spChg chg="add mod">
          <ac:chgData name="Bez, Florian" userId="30d7df6a-5295-4d75-a650-5a1fab7b8b2e" providerId="ADAL" clId="{DEF8C959-161B-48E6-918F-19FB2A9D3909}" dt="2023-04-21T09:54:40.609" v="10006" actId="1076"/>
          <ac:spMkLst>
            <pc:docMk/>
            <pc:sldMk cId="1603008812" sldId="7333"/>
            <ac:spMk id="2117" creationId="{AA4E5602-E15B-D52F-9F08-8879E6C27758}"/>
          </ac:spMkLst>
        </pc:spChg>
        <pc:spChg chg="add mod">
          <ac:chgData name="Bez, Florian" userId="30d7df6a-5295-4d75-a650-5a1fab7b8b2e" providerId="ADAL" clId="{DEF8C959-161B-48E6-918F-19FB2A9D3909}" dt="2023-04-21T09:54:40.609" v="10006" actId="1076"/>
          <ac:spMkLst>
            <pc:docMk/>
            <pc:sldMk cId="1603008812" sldId="7333"/>
            <ac:spMk id="2118" creationId="{D9FCB926-7FA1-AA04-5DD2-018FCBD15F8C}"/>
          </ac:spMkLst>
        </pc:spChg>
        <pc:spChg chg="add mod">
          <ac:chgData name="Bez, Florian" userId="30d7df6a-5295-4d75-a650-5a1fab7b8b2e" providerId="ADAL" clId="{DEF8C959-161B-48E6-918F-19FB2A9D3909}" dt="2023-04-21T09:54:40.609" v="10006" actId="1076"/>
          <ac:spMkLst>
            <pc:docMk/>
            <pc:sldMk cId="1603008812" sldId="7333"/>
            <ac:spMk id="2119" creationId="{0DE91502-B969-C25B-1703-B17EF5F92E81}"/>
          </ac:spMkLst>
        </pc:spChg>
        <pc:spChg chg="add mod">
          <ac:chgData name="Bez, Florian" userId="30d7df6a-5295-4d75-a650-5a1fab7b8b2e" providerId="ADAL" clId="{DEF8C959-161B-48E6-918F-19FB2A9D3909}" dt="2023-04-21T09:54:40.609" v="10006" actId="1076"/>
          <ac:spMkLst>
            <pc:docMk/>
            <pc:sldMk cId="1603008812" sldId="7333"/>
            <ac:spMk id="2120" creationId="{021ACF69-EA19-F483-F98C-A9602D0396F3}"/>
          </ac:spMkLst>
        </pc:spChg>
        <pc:spChg chg="add mod">
          <ac:chgData name="Bez, Florian" userId="30d7df6a-5295-4d75-a650-5a1fab7b8b2e" providerId="ADAL" clId="{DEF8C959-161B-48E6-918F-19FB2A9D3909}" dt="2023-04-21T09:54:40.609" v="10006" actId="1076"/>
          <ac:spMkLst>
            <pc:docMk/>
            <pc:sldMk cId="1603008812" sldId="7333"/>
            <ac:spMk id="2121" creationId="{11987665-F2DF-37C0-1FAD-21D2A788DA1F}"/>
          </ac:spMkLst>
        </pc:spChg>
        <pc:spChg chg="add mod">
          <ac:chgData name="Bez, Florian" userId="30d7df6a-5295-4d75-a650-5a1fab7b8b2e" providerId="ADAL" clId="{DEF8C959-161B-48E6-918F-19FB2A9D3909}" dt="2023-04-21T09:54:40.609" v="10006" actId="1076"/>
          <ac:spMkLst>
            <pc:docMk/>
            <pc:sldMk cId="1603008812" sldId="7333"/>
            <ac:spMk id="2122" creationId="{BFEC1A31-F49E-27D3-73CC-6AB1707B844C}"/>
          </ac:spMkLst>
        </pc:spChg>
        <pc:spChg chg="add mod">
          <ac:chgData name="Bez, Florian" userId="30d7df6a-5295-4d75-a650-5a1fab7b8b2e" providerId="ADAL" clId="{DEF8C959-161B-48E6-918F-19FB2A9D3909}" dt="2023-04-21T09:54:40.609" v="10006" actId="1076"/>
          <ac:spMkLst>
            <pc:docMk/>
            <pc:sldMk cId="1603008812" sldId="7333"/>
            <ac:spMk id="2123" creationId="{DD23A7D2-5A1E-F2B1-AB1B-1C3E072AB9B4}"/>
          </ac:spMkLst>
        </pc:spChg>
        <pc:spChg chg="add mod">
          <ac:chgData name="Bez, Florian" userId="30d7df6a-5295-4d75-a650-5a1fab7b8b2e" providerId="ADAL" clId="{DEF8C959-161B-48E6-918F-19FB2A9D3909}" dt="2023-04-21T09:54:40.609" v="10006" actId="1076"/>
          <ac:spMkLst>
            <pc:docMk/>
            <pc:sldMk cId="1603008812" sldId="7333"/>
            <ac:spMk id="2124" creationId="{513095D3-F0DB-7BD5-B218-E67B4BAEE58A}"/>
          </ac:spMkLst>
        </pc:spChg>
        <pc:spChg chg="add mod">
          <ac:chgData name="Bez, Florian" userId="30d7df6a-5295-4d75-a650-5a1fab7b8b2e" providerId="ADAL" clId="{DEF8C959-161B-48E6-918F-19FB2A9D3909}" dt="2023-04-21T09:54:40.609" v="10006" actId="1076"/>
          <ac:spMkLst>
            <pc:docMk/>
            <pc:sldMk cId="1603008812" sldId="7333"/>
            <ac:spMk id="2125" creationId="{993ABD9C-6A1B-EB57-4DB7-1556FC4D7DEF}"/>
          </ac:spMkLst>
        </pc:spChg>
        <pc:spChg chg="add mod">
          <ac:chgData name="Bez, Florian" userId="30d7df6a-5295-4d75-a650-5a1fab7b8b2e" providerId="ADAL" clId="{DEF8C959-161B-48E6-918F-19FB2A9D3909}" dt="2023-04-21T09:54:40.609" v="10006" actId="1076"/>
          <ac:spMkLst>
            <pc:docMk/>
            <pc:sldMk cId="1603008812" sldId="7333"/>
            <ac:spMk id="2126" creationId="{49BBB375-B361-690D-215C-7E56033DFCA8}"/>
          </ac:spMkLst>
        </pc:spChg>
        <pc:spChg chg="add mod">
          <ac:chgData name="Bez, Florian" userId="30d7df6a-5295-4d75-a650-5a1fab7b8b2e" providerId="ADAL" clId="{DEF8C959-161B-48E6-918F-19FB2A9D3909}" dt="2023-04-21T09:54:40.609" v="10006" actId="1076"/>
          <ac:spMkLst>
            <pc:docMk/>
            <pc:sldMk cId="1603008812" sldId="7333"/>
            <ac:spMk id="2127" creationId="{A7B7FC8B-76C7-88EC-6953-B9AB8DB307B6}"/>
          </ac:spMkLst>
        </pc:spChg>
        <pc:spChg chg="add mod">
          <ac:chgData name="Bez, Florian" userId="30d7df6a-5295-4d75-a650-5a1fab7b8b2e" providerId="ADAL" clId="{DEF8C959-161B-48E6-918F-19FB2A9D3909}" dt="2023-04-21T09:54:40.609" v="10006" actId="1076"/>
          <ac:spMkLst>
            <pc:docMk/>
            <pc:sldMk cId="1603008812" sldId="7333"/>
            <ac:spMk id="2128" creationId="{EF18513A-ED09-27BA-4EEF-21ED6DFBE918}"/>
          </ac:spMkLst>
        </pc:spChg>
        <pc:spChg chg="add mod">
          <ac:chgData name="Bez, Florian" userId="30d7df6a-5295-4d75-a650-5a1fab7b8b2e" providerId="ADAL" clId="{DEF8C959-161B-48E6-918F-19FB2A9D3909}" dt="2023-04-21T09:54:40.609" v="10006" actId="1076"/>
          <ac:spMkLst>
            <pc:docMk/>
            <pc:sldMk cId="1603008812" sldId="7333"/>
            <ac:spMk id="2129" creationId="{266907FA-558D-95CC-ED62-C01F3754395A}"/>
          </ac:spMkLst>
        </pc:spChg>
        <pc:spChg chg="add mod">
          <ac:chgData name="Bez, Florian" userId="30d7df6a-5295-4d75-a650-5a1fab7b8b2e" providerId="ADAL" clId="{DEF8C959-161B-48E6-918F-19FB2A9D3909}" dt="2023-04-21T09:54:40.609" v="10006" actId="1076"/>
          <ac:spMkLst>
            <pc:docMk/>
            <pc:sldMk cId="1603008812" sldId="7333"/>
            <ac:spMk id="2130" creationId="{E960D355-920C-2B2B-51CA-3CCC7B4B04A0}"/>
          </ac:spMkLst>
        </pc:spChg>
        <pc:spChg chg="add mod">
          <ac:chgData name="Bez, Florian" userId="30d7df6a-5295-4d75-a650-5a1fab7b8b2e" providerId="ADAL" clId="{DEF8C959-161B-48E6-918F-19FB2A9D3909}" dt="2023-04-21T09:54:40.609" v="10006" actId="1076"/>
          <ac:spMkLst>
            <pc:docMk/>
            <pc:sldMk cId="1603008812" sldId="7333"/>
            <ac:spMk id="2131" creationId="{B9F88033-328D-4F04-5269-47BF2F1F442D}"/>
          </ac:spMkLst>
        </pc:spChg>
        <pc:spChg chg="add mod">
          <ac:chgData name="Bez, Florian" userId="30d7df6a-5295-4d75-a650-5a1fab7b8b2e" providerId="ADAL" clId="{DEF8C959-161B-48E6-918F-19FB2A9D3909}" dt="2023-04-21T09:54:40.609" v="10006" actId="1076"/>
          <ac:spMkLst>
            <pc:docMk/>
            <pc:sldMk cId="1603008812" sldId="7333"/>
            <ac:spMk id="2132" creationId="{28B48228-D48B-A6BF-4791-214ABC9AC88E}"/>
          </ac:spMkLst>
        </pc:spChg>
        <pc:spChg chg="add mod">
          <ac:chgData name="Bez, Florian" userId="30d7df6a-5295-4d75-a650-5a1fab7b8b2e" providerId="ADAL" clId="{DEF8C959-161B-48E6-918F-19FB2A9D3909}" dt="2023-04-21T09:54:40.609" v="10006" actId="1076"/>
          <ac:spMkLst>
            <pc:docMk/>
            <pc:sldMk cId="1603008812" sldId="7333"/>
            <ac:spMk id="2133" creationId="{85B53C71-49EA-7EAD-92AA-BC3CBFE423A3}"/>
          </ac:spMkLst>
        </pc:spChg>
        <pc:spChg chg="add mod">
          <ac:chgData name="Bez, Florian" userId="30d7df6a-5295-4d75-a650-5a1fab7b8b2e" providerId="ADAL" clId="{DEF8C959-161B-48E6-918F-19FB2A9D3909}" dt="2023-04-21T09:54:40.609" v="10006" actId="1076"/>
          <ac:spMkLst>
            <pc:docMk/>
            <pc:sldMk cId="1603008812" sldId="7333"/>
            <ac:spMk id="2134" creationId="{9E790BE6-5F57-AFB8-9833-FEE2EB5B7A84}"/>
          </ac:spMkLst>
        </pc:spChg>
        <pc:spChg chg="add mod">
          <ac:chgData name="Bez, Florian" userId="30d7df6a-5295-4d75-a650-5a1fab7b8b2e" providerId="ADAL" clId="{DEF8C959-161B-48E6-918F-19FB2A9D3909}" dt="2023-04-21T09:54:40.609" v="10006" actId="1076"/>
          <ac:spMkLst>
            <pc:docMk/>
            <pc:sldMk cId="1603008812" sldId="7333"/>
            <ac:spMk id="2135" creationId="{4B71CE5E-24ED-7A24-00E9-2D07577EAFA0}"/>
          </ac:spMkLst>
        </pc:spChg>
        <pc:spChg chg="add mod">
          <ac:chgData name="Bez, Florian" userId="30d7df6a-5295-4d75-a650-5a1fab7b8b2e" providerId="ADAL" clId="{DEF8C959-161B-48E6-918F-19FB2A9D3909}" dt="2023-04-21T09:54:40.609" v="10006" actId="1076"/>
          <ac:spMkLst>
            <pc:docMk/>
            <pc:sldMk cId="1603008812" sldId="7333"/>
            <ac:spMk id="2136" creationId="{D89E8F6C-06D0-D3CA-58F7-218EFA3FC897}"/>
          </ac:spMkLst>
        </pc:spChg>
        <pc:spChg chg="add mod">
          <ac:chgData name="Bez, Florian" userId="30d7df6a-5295-4d75-a650-5a1fab7b8b2e" providerId="ADAL" clId="{DEF8C959-161B-48E6-918F-19FB2A9D3909}" dt="2023-04-21T09:54:40.609" v="10006" actId="1076"/>
          <ac:spMkLst>
            <pc:docMk/>
            <pc:sldMk cId="1603008812" sldId="7333"/>
            <ac:spMk id="2137" creationId="{A8B3E80E-F33E-25E4-C881-D46EDF9FE8F0}"/>
          </ac:spMkLst>
        </pc:spChg>
        <pc:spChg chg="add mod">
          <ac:chgData name="Bez, Florian" userId="30d7df6a-5295-4d75-a650-5a1fab7b8b2e" providerId="ADAL" clId="{DEF8C959-161B-48E6-918F-19FB2A9D3909}" dt="2023-04-21T09:54:40.609" v="10006" actId="1076"/>
          <ac:spMkLst>
            <pc:docMk/>
            <pc:sldMk cId="1603008812" sldId="7333"/>
            <ac:spMk id="2138" creationId="{0182EA34-92CD-4D71-5E84-B87322C34E63}"/>
          </ac:spMkLst>
        </pc:spChg>
        <pc:spChg chg="add mod">
          <ac:chgData name="Bez, Florian" userId="30d7df6a-5295-4d75-a650-5a1fab7b8b2e" providerId="ADAL" clId="{DEF8C959-161B-48E6-918F-19FB2A9D3909}" dt="2023-04-21T09:54:40.609" v="10006" actId="1076"/>
          <ac:spMkLst>
            <pc:docMk/>
            <pc:sldMk cId="1603008812" sldId="7333"/>
            <ac:spMk id="2139" creationId="{03F42956-890A-A28F-3AF9-DF1E8BA1353F}"/>
          </ac:spMkLst>
        </pc:spChg>
        <pc:spChg chg="add mod">
          <ac:chgData name="Bez, Florian" userId="30d7df6a-5295-4d75-a650-5a1fab7b8b2e" providerId="ADAL" clId="{DEF8C959-161B-48E6-918F-19FB2A9D3909}" dt="2023-04-21T09:54:40.609" v="10006" actId="1076"/>
          <ac:spMkLst>
            <pc:docMk/>
            <pc:sldMk cId="1603008812" sldId="7333"/>
            <ac:spMk id="2140" creationId="{92E43BD0-8C52-B65A-0085-0FF0BFFB03F1}"/>
          </ac:spMkLst>
        </pc:spChg>
        <pc:spChg chg="add mod">
          <ac:chgData name="Bez, Florian" userId="30d7df6a-5295-4d75-a650-5a1fab7b8b2e" providerId="ADAL" clId="{DEF8C959-161B-48E6-918F-19FB2A9D3909}" dt="2023-04-21T09:54:40.609" v="10006" actId="1076"/>
          <ac:spMkLst>
            <pc:docMk/>
            <pc:sldMk cId="1603008812" sldId="7333"/>
            <ac:spMk id="2141" creationId="{F377BC5D-1F83-5A58-FF3E-68822ED7942E}"/>
          </ac:spMkLst>
        </pc:spChg>
        <pc:spChg chg="add mod">
          <ac:chgData name="Bez, Florian" userId="30d7df6a-5295-4d75-a650-5a1fab7b8b2e" providerId="ADAL" clId="{DEF8C959-161B-48E6-918F-19FB2A9D3909}" dt="2023-04-21T09:54:40.609" v="10006" actId="1076"/>
          <ac:spMkLst>
            <pc:docMk/>
            <pc:sldMk cId="1603008812" sldId="7333"/>
            <ac:spMk id="2142" creationId="{D1DB073A-BF2D-7A8F-6146-78488CD27117}"/>
          </ac:spMkLst>
        </pc:spChg>
        <pc:spChg chg="add mod">
          <ac:chgData name="Bez, Florian" userId="30d7df6a-5295-4d75-a650-5a1fab7b8b2e" providerId="ADAL" clId="{DEF8C959-161B-48E6-918F-19FB2A9D3909}" dt="2023-04-21T09:54:40.609" v="10006" actId="1076"/>
          <ac:spMkLst>
            <pc:docMk/>
            <pc:sldMk cId="1603008812" sldId="7333"/>
            <ac:spMk id="2143" creationId="{0410C3D1-DC4E-A32F-FB3E-6C06309403EC}"/>
          </ac:spMkLst>
        </pc:spChg>
        <pc:spChg chg="add mod">
          <ac:chgData name="Bez, Florian" userId="30d7df6a-5295-4d75-a650-5a1fab7b8b2e" providerId="ADAL" clId="{DEF8C959-161B-48E6-918F-19FB2A9D3909}" dt="2023-04-21T09:54:40.609" v="10006" actId="1076"/>
          <ac:spMkLst>
            <pc:docMk/>
            <pc:sldMk cId="1603008812" sldId="7333"/>
            <ac:spMk id="2144" creationId="{B9E7C6F1-87DF-E1DA-5839-2CE9592216AE}"/>
          </ac:spMkLst>
        </pc:spChg>
        <pc:spChg chg="add mod">
          <ac:chgData name="Bez, Florian" userId="30d7df6a-5295-4d75-a650-5a1fab7b8b2e" providerId="ADAL" clId="{DEF8C959-161B-48E6-918F-19FB2A9D3909}" dt="2023-04-21T10:22:50.584" v="10302" actId="1036"/>
          <ac:spMkLst>
            <pc:docMk/>
            <pc:sldMk cId="1603008812" sldId="7333"/>
            <ac:spMk id="2145" creationId="{0E2F3F45-3062-63ED-091F-CB285FCB834A}"/>
          </ac:spMkLst>
        </pc:spChg>
        <pc:spChg chg="add mod">
          <ac:chgData name="Bez, Florian" userId="30d7df6a-5295-4d75-a650-5a1fab7b8b2e" providerId="ADAL" clId="{DEF8C959-161B-48E6-918F-19FB2A9D3909}" dt="2023-04-21T09:54:40.609" v="10006" actId="1076"/>
          <ac:spMkLst>
            <pc:docMk/>
            <pc:sldMk cId="1603008812" sldId="7333"/>
            <ac:spMk id="2146" creationId="{E492EFD2-A44E-081F-6848-D90871637C1B}"/>
          </ac:spMkLst>
        </pc:spChg>
        <pc:spChg chg="add del mod">
          <ac:chgData name="Bez, Florian" userId="30d7df6a-5295-4d75-a650-5a1fab7b8b2e" providerId="ADAL" clId="{DEF8C959-161B-48E6-918F-19FB2A9D3909}" dt="2023-04-21T10:01:55.576" v="10126" actId="478"/>
          <ac:spMkLst>
            <pc:docMk/>
            <pc:sldMk cId="1603008812" sldId="7333"/>
            <ac:spMk id="2149" creationId="{CCBD49D6-DCF5-B4EB-122A-FCF37653629A}"/>
          </ac:spMkLst>
        </pc:spChg>
        <pc:grpChg chg="add del mod">
          <ac:chgData name="Bez, Florian" userId="30d7df6a-5295-4d75-a650-5a1fab7b8b2e" providerId="ADAL" clId="{DEF8C959-161B-48E6-918F-19FB2A9D3909}" dt="2023-04-21T09:54:10.185" v="10004" actId="478"/>
          <ac:grpSpMkLst>
            <pc:docMk/>
            <pc:sldMk cId="1603008812" sldId="7333"/>
            <ac:grpSpMk id="8" creationId="{6CBF5EB1-A2CC-5A3E-91F6-AC41E5B00123}"/>
          </ac:grpSpMkLst>
        </pc:grpChg>
        <pc:grpChg chg="mod">
          <ac:chgData name="Bez, Florian" userId="30d7df6a-5295-4d75-a650-5a1fab7b8b2e" providerId="ADAL" clId="{DEF8C959-161B-48E6-918F-19FB2A9D3909}" dt="2023-04-21T09:53:26.427" v="9997"/>
          <ac:grpSpMkLst>
            <pc:docMk/>
            <pc:sldMk cId="1603008812" sldId="7333"/>
            <ac:grpSpMk id="10" creationId="{11865799-1AB8-E806-615C-B0D592314D82}"/>
          </ac:grpSpMkLst>
        </pc:grpChg>
        <pc:grpChg chg="mod">
          <ac:chgData name="Bez, Florian" userId="30d7df6a-5295-4d75-a650-5a1fab7b8b2e" providerId="ADAL" clId="{DEF8C959-161B-48E6-918F-19FB2A9D3909}" dt="2023-04-21T09:53:26.427" v="9997"/>
          <ac:grpSpMkLst>
            <pc:docMk/>
            <pc:sldMk cId="1603008812" sldId="7333"/>
            <ac:grpSpMk id="11" creationId="{EF35C960-9229-A25B-26D6-C3FAD9A9835A}"/>
          </ac:grpSpMkLst>
        </pc:grpChg>
        <pc:grpChg chg="mod">
          <ac:chgData name="Bez, Florian" userId="30d7df6a-5295-4d75-a650-5a1fab7b8b2e" providerId="ADAL" clId="{DEF8C959-161B-48E6-918F-19FB2A9D3909}" dt="2023-04-21T09:53:26.427" v="9997"/>
          <ac:grpSpMkLst>
            <pc:docMk/>
            <pc:sldMk cId="1603008812" sldId="7333"/>
            <ac:grpSpMk id="12" creationId="{5A8AB774-701C-497B-3E1A-356AE6A04392}"/>
          </ac:grpSpMkLst>
        </pc:grpChg>
        <pc:grpChg chg="mod">
          <ac:chgData name="Bez, Florian" userId="30d7df6a-5295-4d75-a650-5a1fab7b8b2e" providerId="ADAL" clId="{DEF8C959-161B-48E6-918F-19FB2A9D3909}" dt="2023-04-21T09:53:26.427" v="9997"/>
          <ac:grpSpMkLst>
            <pc:docMk/>
            <pc:sldMk cId="1603008812" sldId="7333"/>
            <ac:grpSpMk id="13" creationId="{CCD67893-C1CB-C405-8FAA-7D76BC96E6CA}"/>
          </ac:grpSpMkLst>
        </pc:grpChg>
        <pc:grpChg chg="add del mod">
          <ac:chgData name="Bez, Florian" userId="30d7df6a-5295-4d75-a650-5a1fab7b8b2e" providerId="ADAL" clId="{DEF8C959-161B-48E6-918F-19FB2A9D3909}" dt="2023-04-21T09:54:10.185" v="10004" actId="478"/>
          <ac:grpSpMkLst>
            <pc:docMk/>
            <pc:sldMk cId="1603008812" sldId="7333"/>
            <ac:grpSpMk id="1138" creationId="{30331AFB-453C-44F6-71BA-892AA154013B}"/>
          </ac:grpSpMkLst>
        </pc:grpChg>
        <pc:grpChg chg="add del mod ord">
          <ac:chgData name="Bez, Florian" userId="30d7df6a-5295-4d75-a650-5a1fab7b8b2e" providerId="ADAL" clId="{DEF8C959-161B-48E6-918F-19FB2A9D3909}" dt="2023-04-21T09:54:10.185" v="10004" actId="478"/>
          <ac:grpSpMkLst>
            <pc:docMk/>
            <pc:sldMk cId="1603008812" sldId="7333"/>
            <ac:grpSpMk id="1218" creationId="{9F876986-A129-3A73-C6EA-C23C3266174D}"/>
          </ac:grpSpMkLst>
        </pc:grpChg>
        <pc:grpChg chg="mod">
          <ac:chgData name="Bez, Florian" userId="30d7df6a-5295-4d75-a650-5a1fab7b8b2e" providerId="ADAL" clId="{DEF8C959-161B-48E6-918F-19FB2A9D3909}" dt="2023-04-21T09:53:48.588" v="9999"/>
          <ac:grpSpMkLst>
            <pc:docMk/>
            <pc:sldMk cId="1603008812" sldId="7333"/>
            <ac:grpSpMk id="1219" creationId="{9D6C1613-7827-4A53-C891-5D1869DE9202}"/>
          </ac:grpSpMkLst>
        </pc:grpChg>
        <pc:grpChg chg="mod">
          <ac:chgData name="Bez, Florian" userId="30d7df6a-5295-4d75-a650-5a1fab7b8b2e" providerId="ADAL" clId="{DEF8C959-161B-48E6-918F-19FB2A9D3909}" dt="2023-04-21T09:53:48.588" v="9999"/>
          <ac:grpSpMkLst>
            <pc:docMk/>
            <pc:sldMk cId="1603008812" sldId="7333"/>
            <ac:grpSpMk id="1220" creationId="{6CCF5016-CBC1-B8B1-B045-F8E258A354D6}"/>
          </ac:grpSpMkLst>
        </pc:grpChg>
        <pc:grpChg chg="mod">
          <ac:chgData name="Bez, Florian" userId="30d7df6a-5295-4d75-a650-5a1fab7b8b2e" providerId="ADAL" clId="{DEF8C959-161B-48E6-918F-19FB2A9D3909}" dt="2023-04-21T09:53:48.588" v="9999"/>
          <ac:grpSpMkLst>
            <pc:docMk/>
            <pc:sldMk cId="1603008812" sldId="7333"/>
            <ac:grpSpMk id="1221" creationId="{493D44B5-CF0D-0478-7471-F1F2541D2F77}"/>
          </ac:grpSpMkLst>
        </pc:grpChg>
        <pc:grpChg chg="mod">
          <ac:chgData name="Bez, Florian" userId="30d7df6a-5295-4d75-a650-5a1fab7b8b2e" providerId="ADAL" clId="{DEF8C959-161B-48E6-918F-19FB2A9D3909}" dt="2023-04-21T09:53:48.588" v="9999"/>
          <ac:grpSpMkLst>
            <pc:docMk/>
            <pc:sldMk cId="1603008812" sldId="7333"/>
            <ac:grpSpMk id="1222" creationId="{4EB110AE-E893-BE45-80C4-A2B5826C87E4}"/>
          </ac:grpSpMkLst>
        </pc:grpChg>
        <pc:grpChg chg="mod">
          <ac:chgData name="Bez, Florian" userId="30d7df6a-5295-4d75-a650-5a1fab7b8b2e" providerId="ADAL" clId="{DEF8C959-161B-48E6-918F-19FB2A9D3909}" dt="2023-04-21T09:53:48.588" v="9999"/>
          <ac:grpSpMkLst>
            <pc:docMk/>
            <pc:sldMk cId="1603008812" sldId="7333"/>
            <ac:grpSpMk id="1246" creationId="{F33DA4C7-47FB-E50E-99EF-6E27055AA18C}"/>
          </ac:grpSpMkLst>
        </pc:grpChg>
        <pc:grpChg chg="mod">
          <ac:chgData name="Bez, Florian" userId="30d7df6a-5295-4d75-a650-5a1fab7b8b2e" providerId="ADAL" clId="{DEF8C959-161B-48E6-918F-19FB2A9D3909}" dt="2023-04-21T09:53:48.588" v="9999"/>
          <ac:grpSpMkLst>
            <pc:docMk/>
            <pc:sldMk cId="1603008812" sldId="7333"/>
            <ac:grpSpMk id="1247" creationId="{78EEDB8C-CE27-6FEC-7C83-A01DE9C33BBA}"/>
          </ac:grpSpMkLst>
        </pc:grpChg>
        <pc:grpChg chg="mod">
          <ac:chgData name="Bez, Florian" userId="30d7df6a-5295-4d75-a650-5a1fab7b8b2e" providerId="ADAL" clId="{DEF8C959-161B-48E6-918F-19FB2A9D3909}" dt="2023-04-21T09:53:48.588" v="9999"/>
          <ac:grpSpMkLst>
            <pc:docMk/>
            <pc:sldMk cId="1603008812" sldId="7333"/>
            <ac:grpSpMk id="1340" creationId="{C21835D9-4353-5FB7-2620-9D7B3D68EFBA}"/>
          </ac:grpSpMkLst>
        </pc:grpChg>
        <pc:grpChg chg="mod">
          <ac:chgData name="Bez, Florian" userId="30d7df6a-5295-4d75-a650-5a1fab7b8b2e" providerId="ADAL" clId="{DEF8C959-161B-48E6-918F-19FB2A9D3909}" dt="2023-04-21T09:53:48.588" v="9999"/>
          <ac:grpSpMkLst>
            <pc:docMk/>
            <pc:sldMk cId="1603008812" sldId="7333"/>
            <ac:grpSpMk id="1492" creationId="{C5E9FA02-0E3F-7AF4-996B-FFE996658DC7}"/>
          </ac:grpSpMkLst>
        </pc:grpChg>
        <pc:grpChg chg="add mod">
          <ac:chgData name="Bez, Florian" userId="30d7df6a-5295-4d75-a650-5a1fab7b8b2e" providerId="ADAL" clId="{DEF8C959-161B-48E6-918F-19FB2A9D3909}" dt="2023-04-21T09:54:40.609" v="10006" actId="1076"/>
          <ac:grpSpMkLst>
            <pc:docMk/>
            <pc:sldMk cId="1603008812" sldId="7333"/>
            <ac:grpSpMk id="1575" creationId="{A1EC8E4C-B4E5-6124-5D8A-3EA139373068}"/>
          </ac:grpSpMkLst>
        </pc:grpChg>
        <pc:grpChg chg="mod">
          <ac:chgData name="Bez, Florian" userId="30d7df6a-5295-4d75-a650-5a1fab7b8b2e" providerId="ADAL" clId="{DEF8C959-161B-48E6-918F-19FB2A9D3909}" dt="2023-04-21T09:54:24.426" v="10005"/>
          <ac:grpSpMkLst>
            <pc:docMk/>
            <pc:sldMk cId="1603008812" sldId="7333"/>
            <ac:grpSpMk id="1576" creationId="{55BD7586-CDA6-074B-EB2B-6A880969FE1A}"/>
          </ac:grpSpMkLst>
        </pc:grpChg>
        <pc:grpChg chg="mod">
          <ac:chgData name="Bez, Florian" userId="30d7df6a-5295-4d75-a650-5a1fab7b8b2e" providerId="ADAL" clId="{DEF8C959-161B-48E6-918F-19FB2A9D3909}" dt="2023-04-21T09:54:24.426" v="10005"/>
          <ac:grpSpMkLst>
            <pc:docMk/>
            <pc:sldMk cId="1603008812" sldId="7333"/>
            <ac:grpSpMk id="1577" creationId="{E31F66BC-353E-5AE8-9FC0-1394C28D940B}"/>
          </ac:grpSpMkLst>
        </pc:grpChg>
        <pc:grpChg chg="mod">
          <ac:chgData name="Bez, Florian" userId="30d7df6a-5295-4d75-a650-5a1fab7b8b2e" providerId="ADAL" clId="{DEF8C959-161B-48E6-918F-19FB2A9D3909}" dt="2023-04-21T09:54:24.426" v="10005"/>
          <ac:grpSpMkLst>
            <pc:docMk/>
            <pc:sldMk cId="1603008812" sldId="7333"/>
            <ac:grpSpMk id="1578" creationId="{D2301396-6DCF-26D8-2DD6-1BA05F7C74C0}"/>
          </ac:grpSpMkLst>
        </pc:grpChg>
        <pc:grpChg chg="mod">
          <ac:chgData name="Bez, Florian" userId="30d7df6a-5295-4d75-a650-5a1fab7b8b2e" providerId="ADAL" clId="{DEF8C959-161B-48E6-918F-19FB2A9D3909}" dt="2023-04-21T09:54:24.426" v="10005"/>
          <ac:grpSpMkLst>
            <pc:docMk/>
            <pc:sldMk cId="1603008812" sldId="7333"/>
            <ac:grpSpMk id="1579" creationId="{4D11EC62-E020-A046-7C9B-5EE43D125A24}"/>
          </ac:grpSpMkLst>
        </pc:grpChg>
        <pc:grpChg chg="mod">
          <ac:chgData name="Bez, Florian" userId="30d7df6a-5295-4d75-a650-5a1fab7b8b2e" providerId="ADAL" clId="{DEF8C959-161B-48E6-918F-19FB2A9D3909}" dt="2023-04-21T09:54:24.426" v="10005"/>
          <ac:grpSpMkLst>
            <pc:docMk/>
            <pc:sldMk cId="1603008812" sldId="7333"/>
            <ac:grpSpMk id="1603" creationId="{A67B94EF-31F6-C043-581F-33EBBADA5315}"/>
          </ac:grpSpMkLst>
        </pc:grpChg>
        <pc:grpChg chg="mod">
          <ac:chgData name="Bez, Florian" userId="30d7df6a-5295-4d75-a650-5a1fab7b8b2e" providerId="ADAL" clId="{DEF8C959-161B-48E6-918F-19FB2A9D3909}" dt="2023-04-21T09:54:24.426" v="10005"/>
          <ac:grpSpMkLst>
            <pc:docMk/>
            <pc:sldMk cId="1603008812" sldId="7333"/>
            <ac:grpSpMk id="1604" creationId="{A0CB5877-8EE5-3ACD-39E7-49515CE82FDA}"/>
          </ac:grpSpMkLst>
        </pc:grpChg>
        <pc:grpChg chg="mod">
          <ac:chgData name="Bez, Florian" userId="30d7df6a-5295-4d75-a650-5a1fab7b8b2e" providerId="ADAL" clId="{DEF8C959-161B-48E6-918F-19FB2A9D3909}" dt="2023-04-21T09:54:24.426" v="10005"/>
          <ac:grpSpMkLst>
            <pc:docMk/>
            <pc:sldMk cId="1603008812" sldId="7333"/>
            <ac:grpSpMk id="1697" creationId="{1CECCF1E-45B1-9B2B-0AC5-227314470AD3}"/>
          </ac:grpSpMkLst>
        </pc:grpChg>
        <pc:grpChg chg="mod">
          <ac:chgData name="Bez, Florian" userId="30d7df6a-5295-4d75-a650-5a1fab7b8b2e" providerId="ADAL" clId="{DEF8C959-161B-48E6-918F-19FB2A9D3909}" dt="2023-04-21T09:54:24.426" v="10005"/>
          <ac:grpSpMkLst>
            <pc:docMk/>
            <pc:sldMk cId="1603008812" sldId="7333"/>
            <ac:grpSpMk id="1849" creationId="{B8952EB2-D8D8-8275-11AC-80F8C50A3D3F}"/>
          </ac:grpSpMkLst>
        </pc:grpChg>
        <pc:grpChg chg="add mod">
          <ac:chgData name="Bez, Florian" userId="30d7df6a-5295-4d75-a650-5a1fab7b8b2e" providerId="ADAL" clId="{DEF8C959-161B-48E6-918F-19FB2A9D3909}" dt="2023-04-21T09:54:40.609" v="10006" actId="1076"/>
          <ac:grpSpMkLst>
            <pc:docMk/>
            <pc:sldMk cId="1603008812" sldId="7333"/>
            <ac:grpSpMk id="1933" creationId="{086AD412-1869-6EED-4A4D-97D780B46D19}"/>
          </ac:grpSpMkLst>
        </pc:grpChg>
        <pc:grpChg chg="mod">
          <ac:chgData name="Bez, Florian" userId="30d7df6a-5295-4d75-a650-5a1fab7b8b2e" providerId="ADAL" clId="{DEF8C959-161B-48E6-918F-19FB2A9D3909}" dt="2023-04-21T09:54:24.426" v="10005"/>
          <ac:grpSpMkLst>
            <pc:docMk/>
            <pc:sldMk cId="1603008812" sldId="7333"/>
            <ac:grpSpMk id="1935" creationId="{E76A45CD-4161-66D9-435E-B6F1F88FB54F}"/>
          </ac:grpSpMkLst>
        </pc:grpChg>
        <pc:grpChg chg="mod">
          <ac:chgData name="Bez, Florian" userId="30d7df6a-5295-4d75-a650-5a1fab7b8b2e" providerId="ADAL" clId="{DEF8C959-161B-48E6-918F-19FB2A9D3909}" dt="2023-04-21T09:54:24.426" v="10005"/>
          <ac:grpSpMkLst>
            <pc:docMk/>
            <pc:sldMk cId="1603008812" sldId="7333"/>
            <ac:grpSpMk id="1936" creationId="{D9180443-BF6A-005F-4484-A8695DD20841}"/>
          </ac:grpSpMkLst>
        </pc:grpChg>
        <pc:grpChg chg="mod">
          <ac:chgData name="Bez, Florian" userId="30d7df6a-5295-4d75-a650-5a1fab7b8b2e" providerId="ADAL" clId="{DEF8C959-161B-48E6-918F-19FB2A9D3909}" dt="2023-04-21T09:54:24.426" v="10005"/>
          <ac:grpSpMkLst>
            <pc:docMk/>
            <pc:sldMk cId="1603008812" sldId="7333"/>
            <ac:grpSpMk id="1937" creationId="{39398E32-A2BE-FB6A-6598-6D0879BCC0AF}"/>
          </ac:grpSpMkLst>
        </pc:grpChg>
        <pc:grpChg chg="mod">
          <ac:chgData name="Bez, Florian" userId="30d7df6a-5295-4d75-a650-5a1fab7b8b2e" providerId="ADAL" clId="{DEF8C959-161B-48E6-918F-19FB2A9D3909}" dt="2023-04-21T09:54:24.426" v="10005"/>
          <ac:grpSpMkLst>
            <pc:docMk/>
            <pc:sldMk cId="1603008812" sldId="7333"/>
            <ac:grpSpMk id="1938" creationId="{9B95518D-3013-BCF5-9AAA-D6A7F49BA958}"/>
          </ac:grpSpMkLst>
        </pc:grpChg>
        <pc:grpChg chg="add mod">
          <ac:chgData name="Bez, Florian" userId="30d7df6a-5295-4d75-a650-5a1fab7b8b2e" providerId="ADAL" clId="{DEF8C959-161B-48E6-918F-19FB2A9D3909}" dt="2023-04-21T09:54:40.609" v="10006" actId="1076"/>
          <ac:grpSpMkLst>
            <pc:docMk/>
            <pc:sldMk cId="1603008812" sldId="7333"/>
            <ac:grpSpMk id="2069" creationId="{C7A85369-EC42-A9B6-72C2-0B96C85AA633}"/>
          </ac:grpSpMkLst>
        </pc:grpChg>
        <pc:picChg chg="add del mod">
          <ac:chgData name="Bez, Florian" userId="30d7df6a-5295-4d75-a650-5a1fab7b8b2e" providerId="ADAL" clId="{DEF8C959-161B-48E6-918F-19FB2A9D3909}" dt="2023-04-21T08:19:23.791" v="8920" actId="478"/>
          <ac:picMkLst>
            <pc:docMk/>
            <pc:sldMk cId="1603008812" sldId="7333"/>
            <ac:picMk id="3" creationId="{927A8E9F-25EA-EB2F-0518-B602B22600A1}"/>
          </ac:picMkLst>
        </pc:picChg>
        <pc:picChg chg="add del mod">
          <ac:chgData name="Bez, Florian" userId="30d7df6a-5295-4d75-a650-5a1fab7b8b2e" providerId="ADAL" clId="{DEF8C959-161B-48E6-918F-19FB2A9D3909}" dt="2023-04-21T09:51:41.970" v="9963" actId="478"/>
          <ac:picMkLst>
            <pc:docMk/>
            <pc:sldMk cId="1603008812" sldId="7333"/>
            <ac:picMk id="1026" creationId="{C0898260-A133-8550-9EB5-AA801F8548C6}"/>
          </ac:picMkLst>
        </pc:picChg>
        <pc:picChg chg="add mod">
          <ac:chgData name="Bez, Florian" userId="30d7df6a-5295-4d75-a650-5a1fab7b8b2e" providerId="ADAL" clId="{DEF8C959-161B-48E6-918F-19FB2A9D3909}" dt="2023-04-21T10:02:27.170" v="10132" actId="1076"/>
          <ac:picMkLst>
            <pc:docMk/>
            <pc:sldMk cId="1603008812" sldId="7333"/>
            <ac:picMk id="3074" creationId="{3A5C4C97-D039-7E95-CEF4-DB8C9534BEBD}"/>
          </ac:picMkLst>
        </pc:picChg>
        <pc:cxnChg chg="add del mod">
          <ac:chgData name="Bez, Florian" userId="30d7df6a-5295-4d75-a650-5a1fab7b8b2e" providerId="ADAL" clId="{DEF8C959-161B-48E6-918F-19FB2A9D3909}" dt="2023-04-21T09:54:10.185" v="10004" actId="478"/>
          <ac:cxnSpMkLst>
            <pc:docMk/>
            <pc:sldMk cId="1603008812" sldId="7333"/>
            <ac:cxnSpMk id="1150" creationId="{BB6A7133-97C4-9816-85B5-577C19F849B7}"/>
          </ac:cxnSpMkLst>
        </pc:cxnChg>
        <pc:cxnChg chg="add del mod">
          <ac:chgData name="Bez, Florian" userId="30d7df6a-5295-4d75-a650-5a1fab7b8b2e" providerId="ADAL" clId="{DEF8C959-161B-48E6-918F-19FB2A9D3909}" dt="2023-04-21T09:54:10.185" v="10004" actId="478"/>
          <ac:cxnSpMkLst>
            <pc:docMk/>
            <pc:sldMk cId="1603008812" sldId="7333"/>
            <ac:cxnSpMk id="1161" creationId="{F6D0311B-92B0-4E25-A4ED-475316F7CC91}"/>
          </ac:cxnSpMkLst>
        </pc:cxnChg>
        <pc:cxnChg chg="add del mod">
          <ac:chgData name="Bez, Florian" userId="30d7df6a-5295-4d75-a650-5a1fab7b8b2e" providerId="ADAL" clId="{DEF8C959-161B-48E6-918F-19FB2A9D3909}" dt="2023-04-21T09:54:10.185" v="10004" actId="478"/>
          <ac:cxnSpMkLst>
            <pc:docMk/>
            <pc:sldMk cId="1603008812" sldId="7333"/>
            <ac:cxnSpMk id="1181" creationId="{5B70CF14-0029-A9F7-2BB6-1B90663BC28A}"/>
          </ac:cxnSpMkLst>
        </pc:cxnChg>
        <pc:cxnChg chg="add del mod">
          <ac:chgData name="Bez, Florian" userId="30d7df6a-5295-4d75-a650-5a1fab7b8b2e" providerId="ADAL" clId="{DEF8C959-161B-48E6-918F-19FB2A9D3909}" dt="2023-04-21T09:54:10.185" v="10004" actId="478"/>
          <ac:cxnSpMkLst>
            <pc:docMk/>
            <pc:sldMk cId="1603008812" sldId="7333"/>
            <ac:cxnSpMk id="1182" creationId="{51C339DB-6FC7-6E83-025A-4CC1A5521EB5}"/>
          </ac:cxnSpMkLst>
        </pc:cxnChg>
        <pc:cxnChg chg="add del mod">
          <ac:chgData name="Bez, Florian" userId="30d7df6a-5295-4d75-a650-5a1fab7b8b2e" providerId="ADAL" clId="{DEF8C959-161B-48E6-918F-19FB2A9D3909}" dt="2023-04-21T09:54:10.185" v="10004" actId="478"/>
          <ac:cxnSpMkLst>
            <pc:docMk/>
            <pc:sldMk cId="1603008812" sldId="7333"/>
            <ac:cxnSpMk id="1216" creationId="{BA8E7E11-7EFC-F9C7-17FC-5985F1684F7D}"/>
          </ac:cxnSpMkLst>
        </pc:cxnChg>
        <pc:cxnChg chg="add del mod">
          <ac:chgData name="Bez, Florian" userId="30d7df6a-5295-4d75-a650-5a1fab7b8b2e" providerId="ADAL" clId="{DEF8C959-161B-48E6-918F-19FB2A9D3909}" dt="2023-04-21T09:54:10.185" v="10004" actId="478"/>
          <ac:cxnSpMkLst>
            <pc:docMk/>
            <pc:sldMk cId="1603008812" sldId="7333"/>
            <ac:cxnSpMk id="1217" creationId="{3726A6C8-F81D-3239-E7DB-196FE7B68005}"/>
          </ac:cxnSpMkLst>
        </pc:cxnChg>
        <pc:cxnChg chg="add mod">
          <ac:chgData name="Bez, Florian" userId="30d7df6a-5295-4d75-a650-5a1fab7b8b2e" providerId="ADAL" clId="{DEF8C959-161B-48E6-918F-19FB2A9D3909}" dt="2023-04-21T09:54:40.609" v="10006" actId="1076"/>
          <ac:cxnSpMkLst>
            <pc:docMk/>
            <pc:sldMk cId="1603008812" sldId="7333"/>
            <ac:cxnSpMk id="2081" creationId="{C191F81B-4947-2869-A374-FD7EA5162437}"/>
          </ac:cxnSpMkLst>
        </pc:cxnChg>
        <pc:cxnChg chg="add mod">
          <ac:chgData name="Bez, Florian" userId="30d7df6a-5295-4d75-a650-5a1fab7b8b2e" providerId="ADAL" clId="{DEF8C959-161B-48E6-918F-19FB2A9D3909}" dt="2023-04-21T09:54:40.609" v="10006" actId="1076"/>
          <ac:cxnSpMkLst>
            <pc:docMk/>
            <pc:sldMk cId="1603008812" sldId="7333"/>
            <ac:cxnSpMk id="2092" creationId="{00E08DCF-2161-D5D7-980B-DD6A77437352}"/>
          </ac:cxnSpMkLst>
        </pc:cxnChg>
        <pc:cxnChg chg="add mod">
          <ac:chgData name="Bez, Florian" userId="30d7df6a-5295-4d75-a650-5a1fab7b8b2e" providerId="ADAL" clId="{DEF8C959-161B-48E6-918F-19FB2A9D3909}" dt="2023-04-21T09:54:40.609" v="10006" actId="1076"/>
          <ac:cxnSpMkLst>
            <pc:docMk/>
            <pc:sldMk cId="1603008812" sldId="7333"/>
            <ac:cxnSpMk id="2112" creationId="{BAD33D25-75EC-EB27-1CFB-6C571F9F5781}"/>
          </ac:cxnSpMkLst>
        </pc:cxnChg>
        <pc:cxnChg chg="add mod">
          <ac:chgData name="Bez, Florian" userId="30d7df6a-5295-4d75-a650-5a1fab7b8b2e" providerId="ADAL" clId="{DEF8C959-161B-48E6-918F-19FB2A9D3909}" dt="2023-04-21T09:54:40.609" v="10006" actId="1076"/>
          <ac:cxnSpMkLst>
            <pc:docMk/>
            <pc:sldMk cId="1603008812" sldId="7333"/>
            <ac:cxnSpMk id="2113" creationId="{D8C4598D-4E13-7210-FA68-3EFAEEFCEA4B}"/>
          </ac:cxnSpMkLst>
        </pc:cxnChg>
        <pc:cxnChg chg="add mod">
          <ac:chgData name="Bez, Florian" userId="30d7df6a-5295-4d75-a650-5a1fab7b8b2e" providerId="ADAL" clId="{DEF8C959-161B-48E6-918F-19FB2A9D3909}" dt="2023-04-21T09:54:40.609" v="10006" actId="1076"/>
          <ac:cxnSpMkLst>
            <pc:docMk/>
            <pc:sldMk cId="1603008812" sldId="7333"/>
            <ac:cxnSpMk id="2147" creationId="{E00B0222-10FB-3C37-6440-C5F9F34BE9D3}"/>
          </ac:cxnSpMkLst>
        </pc:cxnChg>
        <pc:cxnChg chg="add mod">
          <ac:chgData name="Bez, Florian" userId="30d7df6a-5295-4d75-a650-5a1fab7b8b2e" providerId="ADAL" clId="{DEF8C959-161B-48E6-918F-19FB2A9D3909}" dt="2023-04-21T09:54:40.609" v="10006" actId="1076"/>
          <ac:cxnSpMkLst>
            <pc:docMk/>
            <pc:sldMk cId="1603008812" sldId="7333"/>
            <ac:cxnSpMk id="2148" creationId="{F132E870-BBB3-837F-90ED-1675117D3543}"/>
          </ac:cxnSpMkLst>
        </pc:cxnChg>
      </pc:sldChg>
      <pc:sldChg chg="addSp delSp modSp add mod ord delAnim modAnim">
        <pc:chgData name="Bez, Florian" userId="30d7df6a-5295-4d75-a650-5a1fab7b8b2e" providerId="ADAL" clId="{DEF8C959-161B-48E6-918F-19FB2A9D3909}" dt="2023-04-21T07:30:21.601" v="7648" actId="478"/>
        <pc:sldMkLst>
          <pc:docMk/>
          <pc:sldMk cId="2723804099" sldId="7334"/>
        </pc:sldMkLst>
        <pc:spChg chg="mod">
          <ac:chgData name="Bez, Florian" userId="30d7df6a-5295-4d75-a650-5a1fab7b8b2e" providerId="ADAL" clId="{DEF8C959-161B-48E6-918F-19FB2A9D3909}" dt="2023-04-17T17:32:27.742" v="767" actId="14100"/>
          <ac:spMkLst>
            <pc:docMk/>
            <pc:sldMk cId="2723804099" sldId="7334"/>
            <ac:spMk id="2" creationId="{D80B81FD-744A-49A8-9CF9-3DE47A77E15E}"/>
          </ac:spMkLst>
        </pc:spChg>
        <pc:spChg chg="mod topLvl">
          <ac:chgData name="Bez, Florian" userId="30d7df6a-5295-4d75-a650-5a1fab7b8b2e" providerId="ADAL" clId="{DEF8C959-161B-48E6-918F-19FB2A9D3909}" dt="2023-04-17T18:37:03.557" v="2212" actId="165"/>
          <ac:spMkLst>
            <pc:docMk/>
            <pc:sldMk cId="2723804099" sldId="7334"/>
            <ac:spMk id="4" creationId="{89B4BAC9-E522-5B25-4D87-5F96E2D97D95}"/>
          </ac:spMkLst>
        </pc:spChg>
        <pc:spChg chg="mod">
          <ac:chgData name="Bez, Florian" userId="30d7df6a-5295-4d75-a650-5a1fab7b8b2e" providerId="ADAL" clId="{DEF8C959-161B-48E6-918F-19FB2A9D3909}" dt="2023-04-20T10:06:53.291" v="7109" actId="14100"/>
          <ac:spMkLst>
            <pc:docMk/>
            <pc:sldMk cId="2723804099" sldId="7334"/>
            <ac:spMk id="6" creationId="{3A70FE57-FC1B-4F9C-BB9E-21DD1D15064D}"/>
          </ac:spMkLst>
        </pc:spChg>
        <pc:spChg chg="mod topLvl">
          <ac:chgData name="Bez, Florian" userId="30d7df6a-5295-4d75-a650-5a1fab7b8b2e" providerId="ADAL" clId="{DEF8C959-161B-48E6-918F-19FB2A9D3909}" dt="2023-04-17T18:37:16.614" v="2215" actId="165"/>
          <ac:spMkLst>
            <pc:docMk/>
            <pc:sldMk cId="2723804099" sldId="7334"/>
            <ac:spMk id="10" creationId="{CD29F509-2171-3714-6FAF-E33ABE284593}"/>
          </ac:spMkLst>
        </pc:spChg>
        <pc:spChg chg="del">
          <ac:chgData name="Bez, Florian" userId="30d7df6a-5295-4d75-a650-5a1fab7b8b2e" providerId="ADAL" clId="{DEF8C959-161B-48E6-918F-19FB2A9D3909}" dt="2023-04-17T17:26:46.629" v="595" actId="478"/>
          <ac:spMkLst>
            <pc:docMk/>
            <pc:sldMk cId="2723804099" sldId="7334"/>
            <ac:spMk id="12" creationId="{BEFE2F78-5562-7B6E-743F-B1C6AA55023C}"/>
          </ac:spMkLst>
        </pc:spChg>
        <pc:spChg chg="mod topLvl">
          <ac:chgData name="Bez, Florian" userId="30d7df6a-5295-4d75-a650-5a1fab7b8b2e" providerId="ADAL" clId="{DEF8C959-161B-48E6-918F-19FB2A9D3909}" dt="2023-04-17T18:39:36.266" v="2252" actId="14100"/>
          <ac:spMkLst>
            <pc:docMk/>
            <pc:sldMk cId="2723804099" sldId="7334"/>
            <ac:spMk id="16" creationId="{329BC8B0-0FF2-63A8-3785-057AC183C298}"/>
          </ac:spMkLst>
        </pc:spChg>
        <pc:spChg chg="del mod topLvl">
          <ac:chgData name="Bez, Florian" userId="30d7df6a-5295-4d75-a650-5a1fab7b8b2e" providerId="ADAL" clId="{DEF8C959-161B-48E6-918F-19FB2A9D3909}" dt="2023-04-17T18:45:00.393" v="2428" actId="478"/>
          <ac:spMkLst>
            <pc:docMk/>
            <pc:sldMk cId="2723804099" sldId="7334"/>
            <ac:spMk id="17" creationId="{5215EFDF-AFDD-37B2-B487-62977DC552E6}"/>
          </ac:spMkLst>
        </pc:spChg>
        <pc:spChg chg="mod topLvl">
          <ac:chgData name="Bez, Florian" userId="30d7df6a-5295-4d75-a650-5a1fab7b8b2e" providerId="ADAL" clId="{DEF8C959-161B-48E6-918F-19FB2A9D3909}" dt="2023-04-17T18:37:16.614" v="2215" actId="165"/>
          <ac:spMkLst>
            <pc:docMk/>
            <pc:sldMk cId="2723804099" sldId="7334"/>
            <ac:spMk id="18" creationId="{56DE366F-6031-ECE2-17EC-316D53DA4FF1}"/>
          </ac:spMkLst>
        </pc:spChg>
        <pc:spChg chg="mod topLvl">
          <ac:chgData name="Bez, Florian" userId="30d7df6a-5295-4d75-a650-5a1fab7b8b2e" providerId="ADAL" clId="{DEF8C959-161B-48E6-918F-19FB2A9D3909}" dt="2023-04-17T18:37:16.614" v="2215" actId="165"/>
          <ac:spMkLst>
            <pc:docMk/>
            <pc:sldMk cId="2723804099" sldId="7334"/>
            <ac:spMk id="19" creationId="{853BD45B-F57A-A700-38B1-90339B28BD7E}"/>
          </ac:spMkLst>
        </pc:spChg>
        <pc:spChg chg="del">
          <ac:chgData name="Bez, Florian" userId="30d7df6a-5295-4d75-a650-5a1fab7b8b2e" providerId="ADAL" clId="{DEF8C959-161B-48E6-918F-19FB2A9D3909}" dt="2023-04-17T17:26:39.540" v="590" actId="478"/>
          <ac:spMkLst>
            <pc:docMk/>
            <pc:sldMk cId="2723804099" sldId="7334"/>
            <ac:spMk id="20" creationId="{2D66D90A-2215-5EBC-6531-CD054B3C9F40}"/>
          </ac:spMkLst>
        </pc:spChg>
        <pc:spChg chg="del">
          <ac:chgData name="Bez, Florian" userId="30d7df6a-5295-4d75-a650-5a1fab7b8b2e" providerId="ADAL" clId="{DEF8C959-161B-48E6-918F-19FB2A9D3909}" dt="2023-04-17T17:26:42.683" v="592" actId="478"/>
          <ac:spMkLst>
            <pc:docMk/>
            <pc:sldMk cId="2723804099" sldId="7334"/>
            <ac:spMk id="21" creationId="{7415B38C-9908-5DEC-2136-734A36BBB16B}"/>
          </ac:spMkLst>
        </pc:spChg>
        <pc:spChg chg="del">
          <ac:chgData name="Bez, Florian" userId="30d7df6a-5295-4d75-a650-5a1fab7b8b2e" providerId="ADAL" clId="{DEF8C959-161B-48E6-918F-19FB2A9D3909}" dt="2023-04-17T17:26:41.001" v="591" actId="478"/>
          <ac:spMkLst>
            <pc:docMk/>
            <pc:sldMk cId="2723804099" sldId="7334"/>
            <ac:spMk id="22" creationId="{750C59AA-907B-6E66-E266-85D818D21956}"/>
          </ac:spMkLst>
        </pc:spChg>
        <pc:spChg chg="del">
          <ac:chgData name="Bez, Florian" userId="30d7df6a-5295-4d75-a650-5a1fab7b8b2e" providerId="ADAL" clId="{DEF8C959-161B-48E6-918F-19FB2A9D3909}" dt="2023-04-17T17:26:44.043" v="593" actId="478"/>
          <ac:spMkLst>
            <pc:docMk/>
            <pc:sldMk cId="2723804099" sldId="7334"/>
            <ac:spMk id="23" creationId="{9BD97E54-D2E6-544C-6B78-E1DEE2160056}"/>
          </ac:spMkLst>
        </pc:spChg>
        <pc:spChg chg="mod topLvl">
          <ac:chgData name="Bez, Florian" userId="30d7df6a-5295-4d75-a650-5a1fab7b8b2e" providerId="ADAL" clId="{DEF8C959-161B-48E6-918F-19FB2A9D3909}" dt="2023-04-17T18:37:16.614" v="2215" actId="165"/>
          <ac:spMkLst>
            <pc:docMk/>
            <pc:sldMk cId="2723804099" sldId="7334"/>
            <ac:spMk id="24" creationId="{7FA6D538-645C-89F4-0F05-C8DDC2E98557}"/>
          </ac:spMkLst>
        </pc:spChg>
        <pc:spChg chg="mod topLvl">
          <ac:chgData name="Bez, Florian" userId="30d7df6a-5295-4d75-a650-5a1fab7b8b2e" providerId="ADAL" clId="{DEF8C959-161B-48E6-918F-19FB2A9D3909}" dt="2023-04-17T18:37:16.614" v="2215" actId="165"/>
          <ac:spMkLst>
            <pc:docMk/>
            <pc:sldMk cId="2723804099" sldId="7334"/>
            <ac:spMk id="25" creationId="{9283A117-42D7-FF6F-B655-AEA7DD7D0972}"/>
          </ac:spMkLst>
        </pc:spChg>
        <pc:spChg chg="mod">
          <ac:chgData name="Bez, Florian" userId="30d7df6a-5295-4d75-a650-5a1fab7b8b2e" providerId="ADAL" clId="{DEF8C959-161B-48E6-918F-19FB2A9D3909}" dt="2023-04-17T18:40:44.748" v="2274" actId="14100"/>
          <ac:spMkLst>
            <pc:docMk/>
            <pc:sldMk cId="2723804099" sldId="7334"/>
            <ac:spMk id="26" creationId="{2D7017BC-67C1-D704-9C3C-5F23FDD0721F}"/>
          </ac:spMkLst>
        </pc:spChg>
        <pc:spChg chg="del">
          <ac:chgData name="Bez, Florian" userId="30d7df6a-5295-4d75-a650-5a1fab7b8b2e" providerId="ADAL" clId="{DEF8C959-161B-48E6-918F-19FB2A9D3909}" dt="2023-04-21T07:30:21.601" v="7648" actId="478"/>
          <ac:spMkLst>
            <pc:docMk/>
            <pc:sldMk cId="2723804099" sldId="7334"/>
            <ac:spMk id="27" creationId="{FD05BCEB-6DAC-F4F4-F8EE-401591CDBE65}"/>
          </ac:spMkLst>
        </pc:spChg>
        <pc:spChg chg="mod topLvl">
          <ac:chgData name="Bez, Florian" userId="30d7df6a-5295-4d75-a650-5a1fab7b8b2e" providerId="ADAL" clId="{DEF8C959-161B-48E6-918F-19FB2A9D3909}" dt="2023-04-17T18:37:16.614" v="2215" actId="165"/>
          <ac:spMkLst>
            <pc:docMk/>
            <pc:sldMk cId="2723804099" sldId="7334"/>
            <ac:spMk id="28" creationId="{12056CDB-17F7-A65F-B089-C5B403267502}"/>
          </ac:spMkLst>
        </pc:spChg>
        <pc:spChg chg="mod topLvl">
          <ac:chgData name="Bez, Florian" userId="30d7df6a-5295-4d75-a650-5a1fab7b8b2e" providerId="ADAL" clId="{DEF8C959-161B-48E6-918F-19FB2A9D3909}" dt="2023-04-17T18:37:16.614" v="2215" actId="165"/>
          <ac:spMkLst>
            <pc:docMk/>
            <pc:sldMk cId="2723804099" sldId="7334"/>
            <ac:spMk id="29" creationId="{DB3134AA-71CC-4DD2-DEEB-4D2F058065D9}"/>
          </ac:spMkLst>
        </pc:spChg>
        <pc:spChg chg="del">
          <ac:chgData name="Bez, Florian" userId="30d7df6a-5295-4d75-a650-5a1fab7b8b2e" providerId="ADAL" clId="{DEF8C959-161B-48E6-918F-19FB2A9D3909}" dt="2023-04-17T18:36:48.564" v="2210" actId="478"/>
          <ac:spMkLst>
            <pc:docMk/>
            <pc:sldMk cId="2723804099" sldId="7334"/>
            <ac:spMk id="30" creationId="{3C1AB998-8AF9-87CE-3596-CD55F2A5CB4F}"/>
          </ac:spMkLst>
        </pc:spChg>
        <pc:spChg chg="mod topLvl">
          <ac:chgData name="Bez, Florian" userId="30d7df6a-5295-4d75-a650-5a1fab7b8b2e" providerId="ADAL" clId="{DEF8C959-161B-48E6-918F-19FB2A9D3909}" dt="2023-04-17T18:37:16.614" v="2215" actId="165"/>
          <ac:spMkLst>
            <pc:docMk/>
            <pc:sldMk cId="2723804099" sldId="7334"/>
            <ac:spMk id="31" creationId="{A0708627-EB2D-8051-1881-84DA2BF851E8}"/>
          </ac:spMkLst>
        </pc:spChg>
        <pc:spChg chg="mod topLvl">
          <ac:chgData name="Bez, Florian" userId="30d7df6a-5295-4d75-a650-5a1fab7b8b2e" providerId="ADAL" clId="{DEF8C959-161B-48E6-918F-19FB2A9D3909}" dt="2023-04-17T18:37:16.614" v="2215" actId="165"/>
          <ac:spMkLst>
            <pc:docMk/>
            <pc:sldMk cId="2723804099" sldId="7334"/>
            <ac:spMk id="1024" creationId="{E5389A75-3F76-A9C7-287B-F1806736FBA2}"/>
          </ac:spMkLst>
        </pc:spChg>
        <pc:spChg chg="mod topLvl">
          <ac:chgData name="Bez, Florian" userId="30d7df6a-5295-4d75-a650-5a1fab7b8b2e" providerId="ADAL" clId="{DEF8C959-161B-48E6-918F-19FB2A9D3909}" dt="2023-04-17T18:37:16.614" v="2215" actId="165"/>
          <ac:spMkLst>
            <pc:docMk/>
            <pc:sldMk cId="2723804099" sldId="7334"/>
            <ac:spMk id="1025" creationId="{6F270320-A428-00D5-013F-9DBC1EAC253E}"/>
          </ac:spMkLst>
        </pc:spChg>
        <pc:spChg chg="mod topLvl">
          <ac:chgData name="Bez, Florian" userId="30d7df6a-5295-4d75-a650-5a1fab7b8b2e" providerId="ADAL" clId="{DEF8C959-161B-48E6-918F-19FB2A9D3909}" dt="2023-04-17T18:39:40.345" v="2253" actId="1076"/>
          <ac:spMkLst>
            <pc:docMk/>
            <pc:sldMk cId="2723804099" sldId="7334"/>
            <ac:spMk id="1027" creationId="{C3F33668-0B93-E2DA-42D6-5948E553DDE1}"/>
          </ac:spMkLst>
        </pc:spChg>
        <pc:spChg chg="mod topLvl">
          <ac:chgData name="Bez, Florian" userId="30d7df6a-5295-4d75-a650-5a1fab7b8b2e" providerId="ADAL" clId="{DEF8C959-161B-48E6-918F-19FB2A9D3909}" dt="2023-04-17T18:37:16.614" v="2215" actId="165"/>
          <ac:spMkLst>
            <pc:docMk/>
            <pc:sldMk cId="2723804099" sldId="7334"/>
            <ac:spMk id="1029" creationId="{19B2F288-5216-DAA1-D2C9-677383526A5C}"/>
          </ac:spMkLst>
        </pc:spChg>
        <pc:spChg chg="mod topLvl">
          <ac:chgData name="Bez, Florian" userId="30d7df6a-5295-4d75-a650-5a1fab7b8b2e" providerId="ADAL" clId="{DEF8C959-161B-48E6-918F-19FB2A9D3909}" dt="2023-04-17T18:37:16.614" v="2215" actId="165"/>
          <ac:spMkLst>
            <pc:docMk/>
            <pc:sldMk cId="2723804099" sldId="7334"/>
            <ac:spMk id="1030" creationId="{CDEF4470-0BA2-B29D-4F4B-6EE228DAF8EB}"/>
          </ac:spMkLst>
        </pc:spChg>
        <pc:spChg chg="mod topLvl">
          <ac:chgData name="Bez, Florian" userId="30d7df6a-5295-4d75-a650-5a1fab7b8b2e" providerId="ADAL" clId="{DEF8C959-161B-48E6-918F-19FB2A9D3909}" dt="2023-04-17T18:37:16.614" v="2215" actId="165"/>
          <ac:spMkLst>
            <pc:docMk/>
            <pc:sldMk cId="2723804099" sldId="7334"/>
            <ac:spMk id="1031" creationId="{363E9851-5977-9B51-97A5-BC7B14AB9AE4}"/>
          </ac:spMkLst>
        </pc:spChg>
        <pc:spChg chg="mod topLvl">
          <ac:chgData name="Bez, Florian" userId="30d7df6a-5295-4d75-a650-5a1fab7b8b2e" providerId="ADAL" clId="{DEF8C959-161B-48E6-918F-19FB2A9D3909}" dt="2023-04-17T18:37:16.614" v="2215" actId="165"/>
          <ac:spMkLst>
            <pc:docMk/>
            <pc:sldMk cId="2723804099" sldId="7334"/>
            <ac:spMk id="1032" creationId="{1271EED3-1D9E-3C76-A2B8-5A4382EA1FE8}"/>
          </ac:spMkLst>
        </pc:spChg>
        <pc:spChg chg="mod topLvl">
          <ac:chgData name="Bez, Florian" userId="30d7df6a-5295-4d75-a650-5a1fab7b8b2e" providerId="ADAL" clId="{DEF8C959-161B-48E6-918F-19FB2A9D3909}" dt="2023-04-17T18:39:43.315" v="2254" actId="1076"/>
          <ac:spMkLst>
            <pc:docMk/>
            <pc:sldMk cId="2723804099" sldId="7334"/>
            <ac:spMk id="1033" creationId="{621E6FD7-325D-2EBA-5835-0482097722F9}"/>
          </ac:spMkLst>
        </pc:spChg>
        <pc:spChg chg="mod topLvl">
          <ac:chgData name="Bez, Florian" userId="30d7df6a-5295-4d75-a650-5a1fab7b8b2e" providerId="ADAL" clId="{DEF8C959-161B-48E6-918F-19FB2A9D3909}" dt="2023-04-17T18:37:16.614" v="2215" actId="165"/>
          <ac:spMkLst>
            <pc:docMk/>
            <pc:sldMk cId="2723804099" sldId="7334"/>
            <ac:spMk id="1034" creationId="{CF2B846C-3058-28F7-C9C2-E0E906FEC958}"/>
          </ac:spMkLst>
        </pc:spChg>
        <pc:spChg chg="mod">
          <ac:chgData name="Bez, Florian" userId="30d7df6a-5295-4d75-a650-5a1fab7b8b2e" providerId="ADAL" clId="{DEF8C959-161B-48E6-918F-19FB2A9D3909}" dt="2023-04-17T18:37:16.614" v="2215" actId="165"/>
          <ac:spMkLst>
            <pc:docMk/>
            <pc:sldMk cId="2723804099" sldId="7334"/>
            <ac:spMk id="1035" creationId="{3227D261-9753-52D7-75C8-D20FFE7573A7}"/>
          </ac:spMkLst>
        </pc:spChg>
        <pc:spChg chg="mod">
          <ac:chgData name="Bez, Florian" userId="30d7df6a-5295-4d75-a650-5a1fab7b8b2e" providerId="ADAL" clId="{DEF8C959-161B-48E6-918F-19FB2A9D3909}" dt="2023-04-17T18:37:16.614" v="2215" actId="165"/>
          <ac:spMkLst>
            <pc:docMk/>
            <pc:sldMk cId="2723804099" sldId="7334"/>
            <ac:spMk id="1036" creationId="{7E97E831-9BA1-54B8-EF14-E68C8C1713B2}"/>
          </ac:spMkLst>
        </pc:spChg>
        <pc:spChg chg="mod">
          <ac:chgData name="Bez, Florian" userId="30d7df6a-5295-4d75-a650-5a1fab7b8b2e" providerId="ADAL" clId="{DEF8C959-161B-48E6-918F-19FB2A9D3909}" dt="2023-04-17T18:37:16.614" v="2215" actId="165"/>
          <ac:spMkLst>
            <pc:docMk/>
            <pc:sldMk cId="2723804099" sldId="7334"/>
            <ac:spMk id="1037" creationId="{56B2AD7F-E1DE-B827-D5AC-6CE137CABA67}"/>
          </ac:spMkLst>
        </pc:spChg>
        <pc:spChg chg="mod">
          <ac:chgData name="Bez, Florian" userId="30d7df6a-5295-4d75-a650-5a1fab7b8b2e" providerId="ADAL" clId="{DEF8C959-161B-48E6-918F-19FB2A9D3909}" dt="2023-04-17T18:37:16.614" v="2215" actId="165"/>
          <ac:spMkLst>
            <pc:docMk/>
            <pc:sldMk cId="2723804099" sldId="7334"/>
            <ac:spMk id="1038" creationId="{F7592B6F-FB03-AA19-9CA1-08DE7915F523}"/>
          </ac:spMkLst>
        </pc:spChg>
        <pc:spChg chg="mod">
          <ac:chgData name="Bez, Florian" userId="30d7df6a-5295-4d75-a650-5a1fab7b8b2e" providerId="ADAL" clId="{DEF8C959-161B-48E6-918F-19FB2A9D3909}" dt="2023-04-17T18:37:16.614" v="2215" actId="165"/>
          <ac:spMkLst>
            <pc:docMk/>
            <pc:sldMk cId="2723804099" sldId="7334"/>
            <ac:spMk id="1039" creationId="{02E0FB8C-2E03-2AED-47CC-64A4DF38C4AB}"/>
          </ac:spMkLst>
        </pc:spChg>
        <pc:spChg chg="mod">
          <ac:chgData name="Bez, Florian" userId="30d7df6a-5295-4d75-a650-5a1fab7b8b2e" providerId="ADAL" clId="{DEF8C959-161B-48E6-918F-19FB2A9D3909}" dt="2023-04-17T18:37:16.614" v="2215" actId="165"/>
          <ac:spMkLst>
            <pc:docMk/>
            <pc:sldMk cId="2723804099" sldId="7334"/>
            <ac:spMk id="1040" creationId="{6AE690D8-5569-1531-8A09-F34E2D668563}"/>
          </ac:spMkLst>
        </pc:spChg>
        <pc:spChg chg="add mod">
          <ac:chgData name="Bez, Florian" userId="30d7df6a-5295-4d75-a650-5a1fab7b8b2e" providerId="ADAL" clId="{DEF8C959-161B-48E6-918F-19FB2A9D3909}" dt="2023-04-17T18:36:45.491" v="2209" actId="1076"/>
          <ac:spMkLst>
            <pc:docMk/>
            <pc:sldMk cId="2723804099" sldId="7334"/>
            <ac:spMk id="1041" creationId="{B2B60588-E10E-AD9F-38F2-4496D740D0F2}"/>
          </ac:spMkLst>
        </pc:spChg>
        <pc:spChg chg="add mod">
          <ac:chgData name="Bez, Florian" userId="30d7df6a-5295-4d75-a650-5a1fab7b8b2e" providerId="ADAL" clId="{DEF8C959-161B-48E6-918F-19FB2A9D3909}" dt="2023-04-17T18:39:26.590" v="2250" actId="14100"/>
          <ac:spMkLst>
            <pc:docMk/>
            <pc:sldMk cId="2723804099" sldId="7334"/>
            <ac:spMk id="1042" creationId="{E3E49828-720A-143E-B3A7-B7D77BCFCF5F}"/>
          </ac:spMkLst>
        </pc:spChg>
        <pc:spChg chg="mod">
          <ac:chgData name="Bez, Florian" userId="30d7df6a-5295-4d75-a650-5a1fab7b8b2e" providerId="ADAL" clId="{DEF8C959-161B-48E6-918F-19FB2A9D3909}" dt="2023-04-17T18:37:09.804" v="2213"/>
          <ac:spMkLst>
            <pc:docMk/>
            <pc:sldMk cId="2723804099" sldId="7334"/>
            <ac:spMk id="1044" creationId="{F30AF88A-D0BB-ECC2-8573-050190290D7A}"/>
          </ac:spMkLst>
        </pc:spChg>
        <pc:spChg chg="mod">
          <ac:chgData name="Bez, Florian" userId="30d7df6a-5295-4d75-a650-5a1fab7b8b2e" providerId="ADAL" clId="{DEF8C959-161B-48E6-918F-19FB2A9D3909}" dt="2023-04-17T18:37:09.804" v="2213"/>
          <ac:spMkLst>
            <pc:docMk/>
            <pc:sldMk cId="2723804099" sldId="7334"/>
            <ac:spMk id="1046" creationId="{AC9035A8-5943-5896-D0B4-9ADB104BB190}"/>
          </ac:spMkLst>
        </pc:spChg>
        <pc:spChg chg="mod">
          <ac:chgData name="Bez, Florian" userId="30d7df6a-5295-4d75-a650-5a1fab7b8b2e" providerId="ADAL" clId="{DEF8C959-161B-48E6-918F-19FB2A9D3909}" dt="2023-04-17T18:37:09.804" v="2213"/>
          <ac:spMkLst>
            <pc:docMk/>
            <pc:sldMk cId="2723804099" sldId="7334"/>
            <ac:spMk id="1050" creationId="{9AB90935-8C7E-52DA-166D-B92A58CA266A}"/>
          </ac:spMkLst>
        </pc:spChg>
        <pc:spChg chg="mod">
          <ac:chgData name="Bez, Florian" userId="30d7df6a-5295-4d75-a650-5a1fab7b8b2e" providerId="ADAL" clId="{DEF8C959-161B-48E6-918F-19FB2A9D3909}" dt="2023-04-17T18:37:09.804" v="2213"/>
          <ac:spMkLst>
            <pc:docMk/>
            <pc:sldMk cId="2723804099" sldId="7334"/>
            <ac:spMk id="1051" creationId="{49E4A008-C332-9018-9AB2-EAC6C35C93EA}"/>
          </ac:spMkLst>
        </pc:spChg>
        <pc:spChg chg="mod">
          <ac:chgData name="Bez, Florian" userId="30d7df6a-5295-4d75-a650-5a1fab7b8b2e" providerId="ADAL" clId="{DEF8C959-161B-48E6-918F-19FB2A9D3909}" dt="2023-04-17T18:37:09.804" v="2213"/>
          <ac:spMkLst>
            <pc:docMk/>
            <pc:sldMk cId="2723804099" sldId="7334"/>
            <ac:spMk id="1052" creationId="{75A31025-4C57-C744-876A-DECAC6993148}"/>
          </ac:spMkLst>
        </pc:spChg>
        <pc:spChg chg="mod">
          <ac:chgData name="Bez, Florian" userId="30d7df6a-5295-4d75-a650-5a1fab7b8b2e" providerId="ADAL" clId="{DEF8C959-161B-48E6-918F-19FB2A9D3909}" dt="2023-04-17T18:37:09.804" v="2213"/>
          <ac:spMkLst>
            <pc:docMk/>
            <pc:sldMk cId="2723804099" sldId="7334"/>
            <ac:spMk id="1053" creationId="{0E7A9210-400E-893F-3B6D-479C74C88E8D}"/>
          </ac:spMkLst>
        </pc:spChg>
        <pc:spChg chg="mod">
          <ac:chgData name="Bez, Florian" userId="30d7df6a-5295-4d75-a650-5a1fab7b8b2e" providerId="ADAL" clId="{DEF8C959-161B-48E6-918F-19FB2A9D3909}" dt="2023-04-17T18:37:09.804" v="2213"/>
          <ac:spMkLst>
            <pc:docMk/>
            <pc:sldMk cId="2723804099" sldId="7334"/>
            <ac:spMk id="1054" creationId="{22D2A813-A126-9C26-CC14-6D2FF874829A}"/>
          </ac:spMkLst>
        </pc:spChg>
        <pc:spChg chg="mod">
          <ac:chgData name="Bez, Florian" userId="30d7df6a-5295-4d75-a650-5a1fab7b8b2e" providerId="ADAL" clId="{DEF8C959-161B-48E6-918F-19FB2A9D3909}" dt="2023-04-17T18:37:09.804" v="2213"/>
          <ac:spMkLst>
            <pc:docMk/>
            <pc:sldMk cId="2723804099" sldId="7334"/>
            <ac:spMk id="1055" creationId="{5208F8C7-C7C9-8DE2-3D69-B8F48EAB1F7B}"/>
          </ac:spMkLst>
        </pc:spChg>
        <pc:spChg chg="mod">
          <ac:chgData name="Bez, Florian" userId="30d7df6a-5295-4d75-a650-5a1fab7b8b2e" providerId="ADAL" clId="{DEF8C959-161B-48E6-918F-19FB2A9D3909}" dt="2023-04-17T18:37:09.804" v="2213"/>
          <ac:spMkLst>
            <pc:docMk/>
            <pc:sldMk cId="2723804099" sldId="7334"/>
            <ac:spMk id="1056" creationId="{B6645660-BD11-F888-2885-3C67B44E135C}"/>
          </ac:spMkLst>
        </pc:spChg>
        <pc:spChg chg="mod">
          <ac:chgData name="Bez, Florian" userId="30d7df6a-5295-4d75-a650-5a1fab7b8b2e" providerId="ADAL" clId="{DEF8C959-161B-48E6-918F-19FB2A9D3909}" dt="2023-04-17T18:37:09.804" v="2213"/>
          <ac:spMkLst>
            <pc:docMk/>
            <pc:sldMk cId="2723804099" sldId="7334"/>
            <ac:spMk id="1057" creationId="{40C06AA8-190F-7ACE-C92C-94B45A27AC6D}"/>
          </ac:spMkLst>
        </pc:spChg>
        <pc:spChg chg="mod">
          <ac:chgData name="Bez, Florian" userId="30d7df6a-5295-4d75-a650-5a1fab7b8b2e" providerId="ADAL" clId="{DEF8C959-161B-48E6-918F-19FB2A9D3909}" dt="2023-04-17T18:37:09.804" v="2213"/>
          <ac:spMkLst>
            <pc:docMk/>
            <pc:sldMk cId="2723804099" sldId="7334"/>
            <ac:spMk id="1058" creationId="{E42B484E-4A25-63FC-C3EB-38BB1C30A246}"/>
          </ac:spMkLst>
        </pc:spChg>
        <pc:spChg chg="mod">
          <ac:chgData name="Bez, Florian" userId="30d7df6a-5295-4d75-a650-5a1fab7b8b2e" providerId="ADAL" clId="{DEF8C959-161B-48E6-918F-19FB2A9D3909}" dt="2023-04-17T18:37:09.804" v="2213"/>
          <ac:spMkLst>
            <pc:docMk/>
            <pc:sldMk cId="2723804099" sldId="7334"/>
            <ac:spMk id="1059" creationId="{4E16E301-1D5E-0E5B-8D09-66428A3BBE2B}"/>
          </ac:spMkLst>
        </pc:spChg>
        <pc:spChg chg="mod">
          <ac:chgData name="Bez, Florian" userId="30d7df6a-5295-4d75-a650-5a1fab7b8b2e" providerId="ADAL" clId="{DEF8C959-161B-48E6-918F-19FB2A9D3909}" dt="2023-04-17T18:37:09.804" v="2213"/>
          <ac:spMkLst>
            <pc:docMk/>
            <pc:sldMk cId="2723804099" sldId="7334"/>
            <ac:spMk id="1060" creationId="{21A9AD08-7C02-FD5A-27E5-64F4E39566D8}"/>
          </ac:spMkLst>
        </pc:spChg>
        <pc:spChg chg="mod">
          <ac:chgData name="Bez, Florian" userId="30d7df6a-5295-4d75-a650-5a1fab7b8b2e" providerId="ADAL" clId="{DEF8C959-161B-48E6-918F-19FB2A9D3909}" dt="2023-04-17T18:37:09.804" v="2213"/>
          <ac:spMkLst>
            <pc:docMk/>
            <pc:sldMk cId="2723804099" sldId="7334"/>
            <ac:spMk id="1061" creationId="{7BB8DCFE-0B4A-54E9-0FB5-2443E1FB2CF1}"/>
          </ac:spMkLst>
        </pc:spChg>
        <pc:spChg chg="mod">
          <ac:chgData name="Bez, Florian" userId="30d7df6a-5295-4d75-a650-5a1fab7b8b2e" providerId="ADAL" clId="{DEF8C959-161B-48E6-918F-19FB2A9D3909}" dt="2023-04-17T18:37:09.804" v="2213"/>
          <ac:spMkLst>
            <pc:docMk/>
            <pc:sldMk cId="2723804099" sldId="7334"/>
            <ac:spMk id="1062" creationId="{EB5528F7-2126-2B6A-BF83-43B30C34F952}"/>
          </ac:spMkLst>
        </pc:spChg>
        <pc:spChg chg="mod">
          <ac:chgData name="Bez, Florian" userId="30d7df6a-5295-4d75-a650-5a1fab7b8b2e" providerId="ADAL" clId="{DEF8C959-161B-48E6-918F-19FB2A9D3909}" dt="2023-04-17T18:37:09.804" v="2213"/>
          <ac:spMkLst>
            <pc:docMk/>
            <pc:sldMk cId="2723804099" sldId="7334"/>
            <ac:spMk id="1063" creationId="{049898BF-FCEA-A462-6C9E-70DA8C5C8418}"/>
          </ac:spMkLst>
        </pc:spChg>
        <pc:spChg chg="mod">
          <ac:chgData name="Bez, Florian" userId="30d7df6a-5295-4d75-a650-5a1fab7b8b2e" providerId="ADAL" clId="{DEF8C959-161B-48E6-918F-19FB2A9D3909}" dt="2023-04-17T18:37:09.804" v="2213"/>
          <ac:spMkLst>
            <pc:docMk/>
            <pc:sldMk cId="2723804099" sldId="7334"/>
            <ac:spMk id="1064" creationId="{AD5D8980-8F90-035B-8090-19B37567B24D}"/>
          </ac:spMkLst>
        </pc:spChg>
        <pc:spChg chg="mod">
          <ac:chgData name="Bez, Florian" userId="30d7df6a-5295-4d75-a650-5a1fab7b8b2e" providerId="ADAL" clId="{DEF8C959-161B-48E6-918F-19FB2A9D3909}" dt="2023-04-17T18:37:09.804" v="2213"/>
          <ac:spMkLst>
            <pc:docMk/>
            <pc:sldMk cId="2723804099" sldId="7334"/>
            <ac:spMk id="1065" creationId="{6FF7BCE0-930A-F4CB-ADBD-0AAD0C82BAAD}"/>
          </ac:spMkLst>
        </pc:spChg>
        <pc:spChg chg="mod">
          <ac:chgData name="Bez, Florian" userId="30d7df6a-5295-4d75-a650-5a1fab7b8b2e" providerId="ADAL" clId="{DEF8C959-161B-48E6-918F-19FB2A9D3909}" dt="2023-04-17T18:37:09.804" v="2213"/>
          <ac:spMkLst>
            <pc:docMk/>
            <pc:sldMk cId="2723804099" sldId="7334"/>
            <ac:spMk id="1066" creationId="{F287E993-D0A8-8AC9-CECF-AF451C7D892B}"/>
          </ac:spMkLst>
        </pc:spChg>
        <pc:spChg chg="mod">
          <ac:chgData name="Bez, Florian" userId="30d7df6a-5295-4d75-a650-5a1fab7b8b2e" providerId="ADAL" clId="{DEF8C959-161B-48E6-918F-19FB2A9D3909}" dt="2023-04-17T18:37:09.804" v="2213"/>
          <ac:spMkLst>
            <pc:docMk/>
            <pc:sldMk cId="2723804099" sldId="7334"/>
            <ac:spMk id="1067" creationId="{D4562476-79BD-52C3-E5FD-351C5659AC2F}"/>
          </ac:spMkLst>
        </pc:spChg>
        <pc:spChg chg="mod">
          <ac:chgData name="Bez, Florian" userId="30d7df6a-5295-4d75-a650-5a1fab7b8b2e" providerId="ADAL" clId="{DEF8C959-161B-48E6-918F-19FB2A9D3909}" dt="2023-04-17T18:37:09.804" v="2213"/>
          <ac:spMkLst>
            <pc:docMk/>
            <pc:sldMk cId="2723804099" sldId="7334"/>
            <ac:spMk id="1068" creationId="{F46F589C-2768-CBDE-B1B1-CF35D1C4EE26}"/>
          </ac:spMkLst>
        </pc:spChg>
        <pc:spChg chg="mod">
          <ac:chgData name="Bez, Florian" userId="30d7df6a-5295-4d75-a650-5a1fab7b8b2e" providerId="ADAL" clId="{DEF8C959-161B-48E6-918F-19FB2A9D3909}" dt="2023-04-17T18:37:09.804" v="2213"/>
          <ac:spMkLst>
            <pc:docMk/>
            <pc:sldMk cId="2723804099" sldId="7334"/>
            <ac:spMk id="1069" creationId="{0507B149-11FF-DF7D-669D-83D2A3BA41C7}"/>
          </ac:spMkLst>
        </pc:spChg>
        <pc:spChg chg="mod">
          <ac:chgData name="Bez, Florian" userId="30d7df6a-5295-4d75-a650-5a1fab7b8b2e" providerId="ADAL" clId="{DEF8C959-161B-48E6-918F-19FB2A9D3909}" dt="2023-04-17T18:37:09.804" v="2213"/>
          <ac:spMkLst>
            <pc:docMk/>
            <pc:sldMk cId="2723804099" sldId="7334"/>
            <ac:spMk id="1070" creationId="{42DBCFC0-1BFF-7E47-0452-F096498F10A3}"/>
          </ac:spMkLst>
        </pc:spChg>
        <pc:spChg chg="mod">
          <ac:chgData name="Bez, Florian" userId="30d7df6a-5295-4d75-a650-5a1fab7b8b2e" providerId="ADAL" clId="{DEF8C959-161B-48E6-918F-19FB2A9D3909}" dt="2023-04-17T18:37:09.804" v="2213"/>
          <ac:spMkLst>
            <pc:docMk/>
            <pc:sldMk cId="2723804099" sldId="7334"/>
            <ac:spMk id="1071" creationId="{3AECDD3A-1C7C-F228-8D7E-3E6563713704}"/>
          </ac:spMkLst>
        </pc:spChg>
        <pc:spChg chg="mod">
          <ac:chgData name="Bez, Florian" userId="30d7df6a-5295-4d75-a650-5a1fab7b8b2e" providerId="ADAL" clId="{DEF8C959-161B-48E6-918F-19FB2A9D3909}" dt="2023-04-17T18:37:09.804" v="2213"/>
          <ac:spMkLst>
            <pc:docMk/>
            <pc:sldMk cId="2723804099" sldId="7334"/>
            <ac:spMk id="1072" creationId="{DDF97865-49ED-1DC0-5CF1-DD6A64ACFC73}"/>
          </ac:spMkLst>
        </pc:spChg>
        <pc:spChg chg="mod">
          <ac:chgData name="Bez, Florian" userId="30d7df6a-5295-4d75-a650-5a1fab7b8b2e" providerId="ADAL" clId="{DEF8C959-161B-48E6-918F-19FB2A9D3909}" dt="2023-04-17T18:37:09.804" v="2213"/>
          <ac:spMkLst>
            <pc:docMk/>
            <pc:sldMk cId="2723804099" sldId="7334"/>
            <ac:spMk id="1073" creationId="{EAC21F59-1BD0-AE29-916B-4AA0275CCB6B}"/>
          </ac:spMkLst>
        </pc:spChg>
        <pc:spChg chg="add del mod">
          <ac:chgData name="Bez, Florian" userId="30d7df6a-5295-4d75-a650-5a1fab7b8b2e" providerId="ADAL" clId="{DEF8C959-161B-48E6-918F-19FB2A9D3909}" dt="2023-04-17T18:37:11.659" v="2214"/>
          <ac:spMkLst>
            <pc:docMk/>
            <pc:sldMk cId="2723804099" sldId="7334"/>
            <ac:spMk id="1074" creationId="{DE258CF3-82DF-1487-3A85-FA8FEFBC0EAB}"/>
          </ac:spMkLst>
        </pc:spChg>
        <pc:spChg chg="add del mod">
          <ac:chgData name="Bez, Florian" userId="30d7df6a-5295-4d75-a650-5a1fab7b8b2e" providerId="ADAL" clId="{DEF8C959-161B-48E6-918F-19FB2A9D3909}" dt="2023-04-17T18:37:11.659" v="2214"/>
          <ac:spMkLst>
            <pc:docMk/>
            <pc:sldMk cId="2723804099" sldId="7334"/>
            <ac:spMk id="1075" creationId="{5DB30B7F-9E06-64B9-9C28-C2025CEDF68D}"/>
          </ac:spMkLst>
        </pc:spChg>
        <pc:spChg chg="add del mod">
          <ac:chgData name="Bez, Florian" userId="30d7df6a-5295-4d75-a650-5a1fab7b8b2e" providerId="ADAL" clId="{DEF8C959-161B-48E6-918F-19FB2A9D3909}" dt="2023-04-17T18:37:47.364" v="2230" actId="478"/>
          <ac:spMkLst>
            <pc:docMk/>
            <pc:sldMk cId="2723804099" sldId="7334"/>
            <ac:spMk id="1076" creationId="{7F2DF28C-C5E1-82D9-C62B-937E87FBA1EE}"/>
          </ac:spMkLst>
        </pc:spChg>
        <pc:spChg chg="mod">
          <ac:chgData name="Bez, Florian" userId="30d7df6a-5295-4d75-a650-5a1fab7b8b2e" providerId="ADAL" clId="{DEF8C959-161B-48E6-918F-19FB2A9D3909}" dt="2023-04-17T18:37:33.487" v="2224"/>
          <ac:spMkLst>
            <pc:docMk/>
            <pc:sldMk cId="2723804099" sldId="7334"/>
            <ac:spMk id="1078" creationId="{438F3A91-83EB-3936-68E9-3C0CB4758032}"/>
          </ac:spMkLst>
        </pc:spChg>
        <pc:spChg chg="mod">
          <ac:chgData name="Bez, Florian" userId="30d7df6a-5295-4d75-a650-5a1fab7b8b2e" providerId="ADAL" clId="{DEF8C959-161B-48E6-918F-19FB2A9D3909}" dt="2023-04-17T18:37:44.237" v="2229" actId="20577"/>
          <ac:spMkLst>
            <pc:docMk/>
            <pc:sldMk cId="2723804099" sldId="7334"/>
            <ac:spMk id="1079" creationId="{4ACDFE2D-F52B-9534-0733-9F35B35A1A97}"/>
          </ac:spMkLst>
        </pc:spChg>
        <pc:spChg chg="add mod">
          <ac:chgData name="Bez, Florian" userId="30d7df6a-5295-4d75-a650-5a1fab7b8b2e" providerId="ADAL" clId="{DEF8C959-161B-48E6-918F-19FB2A9D3909}" dt="2023-04-17T18:40:08.525" v="2258" actId="14100"/>
          <ac:spMkLst>
            <pc:docMk/>
            <pc:sldMk cId="2723804099" sldId="7334"/>
            <ac:spMk id="1080" creationId="{DF36AAD0-68C4-E5F1-399F-1764AEB92A55}"/>
          </ac:spMkLst>
        </pc:spChg>
        <pc:spChg chg="add del mod">
          <ac:chgData name="Bez, Florian" userId="30d7df6a-5295-4d75-a650-5a1fab7b8b2e" providerId="ADAL" clId="{DEF8C959-161B-48E6-918F-19FB2A9D3909}" dt="2023-04-17T18:45:11.210" v="2430" actId="478"/>
          <ac:spMkLst>
            <pc:docMk/>
            <pc:sldMk cId="2723804099" sldId="7334"/>
            <ac:spMk id="1081" creationId="{811433FA-5B19-32CA-A259-04B7C132ECC9}"/>
          </ac:spMkLst>
        </pc:spChg>
        <pc:spChg chg="add mod">
          <ac:chgData name="Bez, Florian" userId="30d7df6a-5295-4d75-a650-5a1fab7b8b2e" providerId="ADAL" clId="{DEF8C959-161B-48E6-918F-19FB2A9D3909}" dt="2023-04-17T18:39:58.339" v="2256" actId="1076"/>
          <ac:spMkLst>
            <pc:docMk/>
            <pc:sldMk cId="2723804099" sldId="7334"/>
            <ac:spMk id="1082" creationId="{C3528446-EEB2-B7FD-29F3-5F02E5BEEF83}"/>
          </ac:spMkLst>
        </pc:spChg>
        <pc:spChg chg="add mod">
          <ac:chgData name="Bez, Florian" userId="30d7df6a-5295-4d75-a650-5a1fab7b8b2e" providerId="ADAL" clId="{DEF8C959-161B-48E6-918F-19FB2A9D3909}" dt="2023-04-17T18:39:58.339" v="2256" actId="1076"/>
          <ac:spMkLst>
            <pc:docMk/>
            <pc:sldMk cId="2723804099" sldId="7334"/>
            <ac:spMk id="1083" creationId="{7929F16B-2DC9-24B3-3FDC-E82F2D2E0E5E}"/>
          </ac:spMkLst>
        </pc:spChg>
        <pc:spChg chg="add del mod">
          <ac:chgData name="Bez, Florian" userId="30d7df6a-5295-4d75-a650-5a1fab7b8b2e" providerId="ADAL" clId="{DEF8C959-161B-48E6-918F-19FB2A9D3909}" dt="2023-04-17T18:41:53.418" v="2297" actId="478"/>
          <ac:spMkLst>
            <pc:docMk/>
            <pc:sldMk cId="2723804099" sldId="7334"/>
            <ac:spMk id="1084" creationId="{D481B554-B721-6200-050B-DE7C7480364B}"/>
          </ac:spMkLst>
        </pc:spChg>
        <pc:spChg chg="add mod">
          <ac:chgData name="Bez, Florian" userId="30d7df6a-5295-4d75-a650-5a1fab7b8b2e" providerId="ADAL" clId="{DEF8C959-161B-48E6-918F-19FB2A9D3909}" dt="2023-04-17T18:46:19.355" v="2464" actId="1076"/>
          <ac:spMkLst>
            <pc:docMk/>
            <pc:sldMk cId="2723804099" sldId="7334"/>
            <ac:spMk id="1085" creationId="{AD798A40-50CB-1EC9-ABDE-D096D8E1E43C}"/>
          </ac:spMkLst>
        </pc:spChg>
        <pc:spChg chg="add mod">
          <ac:chgData name="Bez, Florian" userId="30d7df6a-5295-4d75-a650-5a1fab7b8b2e" providerId="ADAL" clId="{DEF8C959-161B-48E6-918F-19FB2A9D3909}" dt="2023-04-17T18:46:19.355" v="2464" actId="1076"/>
          <ac:spMkLst>
            <pc:docMk/>
            <pc:sldMk cId="2723804099" sldId="7334"/>
            <ac:spMk id="1086" creationId="{068ACEDF-A9D6-4AD7-C751-EEF0AD14B782}"/>
          </ac:spMkLst>
        </pc:spChg>
        <pc:spChg chg="add mod">
          <ac:chgData name="Bez, Florian" userId="30d7df6a-5295-4d75-a650-5a1fab7b8b2e" providerId="ADAL" clId="{DEF8C959-161B-48E6-918F-19FB2A9D3909}" dt="2023-04-17T18:46:19.355" v="2464" actId="1076"/>
          <ac:spMkLst>
            <pc:docMk/>
            <pc:sldMk cId="2723804099" sldId="7334"/>
            <ac:spMk id="1087" creationId="{E03FBA3A-6FB9-5DBE-1111-C23E99258859}"/>
          </ac:spMkLst>
        </pc:spChg>
        <pc:spChg chg="add mod">
          <ac:chgData name="Bez, Florian" userId="30d7df6a-5295-4d75-a650-5a1fab7b8b2e" providerId="ADAL" clId="{DEF8C959-161B-48E6-918F-19FB2A9D3909}" dt="2023-04-17T18:46:19.355" v="2464" actId="1076"/>
          <ac:spMkLst>
            <pc:docMk/>
            <pc:sldMk cId="2723804099" sldId="7334"/>
            <ac:spMk id="1088" creationId="{91A8383B-49A3-68AD-51F9-08D198EDD9D3}"/>
          </ac:spMkLst>
        </pc:spChg>
        <pc:spChg chg="add mod">
          <ac:chgData name="Bez, Florian" userId="30d7df6a-5295-4d75-a650-5a1fab7b8b2e" providerId="ADAL" clId="{DEF8C959-161B-48E6-918F-19FB2A9D3909}" dt="2023-04-17T18:46:37.365" v="2474" actId="113"/>
          <ac:spMkLst>
            <pc:docMk/>
            <pc:sldMk cId="2723804099" sldId="7334"/>
            <ac:spMk id="1089" creationId="{F1410950-E5AA-0E1A-BEF4-3FC33099C516}"/>
          </ac:spMkLst>
        </pc:spChg>
        <pc:spChg chg="add del mod">
          <ac:chgData name="Bez, Florian" userId="30d7df6a-5295-4d75-a650-5a1fab7b8b2e" providerId="ADAL" clId="{DEF8C959-161B-48E6-918F-19FB2A9D3909}" dt="2023-04-17T18:46:28.537" v="2468" actId="478"/>
          <ac:spMkLst>
            <pc:docMk/>
            <pc:sldMk cId="2723804099" sldId="7334"/>
            <ac:spMk id="1090" creationId="{C6FB3834-9AFC-EEF8-2CF9-8B5B74A33697}"/>
          </ac:spMkLst>
        </pc:spChg>
        <pc:spChg chg="add mod">
          <ac:chgData name="Bez, Florian" userId="30d7df6a-5295-4d75-a650-5a1fab7b8b2e" providerId="ADAL" clId="{DEF8C959-161B-48E6-918F-19FB2A9D3909}" dt="2023-04-17T18:46:42.923" v="2475" actId="114"/>
          <ac:spMkLst>
            <pc:docMk/>
            <pc:sldMk cId="2723804099" sldId="7334"/>
            <ac:spMk id="1091" creationId="{CC68C902-FBA3-3256-3478-BE88E5110A4B}"/>
          </ac:spMkLst>
        </pc:spChg>
        <pc:spChg chg="add mod">
          <ac:chgData name="Bez, Florian" userId="30d7df6a-5295-4d75-a650-5a1fab7b8b2e" providerId="ADAL" clId="{DEF8C959-161B-48E6-918F-19FB2A9D3909}" dt="2023-04-17T18:45:39.425" v="2457" actId="1076"/>
          <ac:spMkLst>
            <pc:docMk/>
            <pc:sldMk cId="2723804099" sldId="7334"/>
            <ac:spMk id="1092" creationId="{93827CDD-628A-A105-3E45-7BF8B376D2CB}"/>
          </ac:spMkLst>
        </pc:spChg>
        <pc:spChg chg="add mod">
          <ac:chgData name="Bez, Florian" userId="30d7df6a-5295-4d75-a650-5a1fab7b8b2e" providerId="ADAL" clId="{DEF8C959-161B-48E6-918F-19FB2A9D3909}" dt="2023-04-17T18:45:34.063" v="2455" actId="1076"/>
          <ac:spMkLst>
            <pc:docMk/>
            <pc:sldMk cId="2723804099" sldId="7334"/>
            <ac:spMk id="1093" creationId="{AE897528-2BCB-8A74-ED0F-23D7D5D60BB4}"/>
          </ac:spMkLst>
        </pc:spChg>
        <pc:grpChg chg="add del mod">
          <ac:chgData name="Bez, Florian" userId="30d7df6a-5295-4d75-a650-5a1fab7b8b2e" providerId="ADAL" clId="{DEF8C959-161B-48E6-918F-19FB2A9D3909}" dt="2023-04-17T18:37:03.557" v="2212" actId="165"/>
          <ac:grpSpMkLst>
            <pc:docMk/>
            <pc:sldMk cId="2723804099" sldId="7334"/>
            <ac:grpSpMk id="3" creationId="{70E215A0-01C2-9ABF-2B73-A079BE232C9D}"/>
          </ac:grpSpMkLst>
        </pc:grpChg>
        <pc:grpChg chg="del mod topLvl">
          <ac:chgData name="Bez, Florian" userId="30d7df6a-5295-4d75-a650-5a1fab7b8b2e" providerId="ADAL" clId="{DEF8C959-161B-48E6-918F-19FB2A9D3909}" dt="2023-04-17T18:37:16.614" v="2215" actId="165"/>
          <ac:grpSpMkLst>
            <pc:docMk/>
            <pc:sldMk cId="2723804099" sldId="7334"/>
            <ac:grpSpMk id="8" creationId="{8C00F1B3-136B-A33C-C657-AABAC3BA5224}"/>
          </ac:grpSpMkLst>
        </pc:grpChg>
        <pc:grpChg chg="mod topLvl">
          <ac:chgData name="Bez, Florian" userId="30d7df6a-5295-4d75-a650-5a1fab7b8b2e" providerId="ADAL" clId="{DEF8C959-161B-48E6-918F-19FB2A9D3909}" dt="2023-04-17T18:37:16.614" v="2215" actId="165"/>
          <ac:grpSpMkLst>
            <pc:docMk/>
            <pc:sldMk cId="2723804099" sldId="7334"/>
            <ac:grpSpMk id="13" creationId="{62C03723-D50C-AC9C-8F20-7491AA25CDA8}"/>
          </ac:grpSpMkLst>
        </pc:grpChg>
        <pc:grpChg chg="mod topLvl">
          <ac:chgData name="Bez, Florian" userId="30d7df6a-5295-4d75-a650-5a1fab7b8b2e" providerId="ADAL" clId="{DEF8C959-161B-48E6-918F-19FB2A9D3909}" dt="2023-04-17T18:39:22.817" v="2249" actId="1076"/>
          <ac:grpSpMkLst>
            <pc:docMk/>
            <pc:sldMk cId="2723804099" sldId="7334"/>
            <ac:grpSpMk id="14" creationId="{484711EA-A090-D11A-9954-B14A5A4B6049}"/>
          </ac:grpSpMkLst>
        </pc:grpChg>
        <pc:grpChg chg="mod topLvl">
          <ac:chgData name="Bez, Florian" userId="30d7df6a-5295-4d75-a650-5a1fab7b8b2e" providerId="ADAL" clId="{DEF8C959-161B-48E6-918F-19FB2A9D3909}" dt="2023-04-17T18:39:32.620" v="2251" actId="1076"/>
          <ac:grpSpMkLst>
            <pc:docMk/>
            <pc:sldMk cId="2723804099" sldId="7334"/>
            <ac:grpSpMk id="15" creationId="{3C68BE2F-8BAF-C272-4CCA-61B2F3D661A0}"/>
          </ac:grpSpMkLst>
        </pc:grpChg>
        <pc:grpChg chg="add del mod">
          <ac:chgData name="Bez, Florian" userId="30d7df6a-5295-4d75-a650-5a1fab7b8b2e" providerId="ADAL" clId="{DEF8C959-161B-48E6-918F-19FB2A9D3909}" dt="2023-04-17T18:37:11.659" v="2214"/>
          <ac:grpSpMkLst>
            <pc:docMk/>
            <pc:sldMk cId="2723804099" sldId="7334"/>
            <ac:grpSpMk id="1043" creationId="{8436382C-4397-9931-BCB8-52465C8FBFDD}"/>
          </ac:grpSpMkLst>
        </pc:grpChg>
        <pc:grpChg chg="mod">
          <ac:chgData name="Bez, Florian" userId="30d7df6a-5295-4d75-a650-5a1fab7b8b2e" providerId="ADAL" clId="{DEF8C959-161B-48E6-918F-19FB2A9D3909}" dt="2023-04-17T18:37:09.804" v="2213"/>
          <ac:grpSpMkLst>
            <pc:docMk/>
            <pc:sldMk cId="2723804099" sldId="7334"/>
            <ac:grpSpMk id="1045" creationId="{AD73F414-641E-E591-B6B3-2F2528004B1E}"/>
          </ac:grpSpMkLst>
        </pc:grpChg>
        <pc:grpChg chg="mod">
          <ac:chgData name="Bez, Florian" userId="30d7df6a-5295-4d75-a650-5a1fab7b8b2e" providerId="ADAL" clId="{DEF8C959-161B-48E6-918F-19FB2A9D3909}" dt="2023-04-17T18:37:09.804" v="2213"/>
          <ac:grpSpMkLst>
            <pc:docMk/>
            <pc:sldMk cId="2723804099" sldId="7334"/>
            <ac:grpSpMk id="1047" creationId="{EA555022-FB9A-47BC-567F-C3A11E5718CB}"/>
          </ac:grpSpMkLst>
        </pc:grpChg>
        <pc:grpChg chg="mod">
          <ac:chgData name="Bez, Florian" userId="30d7df6a-5295-4d75-a650-5a1fab7b8b2e" providerId="ADAL" clId="{DEF8C959-161B-48E6-918F-19FB2A9D3909}" dt="2023-04-17T18:37:09.804" v="2213"/>
          <ac:grpSpMkLst>
            <pc:docMk/>
            <pc:sldMk cId="2723804099" sldId="7334"/>
            <ac:grpSpMk id="1048" creationId="{E6083FEE-15E7-367B-E6D8-144940E9DF0E}"/>
          </ac:grpSpMkLst>
        </pc:grpChg>
        <pc:grpChg chg="mod">
          <ac:chgData name="Bez, Florian" userId="30d7df6a-5295-4d75-a650-5a1fab7b8b2e" providerId="ADAL" clId="{DEF8C959-161B-48E6-918F-19FB2A9D3909}" dt="2023-04-17T18:37:09.804" v="2213"/>
          <ac:grpSpMkLst>
            <pc:docMk/>
            <pc:sldMk cId="2723804099" sldId="7334"/>
            <ac:grpSpMk id="1049" creationId="{4292FD20-E9FD-3C09-3747-72A0B616F3E3}"/>
          </ac:grpSpMkLst>
        </pc:grpChg>
        <pc:grpChg chg="add mod">
          <ac:chgData name="Bez, Florian" userId="30d7df6a-5295-4d75-a650-5a1fab7b8b2e" providerId="ADAL" clId="{DEF8C959-161B-48E6-918F-19FB2A9D3909}" dt="2023-04-17T18:39:51.100" v="2255" actId="1076"/>
          <ac:grpSpMkLst>
            <pc:docMk/>
            <pc:sldMk cId="2723804099" sldId="7334"/>
            <ac:grpSpMk id="1077" creationId="{2204A3FE-1247-7AA6-F8DC-04CFEC5F47A3}"/>
          </ac:grpSpMkLst>
        </pc:grpChg>
        <pc:picChg chg="add del mod">
          <ac:chgData name="Bez, Florian" userId="30d7df6a-5295-4d75-a650-5a1fab7b8b2e" providerId="ADAL" clId="{DEF8C959-161B-48E6-918F-19FB2A9D3909}" dt="2023-04-18T06:59:06.664" v="2881"/>
          <ac:picMkLst>
            <pc:docMk/>
            <pc:sldMk cId="2723804099" sldId="7334"/>
            <ac:picMk id="3" creationId="{24FB8378-B644-3135-C2C6-05BFD03864DC}"/>
          </ac:picMkLst>
        </pc:picChg>
        <pc:picChg chg="del">
          <ac:chgData name="Bez, Florian" userId="30d7df6a-5295-4d75-a650-5a1fab7b8b2e" providerId="ADAL" clId="{DEF8C959-161B-48E6-918F-19FB2A9D3909}" dt="2023-04-17T17:26:44.931" v="594" actId="478"/>
          <ac:picMkLst>
            <pc:docMk/>
            <pc:sldMk cId="2723804099" sldId="7334"/>
            <ac:picMk id="11" creationId="{EFFCA33F-04A2-B3D3-A6B2-91582AA93F1E}"/>
          </ac:picMkLst>
        </pc:picChg>
        <pc:picChg chg="mod">
          <ac:chgData name="Bez, Florian" userId="30d7df6a-5295-4d75-a650-5a1fab7b8b2e" providerId="ADAL" clId="{DEF8C959-161B-48E6-918F-19FB2A9D3909}" dt="2023-04-17T18:46:10.372" v="2463" actId="1076"/>
          <ac:picMkLst>
            <pc:docMk/>
            <pc:sldMk cId="2723804099" sldId="7334"/>
            <ac:picMk id="1026" creationId="{8DB85D2C-C11F-41FB-EB05-4DEBD218ED44}"/>
          </ac:picMkLst>
        </pc:picChg>
        <pc:picChg chg="del">
          <ac:chgData name="Bez, Florian" userId="30d7df6a-5295-4d75-a650-5a1fab7b8b2e" providerId="ADAL" clId="{DEF8C959-161B-48E6-918F-19FB2A9D3909}" dt="2023-04-17T17:26:35.539" v="588" actId="478"/>
          <ac:picMkLst>
            <pc:docMk/>
            <pc:sldMk cId="2723804099" sldId="7334"/>
            <ac:picMk id="1028" creationId="{A56D1BE5-43EC-B4E2-AF03-DABA329FA5F2}"/>
          </ac:picMkLst>
        </pc:picChg>
        <pc:picChg chg="add del mod">
          <ac:chgData name="Bez, Florian" userId="30d7df6a-5295-4d75-a650-5a1fab7b8b2e" providerId="ADAL" clId="{DEF8C959-161B-48E6-918F-19FB2A9D3909}" dt="2023-04-18T15:38:38.498" v="3047" actId="1076"/>
          <ac:picMkLst>
            <pc:docMk/>
            <pc:sldMk cId="2723804099" sldId="7334"/>
            <ac:picMk id="1094" creationId="{E8E6DD4F-BFE8-5132-A569-695900267A29}"/>
          </ac:picMkLst>
        </pc:picChg>
        <pc:picChg chg="add mod">
          <ac:chgData name="Bez, Florian" userId="30d7df6a-5295-4d75-a650-5a1fab7b8b2e" providerId="ADAL" clId="{DEF8C959-161B-48E6-918F-19FB2A9D3909}" dt="2023-04-17T18:46:31.513" v="2470" actId="1076"/>
          <ac:picMkLst>
            <pc:docMk/>
            <pc:sldMk cId="2723804099" sldId="7334"/>
            <ac:picMk id="2050" creationId="{DAB38900-0E55-55A9-B128-458D3C93339B}"/>
          </ac:picMkLst>
        </pc:picChg>
        <pc:inkChg chg="del">
          <ac:chgData name="Bez, Florian" userId="30d7df6a-5295-4d75-a650-5a1fab7b8b2e" providerId="ADAL" clId="{DEF8C959-161B-48E6-918F-19FB2A9D3909}" dt="2023-04-17T17:26:37.964" v="589" actId="478"/>
          <ac:inkMkLst>
            <pc:docMk/>
            <pc:sldMk cId="2723804099" sldId="7334"/>
            <ac:inkMk id="9" creationId="{3F2AC8D3-DD8B-4F2A-FF41-4F9BB8249E6B}"/>
          </ac:inkMkLst>
        </pc:inkChg>
      </pc:sldChg>
      <pc:sldChg chg="addSp delSp modSp add del mod ord delAnim modAnim">
        <pc:chgData name="Bez, Florian" userId="30d7df6a-5295-4d75-a650-5a1fab7b8b2e" providerId="ADAL" clId="{DEF8C959-161B-48E6-918F-19FB2A9D3909}" dt="2023-04-20T10:04:53.911" v="7011" actId="2696"/>
        <pc:sldMkLst>
          <pc:docMk/>
          <pc:sldMk cId="2457729078" sldId="7335"/>
        </pc:sldMkLst>
        <pc:spChg chg="mod">
          <ac:chgData name="Bez, Florian" userId="30d7df6a-5295-4d75-a650-5a1fab7b8b2e" providerId="ADAL" clId="{DEF8C959-161B-48E6-918F-19FB2A9D3909}" dt="2023-04-17T17:38:15.803" v="820" actId="20577"/>
          <ac:spMkLst>
            <pc:docMk/>
            <pc:sldMk cId="2457729078" sldId="7335"/>
            <ac:spMk id="2" creationId="{D80B81FD-744A-49A8-9CF9-3DE47A77E15E}"/>
          </ac:spMkLst>
        </pc:spChg>
        <pc:spChg chg="mod">
          <ac:chgData name="Bez, Florian" userId="30d7df6a-5295-4d75-a650-5a1fab7b8b2e" providerId="ADAL" clId="{DEF8C959-161B-48E6-918F-19FB2A9D3909}" dt="2023-04-18T15:41:40.578" v="3103" actId="20577"/>
          <ac:spMkLst>
            <pc:docMk/>
            <pc:sldMk cId="2457729078" sldId="7335"/>
            <ac:spMk id="4" creationId="{7031FC4C-4FFA-BA16-E496-F2DB0690D112}"/>
          </ac:spMkLst>
        </pc:spChg>
        <pc:spChg chg="add mod">
          <ac:chgData name="Bez, Florian" userId="30d7df6a-5295-4d75-a650-5a1fab7b8b2e" providerId="ADAL" clId="{DEF8C959-161B-48E6-918F-19FB2A9D3909}" dt="2023-04-17T17:38:40.286" v="823" actId="1076"/>
          <ac:spMkLst>
            <pc:docMk/>
            <pc:sldMk cId="2457729078" sldId="7335"/>
            <ac:spMk id="8" creationId="{94E44D07-7274-08F2-DC20-A885A79AEC0F}"/>
          </ac:spMkLst>
        </pc:spChg>
        <pc:spChg chg="add mod">
          <ac:chgData name="Bez, Florian" userId="30d7df6a-5295-4d75-a650-5a1fab7b8b2e" providerId="ADAL" clId="{DEF8C959-161B-48E6-918F-19FB2A9D3909}" dt="2023-04-17T19:00:58.830" v="2807" actId="14100"/>
          <ac:spMkLst>
            <pc:docMk/>
            <pc:sldMk cId="2457729078" sldId="7335"/>
            <ac:spMk id="10" creationId="{E7047E74-2437-6056-8F75-9D8F2E2BC242}"/>
          </ac:spMkLst>
        </pc:spChg>
        <pc:spChg chg="add mod">
          <ac:chgData name="Bez, Florian" userId="30d7df6a-5295-4d75-a650-5a1fab7b8b2e" providerId="ADAL" clId="{DEF8C959-161B-48E6-918F-19FB2A9D3909}" dt="2023-04-17T17:38:40.286" v="823" actId="1076"/>
          <ac:spMkLst>
            <pc:docMk/>
            <pc:sldMk cId="2457729078" sldId="7335"/>
            <ac:spMk id="11" creationId="{43C41BF4-5062-F105-774D-1D1338CB7FC0}"/>
          </ac:spMkLst>
        </pc:spChg>
        <pc:spChg chg="add mod">
          <ac:chgData name="Bez, Florian" userId="30d7df6a-5295-4d75-a650-5a1fab7b8b2e" providerId="ADAL" clId="{DEF8C959-161B-48E6-918F-19FB2A9D3909}" dt="2023-04-17T19:01:09.120" v="2835" actId="1076"/>
          <ac:spMkLst>
            <pc:docMk/>
            <pc:sldMk cId="2457729078" sldId="7335"/>
            <ac:spMk id="12" creationId="{0B738A8D-6D97-8A44-7AA3-5D466C81B389}"/>
          </ac:spMkLst>
        </pc:spChg>
        <pc:picChg chg="del">
          <ac:chgData name="Bez, Florian" userId="30d7df6a-5295-4d75-a650-5a1fab7b8b2e" providerId="ADAL" clId="{DEF8C959-161B-48E6-918F-19FB2A9D3909}" dt="2023-04-17T17:37:17.398" v="772" actId="478"/>
          <ac:picMkLst>
            <pc:docMk/>
            <pc:sldMk cId="2457729078" sldId="7335"/>
            <ac:picMk id="3" creationId="{927A8E9F-25EA-EB2F-0518-B602B22600A1}"/>
          </ac:picMkLst>
        </pc:picChg>
        <pc:picChg chg="add mod">
          <ac:chgData name="Bez, Florian" userId="30d7df6a-5295-4d75-a650-5a1fab7b8b2e" providerId="ADAL" clId="{DEF8C959-161B-48E6-918F-19FB2A9D3909}" dt="2023-04-17T17:38:40.286" v="823" actId="1076"/>
          <ac:picMkLst>
            <pc:docMk/>
            <pc:sldMk cId="2457729078" sldId="7335"/>
            <ac:picMk id="9" creationId="{1922BC86-D91D-F220-C608-88D8B42B3E95}"/>
          </ac:picMkLst>
        </pc:picChg>
        <pc:picChg chg="del">
          <ac:chgData name="Bez, Florian" userId="30d7df6a-5295-4d75-a650-5a1fab7b8b2e" providerId="ADAL" clId="{DEF8C959-161B-48E6-918F-19FB2A9D3909}" dt="2023-04-17T17:37:15.967" v="771" actId="478"/>
          <ac:picMkLst>
            <pc:docMk/>
            <pc:sldMk cId="2457729078" sldId="7335"/>
            <ac:picMk id="1026" creationId="{C0898260-A133-8550-9EB5-AA801F8548C6}"/>
          </ac:picMkLst>
        </pc:picChg>
      </pc:sldChg>
      <pc:sldChg chg="addSp delSp modSp add mod ord">
        <pc:chgData name="Bez, Florian" userId="30d7df6a-5295-4d75-a650-5a1fab7b8b2e" providerId="ADAL" clId="{DEF8C959-161B-48E6-918F-19FB2A9D3909}" dt="2023-04-18T16:00:41.170" v="3609" actId="1076"/>
        <pc:sldMkLst>
          <pc:docMk/>
          <pc:sldMk cId="2327154264" sldId="7351"/>
        </pc:sldMkLst>
        <pc:spChg chg="mod">
          <ac:chgData name="Bez, Florian" userId="30d7df6a-5295-4d75-a650-5a1fab7b8b2e" providerId="ADAL" clId="{DEF8C959-161B-48E6-918F-19FB2A9D3909}" dt="2023-04-17T17:44:35.776" v="941" actId="20577"/>
          <ac:spMkLst>
            <pc:docMk/>
            <pc:sldMk cId="2327154264" sldId="7351"/>
            <ac:spMk id="2" creationId="{44E1E697-2018-F3AD-1621-2FA3A9FA31B8}"/>
          </ac:spMkLst>
        </pc:spChg>
        <pc:spChg chg="mod">
          <ac:chgData name="Bez, Florian" userId="30d7df6a-5295-4d75-a650-5a1fab7b8b2e" providerId="ADAL" clId="{DEF8C959-161B-48E6-918F-19FB2A9D3909}" dt="2023-04-17T17:44:43.513" v="945" actId="20577"/>
          <ac:spMkLst>
            <pc:docMk/>
            <pc:sldMk cId="2327154264" sldId="7351"/>
            <ac:spMk id="4" creationId="{9038B8FD-2704-1DDE-4B38-699B1121B7EF}"/>
          </ac:spMkLst>
        </pc:spChg>
        <pc:spChg chg="mod">
          <ac:chgData name="Bez, Florian" userId="30d7df6a-5295-4d75-a650-5a1fab7b8b2e" providerId="ADAL" clId="{DEF8C959-161B-48E6-918F-19FB2A9D3909}" dt="2023-04-17T17:45:07.063" v="970" actId="20577"/>
          <ac:spMkLst>
            <pc:docMk/>
            <pc:sldMk cId="2327154264" sldId="7351"/>
            <ac:spMk id="5" creationId="{720B9E7C-AEDD-7EE4-7E90-6BC63F2CDC99}"/>
          </ac:spMkLst>
        </pc:spChg>
        <pc:spChg chg="add mod ord">
          <ac:chgData name="Bez, Florian" userId="30d7df6a-5295-4d75-a650-5a1fab7b8b2e" providerId="ADAL" clId="{DEF8C959-161B-48E6-918F-19FB2A9D3909}" dt="2023-04-17T17:47:16.314" v="1040" actId="1076"/>
          <ac:spMkLst>
            <pc:docMk/>
            <pc:sldMk cId="2327154264" sldId="7351"/>
            <ac:spMk id="6" creationId="{8760585D-B136-D15B-274D-E89234D39D85}"/>
          </ac:spMkLst>
        </pc:spChg>
        <pc:spChg chg="add mod">
          <ac:chgData name="Bez, Florian" userId="30d7df6a-5295-4d75-a650-5a1fab7b8b2e" providerId="ADAL" clId="{DEF8C959-161B-48E6-918F-19FB2A9D3909}" dt="2023-04-17T17:52:25.899" v="1313" actId="1076"/>
          <ac:spMkLst>
            <pc:docMk/>
            <pc:sldMk cId="2327154264" sldId="7351"/>
            <ac:spMk id="7" creationId="{DC276A54-0797-0586-7F4C-C6B508D6E688}"/>
          </ac:spMkLst>
        </pc:spChg>
        <pc:spChg chg="add mod">
          <ac:chgData name="Bez, Florian" userId="30d7df6a-5295-4d75-a650-5a1fab7b8b2e" providerId="ADAL" clId="{DEF8C959-161B-48E6-918F-19FB2A9D3909}" dt="2023-04-18T16:00:41.170" v="3609" actId="1076"/>
          <ac:spMkLst>
            <pc:docMk/>
            <pc:sldMk cId="2327154264" sldId="7351"/>
            <ac:spMk id="9" creationId="{A8356B99-8827-8CCB-E32E-B079390DAF02}"/>
          </ac:spMkLst>
        </pc:spChg>
        <pc:picChg chg="add del mod">
          <ac:chgData name="Bez, Florian" userId="30d7df6a-5295-4d75-a650-5a1fab7b8b2e" providerId="ADAL" clId="{DEF8C959-161B-48E6-918F-19FB2A9D3909}" dt="2023-04-17T17:51:09.135" v="1300" actId="478"/>
          <ac:picMkLst>
            <pc:docMk/>
            <pc:sldMk cId="2327154264" sldId="7351"/>
            <ac:picMk id="8" creationId="{D192BECB-859D-20A8-6240-8AE1BF50BBB5}"/>
          </ac:picMkLst>
        </pc:picChg>
      </pc:sldChg>
      <pc:sldChg chg="add del">
        <pc:chgData name="Bez, Florian" userId="30d7df6a-5295-4d75-a650-5a1fab7b8b2e" providerId="ADAL" clId="{DEF8C959-161B-48E6-918F-19FB2A9D3909}" dt="2023-04-18T15:58:34.939" v="3522" actId="47"/>
        <pc:sldMkLst>
          <pc:docMk/>
          <pc:sldMk cId="946584999" sldId="7352"/>
        </pc:sldMkLst>
      </pc:sldChg>
      <pc:sldChg chg="addSp delSp modSp add del mod ord delAnim modAnim">
        <pc:chgData name="Bez, Florian" userId="30d7df6a-5295-4d75-a650-5a1fab7b8b2e" providerId="ADAL" clId="{DEF8C959-161B-48E6-918F-19FB2A9D3909}" dt="2023-04-17T18:58:27.074" v="2737" actId="47"/>
        <pc:sldMkLst>
          <pc:docMk/>
          <pc:sldMk cId="2951351313" sldId="7373"/>
        </pc:sldMkLst>
        <pc:spChg chg="mod">
          <ac:chgData name="Bez, Florian" userId="30d7df6a-5295-4d75-a650-5a1fab7b8b2e" providerId="ADAL" clId="{DEF8C959-161B-48E6-918F-19FB2A9D3909}" dt="2023-04-17T18:08:40.428" v="1592" actId="113"/>
          <ac:spMkLst>
            <pc:docMk/>
            <pc:sldMk cId="2951351313" sldId="7373"/>
            <ac:spMk id="3" creationId="{E850136D-C3A5-1CCC-8FC2-634216C180D5}"/>
          </ac:spMkLst>
        </pc:spChg>
        <pc:spChg chg="mod">
          <ac:chgData name="Bez, Florian" userId="30d7df6a-5295-4d75-a650-5a1fab7b8b2e" providerId="ADAL" clId="{DEF8C959-161B-48E6-918F-19FB2A9D3909}" dt="2023-04-17T18:17:51.980" v="1791" actId="20577"/>
          <ac:spMkLst>
            <pc:docMk/>
            <pc:sldMk cId="2951351313" sldId="7373"/>
            <ac:spMk id="4" creationId="{ECBDE820-DE91-8861-D19F-ADC18EF11A27}"/>
          </ac:spMkLst>
        </pc:spChg>
        <pc:spChg chg="del">
          <ac:chgData name="Bez, Florian" userId="30d7df6a-5295-4d75-a650-5a1fab7b8b2e" providerId="ADAL" clId="{DEF8C959-161B-48E6-918F-19FB2A9D3909}" dt="2023-04-17T18:08:05.011" v="1559" actId="478"/>
          <ac:spMkLst>
            <pc:docMk/>
            <pc:sldMk cId="2951351313" sldId="7373"/>
            <ac:spMk id="6" creationId="{13A6DA2C-7AF2-7263-82AC-E1021446EBB6}"/>
          </ac:spMkLst>
        </pc:spChg>
        <pc:spChg chg="del">
          <ac:chgData name="Bez, Florian" userId="30d7df6a-5295-4d75-a650-5a1fab7b8b2e" providerId="ADAL" clId="{DEF8C959-161B-48E6-918F-19FB2A9D3909}" dt="2023-04-17T18:08:12.752" v="1562" actId="478"/>
          <ac:spMkLst>
            <pc:docMk/>
            <pc:sldMk cId="2951351313" sldId="7373"/>
            <ac:spMk id="7" creationId="{B4D86595-1646-647A-03EF-02F78F6C0BE9}"/>
          </ac:spMkLst>
        </pc:spChg>
        <pc:spChg chg="mod">
          <ac:chgData name="Bez, Florian" userId="30d7df6a-5295-4d75-a650-5a1fab7b8b2e" providerId="ADAL" clId="{DEF8C959-161B-48E6-918F-19FB2A9D3909}" dt="2023-04-17T18:13:01.093" v="1704" actId="20577"/>
          <ac:spMkLst>
            <pc:docMk/>
            <pc:sldMk cId="2951351313" sldId="7373"/>
            <ac:spMk id="9" creationId="{41C080D1-FABD-09D2-5BF8-407B02E16975}"/>
          </ac:spMkLst>
        </pc:spChg>
        <pc:spChg chg="add del mod">
          <ac:chgData name="Bez, Florian" userId="30d7df6a-5295-4d75-a650-5a1fab7b8b2e" providerId="ADAL" clId="{DEF8C959-161B-48E6-918F-19FB2A9D3909}" dt="2023-04-17T18:08:06.748" v="1560" actId="478"/>
          <ac:spMkLst>
            <pc:docMk/>
            <pc:sldMk cId="2951351313" sldId="7373"/>
            <ac:spMk id="11" creationId="{7AAFC8DB-7F28-F2D4-5BD9-D73DA874A2A2}"/>
          </ac:spMkLst>
        </pc:spChg>
        <pc:spChg chg="add mod">
          <ac:chgData name="Bez, Florian" userId="30d7df6a-5295-4d75-a650-5a1fab7b8b2e" providerId="ADAL" clId="{DEF8C959-161B-48E6-918F-19FB2A9D3909}" dt="2023-04-17T18:08:28.586" v="1591" actId="113"/>
          <ac:spMkLst>
            <pc:docMk/>
            <pc:sldMk cId="2951351313" sldId="7373"/>
            <ac:spMk id="12" creationId="{A946A7EF-441C-D812-BD91-FFF78ED5E4B4}"/>
          </ac:spMkLst>
        </pc:spChg>
        <pc:spChg chg="add del mod">
          <ac:chgData name="Bez, Florian" userId="30d7df6a-5295-4d75-a650-5a1fab7b8b2e" providerId="ADAL" clId="{DEF8C959-161B-48E6-918F-19FB2A9D3909}" dt="2023-04-17T18:08:15.828" v="1563" actId="478"/>
          <ac:spMkLst>
            <pc:docMk/>
            <pc:sldMk cId="2951351313" sldId="7373"/>
            <ac:spMk id="14" creationId="{519B5E96-83BA-0567-B454-30FB2A9CF3C2}"/>
          </ac:spMkLst>
        </pc:spChg>
        <pc:spChg chg="add del mod ord">
          <ac:chgData name="Bez, Florian" userId="30d7df6a-5295-4d75-a650-5a1fab7b8b2e" providerId="ADAL" clId="{DEF8C959-161B-48E6-918F-19FB2A9D3909}" dt="2023-04-17T18:36:19.313" v="2207" actId="207"/>
          <ac:spMkLst>
            <pc:docMk/>
            <pc:sldMk cId="2951351313" sldId="7373"/>
            <ac:spMk id="15" creationId="{1201A7EA-EFC5-C085-7EAF-53C2B7CFC346}"/>
          </ac:spMkLst>
        </pc:spChg>
        <pc:spChg chg="add mod">
          <ac:chgData name="Bez, Florian" userId="30d7df6a-5295-4d75-a650-5a1fab7b8b2e" providerId="ADAL" clId="{DEF8C959-161B-48E6-918F-19FB2A9D3909}" dt="2023-04-17T18:18:03.164" v="1792" actId="1076"/>
          <ac:spMkLst>
            <pc:docMk/>
            <pc:sldMk cId="2951351313" sldId="7373"/>
            <ac:spMk id="16" creationId="{8E791E11-7517-B6D2-598E-DCA329C3D38C}"/>
          </ac:spMkLst>
        </pc:spChg>
        <pc:spChg chg="add mod">
          <ac:chgData name="Bez, Florian" userId="30d7df6a-5295-4d75-a650-5a1fab7b8b2e" providerId="ADAL" clId="{DEF8C959-161B-48E6-918F-19FB2A9D3909}" dt="2023-04-17T18:18:03.164" v="1792" actId="1076"/>
          <ac:spMkLst>
            <pc:docMk/>
            <pc:sldMk cId="2951351313" sldId="7373"/>
            <ac:spMk id="17" creationId="{4257051E-28C4-D848-0405-CBF60D1A49E3}"/>
          </ac:spMkLst>
        </pc:spChg>
        <pc:spChg chg="add mod">
          <ac:chgData name="Bez, Florian" userId="30d7df6a-5295-4d75-a650-5a1fab7b8b2e" providerId="ADAL" clId="{DEF8C959-161B-48E6-918F-19FB2A9D3909}" dt="2023-04-17T18:18:03.164" v="1792" actId="1076"/>
          <ac:spMkLst>
            <pc:docMk/>
            <pc:sldMk cId="2951351313" sldId="7373"/>
            <ac:spMk id="18" creationId="{0374CA59-FC22-0440-739E-FE7852F6DBAE}"/>
          </ac:spMkLst>
        </pc:spChg>
        <pc:spChg chg="add mod">
          <ac:chgData name="Bez, Florian" userId="30d7df6a-5295-4d75-a650-5a1fab7b8b2e" providerId="ADAL" clId="{DEF8C959-161B-48E6-918F-19FB2A9D3909}" dt="2023-04-17T18:18:06.301" v="1793" actId="20577"/>
          <ac:spMkLst>
            <pc:docMk/>
            <pc:sldMk cId="2951351313" sldId="7373"/>
            <ac:spMk id="19" creationId="{860E5325-E13C-D683-D491-0500B9E3BE37}"/>
          </ac:spMkLst>
        </pc:spChg>
        <pc:spChg chg="add mod ord">
          <ac:chgData name="Bez, Florian" userId="30d7df6a-5295-4d75-a650-5a1fab7b8b2e" providerId="ADAL" clId="{DEF8C959-161B-48E6-918F-19FB2A9D3909}" dt="2023-04-17T18:34:09.531" v="2181" actId="1076"/>
          <ac:spMkLst>
            <pc:docMk/>
            <pc:sldMk cId="2951351313" sldId="7373"/>
            <ac:spMk id="20" creationId="{D262A59B-9593-B0C8-1200-20B05A9F0AAF}"/>
          </ac:spMkLst>
        </pc:spChg>
        <pc:spChg chg="add del mod">
          <ac:chgData name="Bez, Florian" userId="30d7df6a-5295-4d75-a650-5a1fab7b8b2e" providerId="ADAL" clId="{DEF8C959-161B-48E6-918F-19FB2A9D3909}" dt="2023-04-17T18:16:17.363" v="1748" actId="478"/>
          <ac:spMkLst>
            <pc:docMk/>
            <pc:sldMk cId="2951351313" sldId="7373"/>
            <ac:spMk id="21" creationId="{AEF213D3-BEC1-F149-8E34-2AFC111E2FDA}"/>
          </ac:spMkLst>
        </pc:spChg>
        <pc:spChg chg="add mod ord">
          <ac:chgData name="Bez, Florian" userId="30d7df6a-5295-4d75-a650-5a1fab7b8b2e" providerId="ADAL" clId="{DEF8C959-161B-48E6-918F-19FB2A9D3909}" dt="2023-04-17T18:30:38.651" v="2166" actId="164"/>
          <ac:spMkLst>
            <pc:docMk/>
            <pc:sldMk cId="2951351313" sldId="7373"/>
            <ac:spMk id="25" creationId="{E9D01778-57EF-970B-E39B-6058408E1C2E}"/>
          </ac:spMkLst>
        </pc:spChg>
        <pc:spChg chg="mod">
          <ac:chgData name="Bez, Florian" userId="30d7df6a-5295-4d75-a650-5a1fab7b8b2e" providerId="ADAL" clId="{DEF8C959-161B-48E6-918F-19FB2A9D3909}" dt="2023-04-17T18:13:10.899" v="1709" actId="1076"/>
          <ac:spMkLst>
            <pc:docMk/>
            <pc:sldMk cId="2951351313" sldId="7373"/>
            <ac:spMk id="26" creationId="{70D4A32E-FAF8-822C-533B-271040EDCE5E}"/>
          </ac:spMkLst>
        </pc:spChg>
        <pc:spChg chg="mod">
          <ac:chgData name="Bez, Florian" userId="30d7df6a-5295-4d75-a650-5a1fab7b8b2e" providerId="ADAL" clId="{DEF8C959-161B-48E6-918F-19FB2A9D3909}" dt="2023-04-17T18:13:34.690" v="1721" actId="1076"/>
          <ac:spMkLst>
            <pc:docMk/>
            <pc:sldMk cId="2951351313" sldId="7373"/>
            <ac:spMk id="28" creationId="{BAB65F2C-4971-3D5F-FA1F-64090EB9C916}"/>
          </ac:spMkLst>
        </pc:spChg>
        <pc:spChg chg="mod">
          <ac:chgData name="Bez, Florian" userId="30d7df6a-5295-4d75-a650-5a1fab7b8b2e" providerId="ADAL" clId="{DEF8C959-161B-48E6-918F-19FB2A9D3909}" dt="2023-04-17T18:13:20.582" v="1714" actId="1076"/>
          <ac:spMkLst>
            <pc:docMk/>
            <pc:sldMk cId="2951351313" sldId="7373"/>
            <ac:spMk id="30" creationId="{DA953330-D838-B9C9-CDCB-BA625B25631D}"/>
          </ac:spMkLst>
        </pc:spChg>
        <pc:spChg chg="mod">
          <ac:chgData name="Bez, Florian" userId="30d7df6a-5295-4d75-a650-5a1fab7b8b2e" providerId="ADAL" clId="{DEF8C959-161B-48E6-918F-19FB2A9D3909}" dt="2023-04-17T18:23:57.204" v="1958" actId="20577"/>
          <ac:spMkLst>
            <pc:docMk/>
            <pc:sldMk cId="2951351313" sldId="7373"/>
            <ac:spMk id="34" creationId="{37C5BE9D-CCA1-DA91-6E35-57CE69D8AE44}"/>
          </ac:spMkLst>
        </pc:spChg>
        <pc:spChg chg="add mod">
          <ac:chgData name="Bez, Florian" userId="30d7df6a-5295-4d75-a650-5a1fab7b8b2e" providerId="ADAL" clId="{DEF8C959-161B-48E6-918F-19FB2A9D3909}" dt="2023-04-17T18:30:38.651" v="2166" actId="164"/>
          <ac:spMkLst>
            <pc:docMk/>
            <pc:sldMk cId="2951351313" sldId="7373"/>
            <ac:spMk id="35" creationId="{59B81A4E-BFDB-583A-1448-00CECF62D3D2}"/>
          </ac:spMkLst>
        </pc:spChg>
        <pc:spChg chg="add mod">
          <ac:chgData name="Bez, Florian" userId="30d7df6a-5295-4d75-a650-5a1fab7b8b2e" providerId="ADAL" clId="{DEF8C959-161B-48E6-918F-19FB2A9D3909}" dt="2023-04-17T18:30:38.651" v="2166" actId="164"/>
          <ac:spMkLst>
            <pc:docMk/>
            <pc:sldMk cId="2951351313" sldId="7373"/>
            <ac:spMk id="36" creationId="{A0F9A741-F380-76D3-AC4D-E289B271F022}"/>
          </ac:spMkLst>
        </pc:spChg>
        <pc:spChg chg="add mod">
          <ac:chgData name="Bez, Florian" userId="30d7df6a-5295-4d75-a650-5a1fab7b8b2e" providerId="ADAL" clId="{DEF8C959-161B-48E6-918F-19FB2A9D3909}" dt="2023-04-17T18:30:38.651" v="2166" actId="164"/>
          <ac:spMkLst>
            <pc:docMk/>
            <pc:sldMk cId="2951351313" sldId="7373"/>
            <ac:spMk id="37" creationId="{8838768E-361A-D0D7-83D6-DF98C17D5D7C}"/>
          </ac:spMkLst>
        </pc:spChg>
        <pc:spChg chg="add mod">
          <ac:chgData name="Bez, Florian" userId="30d7df6a-5295-4d75-a650-5a1fab7b8b2e" providerId="ADAL" clId="{DEF8C959-161B-48E6-918F-19FB2A9D3909}" dt="2023-04-17T18:30:38.651" v="2166" actId="164"/>
          <ac:spMkLst>
            <pc:docMk/>
            <pc:sldMk cId="2951351313" sldId="7373"/>
            <ac:spMk id="38" creationId="{7720B553-605F-D43B-3759-74006D27EAE6}"/>
          </ac:spMkLst>
        </pc:spChg>
        <pc:spChg chg="add mod">
          <ac:chgData name="Bez, Florian" userId="30d7df6a-5295-4d75-a650-5a1fab7b8b2e" providerId="ADAL" clId="{DEF8C959-161B-48E6-918F-19FB2A9D3909}" dt="2023-04-17T18:30:38.651" v="2166" actId="164"/>
          <ac:spMkLst>
            <pc:docMk/>
            <pc:sldMk cId="2951351313" sldId="7373"/>
            <ac:spMk id="39" creationId="{9FDCA5F7-6473-7FDF-C76A-25061D5EC3C7}"/>
          </ac:spMkLst>
        </pc:spChg>
        <pc:spChg chg="add mod">
          <ac:chgData name="Bez, Florian" userId="30d7df6a-5295-4d75-a650-5a1fab7b8b2e" providerId="ADAL" clId="{DEF8C959-161B-48E6-918F-19FB2A9D3909}" dt="2023-04-17T18:30:38.651" v="2166" actId="164"/>
          <ac:spMkLst>
            <pc:docMk/>
            <pc:sldMk cId="2951351313" sldId="7373"/>
            <ac:spMk id="40" creationId="{CC2D9744-7675-AEE5-4E54-594301D4C70D}"/>
          </ac:spMkLst>
        </pc:spChg>
        <pc:spChg chg="add mod">
          <ac:chgData name="Bez, Florian" userId="30d7df6a-5295-4d75-a650-5a1fab7b8b2e" providerId="ADAL" clId="{DEF8C959-161B-48E6-918F-19FB2A9D3909}" dt="2023-04-17T18:30:38.651" v="2166" actId="164"/>
          <ac:spMkLst>
            <pc:docMk/>
            <pc:sldMk cId="2951351313" sldId="7373"/>
            <ac:spMk id="41" creationId="{F32779C7-B08F-41BC-FBEA-F4D6986DA414}"/>
          </ac:spMkLst>
        </pc:spChg>
        <pc:spChg chg="add mod">
          <ac:chgData name="Bez, Florian" userId="30d7df6a-5295-4d75-a650-5a1fab7b8b2e" providerId="ADAL" clId="{DEF8C959-161B-48E6-918F-19FB2A9D3909}" dt="2023-04-17T18:30:38.651" v="2166" actId="164"/>
          <ac:spMkLst>
            <pc:docMk/>
            <pc:sldMk cId="2951351313" sldId="7373"/>
            <ac:spMk id="42" creationId="{5976D3B4-983C-002B-F5F4-9F83A11DED79}"/>
          </ac:spMkLst>
        </pc:spChg>
        <pc:spChg chg="add mod">
          <ac:chgData name="Bez, Florian" userId="30d7df6a-5295-4d75-a650-5a1fab7b8b2e" providerId="ADAL" clId="{DEF8C959-161B-48E6-918F-19FB2A9D3909}" dt="2023-04-17T18:30:38.651" v="2166" actId="164"/>
          <ac:spMkLst>
            <pc:docMk/>
            <pc:sldMk cId="2951351313" sldId="7373"/>
            <ac:spMk id="43" creationId="{54BBC33B-6B99-C40E-72D7-3FE1DA2A9B09}"/>
          </ac:spMkLst>
        </pc:spChg>
        <pc:spChg chg="add mod">
          <ac:chgData name="Bez, Florian" userId="30d7df6a-5295-4d75-a650-5a1fab7b8b2e" providerId="ADAL" clId="{DEF8C959-161B-48E6-918F-19FB2A9D3909}" dt="2023-04-17T18:30:38.651" v="2166" actId="164"/>
          <ac:spMkLst>
            <pc:docMk/>
            <pc:sldMk cId="2951351313" sldId="7373"/>
            <ac:spMk id="44" creationId="{47413BED-35DD-233F-0E08-7E1BAEC334B4}"/>
          </ac:spMkLst>
        </pc:spChg>
        <pc:spChg chg="add mod">
          <ac:chgData name="Bez, Florian" userId="30d7df6a-5295-4d75-a650-5a1fab7b8b2e" providerId="ADAL" clId="{DEF8C959-161B-48E6-918F-19FB2A9D3909}" dt="2023-04-17T18:30:38.651" v="2166" actId="164"/>
          <ac:spMkLst>
            <pc:docMk/>
            <pc:sldMk cId="2951351313" sldId="7373"/>
            <ac:spMk id="45" creationId="{F34D502C-F778-1342-57C5-600033E9472D}"/>
          </ac:spMkLst>
        </pc:spChg>
        <pc:spChg chg="add mod ord">
          <ac:chgData name="Bez, Florian" userId="30d7df6a-5295-4d75-a650-5a1fab7b8b2e" providerId="ADAL" clId="{DEF8C959-161B-48E6-918F-19FB2A9D3909}" dt="2023-04-17T18:34:48.084" v="2193" actId="164"/>
          <ac:spMkLst>
            <pc:docMk/>
            <pc:sldMk cId="2951351313" sldId="7373"/>
            <ac:spMk id="46" creationId="{6E232000-0DB5-BCBB-E301-595EE6329E43}"/>
          </ac:spMkLst>
        </pc:spChg>
        <pc:spChg chg="add mod ord">
          <ac:chgData name="Bez, Florian" userId="30d7df6a-5295-4d75-a650-5a1fab7b8b2e" providerId="ADAL" clId="{DEF8C959-161B-48E6-918F-19FB2A9D3909}" dt="2023-04-17T18:34:48.084" v="2193" actId="164"/>
          <ac:spMkLst>
            <pc:docMk/>
            <pc:sldMk cId="2951351313" sldId="7373"/>
            <ac:spMk id="47" creationId="{8CDAFA54-A70E-E38A-1937-F5B214D6A6CA}"/>
          </ac:spMkLst>
        </pc:spChg>
        <pc:spChg chg="add mod">
          <ac:chgData name="Bez, Florian" userId="30d7df6a-5295-4d75-a650-5a1fab7b8b2e" providerId="ADAL" clId="{DEF8C959-161B-48E6-918F-19FB2A9D3909}" dt="2023-04-17T18:34:48.084" v="2193" actId="164"/>
          <ac:spMkLst>
            <pc:docMk/>
            <pc:sldMk cId="2951351313" sldId="7373"/>
            <ac:spMk id="48" creationId="{C858B4CF-1AE8-2E54-2F83-78316999FF17}"/>
          </ac:spMkLst>
        </pc:spChg>
        <pc:spChg chg="add del mod">
          <ac:chgData name="Bez, Florian" userId="30d7df6a-5295-4d75-a650-5a1fab7b8b2e" providerId="ADAL" clId="{DEF8C959-161B-48E6-918F-19FB2A9D3909}" dt="2023-04-17T18:25:55.774" v="2071" actId="478"/>
          <ac:spMkLst>
            <pc:docMk/>
            <pc:sldMk cId="2951351313" sldId="7373"/>
            <ac:spMk id="49" creationId="{2C85517B-6E3C-9340-386E-7094CB6A8136}"/>
          </ac:spMkLst>
        </pc:spChg>
        <pc:spChg chg="add mod">
          <ac:chgData name="Bez, Florian" userId="30d7df6a-5295-4d75-a650-5a1fab7b8b2e" providerId="ADAL" clId="{DEF8C959-161B-48E6-918F-19FB2A9D3909}" dt="2023-04-17T18:29:12.293" v="2148" actId="1076"/>
          <ac:spMkLst>
            <pc:docMk/>
            <pc:sldMk cId="2951351313" sldId="7373"/>
            <ac:spMk id="50" creationId="{42669498-C4FE-9572-6B6F-91CCF15E56BD}"/>
          </ac:spMkLst>
        </pc:spChg>
        <pc:spChg chg="add mod ord">
          <ac:chgData name="Bez, Florian" userId="30d7df6a-5295-4d75-a650-5a1fab7b8b2e" providerId="ADAL" clId="{DEF8C959-161B-48E6-918F-19FB2A9D3909}" dt="2023-04-17T18:29:09.165" v="2147" actId="1076"/>
          <ac:spMkLst>
            <pc:docMk/>
            <pc:sldMk cId="2951351313" sldId="7373"/>
            <ac:spMk id="51" creationId="{F2E9E89D-449F-A69B-5734-4680E91C6AD8}"/>
          </ac:spMkLst>
        </pc:spChg>
        <pc:spChg chg="add mod">
          <ac:chgData name="Bez, Florian" userId="30d7df6a-5295-4d75-a650-5a1fab7b8b2e" providerId="ADAL" clId="{DEF8C959-161B-48E6-918F-19FB2A9D3909}" dt="2023-04-17T18:29:06.872" v="2146" actId="1076"/>
          <ac:spMkLst>
            <pc:docMk/>
            <pc:sldMk cId="2951351313" sldId="7373"/>
            <ac:spMk id="52" creationId="{48D34FF5-B6EF-A637-E1E3-AD6DA9A9F1BC}"/>
          </ac:spMkLst>
        </pc:spChg>
        <pc:spChg chg="add mod">
          <ac:chgData name="Bez, Florian" userId="30d7df6a-5295-4d75-a650-5a1fab7b8b2e" providerId="ADAL" clId="{DEF8C959-161B-48E6-918F-19FB2A9D3909}" dt="2023-04-17T18:29:15.151" v="2149" actId="1076"/>
          <ac:spMkLst>
            <pc:docMk/>
            <pc:sldMk cId="2951351313" sldId="7373"/>
            <ac:spMk id="53" creationId="{0474307B-AE77-20D8-90A0-DA81793CB1CB}"/>
          </ac:spMkLst>
        </pc:spChg>
        <pc:spChg chg="del mod">
          <ac:chgData name="Bez, Florian" userId="30d7df6a-5295-4d75-a650-5a1fab7b8b2e" providerId="ADAL" clId="{DEF8C959-161B-48E6-918F-19FB2A9D3909}" dt="2023-04-17T18:14:06.813" v="1728" actId="478"/>
          <ac:spMkLst>
            <pc:docMk/>
            <pc:sldMk cId="2951351313" sldId="7373"/>
            <ac:spMk id="56" creationId="{C5FD952B-6CA3-C9F7-0F6E-DBAD1A07717B}"/>
          </ac:spMkLst>
        </pc:spChg>
        <pc:spChg chg="del">
          <ac:chgData name="Bez, Florian" userId="30d7df6a-5295-4d75-a650-5a1fab7b8b2e" providerId="ADAL" clId="{DEF8C959-161B-48E6-918F-19FB2A9D3909}" dt="2023-04-17T18:11:34.156" v="1607" actId="478"/>
          <ac:spMkLst>
            <pc:docMk/>
            <pc:sldMk cId="2951351313" sldId="7373"/>
            <ac:spMk id="61" creationId="{AD4EF7E3-2C1D-B201-F0B4-F9E9E757B9BD}"/>
          </ac:spMkLst>
        </pc:spChg>
        <pc:spChg chg="del">
          <ac:chgData name="Bez, Florian" userId="30d7df6a-5295-4d75-a650-5a1fab7b8b2e" providerId="ADAL" clId="{DEF8C959-161B-48E6-918F-19FB2A9D3909}" dt="2023-04-17T18:11:33.100" v="1606" actId="478"/>
          <ac:spMkLst>
            <pc:docMk/>
            <pc:sldMk cId="2951351313" sldId="7373"/>
            <ac:spMk id="62" creationId="{D94360AE-EC79-2251-E699-874FC7C65336}"/>
          </ac:spMkLst>
        </pc:spChg>
        <pc:spChg chg="add mod ord">
          <ac:chgData name="Bez, Florian" userId="30d7df6a-5295-4d75-a650-5a1fab7b8b2e" providerId="ADAL" clId="{DEF8C959-161B-48E6-918F-19FB2A9D3909}" dt="2023-04-17T18:35:53.880" v="2204" actId="14100"/>
          <ac:spMkLst>
            <pc:docMk/>
            <pc:sldMk cId="2951351313" sldId="7373"/>
            <ac:spMk id="63" creationId="{0920F3A4-DFE9-838B-05B0-8DBAECFCB9F9}"/>
          </ac:spMkLst>
        </pc:spChg>
        <pc:spChg chg="del">
          <ac:chgData name="Bez, Florian" userId="30d7df6a-5295-4d75-a650-5a1fab7b8b2e" providerId="ADAL" clId="{DEF8C959-161B-48E6-918F-19FB2A9D3909}" dt="2023-04-17T18:11:35.829" v="1608" actId="478"/>
          <ac:spMkLst>
            <pc:docMk/>
            <pc:sldMk cId="2951351313" sldId="7373"/>
            <ac:spMk id="64" creationId="{00E0DD7A-EB9A-6BD6-11CB-C10857CA602C}"/>
          </ac:spMkLst>
        </pc:spChg>
        <pc:spChg chg="del">
          <ac:chgData name="Bez, Florian" userId="30d7df6a-5295-4d75-a650-5a1fab7b8b2e" providerId="ADAL" clId="{DEF8C959-161B-48E6-918F-19FB2A9D3909}" dt="2023-04-17T18:11:27.892" v="1605" actId="478"/>
          <ac:spMkLst>
            <pc:docMk/>
            <pc:sldMk cId="2951351313" sldId="7373"/>
            <ac:spMk id="65" creationId="{9E34E08C-923F-0706-AF08-DA3CB0D5B0C0}"/>
          </ac:spMkLst>
        </pc:spChg>
        <pc:spChg chg="del">
          <ac:chgData name="Bez, Florian" userId="30d7df6a-5295-4d75-a650-5a1fab7b8b2e" providerId="ADAL" clId="{DEF8C959-161B-48E6-918F-19FB2A9D3909}" dt="2023-04-17T18:11:26.036" v="1604" actId="478"/>
          <ac:spMkLst>
            <pc:docMk/>
            <pc:sldMk cId="2951351313" sldId="7373"/>
            <ac:spMk id="66" creationId="{09E0ECC9-FD3F-2AF4-DF00-233D4FB65512}"/>
          </ac:spMkLst>
        </pc:spChg>
        <pc:spChg chg="del">
          <ac:chgData name="Bez, Florian" userId="30d7df6a-5295-4d75-a650-5a1fab7b8b2e" providerId="ADAL" clId="{DEF8C959-161B-48E6-918F-19FB2A9D3909}" dt="2023-04-17T18:11:22.213" v="1603" actId="478"/>
          <ac:spMkLst>
            <pc:docMk/>
            <pc:sldMk cId="2951351313" sldId="7373"/>
            <ac:spMk id="67" creationId="{27959662-F060-2DD4-E34E-C103493A444D}"/>
          </ac:spMkLst>
        </pc:spChg>
        <pc:spChg chg="del mod">
          <ac:chgData name="Bez, Florian" userId="30d7df6a-5295-4d75-a650-5a1fab7b8b2e" providerId="ADAL" clId="{DEF8C959-161B-48E6-918F-19FB2A9D3909}" dt="2023-04-17T18:14:03.340" v="1727" actId="478"/>
          <ac:spMkLst>
            <pc:docMk/>
            <pc:sldMk cId="2951351313" sldId="7373"/>
            <ac:spMk id="68" creationId="{99E96C98-7918-F59E-2FF3-CBF94ADEC131}"/>
          </ac:spMkLst>
        </pc:spChg>
        <pc:spChg chg="add del mod">
          <ac:chgData name="Bez, Florian" userId="30d7df6a-5295-4d75-a650-5a1fab7b8b2e" providerId="ADAL" clId="{DEF8C959-161B-48E6-918F-19FB2A9D3909}" dt="2023-04-17T18:33:43.140" v="2176" actId="478"/>
          <ac:spMkLst>
            <pc:docMk/>
            <pc:sldMk cId="2951351313" sldId="7373"/>
            <ac:spMk id="70" creationId="{5AF9F84B-A183-F0EB-3FB5-C325AB0CDE5B}"/>
          </ac:spMkLst>
        </pc:spChg>
        <pc:spChg chg="del mod">
          <ac:chgData name="Bez, Florian" userId="30d7df6a-5295-4d75-a650-5a1fab7b8b2e" providerId="ADAL" clId="{DEF8C959-161B-48E6-918F-19FB2A9D3909}" dt="2023-04-17T18:22:20.926" v="1904" actId="478"/>
          <ac:spMkLst>
            <pc:docMk/>
            <pc:sldMk cId="2951351313" sldId="7373"/>
            <ac:spMk id="71" creationId="{FC1EA257-7E7C-A726-5F37-79AF4F52BA07}"/>
          </ac:spMkLst>
        </pc:spChg>
        <pc:spChg chg="del mod">
          <ac:chgData name="Bez, Florian" userId="30d7df6a-5295-4d75-a650-5a1fab7b8b2e" providerId="ADAL" clId="{DEF8C959-161B-48E6-918F-19FB2A9D3909}" dt="2023-04-17T18:18:36.397" v="1799" actId="478"/>
          <ac:spMkLst>
            <pc:docMk/>
            <pc:sldMk cId="2951351313" sldId="7373"/>
            <ac:spMk id="72" creationId="{A0AC43E7-1014-3FE4-E08A-B77B6B2A20A4}"/>
          </ac:spMkLst>
        </pc:spChg>
        <pc:spChg chg="del mod">
          <ac:chgData name="Bez, Florian" userId="30d7df6a-5295-4d75-a650-5a1fab7b8b2e" providerId="ADAL" clId="{DEF8C959-161B-48E6-918F-19FB2A9D3909}" dt="2023-04-17T18:18:30.268" v="1796" actId="478"/>
          <ac:spMkLst>
            <pc:docMk/>
            <pc:sldMk cId="2951351313" sldId="7373"/>
            <ac:spMk id="73" creationId="{4567D3E9-FD2E-2675-A0AE-1D509C4DB780}"/>
          </ac:spMkLst>
        </pc:spChg>
        <pc:spChg chg="add del mod">
          <ac:chgData name="Bez, Florian" userId="30d7df6a-5295-4d75-a650-5a1fab7b8b2e" providerId="ADAL" clId="{DEF8C959-161B-48E6-918F-19FB2A9D3909}" dt="2023-04-17T18:23:24.444" v="1949" actId="478"/>
          <ac:spMkLst>
            <pc:docMk/>
            <pc:sldMk cId="2951351313" sldId="7373"/>
            <ac:spMk id="74" creationId="{3BD2ADB5-F12A-F963-D0EE-FA3EC20386D7}"/>
          </ac:spMkLst>
        </pc:spChg>
        <pc:spChg chg="del mod">
          <ac:chgData name="Bez, Florian" userId="30d7df6a-5295-4d75-a650-5a1fab7b8b2e" providerId="ADAL" clId="{DEF8C959-161B-48E6-918F-19FB2A9D3909}" dt="2023-04-17T18:22:18.155" v="1901" actId="478"/>
          <ac:spMkLst>
            <pc:docMk/>
            <pc:sldMk cId="2951351313" sldId="7373"/>
            <ac:spMk id="75" creationId="{ACE87647-293B-C1C0-E015-3E37B9664A13}"/>
          </ac:spMkLst>
        </pc:spChg>
        <pc:spChg chg="del mod">
          <ac:chgData name="Bez, Florian" userId="30d7df6a-5295-4d75-a650-5a1fab7b8b2e" providerId="ADAL" clId="{DEF8C959-161B-48E6-918F-19FB2A9D3909}" dt="2023-04-17T18:24:08.171" v="1959" actId="478"/>
          <ac:spMkLst>
            <pc:docMk/>
            <pc:sldMk cId="2951351313" sldId="7373"/>
            <ac:spMk id="76" creationId="{35B531A3-D2F1-5614-61EA-7018AC39548A}"/>
          </ac:spMkLst>
        </pc:spChg>
        <pc:spChg chg="del mod">
          <ac:chgData name="Bez, Florian" userId="30d7df6a-5295-4d75-a650-5a1fab7b8b2e" providerId="ADAL" clId="{DEF8C959-161B-48E6-918F-19FB2A9D3909}" dt="2023-04-17T18:18:37.764" v="1800" actId="478"/>
          <ac:spMkLst>
            <pc:docMk/>
            <pc:sldMk cId="2951351313" sldId="7373"/>
            <ac:spMk id="77" creationId="{172137FF-977C-4FD0-E15F-56FDE7204589}"/>
          </ac:spMkLst>
        </pc:spChg>
        <pc:spChg chg="del">
          <ac:chgData name="Bez, Florian" userId="30d7df6a-5295-4d75-a650-5a1fab7b8b2e" providerId="ADAL" clId="{DEF8C959-161B-48E6-918F-19FB2A9D3909}" dt="2023-04-17T18:18:39.219" v="1801" actId="478"/>
          <ac:spMkLst>
            <pc:docMk/>
            <pc:sldMk cId="2951351313" sldId="7373"/>
            <ac:spMk id="78" creationId="{91E7245E-C6C5-2C5B-FF1F-8BF48E0F7376}"/>
          </ac:spMkLst>
        </pc:spChg>
        <pc:spChg chg="add del mod">
          <ac:chgData name="Bez, Florian" userId="30d7df6a-5295-4d75-a650-5a1fab7b8b2e" providerId="ADAL" clId="{DEF8C959-161B-48E6-918F-19FB2A9D3909}" dt="2023-04-17T18:23:25.900" v="1950" actId="478"/>
          <ac:spMkLst>
            <pc:docMk/>
            <pc:sldMk cId="2951351313" sldId="7373"/>
            <ac:spMk id="79" creationId="{652BCDE1-5554-C88A-C7BE-2429E67B279D}"/>
          </ac:spMkLst>
        </pc:spChg>
        <pc:spChg chg="del mod">
          <ac:chgData name="Bez, Florian" userId="30d7df6a-5295-4d75-a650-5a1fab7b8b2e" providerId="ADAL" clId="{DEF8C959-161B-48E6-918F-19FB2A9D3909}" dt="2023-04-17T18:22:19.598" v="1902" actId="478"/>
          <ac:spMkLst>
            <pc:docMk/>
            <pc:sldMk cId="2951351313" sldId="7373"/>
            <ac:spMk id="80" creationId="{9E901A62-316A-9296-0FF0-162FD22F55C5}"/>
          </ac:spMkLst>
        </pc:spChg>
        <pc:spChg chg="add del mod">
          <ac:chgData name="Bez, Florian" userId="30d7df6a-5295-4d75-a650-5a1fab7b8b2e" providerId="ADAL" clId="{DEF8C959-161B-48E6-918F-19FB2A9D3909}" dt="2023-04-17T18:35:30.301" v="2199" actId="478"/>
          <ac:spMkLst>
            <pc:docMk/>
            <pc:sldMk cId="2951351313" sldId="7373"/>
            <ac:spMk id="83" creationId="{31314AF9-88D0-3631-8FF4-0ECB9EFDE490}"/>
          </ac:spMkLst>
        </pc:spChg>
        <pc:grpChg chg="add mod">
          <ac:chgData name="Bez, Florian" userId="30d7df6a-5295-4d75-a650-5a1fab7b8b2e" providerId="ADAL" clId="{DEF8C959-161B-48E6-918F-19FB2A9D3909}" dt="2023-04-17T18:34:11.610" v="2182" actId="1076"/>
          <ac:grpSpMkLst>
            <pc:docMk/>
            <pc:sldMk cId="2951351313" sldId="7373"/>
            <ac:grpSpMk id="69" creationId="{5C4B6728-C6F7-4379-903D-1E83B9494F34}"/>
          </ac:grpSpMkLst>
        </pc:grpChg>
        <pc:grpChg chg="add mod">
          <ac:chgData name="Bez, Florian" userId="30d7df6a-5295-4d75-a650-5a1fab7b8b2e" providerId="ADAL" clId="{DEF8C959-161B-48E6-918F-19FB2A9D3909}" dt="2023-04-17T18:34:58.747" v="2195" actId="14100"/>
          <ac:grpSpMkLst>
            <pc:docMk/>
            <pc:sldMk cId="2951351313" sldId="7373"/>
            <ac:grpSpMk id="81" creationId="{C4AEC595-497F-DB5C-78E3-5D15DA2287A9}"/>
          </ac:grpSpMkLst>
        </pc:grpChg>
        <pc:picChg chg="add del mod">
          <ac:chgData name="Bez, Florian" userId="30d7df6a-5295-4d75-a650-5a1fab7b8b2e" providerId="ADAL" clId="{DEF8C959-161B-48E6-918F-19FB2A9D3909}" dt="2023-04-17T18:09:14.981" v="1593" actId="478"/>
          <ac:picMkLst>
            <pc:docMk/>
            <pc:sldMk cId="2951351313" sldId="7373"/>
            <ac:picMk id="2" creationId="{B907A680-E2DB-B69B-D792-6C825CF125C4}"/>
          </ac:picMkLst>
        </pc:picChg>
        <pc:picChg chg="add del mod">
          <ac:chgData name="Bez, Florian" userId="30d7df6a-5295-4d75-a650-5a1fab7b8b2e" providerId="ADAL" clId="{DEF8C959-161B-48E6-918F-19FB2A9D3909}" dt="2023-04-17T18:06:52.237" v="1434" actId="478"/>
          <ac:picMkLst>
            <pc:docMk/>
            <pc:sldMk cId="2951351313" sldId="7373"/>
            <ac:picMk id="58" creationId="{E58A4B42-3F05-1846-0344-1904D82FCF47}"/>
          </ac:picMkLst>
        </pc:picChg>
        <pc:picChg chg="del mod">
          <ac:chgData name="Bez, Florian" userId="30d7df6a-5295-4d75-a650-5a1fab7b8b2e" providerId="ADAL" clId="{DEF8C959-161B-48E6-918F-19FB2A9D3909}" dt="2023-04-17T18:22:20.140" v="1903" actId="478"/>
          <ac:picMkLst>
            <pc:docMk/>
            <pc:sldMk cId="2951351313" sldId="7373"/>
            <ac:picMk id="82" creationId="{EF10B8D5-CC3F-5D91-E920-57D5B4733D80}"/>
          </ac:picMkLst>
        </pc:picChg>
        <pc:cxnChg chg="add del mod">
          <ac:chgData name="Bez, Florian" userId="30d7df6a-5295-4d75-a650-5a1fab7b8b2e" providerId="ADAL" clId="{DEF8C959-161B-48E6-918F-19FB2A9D3909}" dt="2023-04-17T18:27:36.090" v="2105" actId="478"/>
          <ac:cxnSpMkLst>
            <pc:docMk/>
            <pc:sldMk cId="2951351313" sldId="7373"/>
            <ac:cxnSpMk id="23" creationId="{E564A249-2057-2B9D-1F21-E0D3E8C6520E}"/>
          </ac:cxnSpMkLst>
        </pc:cxnChg>
        <pc:cxnChg chg="add del mod">
          <ac:chgData name="Bez, Florian" userId="30d7df6a-5295-4d75-a650-5a1fab7b8b2e" providerId="ADAL" clId="{DEF8C959-161B-48E6-918F-19FB2A9D3909}" dt="2023-04-17T18:27:35.403" v="2104" actId="478"/>
          <ac:cxnSpMkLst>
            <pc:docMk/>
            <pc:sldMk cId="2951351313" sldId="7373"/>
            <ac:cxnSpMk id="24" creationId="{C8C8050F-E9CC-B5D3-86BC-F6932366B7ED}"/>
          </ac:cxnSpMkLst>
        </pc:cxnChg>
        <pc:cxnChg chg="add del mod">
          <ac:chgData name="Bez, Florian" userId="30d7df6a-5295-4d75-a650-5a1fab7b8b2e" providerId="ADAL" clId="{DEF8C959-161B-48E6-918F-19FB2A9D3909}" dt="2023-04-17T18:27:34.881" v="2103" actId="478"/>
          <ac:cxnSpMkLst>
            <pc:docMk/>
            <pc:sldMk cId="2951351313" sldId="7373"/>
            <ac:cxnSpMk id="31" creationId="{2D83BDE2-D064-34D0-DF27-BCF8058C892A}"/>
          </ac:cxnSpMkLst>
        </pc:cxnChg>
        <pc:cxnChg chg="add del mod">
          <ac:chgData name="Bez, Florian" userId="30d7df6a-5295-4d75-a650-5a1fab7b8b2e" providerId="ADAL" clId="{DEF8C959-161B-48E6-918F-19FB2A9D3909}" dt="2023-04-17T18:27:34.151" v="2102" actId="478"/>
          <ac:cxnSpMkLst>
            <pc:docMk/>
            <pc:sldMk cId="2951351313" sldId="7373"/>
            <ac:cxnSpMk id="32" creationId="{A7B94769-539A-5AD7-71E2-4CCDFDB4501B}"/>
          </ac:cxnSpMkLst>
        </pc:cxnChg>
        <pc:cxnChg chg="add del mod">
          <ac:chgData name="Bez, Florian" userId="30d7df6a-5295-4d75-a650-5a1fab7b8b2e" providerId="ADAL" clId="{DEF8C959-161B-48E6-918F-19FB2A9D3909}" dt="2023-04-17T18:27:33.616" v="2101" actId="478"/>
          <ac:cxnSpMkLst>
            <pc:docMk/>
            <pc:sldMk cId="2951351313" sldId="7373"/>
            <ac:cxnSpMk id="33" creationId="{FAD017F6-8B31-20B6-62D6-0DFE2B6B4EDB}"/>
          </ac:cxnSpMkLst>
        </pc:cxnChg>
        <pc:cxnChg chg="add del mod ord">
          <ac:chgData name="Bez, Florian" userId="30d7df6a-5295-4d75-a650-5a1fab7b8b2e" providerId="ADAL" clId="{DEF8C959-161B-48E6-918F-19FB2A9D3909}" dt="2023-04-17T18:34:39.941" v="2192" actId="478"/>
          <ac:cxnSpMkLst>
            <pc:docMk/>
            <pc:sldMk cId="2951351313" sldId="7373"/>
            <ac:cxnSpMk id="57" creationId="{4B5ADD59-7CD1-8CA1-D70A-9BD475033A69}"/>
          </ac:cxnSpMkLst>
        </pc:cxnChg>
      </pc:sldChg>
      <pc:sldChg chg="add del ord">
        <pc:chgData name="Bez, Florian" userId="30d7df6a-5295-4d75-a650-5a1fab7b8b2e" providerId="ADAL" clId="{DEF8C959-161B-48E6-918F-19FB2A9D3909}" dt="2023-04-21T07:29:02.121" v="7630" actId="47"/>
        <pc:sldMkLst>
          <pc:docMk/>
          <pc:sldMk cId="322743380" sldId="2145705724"/>
        </pc:sldMkLst>
      </pc:sldChg>
      <pc:sldChg chg="modSp add del mod">
        <pc:chgData name="Bez, Florian" userId="30d7df6a-5295-4d75-a650-5a1fab7b8b2e" providerId="ADAL" clId="{DEF8C959-161B-48E6-918F-19FB2A9D3909}" dt="2023-04-21T10:14:49.465" v="10213" actId="47"/>
        <pc:sldMkLst>
          <pc:docMk/>
          <pc:sldMk cId="662893061" sldId="2145707125"/>
        </pc:sldMkLst>
        <pc:spChg chg="mod">
          <ac:chgData name="Bez, Florian" userId="30d7df6a-5295-4d75-a650-5a1fab7b8b2e" providerId="ADAL" clId="{DEF8C959-161B-48E6-918F-19FB2A9D3909}" dt="2023-04-21T10:14:36.589" v="10212" actId="14100"/>
          <ac:spMkLst>
            <pc:docMk/>
            <pc:sldMk cId="662893061" sldId="2145707125"/>
            <ac:spMk id="12" creationId="{B092101A-4C95-4D42-9B8F-2E760028528C}"/>
          </ac:spMkLst>
        </pc:spChg>
        <pc:spChg chg="mod">
          <ac:chgData name="Bez, Florian" userId="30d7df6a-5295-4d75-a650-5a1fab7b8b2e" providerId="ADAL" clId="{DEF8C959-161B-48E6-918F-19FB2A9D3909}" dt="2023-04-21T09:53:08.855" v="9996" actId="20577"/>
          <ac:spMkLst>
            <pc:docMk/>
            <pc:sldMk cId="662893061" sldId="2145707125"/>
            <ac:spMk id="1062" creationId="{5B640338-E733-4125-A5C9-C35FC24426D4}"/>
          </ac:spMkLst>
        </pc:spChg>
      </pc:sldChg>
      <pc:sldChg chg="modSp add del">
        <pc:chgData name="Bez, Florian" userId="30d7df6a-5295-4d75-a650-5a1fab7b8b2e" providerId="ADAL" clId="{DEF8C959-161B-48E6-918F-19FB2A9D3909}" dt="2023-04-21T07:28:59.854" v="7626" actId="47"/>
        <pc:sldMkLst>
          <pc:docMk/>
          <pc:sldMk cId="1239235263" sldId="2145708006"/>
        </pc:sldMkLst>
        <pc:spChg chg="mod">
          <ac:chgData name="Bez, Florian" userId="30d7df6a-5295-4d75-a650-5a1fab7b8b2e" providerId="ADAL" clId="{DEF8C959-161B-48E6-918F-19FB2A9D3909}" dt="2023-04-18T07:53:25.409" v="2885"/>
          <ac:spMkLst>
            <pc:docMk/>
            <pc:sldMk cId="1239235263" sldId="2145708006"/>
            <ac:spMk id="4" creationId="{64620806-0FDB-4EEC-B2B9-FECE5F45AA9A}"/>
          </ac:spMkLst>
        </pc:spChg>
        <pc:spChg chg="mod">
          <ac:chgData name="Bez, Florian" userId="30d7df6a-5295-4d75-a650-5a1fab7b8b2e" providerId="ADAL" clId="{DEF8C959-161B-48E6-918F-19FB2A9D3909}" dt="2023-04-18T07:53:25.409" v="2885"/>
          <ac:spMkLst>
            <pc:docMk/>
            <pc:sldMk cId="1239235263" sldId="2145708006"/>
            <ac:spMk id="5" creationId="{B3A6F3B8-DEF2-4AB0-A953-51F827287AD4}"/>
          </ac:spMkLst>
        </pc:spChg>
      </pc:sldChg>
      <pc:sldChg chg="add del">
        <pc:chgData name="Bez, Florian" userId="30d7df6a-5295-4d75-a650-5a1fab7b8b2e" providerId="ADAL" clId="{DEF8C959-161B-48E6-918F-19FB2A9D3909}" dt="2023-04-21T07:29:33.822" v="7644" actId="47"/>
        <pc:sldMkLst>
          <pc:docMk/>
          <pc:sldMk cId="2348473326" sldId="2145708007"/>
        </pc:sldMkLst>
      </pc:sldChg>
      <pc:sldChg chg="addSp delSp modSp add del mod">
        <pc:chgData name="Bez, Florian" userId="30d7df6a-5295-4d75-a650-5a1fab7b8b2e" providerId="ADAL" clId="{DEF8C959-161B-48E6-918F-19FB2A9D3909}" dt="2023-04-21T07:28:53.513" v="7625" actId="47"/>
        <pc:sldMkLst>
          <pc:docMk/>
          <pc:sldMk cId="3187756597" sldId="2145708008"/>
        </pc:sldMkLst>
        <pc:spChg chg="add del mod">
          <ac:chgData name="Bez, Florian" userId="30d7df6a-5295-4d75-a650-5a1fab7b8b2e" providerId="ADAL" clId="{DEF8C959-161B-48E6-918F-19FB2A9D3909}" dt="2023-04-20T07:50:55.308" v="4941" actId="478"/>
          <ac:spMkLst>
            <pc:docMk/>
            <pc:sldMk cId="3187756597" sldId="2145708008"/>
            <ac:spMk id="2" creationId="{6720B687-3E07-7978-C309-E8183A821495}"/>
          </ac:spMkLst>
        </pc:spChg>
        <pc:spChg chg="del mod topLvl">
          <ac:chgData name="Bez, Florian" userId="30d7df6a-5295-4d75-a650-5a1fab7b8b2e" providerId="ADAL" clId="{DEF8C959-161B-48E6-918F-19FB2A9D3909}" dt="2023-04-20T07:50:55.308" v="4941" actId="478"/>
          <ac:spMkLst>
            <pc:docMk/>
            <pc:sldMk cId="3187756597" sldId="2145708008"/>
            <ac:spMk id="4" creationId="{E427C7A1-70B4-205C-EE06-E117511273AA}"/>
          </ac:spMkLst>
        </pc:spChg>
        <pc:spChg chg="del mod topLvl">
          <ac:chgData name="Bez, Florian" userId="30d7df6a-5295-4d75-a650-5a1fab7b8b2e" providerId="ADAL" clId="{DEF8C959-161B-48E6-918F-19FB2A9D3909}" dt="2023-04-20T07:50:55.308" v="4941" actId="478"/>
          <ac:spMkLst>
            <pc:docMk/>
            <pc:sldMk cId="3187756597" sldId="2145708008"/>
            <ac:spMk id="5" creationId="{CFDF7919-97D7-CF43-6134-6613E362D012}"/>
          </ac:spMkLst>
        </pc:spChg>
        <pc:spChg chg="del mod topLvl">
          <ac:chgData name="Bez, Florian" userId="30d7df6a-5295-4d75-a650-5a1fab7b8b2e" providerId="ADAL" clId="{DEF8C959-161B-48E6-918F-19FB2A9D3909}" dt="2023-04-20T07:50:55.308" v="4941" actId="478"/>
          <ac:spMkLst>
            <pc:docMk/>
            <pc:sldMk cId="3187756597" sldId="2145708008"/>
            <ac:spMk id="6" creationId="{EABB2ABC-8C66-786B-61EA-2BFD2DF1B57B}"/>
          </ac:spMkLst>
        </pc:spChg>
        <pc:spChg chg="mod">
          <ac:chgData name="Bez, Florian" userId="30d7df6a-5295-4d75-a650-5a1fab7b8b2e" providerId="ADAL" clId="{DEF8C959-161B-48E6-918F-19FB2A9D3909}" dt="2023-04-20T06:21:15.811" v="3634" actId="20577"/>
          <ac:spMkLst>
            <pc:docMk/>
            <pc:sldMk cId="3187756597" sldId="2145708008"/>
            <ac:spMk id="7" creationId="{733E82B5-D59B-6327-5CC6-198E47DFB482}"/>
          </ac:spMkLst>
        </pc:spChg>
        <pc:spChg chg="del mod topLvl">
          <ac:chgData name="Bez, Florian" userId="30d7df6a-5295-4d75-a650-5a1fab7b8b2e" providerId="ADAL" clId="{DEF8C959-161B-48E6-918F-19FB2A9D3909}" dt="2023-04-20T07:50:55.308" v="4941" actId="478"/>
          <ac:spMkLst>
            <pc:docMk/>
            <pc:sldMk cId="3187756597" sldId="2145708008"/>
            <ac:spMk id="8" creationId="{C08D9B71-C41C-4BB4-F075-59F4DAAB3F3E}"/>
          </ac:spMkLst>
        </pc:spChg>
        <pc:spChg chg="del">
          <ac:chgData name="Bez, Florian" userId="30d7df6a-5295-4d75-a650-5a1fab7b8b2e" providerId="ADAL" clId="{DEF8C959-161B-48E6-918F-19FB2A9D3909}" dt="2023-04-20T06:21:20.678" v="3635" actId="478"/>
          <ac:spMkLst>
            <pc:docMk/>
            <pc:sldMk cId="3187756597" sldId="2145708008"/>
            <ac:spMk id="9" creationId="{AC417BC1-C07F-A890-BCB8-11A2409C229E}"/>
          </ac:spMkLst>
        </pc:spChg>
        <pc:spChg chg="add del mod">
          <ac:chgData name="Bez, Florian" userId="30d7df6a-5295-4d75-a650-5a1fab7b8b2e" providerId="ADAL" clId="{DEF8C959-161B-48E6-918F-19FB2A9D3909}" dt="2023-04-20T07:50:55.308" v="4941" actId="478"/>
          <ac:spMkLst>
            <pc:docMk/>
            <pc:sldMk cId="3187756597" sldId="2145708008"/>
            <ac:spMk id="10" creationId="{4BB12750-396C-AF50-2D3E-02373F91E167}"/>
          </ac:spMkLst>
        </pc:spChg>
        <pc:spChg chg="add del mod">
          <ac:chgData name="Bez, Florian" userId="30d7df6a-5295-4d75-a650-5a1fab7b8b2e" providerId="ADAL" clId="{DEF8C959-161B-48E6-918F-19FB2A9D3909}" dt="2023-04-20T07:50:55.308" v="4941" actId="478"/>
          <ac:spMkLst>
            <pc:docMk/>
            <pc:sldMk cId="3187756597" sldId="2145708008"/>
            <ac:spMk id="11" creationId="{2E93B36A-DE28-02B1-2DB4-BD446A8B3E2E}"/>
          </ac:spMkLst>
        </pc:spChg>
        <pc:spChg chg="add del mod">
          <ac:chgData name="Bez, Florian" userId="30d7df6a-5295-4d75-a650-5a1fab7b8b2e" providerId="ADAL" clId="{DEF8C959-161B-48E6-918F-19FB2A9D3909}" dt="2023-04-20T07:50:55.308" v="4941" actId="478"/>
          <ac:spMkLst>
            <pc:docMk/>
            <pc:sldMk cId="3187756597" sldId="2145708008"/>
            <ac:spMk id="13" creationId="{F49B8B00-F115-5DD8-22DC-3CD9BD7BC325}"/>
          </ac:spMkLst>
        </pc:spChg>
        <pc:spChg chg="mod">
          <ac:chgData name="Bez, Florian" userId="30d7df6a-5295-4d75-a650-5a1fab7b8b2e" providerId="ADAL" clId="{DEF8C959-161B-48E6-918F-19FB2A9D3909}" dt="2023-04-20T07:51:02.529" v="4942"/>
          <ac:spMkLst>
            <pc:docMk/>
            <pc:sldMk cId="3187756597" sldId="2145708008"/>
            <ac:spMk id="15" creationId="{8FAAD4D4-1B57-7841-0F34-35F613AE9A90}"/>
          </ac:spMkLst>
        </pc:spChg>
        <pc:spChg chg="mod">
          <ac:chgData name="Bez, Florian" userId="30d7df6a-5295-4d75-a650-5a1fab7b8b2e" providerId="ADAL" clId="{DEF8C959-161B-48E6-918F-19FB2A9D3909}" dt="2023-04-20T07:51:02.529" v="4942"/>
          <ac:spMkLst>
            <pc:docMk/>
            <pc:sldMk cId="3187756597" sldId="2145708008"/>
            <ac:spMk id="16" creationId="{C988A5B4-CAD4-43AA-F149-BCCAE5DC1A6E}"/>
          </ac:spMkLst>
        </pc:spChg>
        <pc:spChg chg="mod">
          <ac:chgData name="Bez, Florian" userId="30d7df6a-5295-4d75-a650-5a1fab7b8b2e" providerId="ADAL" clId="{DEF8C959-161B-48E6-918F-19FB2A9D3909}" dt="2023-04-20T07:51:02.529" v="4942"/>
          <ac:spMkLst>
            <pc:docMk/>
            <pc:sldMk cId="3187756597" sldId="2145708008"/>
            <ac:spMk id="17" creationId="{E88957FB-8035-D59A-1E6E-4A8C9FADAB0E}"/>
          </ac:spMkLst>
        </pc:spChg>
        <pc:spChg chg="mod">
          <ac:chgData name="Bez, Florian" userId="30d7df6a-5295-4d75-a650-5a1fab7b8b2e" providerId="ADAL" clId="{DEF8C959-161B-48E6-918F-19FB2A9D3909}" dt="2023-04-20T07:51:02.529" v="4942"/>
          <ac:spMkLst>
            <pc:docMk/>
            <pc:sldMk cId="3187756597" sldId="2145708008"/>
            <ac:spMk id="18" creationId="{8F595C02-332D-9D1F-1BD6-9DFE379662F7}"/>
          </ac:spMkLst>
        </pc:spChg>
        <pc:spChg chg="mod">
          <ac:chgData name="Bez, Florian" userId="30d7df6a-5295-4d75-a650-5a1fab7b8b2e" providerId="ADAL" clId="{DEF8C959-161B-48E6-918F-19FB2A9D3909}" dt="2023-04-20T07:51:02.529" v="4942"/>
          <ac:spMkLst>
            <pc:docMk/>
            <pc:sldMk cId="3187756597" sldId="2145708008"/>
            <ac:spMk id="19" creationId="{99692AAE-6CCE-DDC5-7BB4-3FA3938E630F}"/>
          </ac:spMkLst>
        </pc:spChg>
        <pc:spChg chg="mod">
          <ac:chgData name="Bez, Florian" userId="30d7df6a-5295-4d75-a650-5a1fab7b8b2e" providerId="ADAL" clId="{DEF8C959-161B-48E6-918F-19FB2A9D3909}" dt="2023-04-20T07:51:02.529" v="4942"/>
          <ac:spMkLst>
            <pc:docMk/>
            <pc:sldMk cId="3187756597" sldId="2145708008"/>
            <ac:spMk id="20" creationId="{28F9B7FA-7D31-C8B4-DAFC-E399A01F1497}"/>
          </ac:spMkLst>
        </pc:spChg>
        <pc:spChg chg="mod">
          <ac:chgData name="Bez, Florian" userId="30d7df6a-5295-4d75-a650-5a1fab7b8b2e" providerId="ADAL" clId="{DEF8C959-161B-48E6-918F-19FB2A9D3909}" dt="2023-04-20T07:51:02.529" v="4942"/>
          <ac:spMkLst>
            <pc:docMk/>
            <pc:sldMk cId="3187756597" sldId="2145708008"/>
            <ac:spMk id="21" creationId="{CE76AFAA-0512-3639-B86B-AE030A2FC226}"/>
          </ac:spMkLst>
        </pc:spChg>
        <pc:spChg chg="add mod">
          <ac:chgData name="Bez, Florian" userId="30d7df6a-5295-4d75-a650-5a1fab7b8b2e" providerId="ADAL" clId="{DEF8C959-161B-48E6-918F-19FB2A9D3909}" dt="2023-04-20T10:06:41.667" v="7097"/>
          <ac:spMkLst>
            <pc:docMk/>
            <pc:sldMk cId="3187756597" sldId="2145708008"/>
            <ac:spMk id="22" creationId="{CD75ACD9-8DC3-AB1C-1D7E-ECC025D1178E}"/>
          </ac:spMkLst>
        </pc:spChg>
        <pc:spChg chg="del">
          <ac:chgData name="Bez, Florian" userId="30d7df6a-5295-4d75-a650-5a1fab7b8b2e" providerId="ADAL" clId="{DEF8C959-161B-48E6-918F-19FB2A9D3909}" dt="2023-04-20T06:21:20.678" v="3635" actId="478"/>
          <ac:spMkLst>
            <pc:docMk/>
            <pc:sldMk cId="3187756597" sldId="2145708008"/>
            <ac:spMk id="39"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0"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1"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2"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3"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4"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5"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6"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7"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48"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53"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56"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57"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58"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59"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0"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1"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2"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3"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5"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69"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0"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1"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2"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3"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4"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5"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6"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7" creationId="{00000000-0000-0000-0000-000000000000}"/>
          </ac:spMkLst>
        </pc:spChg>
        <pc:spChg chg="del">
          <ac:chgData name="Bez, Florian" userId="30d7df6a-5295-4d75-a650-5a1fab7b8b2e" providerId="ADAL" clId="{DEF8C959-161B-48E6-918F-19FB2A9D3909}" dt="2023-04-20T06:21:20.678" v="3635" actId="478"/>
          <ac:spMkLst>
            <pc:docMk/>
            <pc:sldMk cId="3187756597" sldId="2145708008"/>
            <ac:spMk id="78" creationId="{00000000-0000-0000-0000-000000000000}"/>
          </ac:spMkLst>
        </pc:spChg>
        <pc:grpChg chg="add del mod">
          <ac:chgData name="Bez, Florian" userId="30d7df6a-5295-4d75-a650-5a1fab7b8b2e" providerId="ADAL" clId="{DEF8C959-161B-48E6-918F-19FB2A9D3909}" dt="2023-04-20T06:21:58.209" v="3639" actId="165"/>
          <ac:grpSpMkLst>
            <pc:docMk/>
            <pc:sldMk cId="3187756597" sldId="2145708008"/>
            <ac:grpSpMk id="3" creationId="{E0266782-DC7C-E788-C9B1-FF9D9CB7F15A}"/>
          </ac:grpSpMkLst>
        </pc:grpChg>
        <pc:grpChg chg="add mod">
          <ac:chgData name="Bez, Florian" userId="30d7df6a-5295-4d75-a650-5a1fab7b8b2e" providerId="ADAL" clId="{DEF8C959-161B-48E6-918F-19FB2A9D3909}" dt="2023-04-20T07:51:02.529" v="4942"/>
          <ac:grpSpMkLst>
            <pc:docMk/>
            <pc:sldMk cId="3187756597" sldId="2145708008"/>
            <ac:grpSpMk id="14" creationId="{D6BFAF47-313C-2CD2-8B29-4724E931EAF8}"/>
          </ac:grpSpMkLst>
        </pc:grpChg>
      </pc:sldChg>
      <pc:sldChg chg="addSp delSp modSp add mod delAnim modAnim modNotesTx">
        <pc:chgData name="Bez, Florian" userId="30d7df6a-5295-4d75-a650-5a1fab7b8b2e" providerId="ADAL" clId="{DEF8C959-161B-48E6-918F-19FB2A9D3909}" dt="2023-04-21T08:18:30.370" v="8883" actId="20577"/>
        <pc:sldMkLst>
          <pc:docMk/>
          <pc:sldMk cId="837475812" sldId="2145708009"/>
        </pc:sldMkLst>
        <pc:spChg chg="mod">
          <ac:chgData name="Bez, Florian" userId="30d7df6a-5295-4d75-a650-5a1fab7b8b2e" providerId="ADAL" clId="{DEF8C959-161B-48E6-918F-19FB2A9D3909}" dt="2023-04-21T08:18:30.370" v="8883" actId="20577"/>
          <ac:spMkLst>
            <pc:docMk/>
            <pc:sldMk cId="837475812" sldId="2145708009"/>
            <ac:spMk id="2" creationId="{D80B81FD-744A-49A8-9CF9-3DE47A77E15E}"/>
          </ac:spMkLst>
        </pc:spChg>
        <pc:spChg chg="mod">
          <ac:chgData name="Bez, Florian" userId="30d7df6a-5295-4d75-a650-5a1fab7b8b2e" providerId="ADAL" clId="{DEF8C959-161B-48E6-918F-19FB2A9D3909}" dt="2023-04-20T10:08:02.518" v="7179" actId="14100"/>
          <ac:spMkLst>
            <pc:docMk/>
            <pc:sldMk cId="837475812" sldId="2145708009"/>
            <ac:spMk id="6" creationId="{3A70FE57-FC1B-4F9C-BB9E-21DD1D15064D}"/>
          </ac:spMkLst>
        </pc:spChg>
        <pc:spChg chg="mod">
          <ac:chgData name="Bez, Florian" userId="30d7df6a-5295-4d75-a650-5a1fab7b8b2e" providerId="ADAL" clId="{DEF8C959-161B-48E6-918F-19FB2A9D3909}" dt="2023-04-20T06:30:30.042" v="3855" actId="113"/>
          <ac:spMkLst>
            <pc:docMk/>
            <pc:sldMk cId="837475812" sldId="2145708009"/>
            <ac:spMk id="8" creationId="{9F78A8D4-BB13-DDCE-9659-8D1BE04FECD5}"/>
          </ac:spMkLst>
        </pc:spChg>
        <pc:spChg chg="mod topLvl">
          <ac:chgData name="Bez, Florian" userId="30d7df6a-5295-4d75-a650-5a1fab7b8b2e" providerId="ADAL" clId="{DEF8C959-161B-48E6-918F-19FB2A9D3909}" dt="2023-04-20T08:03:10.618" v="5091" actId="14100"/>
          <ac:spMkLst>
            <pc:docMk/>
            <pc:sldMk cId="837475812" sldId="2145708009"/>
            <ac:spMk id="9" creationId="{0278BB28-1044-2F86-2B92-4032A5045549}"/>
          </ac:spMkLst>
        </pc:spChg>
        <pc:spChg chg="mod topLvl">
          <ac:chgData name="Bez, Florian" userId="30d7df6a-5295-4d75-a650-5a1fab7b8b2e" providerId="ADAL" clId="{DEF8C959-161B-48E6-918F-19FB2A9D3909}" dt="2023-04-20T08:02:29.595" v="5081" actId="165"/>
          <ac:spMkLst>
            <pc:docMk/>
            <pc:sldMk cId="837475812" sldId="2145708009"/>
            <ac:spMk id="10" creationId="{46F3A574-956C-945E-FBFC-D40D863089E7}"/>
          </ac:spMkLst>
        </pc:spChg>
        <pc:spChg chg="del">
          <ac:chgData name="Bez, Florian" userId="30d7df6a-5295-4d75-a650-5a1fab7b8b2e" providerId="ADAL" clId="{DEF8C959-161B-48E6-918F-19FB2A9D3909}" dt="2023-04-20T06:36:04.731" v="3902" actId="478"/>
          <ac:spMkLst>
            <pc:docMk/>
            <pc:sldMk cId="837475812" sldId="2145708009"/>
            <ac:spMk id="11" creationId="{1F539489-191D-4CD8-1FE1-E91E5C923654}"/>
          </ac:spMkLst>
        </pc:spChg>
        <pc:spChg chg="del">
          <ac:chgData name="Bez, Florian" userId="30d7df6a-5295-4d75-a650-5a1fab7b8b2e" providerId="ADAL" clId="{DEF8C959-161B-48E6-918F-19FB2A9D3909}" dt="2023-04-20T06:36:09.973" v="3903" actId="478"/>
          <ac:spMkLst>
            <pc:docMk/>
            <pc:sldMk cId="837475812" sldId="2145708009"/>
            <ac:spMk id="12" creationId="{2244D736-C009-4DAB-B1FA-3B52EF8B120B}"/>
          </ac:spMkLst>
        </pc:spChg>
        <pc:spChg chg="add del mod">
          <ac:chgData name="Bez, Florian" userId="30d7df6a-5295-4d75-a650-5a1fab7b8b2e" providerId="ADAL" clId="{DEF8C959-161B-48E6-918F-19FB2A9D3909}" dt="2023-04-20T08:16:25.114" v="5493" actId="478"/>
          <ac:spMkLst>
            <pc:docMk/>
            <pc:sldMk cId="837475812" sldId="2145708009"/>
            <ac:spMk id="17" creationId="{6903936D-063B-459C-8713-DA28821DA1C2}"/>
          </ac:spMkLst>
        </pc:spChg>
        <pc:spChg chg="mod topLvl">
          <ac:chgData name="Bez, Florian" userId="30d7df6a-5295-4d75-a650-5a1fab7b8b2e" providerId="ADAL" clId="{DEF8C959-161B-48E6-918F-19FB2A9D3909}" dt="2023-04-20T07:56:35.513" v="5016" actId="14100"/>
          <ac:spMkLst>
            <pc:docMk/>
            <pc:sldMk cId="837475812" sldId="2145708009"/>
            <ac:spMk id="22" creationId="{C4986359-31B8-BC06-9CCC-7388F0D1FF4C}"/>
          </ac:spMkLst>
        </pc:spChg>
        <pc:spChg chg="del mod topLvl">
          <ac:chgData name="Bez, Florian" userId="30d7df6a-5295-4d75-a650-5a1fab7b8b2e" providerId="ADAL" clId="{DEF8C959-161B-48E6-918F-19FB2A9D3909}" dt="2023-04-20T07:52:19.387" v="4950" actId="478"/>
          <ac:spMkLst>
            <pc:docMk/>
            <pc:sldMk cId="837475812" sldId="2145708009"/>
            <ac:spMk id="23" creationId="{BC52E7F2-C1FF-84B1-D845-AAF152B1FCA3}"/>
          </ac:spMkLst>
        </pc:spChg>
        <pc:spChg chg="mod">
          <ac:chgData name="Bez, Florian" userId="30d7df6a-5295-4d75-a650-5a1fab7b8b2e" providerId="ADAL" clId="{DEF8C959-161B-48E6-918F-19FB2A9D3909}" dt="2023-04-20T07:53:45.198" v="4955"/>
          <ac:spMkLst>
            <pc:docMk/>
            <pc:sldMk cId="837475812" sldId="2145708009"/>
            <ac:spMk id="25" creationId="{609DBBDF-480A-8D48-1F66-9A5658B48603}"/>
          </ac:spMkLst>
        </pc:spChg>
        <pc:spChg chg="mod">
          <ac:chgData name="Bez, Florian" userId="30d7df6a-5295-4d75-a650-5a1fab7b8b2e" providerId="ADAL" clId="{DEF8C959-161B-48E6-918F-19FB2A9D3909}" dt="2023-04-20T07:53:45.198" v="4955"/>
          <ac:spMkLst>
            <pc:docMk/>
            <pc:sldMk cId="837475812" sldId="2145708009"/>
            <ac:spMk id="26" creationId="{CF72D59B-B1B1-A005-C40D-9FC0C38A172A}"/>
          </ac:spMkLst>
        </pc:spChg>
        <pc:spChg chg="mod">
          <ac:chgData name="Bez, Florian" userId="30d7df6a-5295-4d75-a650-5a1fab7b8b2e" providerId="ADAL" clId="{DEF8C959-161B-48E6-918F-19FB2A9D3909}" dt="2023-04-20T07:53:45.198" v="4955"/>
          <ac:spMkLst>
            <pc:docMk/>
            <pc:sldMk cId="837475812" sldId="2145708009"/>
            <ac:spMk id="27" creationId="{E0A8D93C-31DF-DB62-C3C3-5972B7A1AB8C}"/>
          </ac:spMkLst>
        </pc:spChg>
        <pc:spChg chg="mod">
          <ac:chgData name="Bez, Florian" userId="30d7df6a-5295-4d75-a650-5a1fab7b8b2e" providerId="ADAL" clId="{DEF8C959-161B-48E6-918F-19FB2A9D3909}" dt="2023-04-20T07:53:45.198" v="4955"/>
          <ac:spMkLst>
            <pc:docMk/>
            <pc:sldMk cId="837475812" sldId="2145708009"/>
            <ac:spMk id="28" creationId="{78A06E64-D1AF-0F5D-E6A2-6D1D886B1B05}"/>
          </ac:spMkLst>
        </pc:spChg>
        <pc:spChg chg="mod">
          <ac:chgData name="Bez, Florian" userId="30d7df6a-5295-4d75-a650-5a1fab7b8b2e" providerId="ADAL" clId="{DEF8C959-161B-48E6-918F-19FB2A9D3909}" dt="2023-04-20T07:53:45.198" v="4955"/>
          <ac:spMkLst>
            <pc:docMk/>
            <pc:sldMk cId="837475812" sldId="2145708009"/>
            <ac:spMk id="29" creationId="{96FD5A53-3F7B-A6F4-F245-AFB6E499A88E}"/>
          </ac:spMkLst>
        </pc:spChg>
        <pc:spChg chg="mod">
          <ac:chgData name="Bez, Florian" userId="30d7df6a-5295-4d75-a650-5a1fab7b8b2e" providerId="ADAL" clId="{DEF8C959-161B-48E6-918F-19FB2A9D3909}" dt="2023-04-20T07:53:45.198" v="4955"/>
          <ac:spMkLst>
            <pc:docMk/>
            <pc:sldMk cId="837475812" sldId="2145708009"/>
            <ac:spMk id="30" creationId="{418AB281-0218-FABB-4184-FB7A09FFF466}"/>
          </ac:spMkLst>
        </pc:spChg>
        <pc:spChg chg="add del mod">
          <ac:chgData name="Bez, Florian" userId="30d7df6a-5295-4d75-a650-5a1fab7b8b2e" providerId="ADAL" clId="{DEF8C959-161B-48E6-918F-19FB2A9D3909}" dt="2023-04-20T07:53:56.103" v="4957"/>
          <ac:spMkLst>
            <pc:docMk/>
            <pc:sldMk cId="837475812" sldId="2145708009"/>
            <ac:spMk id="31" creationId="{814DDDE8-F046-0B7D-CF19-549F11F2ECEB}"/>
          </ac:spMkLst>
        </pc:spChg>
        <pc:spChg chg="add mod">
          <ac:chgData name="Bez, Florian" userId="30d7df6a-5295-4d75-a650-5a1fab7b8b2e" providerId="ADAL" clId="{DEF8C959-161B-48E6-918F-19FB2A9D3909}" dt="2023-04-20T07:55:12.740" v="4989" actId="1076"/>
          <ac:spMkLst>
            <pc:docMk/>
            <pc:sldMk cId="837475812" sldId="2145708009"/>
            <ac:spMk id="1024" creationId="{6180B546-DF12-E818-39C6-E3BE2683C58C}"/>
          </ac:spMkLst>
        </pc:spChg>
        <pc:spChg chg="mod">
          <ac:chgData name="Bez, Florian" userId="30d7df6a-5295-4d75-a650-5a1fab7b8b2e" providerId="ADAL" clId="{DEF8C959-161B-48E6-918F-19FB2A9D3909}" dt="2023-04-20T07:54:25.230" v="4972"/>
          <ac:spMkLst>
            <pc:docMk/>
            <pc:sldMk cId="837475812" sldId="2145708009"/>
            <ac:spMk id="1027" creationId="{94185F94-9322-59BB-9B80-9FE7664202C0}"/>
          </ac:spMkLst>
        </pc:spChg>
        <pc:spChg chg="mod">
          <ac:chgData name="Bez, Florian" userId="30d7df6a-5295-4d75-a650-5a1fab7b8b2e" providerId="ADAL" clId="{DEF8C959-161B-48E6-918F-19FB2A9D3909}" dt="2023-04-20T07:54:25.230" v="4972"/>
          <ac:spMkLst>
            <pc:docMk/>
            <pc:sldMk cId="837475812" sldId="2145708009"/>
            <ac:spMk id="1028" creationId="{BA20D111-3E5A-7344-42AA-CF8E196375E8}"/>
          </ac:spMkLst>
        </pc:spChg>
        <pc:spChg chg="mod">
          <ac:chgData name="Bez, Florian" userId="30d7df6a-5295-4d75-a650-5a1fab7b8b2e" providerId="ADAL" clId="{DEF8C959-161B-48E6-918F-19FB2A9D3909}" dt="2023-04-20T07:54:25.230" v="4972"/>
          <ac:spMkLst>
            <pc:docMk/>
            <pc:sldMk cId="837475812" sldId="2145708009"/>
            <ac:spMk id="1029" creationId="{69538CCB-2CF6-06E6-430C-8C7C05F4175E}"/>
          </ac:spMkLst>
        </pc:spChg>
        <pc:spChg chg="mod">
          <ac:chgData name="Bez, Florian" userId="30d7df6a-5295-4d75-a650-5a1fab7b8b2e" providerId="ADAL" clId="{DEF8C959-161B-48E6-918F-19FB2A9D3909}" dt="2023-04-20T07:54:25.230" v="4972"/>
          <ac:spMkLst>
            <pc:docMk/>
            <pc:sldMk cId="837475812" sldId="2145708009"/>
            <ac:spMk id="1030" creationId="{E4D3BFDC-CE5B-3EEF-A08E-AC30CAB24879}"/>
          </ac:spMkLst>
        </pc:spChg>
        <pc:spChg chg="mod">
          <ac:chgData name="Bez, Florian" userId="30d7df6a-5295-4d75-a650-5a1fab7b8b2e" providerId="ADAL" clId="{DEF8C959-161B-48E6-918F-19FB2A9D3909}" dt="2023-04-20T07:54:25.230" v="4972"/>
          <ac:spMkLst>
            <pc:docMk/>
            <pc:sldMk cId="837475812" sldId="2145708009"/>
            <ac:spMk id="1031" creationId="{1E1B20D0-7A32-1E30-ED7F-6A454FD750B1}"/>
          </ac:spMkLst>
        </pc:spChg>
        <pc:spChg chg="mod">
          <ac:chgData name="Bez, Florian" userId="30d7df6a-5295-4d75-a650-5a1fab7b8b2e" providerId="ADAL" clId="{DEF8C959-161B-48E6-918F-19FB2A9D3909}" dt="2023-04-20T07:54:25.230" v="4972"/>
          <ac:spMkLst>
            <pc:docMk/>
            <pc:sldMk cId="837475812" sldId="2145708009"/>
            <ac:spMk id="1032" creationId="{8052A6A0-15A9-14B7-6D61-9E36FF53FAFF}"/>
          </ac:spMkLst>
        </pc:spChg>
        <pc:spChg chg="add mod">
          <ac:chgData name="Bez, Florian" userId="30d7df6a-5295-4d75-a650-5a1fab7b8b2e" providerId="ADAL" clId="{DEF8C959-161B-48E6-918F-19FB2A9D3909}" dt="2023-04-20T08:20:48.744" v="5676" actId="20577"/>
          <ac:spMkLst>
            <pc:docMk/>
            <pc:sldMk cId="837475812" sldId="2145708009"/>
            <ac:spMk id="1033" creationId="{70889484-B90C-20DC-93F4-250310B6CC58}"/>
          </ac:spMkLst>
        </pc:spChg>
        <pc:spChg chg="add mod">
          <ac:chgData name="Bez, Florian" userId="30d7df6a-5295-4d75-a650-5a1fab7b8b2e" providerId="ADAL" clId="{DEF8C959-161B-48E6-918F-19FB2A9D3909}" dt="2023-04-20T07:57:22.163" v="5046" actId="1076"/>
          <ac:spMkLst>
            <pc:docMk/>
            <pc:sldMk cId="837475812" sldId="2145708009"/>
            <ac:spMk id="1034" creationId="{8B04E454-0DC9-E0EF-7BE7-0CE36BDFBC05}"/>
          </ac:spMkLst>
        </pc:spChg>
        <pc:spChg chg="add mod">
          <ac:chgData name="Bez, Florian" userId="30d7df6a-5295-4d75-a650-5a1fab7b8b2e" providerId="ADAL" clId="{DEF8C959-161B-48E6-918F-19FB2A9D3909}" dt="2023-04-20T08:03:28.049" v="5094" actId="1076"/>
          <ac:spMkLst>
            <pc:docMk/>
            <pc:sldMk cId="837475812" sldId="2145708009"/>
            <ac:spMk id="1035" creationId="{0138B07C-E822-066E-52F7-53BF4EE9FCAA}"/>
          </ac:spMkLst>
        </pc:spChg>
        <pc:spChg chg="add mod">
          <ac:chgData name="Bez, Florian" userId="30d7df6a-5295-4d75-a650-5a1fab7b8b2e" providerId="ADAL" clId="{DEF8C959-161B-48E6-918F-19FB2A9D3909}" dt="2023-04-20T08:03:28.049" v="5094" actId="1076"/>
          <ac:spMkLst>
            <pc:docMk/>
            <pc:sldMk cId="837475812" sldId="2145708009"/>
            <ac:spMk id="1036" creationId="{85E81916-B7ED-B850-D161-C55A598C4759}"/>
          </ac:spMkLst>
        </pc:spChg>
        <pc:spChg chg="add mod">
          <ac:chgData name="Bez, Florian" userId="30d7df6a-5295-4d75-a650-5a1fab7b8b2e" providerId="ADAL" clId="{DEF8C959-161B-48E6-918F-19FB2A9D3909}" dt="2023-04-20T10:04:31.916" v="7009" actId="1036"/>
          <ac:spMkLst>
            <pc:docMk/>
            <pc:sldMk cId="837475812" sldId="2145708009"/>
            <ac:spMk id="1037" creationId="{4A15A322-57E7-B99F-9134-A183668E5AD5}"/>
          </ac:spMkLst>
        </pc:spChg>
        <pc:spChg chg="add mod">
          <ac:chgData name="Bez, Florian" userId="30d7df6a-5295-4d75-a650-5a1fab7b8b2e" providerId="ADAL" clId="{DEF8C959-161B-48E6-918F-19FB2A9D3909}" dt="2023-04-20T10:04:31.916" v="7009" actId="1036"/>
          <ac:spMkLst>
            <pc:docMk/>
            <pc:sldMk cId="837475812" sldId="2145708009"/>
            <ac:spMk id="1041" creationId="{3F1123A7-4BDC-80BB-8872-771FABDDB88F}"/>
          </ac:spMkLst>
        </pc:spChg>
        <pc:spChg chg="add del mod">
          <ac:chgData name="Bez, Florian" userId="30d7df6a-5295-4d75-a650-5a1fab7b8b2e" providerId="ADAL" clId="{DEF8C959-161B-48E6-918F-19FB2A9D3909}" dt="2023-04-20T08:16:28.590" v="5498" actId="478"/>
          <ac:spMkLst>
            <pc:docMk/>
            <pc:sldMk cId="837475812" sldId="2145708009"/>
            <ac:spMk id="1050" creationId="{574B2925-7578-4478-F97F-422B373DF364}"/>
          </ac:spMkLst>
        </pc:spChg>
        <pc:spChg chg="add del mod">
          <ac:chgData name="Bez, Florian" userId="30d7df6a-5295-4d75-a650-5a1fab7b8b2e" providerId="ADAL" clId="{DEF8C959-161B-48E6-918F-19FB2A9D3909}" dt="2023-04-20T08:16:29.529" v="5499" actId="478"/>
          <ac:spMkLst>
            <pc:docMk/>
            <pc:sldMk cId="837475812" sldId="2145708009"/>
            <ac:spMk id="1051" creationId="{105B05BB-D371-0489-55AC-1C9420EA15BF}"/>
          </ac:spMkLst>
        </pc:spChg>
        <pc:grpChg chg="add del mod topLvl">
          <ac:chgData name="Bez, Florian" userId="30d7df6a-5295-4d75-a650-5a1fab7b8b2e" providerId="ADAL" clId="{DEF8C959-161B-48E6-918F-19FB2A9D3909}" dt="2023-04-20T08:02:29.595" v="5081" actId="165"/>
          <ac:grpSpMkLst>
            <pc:docMk/>
            <pc:sldMk cId="837475812" sldId="2145708009"/>
            <ac:grpSpMk id="4" creationId="{89D388FD-CB2A-EAF1-F2FB-D03B302E9D16}"/>
          </ac:grpSpMkLst>
        </pc:grpChg>
        <pc:grpChg chg="add del mod">
          <ac:chgData name="Bez, Florian" userId="30d7df6a-5295-4d75-a650-5a1fab7b8b2e" providerId="ADAL" clId="{DEF8C959-161B-48E6-918F-19FB2A9D3909}" dt="2023-04-20T08:02:15.329" v="5078" actId="165"/>
          <ac:grpSpMkLst>
            <pc:docMk/>
            <pc:sldMk cId="837475812" sldId="2145708009"/>
            <ac:grpSpMk id="15" creationId="{9B8E95D4-676D-027D-03E0-69B660E7677D}"/>
          </ac:grpSpMkLst>
        </pc:grpChg>
        <pc:grpChg chg="add del mod">
          <ac:chgData name="Bez, Florian" userId="30d7df6a-5295-4d75-a650-5a1fab7b8b2e" providerId="ADAL" clId="{DEF8C959-161B-48E6-918F-19FB2A9D3909}" dt="2023-04-20T07:52:13.489" v="4948" actId="165"/>
          <ac:grpSpMkLst>
            <pc:docMk/>
            <pc:sldMk cId="837475812" sldId="2145708009"/>
            <ac:grpSpMk id="18" creationId="{29D322A4-36E2-C9AA-3B9A-711C332D4272}"/>
          </ac:grpSpMkLst>
        </pc:grpChg>
        <pc:grpChg chg="del mod topLvl">
          <ac:chgData name="Bez, Florian" userId="30d7df6a-5295-4d75-a650-5a1fab7b8b2e" providerId="ADAL" clId="{DEF8C959-161B-48E6-918F-19FB2A9D3909}" dt="2023-04-20T07:52:19.387" v="4950" actId="478"/>
          <ac:grpSpMkLst>
            <pc:docMk/>
            <pc:sldMk cId="837475812" sldId="2145708009"/>
            <ac:grpSpMk id="20" creationId="{81D7AE04-9061-C210-E00C-32B88E2F40D2}"/>
          </ac:grpSpMkLst>
        </pc:grpChg>
        <pc:grpChg chg="add mod">
          <ac:chgData name="Bez, Florian" userId="30d7df6a-5295-4d75-a650-5a1fab7b8b2e" providerId="ADAL" clId="{DEF8C959-161B-48E6-918F-19FB2A9D3909}" dt="2023-04-20T07:55:12.740" v="4989" actId="1076"/>
          <ac:grpSpMkLst>
            <pc:docMk/>
            <pc:sldMk cId="837475812" sldId="2145708009"/>
            <ac:grpSpMk id="24" creationId="{4B924533-8525-B9D6-31A1-16BD460B8D84}"/>
          </ac:grpSpMkLst>
        </pc:grpChg>
        <pc:grpChg chg="add mod">
          <ac:chgData name="Bez, Florian" userId="30d7df6a-5295-4d75-a650-5a1fab7b8b2e" providerId="ADAL" clId="{DEF8C959-161B-48E6-918F-19FB2A9D3909}" dt="2023-04-20T08:03:28.049" v="5094" actId="1076"/>
          <ac:grpSpMkLst>
            <pc:docMk/>
            <pc:sldMk cId="837475812" sldId="2145708009"/>
            <ac:grpSpMk id="1025" creationId="{948EDF5E-9FCA-D667-FA2C-A6CBEB38670C}"/>
          </ac:grpSpMkLst>
        </pc:grpChg>
        <pc:picChg chg="add mod topLvl">
          <ac:chgData name="Bez, Florian" userId="30d7df6a-5295-4d75-a650-5a1fab7b8b2e" providerId="ADAL" clId="{DEF8C959-161B-48E6-918F-19FB2A9D3909}" dt="2023-04-20T08:02:47.890" v="5089" actId="688"/>
          <ac:picMkLst>
            <pc:docMk/>
            <pc:sldMk cId="837475812" sldId="2145708009"/>
            <ac:picMk id="3" creationId="{B37AB0FD-2989-C415-06E1-A8F27CB01E77}"/>
          </ac:picMkLst>
        </pc:picChg>
        <pc:picChg chg="add del mod">
          <ac:chgData name="Bez, Florian" userId="30d7df6a-5295-4d75-a650-5a1fab7b8b2e" providerId="ADAL" clId="{DEF8C959-161B-48E6-918F-19FB2A9D3909}" dt="2023-04-20T06:36:40.443" v="3974" actId="478"/>
          <ac:picMkLst>
            <pc:docMk/>
            <pc:sldMk cId="837475812" sldId="2145708009"/>
            <ac:picMk id="13" creationId="{17455311-6AC0-BD8E-1496-85E833B0647C}"/>
          </ac:picMkLst>
        </pc:picChg>
        <pc:picChg chg="del">
          <ac:chgData name="Bez, Florian" userId="30d7df6a-5295-4d75-a650-5a1fab7b8b2e" providerId="ADAL" clId="{DEF8C959-161B-48E6-918F-19FB2A9D3909}" dt="2023-04-20T06:29:50.611" v="3796" actId="478"/>
          <ac:picMkLst>
            <pc:docMk/>
            <pc:sldMk cId="837475812" sldId="2145708009"/>
            <ac:picMk id="14" creationId="{1532364C-9D92-727A-EEC6-6A2CD8B83EA8}"/>
          </ac:picMkLst>
        </pc:picChg>
        <pc:picChg chg="del mod topLvl">
          <ac:chgData name="Bez, Florian" userId="30d7df6a-5295-4d75-a650-5a1fab7b8b2e" providerId="ADAL" clId="{DEF8C959-161B-48E6-918F-19FB2A9D3909}" dt="2023-04-20T07:52:17.645" v="4949" actId="478"/>
          <ac:picMkLst>
            <pc:docMk/>
            <pc:sldMk cId="837475812" sldId="2145708009"/>
            <ac:picMk id="19" creationId="{97964533-42B9-C02F-C87B-08C3105209BE}"/>
          </ac:picMkLst>
        </pc:picChg>
        <pc:picChg chg="del mod topLvl">
          <ac:chgData name="Bez, Florian" userId="30d7df6a-5295-4d75-a650-5a1fab7b8b2e" providerId="ADAL" clId="{DEF8C959-161B-48E6-918F-19FB2A9D3909}" dt="2023-04-20T07:52:20.133" v="4951" actId="478"/>
          <ac:picMkLst>
            <pc:docMk/>
            <pc:sldMk cId="837475812" sldId="2145708009"/>
            <ac:picMk id="21" creationId="{2122D299-29B0-BB20-5BE9-7C22190FB5EF}"/>
          </ac:picMkLst>
        </pc:picChg>
        <pc:picChg chg="add mod topLvl">
          <ac:chgData name="Bez, Florian" userId="30d7df6a-5295-4d75-a650-5a1fab7b8b2e" providerId="ADAL" clId="{DEF8C959-161B-48E6-918F-19FB2A9D3909}" dt="2023-04-20T08:03:36.014" v="5095" actId="1076"/>
          <ac:picMkLst>
            <pc:docMk/>
            <pc:sldMk cId="837475812" sldId="2145708009"/>
            <ac:picMk id="1026" creationId="{239B6328-8E9C-BA66-CB7D-1DA1FCFCCB91}"/>
          </ac:picMkLst>
        </pc:picChg>
        <pc:picChg chg="add del mod">
          <ac:chgData name="Bez, Florian" userId="30d7df6a-5295-4d75-a650-5a1fab7b8b2e" providerId="ADAL" clId="{DEF8C959-161B-48E6-918F-19FB2A9D3909}" dt="2023-04-20T08:16:27.342" v="5497" actId="478"/>
          <ac:picMkLst>
            <pc:docMk/>
            <pc:sldMk cId="837475812" sldId="2145708009"/>
            <ac:picMk id="1043" creationId="{C808EAD4-BDAF-E6A4-162F-3A7BBB73B38F}"/>
          </ac:picMkLst>
        </pc:picChg>
        <pc:picChg chg="add del mod">
          <ac:chgData name="Bez, Florian" userId="30d7df6a-5295-4d75-a650-5a1fab7b8b2e" providerId="ADAL" clId="{DEF8C959-161B-48E6-918F-19FB2A9D3909}" dt="2023-04-20T08:16:26.397" v="5495" actId="478"/>
          <ac:picMkLst>
            <pc:docMk/>
            <pc:sldMk cId="837475812" sldId="2145708009"/>
            <ac:picMk id="1045" creationId="{FD152646-88C5-D32A-70C5-93E528FCC422}"/>
          </ac:picMkLst>
        </pc:picChg>
        <pc:picChg chg="add del mod">
          <ac:chgData name="Bez, Florian" userId="30d7df6a-5295-4d75-a650-5a1fab7b8b2e" providerId="ADAL" clId="{DEF8C959-161B-48E6-918F-19FB2A9D3909}" dt="2023-04-20T08:16:26.979" v="5496" actId="478"/>
          <ac:picMkLst>
            <pc:docMk/>
            <pc:sldMk cId="837475812" sldId="2145708009"/>
            <ac:picMk id="1047" creationId="{C8A9B4F4-7BA4-56C6-F531-9EFA1D8A5C0C}"/>
          </ac:picMkLst>
        </pc:picChg>
        <pc:picChg chg="add del mod">
          <ac:chgData name="Bez, Florian" userId="30d7df6a-5295-4d75-a650-5a1fab7b8b2e" providerId="ADAL" clId="{DEF8C959-161B-48E6-918F-19FB2A9D3909}" dt="2023-04-20T08:16:25.965" v="5494" actId="478"/>
          <ac:picMkLst>
            <pc:docMk/>
            <pc:sldMk cId="837475812" sldId="2145708009"/>
            <ac:picMk id="1049" creationId="{6D1EADBD-DB8E-B24C-01D6-5FCE09125983}"/>
          </ac:picMkLst>
        </pc:picChg>
        <pc:picChg chg="add mod">
          <ac:chgData name="Bez, Florian" userId="30d7df6a-5295-4d75-a650-5a1fab7b8b2e" providerId="ADAL" clId="{DEF8C959-161B-48E6-918F-19FB2A9D3909}" dt="2023-04-20T10:04:31.916" v="7009" actId="1036"/>
          <ac:picMkLst>
            <pc:docMk/>
            <pc:sldMk cId="837475812" sldId="2145708009"/>
            <ac:picMk id="1053" creationId="{812B9B62-2547-EFD7-966A-8F2A0F747035}"/>
          </ac:picMkLst>
        </pc:picChg>
        <pc:picChg chg="add del mod">
          <ac:chgData name="Bez, Florian" userId="30d7df6a-5295-4d75-a650-5a1fab7b8b2e" providerId="ADAL" clId="{DEF8C959-161B-48E6-918F-19FB2A9D3909}" dt="2023-04-20T10:02:57.464" v="6961" actId="478"/>
          <ac:picMkLst>
            <pc:docMk/>
            <pc:sldMk cId="837475812" sldId="2145708009"/>
            <ac:picMk id="1054" creationId="{97887AB4-E2E8-8C88-F149-74CE05474A04}"/>
          </ac:picMkLst>
        </pc:picChg>
        <pc:cxnChg chg="add mod">
          <ac:chgData name="Bez, Florian" userId="30d7df6a-5295-4d75-a650-5a1fab7b8b2e" providerId="ADAL" clId="{DEF8C959-161B-48E6-918F-19FB2A9D3909}" dt="2023-04-20T08:06:49.919" v="5106" actId="1076"/>
          <ac:cxnSpMkLst>
            <pc:docMk/>
            <pc:sldMk cId="837475812" sldId="2145708009"/>
            <ac:cxnSpMk id="1039" creationId="{562DDC6A-CAE7-670D-706A-3BEEA7461AE2}"/>
          </ac:cxnSpMkLst>
        </pc:cxnChg>
      </pc:sldChg>
      <pc:sldChg chg="addSp delSp modSp add mod delAnim modAnim">
        <pc:chgData name="Bez, Florian" userId="30d7df6a-5295-4d75-a650-5a1fab7b8b2e" providerId="ADAL" clId="{DEF8C959-161B-48E6-918F-19FB2A9D3909}" dt="2023-04-21T10:25:55.342" v="10395" actId="20577"/>
        <pc:sldMkLst>
          <pc:docMk/>
          <pc:sldMk cId="2198485038" sldId="2145708010"/>
        </pc:sldMkLst>
        <pc:spChg chg="del">
          <ac:chgData name="Bez, Florian" userId="30d7df6a-5295-4d75-a650-5a1fab7b8b2e" providerId="ADAL" clId="{DEF8C959-161B-48E6-918F-19FB2A9D3909}" dt="2023-04-20T08:16:36.416" v="5500" actId="478"/>
          <ac:spMkLst>
            <pc:docMk/>
            <pc:sldMk cId="2198485038" sldId="2145708010"/>
            <ac:spMk id="2" creationId="{D80B81FD-744A-49A8-9CF9-3DE47A77E15E}"/>
          </ac:spMkLst>
        </pc:spChg>
        <pc:spChg chg="del">
          <ac:chgData name="Bez, Florian" userId="30d7df6a-5295-4d75-a650-5a1fab7b8b2e" providerId="ADAL" clId="{DEF8C959-161B-48E6-918F-19FB2A9D3909}" dt="2023-04-20T08:16:43.926" v="5502" actId="478"/>
          <ac:spMkLst>
            <pc:docMk/>
            <pc:sldMk cId="2198485038" sldId="2145708010"/>
            <ac:spMk id="8" creationId="{9F78A8D4-BB13-DDCE-9659-8D1BE04FECD5}"/>
          </ac:spMkLst>
        </pc:spChg>
        <pc:spChg chg="del">
          <ac:chgData name="Bez, Florian" userId="30d7df6a-5295-4d75-a650-5a1fab7b8b2e" providerId="ADAL" clId="{DEF8C959-161B-48E6-918F-19FB2A9D3909}" dt="2023-04-20T08:15:58.527" v="5490" actId="478"/>
          <ac:spMkLst>
            <pc:docMk/>
            <pc:sldMk cId="2198485038" sldId="2145708010"/>
            <ac:spMk id="9" creationId="{0278BB28-1044-2F86-2B92-4032A5045549}"/>
          </ac:spMkLst>
        </pc:spChg>
        <pc:spChg chg="del">
          <ac:chgData name="Bez, Florian" userId="30d7df6a-5295-4d75-a650-5a1fab7b8b2e" providerId="ADAL" clId="{DEF8C959-161B-48E6-918F-19FB2A9D3909}" dt="2023-04-20T08:15:58.527" v="5490" actId="478"/>
          <ac:spMkLst>
            <pc:docMk/>
            <pc:sldMk cId="2198485038" sldId="2145708010"/>
            <ac:spMk id="10" creationId="{46F3A574-956C-945E-FBFC-D40D863089E7}"/>
          </ac:spMkLst>
        </pc:spChg>
        <pc:spChg chg="add del mod">
          <ac:chgData name="Bez, Florian" userId="30d7df6a-5295-4d75-a650-5a1fab7b8b2e" providerId="ADAL" clId="{DEF8C959-161B-48E6-918F-19FB2A9D3909}" dt="2023-04-20T08:16:38.382" v="5501" actId="478"/>
          <ac:spMkLst>
            <pc:docMk/>
            <pc:sldMk cId="2198485038" sldId="2145708010"/>
            <ac:spMk id="11" creationId="{BE88621E-29DB-A424-520E-9FF5C909B0BD}"/>
          </ac:spMkLst>
        </pc:spChg>
        <pc:spChg chg="add mod">
          <ac:chgData name="Bez, Florian" userId="30d7df6a-5295-4d75-a650-5a1fab7b8b2e" providerId="ADAL" clId="{DEF8C959-161B-48E6-918F-19FB2A9D3909}" dt="2023-04-20T09:44:28.465" v="5948" actId="14100"/>
          <ac:spMkLst>
            <pc:docMk/>
            <pc:sldMk cId="2198485038" sldId="2145708010"/>
            <ac:spMk id="12" creationId="{75E3AB1A-9EDD-998A-BC02-BC9EB580E9B2}"/>
          </ac:spMkLst>
        </pc:spChg>
        <pc:spChg chg="add mod">
          <ac:chgData name="Bez, Florian" userId="30d7df6a-5295-4d75-a650-5a1fab7b8b2e" providerId="ADAL" clId="{DEF8C959-161B-48E6-918F-19FB2A9D3909}" dt="2023-04-20T09:59:41.173" v="6901" actId="14100"/>
          <ac:spMkLst>
            <pc:docMk/>
            <pc:sldMk cId="2198485038" sldId="2145708010"/>
            <ac:spMk id="13" creationId="{E142C85E-A76A-4AAB-CBE3-8E13DD8517F5}"/>
          </ac:spMkLst>
        </pc:spChg>
        <pc:spChg chg="add mod">
          <ac:chgData name="Bez, Florian" userId="30d7df6a-5295-4d75-a650-5a1fab7b8b2e" providerId="ADAL" clId="{DEF8C959-161B-48E6-918F-19FB2A9D3909}" dt="2023-04-20T09:44:36.279" v="5951" actId="14100"/>
          <ac:spMkLst>
            <pc:docMk/>
            <pc:sldMk cId="2198485038" sldId="2145708010"/>
            <ac:spMk id="14" creationId="{714D6563-E004-422E-80B7-8A32BE2E3E78}"/>
          </ac:spMkLst>
        </pc:spChg>
        <pc:spChg chg="add mod">
          <ac:chgData name="Bez, Florian" userId="30d7df6a-5295-4d75-a650-5a1fab7b8b2e" providerId="ADAL" clId="{DEF8C959-161B-48E6-918F-19FB2A9D3909}" dt="2023-04-20T10:10:55.653" v="7209" actId="14100"/>
          <ac:spMkLst>
            <pc:docMk/>
            <pc:sldMk cId="2198485038" sldId="2145708010"/>
            <ac:spMk id="15" creationId="{481E1F0F-CA8B-DDE6-B5FB-8C904EBE871A}"/>
          </ac:spMkLst>
        </pc:spChg>
        <pc:spChg chg="del mod">
          <ac:chgData name="Bez, Florian" userId="30d7df6a-5295-4d75-a650-5a1fab7b8b2e" providerId="ADAL" clId="{DEF8C959-161B-48E6-918F-19FB2A9D3909}" dt="2023-04-20T09:59:59.618" v="6903" actId="478"/>
          <ac:spMkLst>
            <pc:docMk/>
            <pc:sldMk cId="2198485038" sldId="2145708010"/>
            <ac:spMk id="16" creationId="{4573F1F2-4C82-037F-B78E-1CC6212DE4FC}"/>
          </ac:spMkLst>
        </pc:spChg>
        <pc:spChg chg="mod">
          <ac:chgData name="Bez, Florian" userId="30d7df6a-5295-4d75-a650-5a1fab7b8b2e" providerId="ADAL" clId="{DEF8C959-161B-48E6-918F-19FB2A9D3909}" dt="2023-04-21T10:25:55.342" v="10395" actId="20577"/>
          <ac:spMkLst>
            <pc:docMk/>
            <pc:sldMk cId="2198485038" sldId="2145708010"/>
            <ac:spMk id="17" creationId="{6903936D-063B-459C-8713-DA28821DA1C2}"/>
          </ac:spMkLst>
        </pc:spChg>
        <pc:spChg chg="add mod">
          <ac:chgData name="Bez, Florian" userId="30d7df6a-5295-4d75-a650-5a1fab7b8b2e" providerId="ADAL" clId="{DEF8C959-161B-48E6-918F-19FB2A9D3909}" dt="2023-04-20T09:56:27.981" v="6758" actId="113"/>
          <ac:spMkLst>
            <pc:docMk/>
            <pc:sldMk cId="2198485038" sldId="2145708010"/>
            <ac:spMk id="18" creationId="{4FB21686-1513-AACB-B290-73C3E52B5B21}"/>
          </ac:spMkLst>
        </pc:spChg>
        <pc:spChg chg="add mod">
          <ac:chgData name="Bez, Florian" userId="30d7df6a-5295-4d75-a650-5a1fab7b8b2e" providerId="ADAL" clId="{DEF8C959-161B-48E6-918F-19FB2A9D3909}" dt="2023-04-20T09:52:49.728" v="6512" actId="14100"/>
          <ac:spMkLst>
            <pc:docMk/>
            <pc:sldMk cId="2198485038" sldId="2145708010"/>
            <ac:spMk id="19" creationId="{3F89FF51-6050-C5B0-4031-705E2D05BEF0}"/>
          </ac:spMkLst>
        </pc:spChg>
        <pc:spChg chg="add mod">
          <ac:chgData name="Bez, Florian" userId="30d7df6a-5295-4d75-a650-5a1fab7b8b2e" providerId="ADAL" clId="{DEF8C959-161B-48E6-918F-19FB2A9D3909}" dt="2023-04-20T10:10:23.619" v="7205" actId="14100"/>
          <ac:spMkLst>
            <pc:docMk/>
            <pc:sldMk cId="2198485038" sldId="2145708010"/>
            <ac:spMk id="20" creationId="{F6858EE6-9C5A-FD7B-C13D-7613F71B2683}"/>
          </ac:spMkLst>
        </pc:spChg>
        <pc:spChg chg="add mod">
          <ac:chgData name="Bez, Florian" userId="30d7df6a-5295-4d75-a650-5a1fab7b8b2e" providerId="ADAL" clId="{DEF8C959-161B-48E6-918F-19FB2A9D3909}" dt="2023-04-20T09:56:46.897" v="6759" actId="1076"/>
          <ac:spMkLst>
            <pc:docMk/>
            <pc:sldMk cId="2198485038" sldId="2145708010"/>
            <ac:spMk id="21" creationId="{BDFBA1AF-0076-F371-7E83-A9F3A5679583}"/>
          </ac:spMkLst>
        </pc:spChg>
        <pc:spChg chg="del">
          <ac:chgData name="Bez, Florian" userId="30d7df6a-5295-4d75-a650-5a1fab7b8b2e" providerId="ADAL" clId="{DEF8C959-161B-48E6-918F-19FB2A9D3909}" dt="2023-04-20T08:16:02.766" v="5491" actId="478"/>
          <ac:spMkLst>
            <pc:docMk/>
            <pc:sldMk cId="2198485038" sldId="2145708010"/>
            <ac:spMk id="22" creationId="{C4986359-31B8-BC06-9CCC-7388F0D1FF4C}"/>
          </ac:spMkLst>
        </pc:spChg>
        <pc:spChg chg="del">
          <ac:chgData name="Bez, Florian" userId="30d7df6a-5295-4d75-a650-5a1fab7b8b2e" providerId="ADAL" clId="{DEF8C959-161B-48E6-918F-19FB2A9D3909}" dt="2023-04-20T08:16:02.766" v="5491" actId="478"/>
          <ac:spMkLst>
            <pc:docMk/>
            <pc:sldMk cId="2198485038" sldId="2145708010"/>
            <ac:spMk id="1024" creationId="{6180B546-DF12-E818-39C6-E3BE2683C58C}"/>
          </ac:spMkLst>
        </pc:spChg>
        <pc:spChg chg="del">
          <ac:chgData name="Bez, Florian" userId="30d7df6a-5295-4d75-a650-5a1fab7b8b2e" providerId="ADAL" clId="{DEF8C959-161B-48E6-918F-19FB2A9D3909}" dt="2023-04-20T08:16:02.766" v="5491" actId="478"/>
          <ac:spMkLst>
            <pc:docMk/>
            <pc:sldMk cId="2198485038" sldId="2145708010"/>
            <ac:spMk id="1033" creationId="{70889484-B90C-20DC-93F4-250310B6CC58}"/>
          </ac:spMkLst>
        </pc:spChg>
        <pc:spChg chg="del">
          <ac:chgData name="Bez, Florian" userId="30d7df6a-5295-4d75-a650-5a1fab7b8b2e" providerId="ADAL" clId="{DEF8C959-161B-48E6-918F-19FB2A9D3909}" dt="2023-04-20T08:16:02.766" v="5491" actId="478"/>
          <ac:spMkLst>
            <pc:docMk/>
            <pc:sldMk cId="2198485038" sldId="2145708010"/>
            <ac:spMk id="1034" creationId="{8B04E454-0DC9-E0EF-7BE7-0CE36BDFBC05}"/>
          </ac:spMkLst>
        </pc:spChg>
        <pc:spChg chg="del">
          <ac:chgData name="Bez, Florian" userId="30d7df6a-5295-4d75-a650-5a1fab7b8b2e" providerId="ADAL" clId="{DEF8C959-161B-48E6-918F-19FB2A9D3909}" dt="2023-04-20T08:16:02.766" v="5491" actId="478"/>
          <ac:spMkLst>
            <pc:docMk/>
            <pc:sldMk cId="2198485038" sldId="2145708010"/>
            <ac:spMk id="1035" creationId="{0138B07C-E822-066E-52F7-53BF4EE9FCAA}"/>
          </ac:spMkLst>
        </pc:spChg>
        <pc:spChg chg="del">
          <ac:chgData name="Bez, Florian" userId="30d7df6a-5295-4d75-a650-5a1fab7b8b2e" providerId="ADAL" clId="{DEF8C959-161B-48E6-918F-19FB2A9D3909}" dt="2023-04-20T08:16:02.766" v="5491" actId="478"/>
          <ac:spMkLst>
            <pc:docMk/>
            <pc:sldMk cId="2198485038" sldId="2145708010"/>
            <ac:spMk id="1036" creationId="{85E81916-B7ED-B850-D161-C55A598C4759}"/>
          </ac:spMkLst>
        </pc:spChg>
        <pc:spChg chg="mod">
          <ac:chgData name="Bez, Florian" userId="30d7df6a-5295-4d75-a650-5a1fab7b8b2e" providerId="ADAL" clId="{DEF8C959-161B-48E6-918F-19FB2A9D3909}" dt="2023-04-20T08:20:55.845" v="5677" actId="14100"/>
          <ac:spMkLst>
            <pc:docMk/>
            <pc:sldMk cId="2198485038" sldId="2145708010"/>
            <ac:spMk id="1037" creationId="{4A15A322-57E7-B99F-9134-A183668E5AD5}"/>
          </ac:spMkLst>
        </pc:spChg>
        <pc:spChg chg="mod">
          <ac:chgData name="Bez, Florian" userId="30d7df6a-5295-4d75-a650-5a1fab7b8b2e" providerId="ADAL" clId="{DEF8C959-161B-48E6-918F-19FB2A9D3909}" dt="2023-04-20T10:10:59.949" v="7210" actId="20577"/>
          <ac:spMkLst>
            <pc:docMk/>
            <pc:sldMk cId="2198485038" sldId="2145708010"/>
            <ac:spMk id="1041" creationId="{3F1123A7-4BDC-80BB-8872-771FABDDB88F}"/>
          </ac:spMkLst>
        </pc:spChg>
        <pc:spChg chg="add mod">
          <ac:chgData name="Bez, Florian" userId="30d7df6a-5295-4d75-a650-5a1fab7b8b2e" providerId="ADAL" clId="{DEF8C959-161B-48E6-918F-19FB2A9D3909}" dt="2023-04-20T09:46:55.961" v="6022" actId="1076"/>
          <ac:spMkLst>
            <pc:docMk/>
            <pc:sldMk cId="2198485038" sldId="2145708010"/>
            <ac:spMk id="1042" creationId="{A8675A53-50AC-ED08-A309-AE418D8D8002}"/>
          </ac:spMkLst>
        </pc:spChg>
        <pc:spChg chg="add mod">
          <ac:chgData name="Bez, Florian" userId="30d7df6a-5295-4d75-a650-5a1fab7b8b2e" providerId="ADAL" clId="{DEF8C959-161B-48E6-918F-19FB2A9D3909}" dt="2023-04-20T09:46:50.290" v="6020" actId="1076"/>
          <ac:spMkLst>
            <pc:docMk/>
            <pc:sldMk cId="2198485038" sldId="2145708010"/>
            <ac:spMk id="1044" creationId="{0482ACC8-6E82-4D18-5D71-A3810119F39C}"/>
          </ac:spMkLst>
        </pc:spChg>
        <pc:spChg chg="add mod">
          <ac:chgData name="Bez, Florian" userId="30d7df6a-5295-4d75-a650-5a1fab7b8b2e" providerId="ADAL" clId="{DEF8C959-161B-48E6-918F-19FB2A9D3909}" dt="2023-04-20T09:49:19.077" v="6263" actId="1076"/>
          <ac:spMkLst>
            <pc:docMk/>
            <pc:sldMk cId="2198485038" sldId="2145708010"/>
            <ac:spMk id="1046" creationId="{BA7F447A-1F19-8BC3-C7F8-A3F669E6BBCD}"/>
          </ac:spMkLst>
        </pc:spChg>
        <pc:spChg chg="mod">
          <ac:chgData name="Bez, Florian" userId="30d7df6a-5295-4d75-a650-5a1fab7b8b2e" providerId="ADAL" clId="{DEF8C959-161B-48E6-918F-19FB2A9D3909}" dt="2023-04-20T09:49:28.499" v="6265" actId="113"/>
          <ac:spMkLst>
            <pc:docMk/>
            <pc:sldMk cId="2198485038" sldId="2145708010"/>
            <ac:spMk id="1050" creationId="{574B2925-7578-4478-F97F-422B373DF364}"/>
          </ac:spMkLst>
        </pc:spChg>
        <pc:spChg chg="mod">
          <ac:chgData name="Bez, Florian" userId="30d7df6a-5295-4d75-a650-5a1fab7b8b2e" providerId="ADAL" clId="{DEF8C959-161B-48E6-918F-19FB2A9D3909}" dt="2023-04-20T09:59:45.529" v="6902" actId="1076"/>
          <ac:spMkLst>
            <pc:docMk/>
            <pc:sldMk cId="2198485038" sldId="2145708010"/>
            <ac:spMk id="1051" creationId="{105B05BB-D371-0489-55AC-1C9420EA15BF}"/>
          </ac:spMkLst>
        </pc:spChg>
        <pc:spChg chg="add mod">
          <ac:chgData name="Bez, Florian" userId="30d7df6a-5295-4d75-a650-5a1fab7b8b2e" providerId="ADAL" clId="{DEF8C959-161B-48E6-918F-19FB2A9D3909}" dt="2023-04-20T10:00:31.155" v="6906" actId="1076"/>
          <ac:spMkLst>
            <pc:docMk/>
            <pc:sldMk cId="2198485038" sldId="2145708010"/>
            <ac:spMk id="1055" creationId="{03018B93-DF89-701F-9982-A174D7719995}"/>
          </ac:spMkLst>
        </pc:spChg>
        <pc:spChg chg="add mod ord">
          <ac:chgData name="Bez, Florian" userId="30d7df6a-5295-4d75-a650-5a1fab7b8b2e" providerId="ADAL" clId="{DEF8C959-161B-48E6-918F-19FB2A9D3909}" dt="2023-04-20T10:00:51.298" v="6930" actId="1035"/>
          <ac:spMkLst>
            <pc:docMk/>
            <pc:sldMk cId="2198485038" sldId="2145708010"/>
            <ac:spMk id="1056" creationId="{E6857B78-F580-5F8C-2219-C34EC89D27C7}"/>
          </ac:spMkLst>
        </pc:spChg>
        <pc:spChg chg="add mod">
          <ac:chgData name="Bez, Florian" userId="30d7df6a-5295-4d75-a650-5a1fab7b8b2e" providerId="ADAL" clId="{DEF8C959-161B-48E6-918F-19FB2A9D3909}" dt="2023-04-20T10:01:18.991" v="6932" actId="1076"/>
          <ac:spMkLst>
            <pc:docMk/>
            <pc:sldMk cId="2198485038" sldId="2145708010"/>
            <ac:spMk id="1057" creationId="{8CAE8BD8-BE15-F1A3-940D-0B54C2AB44BF}"/>
          </ac:spMkLst>
        </pc:spChg>
        <pc:spChg chg="add mod">
          <ac:chgData name="Bez, Florian" userId="30d7df6a-5295-4d75-a650-5a1fab7b8b2e" providerId="ADAL" clId="{DEF8C959-161B-48E6-918F-19FB2A9D3909}" dt="2023-04-20T10:04:22.807" v="6999" actId="1076"/>
          <ac:spMkLst>
            <pc:docMk/>
            <pc:sldMk cId="2198485038" sldId="2145708010"/>
            <ac:spMk id="1058" creationId="{1CCF3B4F-4CCA-E17B-EA86-81B3E6B2DF50}"/>
          </ac:spMkLst>
        </pc:spChg>
        <pc:grpChg chg="del">
          <ac:chgData name="Bez, Florian" userId="30d7df6a-5295-4d75-a650-5a1fab7b8b2e" providerId="ADAL" clId="{DEF8C959-161B-48E6-918F-19FB2A9D3909}" dt="2023-04-20T08:16:02.766" v="5491" actId="478"/>
          <ac:grpSpMkLst>
            <pc:docMk/>
            <pc:sldMk cId="2198485038" sldId="2145708010"/>
            <ac:grpSpMk id="24" creationId="{4B924533-8525-B9D6-31A1-16BD460B8D84}"/>
          </ac:grpSpMkLst>
        </pc:grpChg>
        <pc:grpChg chg="del">
          <ac:chgData name="Bez, Florian" userId="30d7df6a-5295-4d75-a650-5a1fab7b8b2e" providerId="ADAL" clId="{DEF8C959-161B-48E6-918F-19FB2A9D3909}" dt="2023-04-20T08:16:02.766" v="5491" actId="478"/>
          <ac:grpSpMkLst>
            <pc:docMk/>
            <pc:sldMk cId="2198485038" sldId="2145708010"/>
            <ac:grpSpMk id="1025" creationId="{948EDF5E-9FCA-D667-FA2C-A6CBEB38670C}"/>
          </ac:grpSpMkLst>
        </pc:grpChg>
        <pc:picChg chg="del">
          <ac:chgData name="Bez, Florian" userId="30d7df6a-5295-4d75-a650-5a1fab7b8b2e" providerId="ADAL" clId="{DEF8C959-161B-48E6-918F-19FB2A9D3909}" dt="2023-04-20T08:15:58.527" v="5490" actId="478"/>
          <ac:picMkLst>
            <pc:docMk/>
            <pc:sldMk cId="2198485038" sldId="2145708010"/>
            <ac:picMk id="3" creationId="{B37AB0FD-2989-C415-06E1-A8F27CB01E77}"/>
          </ac:picMkLst>
        </pc:picChg>
        <pc:picChg chg="add mod modCrop">
          <ac:chgData name="Bez, Florian" userId="30d7df6a-5295-4d75-a650-5a1fab7b8b2e" providerId="ADAL" clId="{DEF8C959-161B-48E6-918F-19FB2A9D3909}" dt="2023-04-20T09:45:24.437" v="5968" actId="1076"/>
          <ac:picMkLst>
            <pc:docMk/>
            <pc:sldMk cId="2198485038" sldId="2145708010"/>
            <ac:picMk id="31" creationId="{BBA10CC0-099A-3141-FCB0-1F167F903303}"/>
          </ac:picMkLst>
        </pc:picChg>
        <pc:picChg chg="del">
          <ac:chgData name="Bez, Florian" userId="30d7df6a-5295-4d75-a650-5a1fab7b8b2e" providerId="ADAL" clId="{DEF8C959-161B-48E6-918F-19FB2A9D3909}" dt="2023-04-20T08:15:58.527" v="5490" actId="478"/>
          <ac:picMkLst>
            <pc:docMk/>
            <pc:sldMk cId="2198485038" sldId="2145708010"/>
            <ac:picMk id="1026" creationId="{239B6328-8E9C-BA66-CB7D-1DA1FCFCCB91}"/>
          </ac:picMkLst>
        </pc:picChg>
        <pc:picChg chg="add mod modCrop">
          <ac:chgData name="Bez, Florian" userId="30d7df6a-5295-4d75-a650-5a1fab7b8b2e" providerId="ADAL" clId="{DEF8C959-161B-48E6-918F-19FB2A9D3909}" dt="2023-04-20T09:45:22.172" v="5967" actId="1076"/>
          <ac:picMkLst>
            <pc:docMk/>
            <pc:sldMk cId="2198485038" sldId="2145708010"/>
            <ac:picMk id="1040" creationId="{0BC3FC78-906A-5D57-C5D6-4555FBEB977E}"/>
          </ac:picMkLst>
        </pc:picChg>
        <pc:picChg chg="mod">
          <ac:chgData name="Bez, Florian" userId="30d7df6a-5295-4d75-a650-5a1fab7b8b2e" providerId="ADAL" clId="{DEF8C959-161B-48E6-918F-19FB2A9D3909}" dt="2023-04-20T09:59:23.224" v="6896" actId="1076"/>
          <ac:picMkLst>
            <pc:docMk/>
            <pc:sldMk cId="2198485038" sldId="2145708010"/>
            <ac:picMk id="1043" creationId="{C808EAD4-BDAF-E6A4-162F-3A7BBB73B38F}"/>
          </ac:picMkLst>
        </pc:picChg>
        <pc:picChg chg="mod">
          <ac:chgData name="Bez, Florian" userId="30d7df6a-5295-4d75-a650-5a1fab7b8b2e" providerId="ADAL" clId="{DEF8C959-161B-48E6-918F-19FB2A9D3909}" dt="2023-04-20T08:20:41.866" v="5672" actId="1036"/>
          <ac:picMkLst>
            <pc:docMk/>
            <pc:sldMk cId="2198485038" sldId="2145708010"/>
            <ac:picMk id="1045" creationId="{FD152646-88C5-D32A-70C5-93E528FCC422}"/>
          </ac:picMkLst>
        </pc:picChg>
        <pc:picChg chg="mod">
          <ac:chgData name="Bez, Florian" userId="30d7df6a-5295-4d75-a650-5a1fab7b8b2e" providerId="ADAL" clId="{DEF8C959-161B-48E6-918F-19FB2A9D3909}" dt="2023-04-20T08:20:41.866" v="5672" actId="1036"/>
          <ac:picMkLst>
            <pc:docMk/>
            <pc:sldMk cId="2198485038" sldId="2145708010"/>
            <ac:picMk id="1047" creationId="{C8A9B4F4-7BA4-56C6-F531-9EFA1D8A5C0C}"/>
          </ac:picMkLst>
        </pc:picChg>
        <pc:picChg chg="mod">
          <ac:chgData name="Bez, Florian" userId="30d7df6a-5295-4d75-a650-5a1fab7b8b2e" providerId="ADAL" clId="{DEF8C959-161B-48E6-918F-19FB2A9D3909}" dt="2023-04-20T08:20:41.866" v="5672" actId="1036"/>
          <ac:picMkLst>
            <pc:docMk/>
            <pc:sldMk cId="2198485038" sldId="2145708010"/>
            <ac:picMk id="1049" creationId="{6D1EADBD-DB8E-B24C-01D6-5FCE09125983}"/>
          </ac:picMkLst>
        </pc:picChg>
        <pc:picChg chg="add mod">
          <ac:chgData name="Bez, Florian" userId="30d7df6a-5295-4d75-a650-5a1fab7b8b2e" providerId="ADAL" clId="{DEF8C959-161B-48E6-918F-19FB2A9D3909}" dt="2023-04-20T09:55:34.857" v="6742" actId="1076"/>
          <ac:picMkLst>
            <pc:docMk/>
            <pc:sldMk cId="2198485038" sldId="2145708010"/>
            <ac:picMk id="1052" creationId="{ED1BBDA0-2736-2510-09A7-BAC035EDDA95}"/>
          </ac:picMkLst>
        </pc:picChg>
        <pc:picChg chg="add mod modCrop">
          <ac:chgData name="Bez, Florian" userId="30d7df6a-5295-4d75-a650-5a1fab7b8b2e" providerId="ADAL" clId="{DEF8C959-161B-48E6-918F-19FB2A9D3909}" dt="2023-04-20T09:59:19.610" v="6895" actId="1076"/>
          <ac:picMkLst>
            <pc:docMk/>
            <pc:sldMk cId="2198485038" sldId="2145708010"/>
            <ac:picMk id="1054" creationId="{3F95FF4F-0898-E0AA-9B16-1A92690B7122}"/>
          </ac:picMkLst>
        </pc:picChg>
        <pc:cxnChg chg="del">
          <ac:chgData name="Bez, Florian" userId="30d7df6a-5295-4d75-a650-5a1fab7b8b2e" providerId="ADAL" clId="{DEF8C959-161B-48E6-918F-19FB2A9D3909}" dt="2023-04-20T08:16:02.766" v="5491" actId="478"/>
          <ac:cxnSpMkLst>
            <pc:docMk/>
            <pc:sldMk cId="2198485038" sldId="2145708010"/>
            <ac:cxnSpMk id="1039" creationId="{562DDC6A-CAE7-670D-706A-3BEEA7461AE2}"/>
          </ac:cxnSpMkLst>
        </pc:cxnChg>
      </pc:sldChg>
      <pc:sldChg chg="addSp delSp modSp add del mod delAnim modAnim">
        <pc:chgData name="Bez, Florian" userId="30d7df6a-5295-4d75-a650-5a1fab7b8b2e" providerId="ADAL" clId="{DEF8C959-161B-48E6-918F-19FB2A9D3909}" dt="2023-04-21T09:20:02.152" v="9960" actId="1037"/>
        <pc:sldMkLst>
          <pc:docMk/>
          <pc:sldMk cId="3872202644" sldId="2145708011"/>
        </pc:sldMkLst>
        <pc:spChg chg="add del mod">
          <ac:chgData name="Bez, Florian" userId="30d7df6a-5295-4d75-a650-5a1fab7b8b2e" providerId="ADAL" clId="{DEF8C959-161B-48E6-918F-19FB2A9D3909}" dt="2023-04-21T07:29:18.018" v="7631" actId="478"/>
          <ac:spMkLst>
            <pc:docMk/>
            <pc:sldMk cId="3872202644" sldId="2145708011"/>
            <ac:spMk id="3" creationId="{0D1C0ED9-BE6F-B76A-2FD0-BB8309D21966}"/>
          </ac:spMkLst>
        </pc:spChg>
        <pc:spChg chg="add mod">
          <ac:chgData name="Bez, Florian" userId="30d7df6a-5295-4d75-a650-5a1fab7b8b2e" providerId="ADAL" clId="{DEF8C959-161B-48E6-918F-19FB2A9D3909}" dt="2023-04-21T09:20:02.152" v="9960" actId="1037"/>
          <ac:spMkLst>
            <pc:docMk/>
            <pc:sldMk cId="3872202644" sldId="2145708011"/>
            <ac:spMk id="4" creationId="{EC7EDA88-0781-4D8A-0101-1AB51CF67D5F}"/>
          </ac:spMkLst>
        </pc:spChg>
        <pc:spChg chg="add mod">
          <ac:chgData name="Bez, Florian" userId="30d7df6a-5295-4d75-a650-5a1fab7b8b2e" providerId="ADAL" clId="{DEF8C959-161B-48E6-918F-19FB2A9D3909}" dt="2023-04-21T09:20:02.152" v="9960" actId="1037"/>
          <ac:spMkLst>
            <pc:docMk/>
            <pc:sldMk cId="3872202644" sldId="2145708011"/>
            <ac:spMk id="5" creationId="{8B4870ED-9AC6-A4C2-1E26-77EA6A90DB5D}"/>
          </ac:spMkLst>
        </pc:spChg>
        <pc:spChg chg="add mod">
          <ac:chgData name="Bez, Florian" userId="30d7df6a-5295-4d75-a650-5a1fab7b8b2e" providerId="ADAL" clId="{DEF8C959-161B-48E6-918F-19FB2A9D3909}" dt="2023-04-21T09:20:02.152" v="9960" actId="1037"/>
          <ac:spMkLst>
            <pc:docMk/>
            <pc:sldMk cId="3872202644" sldId="2145708011"/>
            <ac:spMk id="6" creationId="{14D64F01-9D8B-F620-4468-95557E3CD7D6}"/>
          </ac:spMkLst>
        </pc:spChg>
        <pc:spChg chg="mod">
          <ac:chgData name="Bez, Florian" userId="30d7df6a-5295-4d75-a650-5a1fab7b8b2e" providerId="ADAL" clId="{DEF8C959-161B-48E6-918F-19FB2A9D3909}" dt="2023-04-20T10:11:54.716" v="7252" actId="20577"/>
          <ac:spMkLst>
            <pc:docMk/>
            <pc:sldMk cId="3872202644" sldId="2145708011"/>
            <ac:spMk id="7" creationId="{733E82B5-D59B-6327-5CC6-198E47DFB482}"/>
          </ac:spMkLst>
        </pc:spChg>
        <pc:spChg chg="add mod">
          <ac:chgData name="Bez, Florian" userId="30d7df6a-5295-4d75-a650-5a1fab7b8b2e" providerId="ADAL" clId="{DEF8C959-161B-48E6-918F-19FB2A9D3909}" dt="2023-04-21T09:20:02.152" v="9960" actId="1037"/>
          <ac:spMkLst>
            <pc:docMk/>
            <pc:sldMk cId="3872202644" sldId="2145708011"/>
            <ac:spMk id="8" creationId="{22E218AC-FD6D-BA86-3782-93BF39A3F9C2}"/>
          </ac:spMkLst>
        </pc:spChg>
        <pc:spChg chg="del">
          <ac:chgData name="Bez, Florian" userId="30d7df6a-5295-4d75-a650-5a1fab7b8b2e" providerId="ADAL" clId="{DEF8C959-161B-48E6-918F-19FB2A9D3909}" dt="2023-04-21T07:30:35.691" v="7649" actId="478"/>
          <ac:spMkLst>
            <pc:docMk/>
            <pc:sldMk cId="3872202644" sldId="2145708011"/>
            <ac:spMk id="9" creationId="{AC417BC1-C07F-A890-BCB8-11A2409C229E}"/>
          </ac:spMkLst>
        </pc:spChg>
        <pc:spChg chg="add mod">
          <ac:chgData name="Bez, Florian" userId="30d7df6a-5295-4d75-a650-5a1fab7b8b2e" providerId="ADAL" clId="{DEF8C959-161B-48E6-918F-19FB2A9D3909}" dt="2023-04-21T09:20:02.152" v="9960" actId="1037"/>
          <ac:spMkLst>
            <pc:docMk/>
            <pc:sldMk cId="3872202644" sldId="2145708011"/>
            <ac:spMk id="10" creationId="{B8D73C91-5029-A751-85E2-F9E8EEBB377C}"/>
          </ac:spMkLst>
        </pc:spChg>
        <pc:spChg chg="add mod">
          <ac:chgData name="Bez, Florian" userId="30d7df6a-5295-4d75-a650-5a1fab7b8b2e" providerId="ADAL" clId="{DEF8C959-161B-48E6-918F-19FB2A9D3909}" dt="2023-04-21T09:20:02.152" v="9960" actId="1037"/>
          <ac:spMkLst>
            <pc:docMk/>
            <pc:sldMk cId="3872202644" sldId="2145708011"/>
            <ac:spMk id="11" creationId="{5AAFF32A-3252-EFEC-4E86-85C693E6E703}"/>
          </ac:spMkLst>
        </pc:spChg>
        <pc:spChg chg="add mod">
          <ac:chgData name="Bez, Florian" userId="30d7df6a-5295-4d75-a650-5a1fab7b8b2e" providerId="ADAL" clId="{DEF8C959-161B-48E6-918F-19FB2A9D3909}" dt="2023-04-21T09:20:02.152" v="9960" actId="1037"/>
          <ac:spMkLst>
            <pc:docMk/>
            <pc:sldMk cId="3872202644" sldId="2145708011"/>
            <ac:spMk id="13" creationId="{F221BA41-3633-85EE-4CEB-C44689D06E54}"/>
          </ac:spMkLst>
        </pc:spChg>
        <pc:spChg chg="add mod">
          <ac:chgData name="Bez, Florian" userId="30d7df6a-5295-4d75-a650-5a1fab7b8b2e" providerId="ADAL" clId="{DEF8C959-161B-48E6-918F-19FB2A9D3909}" dt="2023-04-21T09:20:02.152" v="9960" actId="1037"/>
          <ac:spMkLst>
            <pc:docMk/>
            <pc:sldMk cId="3872202644" sldId="2145708011"/>
            <ac:spMk id="14" creationId="{FC362F3A-4F3C-BFAE-3ADF-38BCFC21E24E}"/>
          </ac:spMkLst>
        </pc:spChg>
        <pc:spChg chg="del">
          <ac:chgData name="Bez, Florian" userId="30d7df6a-5295-4d75-a650-5a1fab7b8b2e" providerId="ADAL" clId="{DEF8C959-161B-48E6-918F-19FB2A9D3909}" dt="2023-04-20T10:11:59.954" v="7253" actId="478"/>
          <ac:spMkLst>
            <pc:docMk/>
            <pc:sldMk cId="3872202644" sldId="2145708011"/>
            <ac:spMk id="39"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0"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1"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2"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3"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4"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5"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6"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7"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48"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53"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56"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57"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58"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59"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0"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1"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2"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3"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5"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69"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0"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1"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2"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3"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4"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5"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6"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7" creationId="{00000000-0000-0000-0000-000000000000}"/>
          </ac:spMkLst>
        </pc:spChg>
        <pc:spChg chg="del">
          <ac:chgData name="Bez, Florian" userId="30d7df6a-5295-4d75-a650-5a1fab7b8b2e" providerId="ADAL" clId="{DEF8C959-161B-48E6-918F-19FB2A9D3909}" dt="2023-04-20T10:11:59.954" v="7253" actId="478"/>
          <ac:spMkLst>
            <pc:docMk/>
            <pc:sldMk cId="3872202644" sldId="2145708011"/>
            <ac:spMk id="78" creationId="{00000000-0000-0000-0000-000000000000}"/>
          </ac:spMkLst>
        </pc:spChg>
        <pc:picChg chg="add mod">
          <ac:chgData name="Bez, Florian" userId="30d7df6a-5295-4d75-a650-5a1fab7b8b2e" providerId="ADAL" clId="{DEF8C959-161B-48E6-918F-19FB2A9D3909}" dt="2023-04-21T09:20:02.152" v="9960" actId="1037"/>
          <ac:picMkLst>
            <pc:docMk/>
            <pc:sldMk cId="3872202644" sldId="2145708011"/>
            <ac:picMk id="1026" creationId="{28A31B56-51C1-D48A-4F7C-B4A4A3BC6417}"/>
          </ac:picMkLst>
        </pc:picChg>
        <pc:picChg chg="add mod">
          <ac:chgData name="Bez, Florian" userId="30d7df6a-5295-4d75-a650-5a1fab7b8b2e" providerId="ADAL" clId="{DEF8C959-161B-48E6-918F-19FB2A9D3909}" dt="2023-04-21T09:20:02.152" v="9960" actId="1037"/>
          <ac:picMkLst>
            <pc:docMk/>
            <pc:sldMk cId="3872202644" sldId="2145708011"/>
            <ac:picMk id="1028" creationId="{35831952-B290-996D-34A8-3F18C4B143C5}"/>
          </ac:picMkLst>
        </pc:picChg>
        <pc:picChg chg="add mod">
          <ac:chgData name="Bez, Florian" userId="30d7df6a-5295-4d75-a650-5a1fab7b8b2e" providerId="ADAL" clId="{DEF8C959-161B-48E6-918F-19FB2A9D3909}" dt="2023-04-21T09:20:02.152" v="9960" actId="1037"/>
          <ac:picMkLst>
            <pc:docMk/>
            <pc:sldMk cId="3872202644" sldId="2145708011"/>
            <ac:picMk id="1030" creationId="{350B9BD7-182B-C84B-5655-DDD26703AF4F}"/>
          </ac:picMkLst>
        </pc:picChg>
        <pc:picChg chg="add mod">
          <ac:chgData name="Bez, Florian" userId="30d7df6a-5295-4d75-a650-5a1fab7b8b2e" providerId="ADAL" clId="{DEF8C959-161B-48E6-918F-19FB2A9D3909}" dt="2023-04-21T09:20:02.152" v="9960" actId="1037"/>
          <ac:picMkLst>
            <pc:docMk/>
            <pc:sldMk cId="3872202644" sldId="2145708011"/>
            <ac:picMk id="1032" creationId="{78E42EDF-CAEA-DA69-863A-C7844C4A80C4}"/>
          </ac:picMkLst>
        </pc:picChg>
      </pc:sldChg>
      <pc:sldChg chg="addSp delSp modSp add mod delAnim modAnim">
        <pc:chgData name="Bez, Florian" userId="30d7df6a-5295-4d75-a650-5a1fab7b8b2e" providerId="ADAL" clId="{DEF8C959-161B-48E6-918F-19FB2A9D3909}" dt="2023-04-21T07:25:29.606" v="7612"/>
        <pc:sldMkLst>
          <pc:docMk/>
          <pc:sldMk cId="3648498584" sldId="2145708012"/>
        </pc:sldMkLst>
        <pc:spChg chg="add del mod">
          <ac:chgData name="Bez, Florian" userId="30d7df6a-5295-4d75-a650-5a1fab7b8b2e" providerId="ADAL" clId="{DEF8C959-161B-48E6-918F-19FB2A9D3909}" dt="2023-04-21T07:21:24.853" v="7561"/>
          <ac:spMkLst>
            <pc:docMk/>
            <pc:sldMk cId="3648498584" sldId="2145708012"/>
            <ac:spMk id="3" creationId="{4FD43EE5-5CDF-7639-1EAA-59CA8A85F40D}"/>
          </ac:spMkLst>
        </pc:spChg>
        <pc:spChg chg="add del mod">
          <ac:chgData name="Bez, Florian" userId="30d7df6a-5295-4d75-a650-5a1fab7b8b2e" providerId="ADAL" clId="{DEF8C959-161B-48E6-918F-19FB2A9D3909}" dt="2023-04-21T07:21:24.853" v="7561"/>
          <ac:spMkLst>
            <pc:docMk/>
            <pc:sldMk cId="3648498584" sldId="2145708012"/>
            <ac:spMk id="4" creationId="{EAD97F61-366B-2D55-E048-B4A6650C17AC}"/>
          </ac:spMkLst>
        </pc:spChg>
        <pc:spChg chg="add del mod">
          <ac:chgData name="Bez, Florian" userId="30d7df6a-5295-4d75-a650-5a1fab7b8b2e" providerId="ADAL" clId="{DEF8C959-161B-48E6-918F-19FB2A9D3909}" dt="2023-04-21T07:21:24.853" v="7561"/>
          <ac:spMkLst>
            <pc:docMk/>
            <pc:sldMk cId="3648498584" sldId="2145708012"/>
            <ac:spMk id="5" creationId="{8BAB3651-2B50-A061-A7F8-F5FDCED3BDFE}"/>
          </ac:spMkLst>
        </pc:spChg>
        <pc:spChg chg="add del mod">
          <ac:chgData name="Bez, Florian" userId="30d7df6a-5295-4d75-a650-5a1fab7b8b2e" providerId="ADAL" clId="{DEF8C959-161B-48E6-918F-19FB2A9D3909}" dt="2023-04-21T07:21:24.853" v="7561"/>
          <ac:spMkLst>
            <pc:docMk/>
            <pc:sldMk cId="3648498584" sldId="2145708012"/>
            <ac:spMk id="6" creationId="{32F70691-20F9-34AD-E29F-78296E88173F}"/>
          </ac:spMkLst>
        </pc:spChg>
        <pc:spChg chg="mod">
          <ac:chgData name="Bez, Florian" userId="30d7df6a-5295-4d75-a650-5a1fab7b8b2e" providerId="ADAL" clId="{DEF8C959-161B-48E6-918F-19FB2A9D3909}" dt="2023-04-20T13:54:23.571" v="7557" actId="20577"/>
          <ac:spMkLst>
            <pc:docMk/>
            <pc:sldMk cId="3648498584" sldId="2145708012"/>
            <ac:spMk id="7" creationId="{733E82B5-D59B-6327-5CC6-198E47DFB482}"/>
          </ac:spMkLst>
        </pc:spChg>
        <pc:spChg chg="add del mod">
          <ac:chgData name="Bez, Florian" userId="30d7df6a-5295-4d75-a650-5a1fab7b8b2e" providerId="ADAL" clId="{DEF8C959-161B-48E6-918F-19FB2A9D3909}" dt="2023-04-21T07:21:24.853" v="7561"/>
          <ac:spMkLst>
            <pc:docMk/>
            <pc:sldMk cId="3648498584" sldId="2145708012"/>
            <ac:spMk id="8" creationId="{46FC5DA2-5013-7379-D520-C43511478AAD}"/>
          </ac:spMkLst>
        </pc:spChg>
        <pc:spChg chg="add del">
          <ac:chgData name="Bez, Florian" userId="30d7df6a-5295-4d75-a650-5a1fab7b8b2e" providerId="ADAL" clId="{DEF8C959-161B-48E6-918F-19FB2A9D3909}" dt="2023-04-21T07:24:07.315" v="7601" actId="478"/>
          <ac:spMkLst>
            <pc:docMk/>
            <pc:sldMk cId="3648498584" sldId="2145708012"/>
            <ac:spMk id="9" creationId="{AC417BC1-C07F-A890-BCB8-11A2409C229E}"/>
          </ac:spMkLst>
        </pc:spChg>
        <pc:spChg chg="add del mod">
          <ac:chgData name="Bez, Florian" userId="30d7df6a-5295-4d75-a650-5a1fab7b8b2e" providerId="ADAL" clId="{DEF8C959-161B-48E6-918F-19FB2A9D3909}" dt="2023-04-21T07:21:24.853" v="7561"/>
          <ac:spMkLst>
            <pc:docMk/>
            <pc:sldMk cId="3648498584" sldId="2145708012"/>
            <ac:spMk id="10" creationId="{C45016F1-1831-2532-754C-1807EDDBE9F9}"/>
          </ac:spMkLst>
        </pc:spChg>
        <pc:spChg chg="add del mod">
          <ac:chgData name="Bez, Florian" userId="30d7df6a-5295-4d75-a650-5a1fab7b8b2e" providerId="ADAL" clId="{DEF8C959-161B-48E6-918F-19FB2A9D3909}" dt="2023-04-21T07:21:24.853" v="7561"/>
          <ac:spMkLst>
            <pc:docMk/>
            <pc:sldMk cId="3648498584" sldId="2145708012"/>
            <ac:spMk id="11" creationId="{09B800F4-81B8-B2F5-F292-E503E7CA4E88}"/>
          </ac:spMkLst>
        </pc:spChg>
        <pc:spChg chg="add del mod">
          <ac:chgData name="Bez, Florian" userId="30d7df6a-5295-4d75-a650-5a1fab7b8b2e" providerId="ADAL" clId="{DEF8C959-161B-48E6-918F-19FB2A9D3909}" dt="2023-04-21T07:21:24.853" v="7561"/>
          <ac:spMkLst>
            <pc:docMk/>
            <pc:sldMk cId="3648498584" sldId="2145708012"/>
            <ac:spMk id="13" creationId="{9FAF23E2-6B9F-5C23-1EBC-BAF66F1995B1}"/>
          </ac:spMkLst>
        </pc:spChg>
        <pc:spChg chg="add del mod">
          <ac:chgData name="Bez, Florian" userId="30d7df6a-5295-4d75-a650-5a1fab7b8b2e" providerId="ADAL" clId="{DEF8C959-161B-48E6-918F-19FB2A9D3909}" dt="2023-04-21T07:21:24.853" v="7561"/>
          <ac:spMkLst>
            <pc:docMk/>
            <pc:sldMk cId="3648498584" sldId="2145708012"/>
            <ac:spMk id="14" creationId="{4739F420-3478-89FD-C0CB-CC55C7FAE321}"/>
          </ac:spMkLst>
        </pc:spChg>
        <pc:spChg chg="add del mod">
          <ac:chgData name="Bez, Florian" userId="30d7df6a-5295-4d75-a650-5a1fab7b8b2e" providerId="ADAL" clId="{DEF8C959-161B-48E6-918F-19FB2A9D3909}" dt="2023-04-21T07:21:24.853" v="7561"/>
          <ac:spMkLst>
            <pc:docMk/>
            <pc:sldMk cId="3648498584" sldId="2145708012"/>
            <ac:spMk id="15" creationId="{787C2029-A8A5-EE28-BF6A-C07D13723F4E}"/>
          </ac:spMkLst>
        </pc:spChg>
        <pc:spChg chg="add del mod">
          <ac:chgData name="Bez, Florian" userId="30d7df6a-5295-4d75-a650-5a1fab7b8b2e" providerId="ADAL" clId="{DEF8C959-161B-48E6-918F-19FB2A9D3909}" dt="2023-04-21T07:21:24.853" v="7561"/>
          <ac:spMkLst>
            <pc:docMk/>
            <pc:sldMk cId="3648498584" sldId="2145708012"/>
            <ac:spMk id="16" creationId="{BC362743-E088-0651-F78D-1FD2F9E7CAB3}"/>
          </ac:spMkLst>
        </pc:spChg>
        <pc:spChg chg="add del mod">
          <ac:chgData name="Bez, Florian" userId="30d7df6a-5295-4d75-a650-5a1fab7b8b2e" providerId="ADAL" clId="{DEF8C959-161B-48E6-918F-19FB2A9D3909}" dt="2023-04-21T07:21:24.853" v="7561"/>
          <ac:spMkLst>
            <pc:docMk/>
            <pc:sldMk cId="3648498584" sldId="2145708012"/>
            <ac:spMk id="17" creationId="{80EE4ABE-7836-951F-B928-73E14FC45AF0}"/>
          </ac:spMkLst>
        </pc:spChg>
        <pc:spChg chg="add del mod">
          <ac:chgData name="Bez, Florian" userId="30d7df6a-5295-4d75-a650-5a1fab7b8b2e" providerId="ADAL" clId="{DEF8C959-161B-48E6-918F-19FB2A9D3909}" dt="2023-04-21T07:21:24.853" v="7561"/>
          <ac:spMkLst>
            <pc:docMk/>
            <pc:sldMk cId="3648498584" sldId="2145708012"/>
            <ac:spMk id="18" creationId="{C3FC2756-D1AA-1848-927E-2D675C52B400}"/>
          </ac:spMkLst>
        </pc:spChg>
        <pc:spChg chg="add del mod">
          <ac:chgData name="Bez, Florian" userId="30d7df6a-5295-4d75-a650-5a1fab7b8b2e" providerId="ADAL" clId="{DEF8C959-161B-48E6-918F-19FB2A9D3909}" dt="2023-04-21T07:21:24.853" v="7561"/>
          <ac:spMkLst>
            <pc:docMk/>
            <pc:sldMk cId="3648498584" sldId="2145708012"/>
            <ac:spMk id="19" creationId="{59D5C60C-A725-8386-4FD1-93EDB9725836}"/>
          </ac:spMkLst>
        </pc:spChg>
        <pc:spChg chg="add del mod">
          <ac:chgData name="Bez, Florian" userId="30d7df6a-5295-4d75-a650-5a1fab7b8b2e" providerId="ADAL" clId="{DEF8C959-161B-48E6-918F-19FB2A9D3909}" dt="2023-04-21T07:21:24.853" v="7561"/>
          <ac:spMkLst>
            <pc:docMk/>
            <pc:sldMk cId="3648498584" sldId="2145708012"/>
            <ac:spMk id="20" creationId="{128BFEDC-C5F8-7AD4-25AB-57A53F457835}"/>
          </ac:spMkLst>
        </pc:spChg>
        <pc:spChg chg="add del mod">
          <ac:chgData name="Bez, Florian" userId="30d7df6a-5295-4d75-a650-5a1fab7b8b2e" providerId="ADAL" clId="{DEF8C959-161B-48E6-918F-19FB2A9D3909}" dt="2023-04-21T07:21:24.853" v="7561"/>
          <ac:spMkLst>
            <pc:docMk/>
            <pc:sldMk cId="3648498584" sldId="2145708012"/>
            <ac:spMk id="21" creationId="{27B71B7B-550F-467C-015A-DC1333BB1658}"/>
          </ac:spMkLst>
        </pc:spChg>
        <pc:spChg chg="mod">
          <ac:chgData name="Bez, Florian" userId="30d7df6a-5295-4d75-a650-5a1fab7b8b2e" providerId="ADAL" clId="{DEF8C959-161B-48E6-918F-19FB2A9D3909}" dt="2023-04-21T07:21:46.867" v="7567"/>
          <ac:spMkLst>
            <pc:docMk/>
            <pc:sldMk cId="3648498584" sldId="2145708012"/>
            <ac:spMk id="28" creationId="{7E7045C7-A16A-C53E-1BD3-41CA4CD6A876}"/>
          </ac:spMkLst>
        </pc:spChg>
        <pc:spChg chg="mod">
          <ac:chgData name="Bez, Florian" userId="30d7df6a-5295-4d75-a650-5a1fab7b8b2e" providerId="ADAL" clId="{DEF8C959-161B-48E6-918F-19FB2A9D3909}" dt="2023-04-21T07:21:46.867" v="7567"/>
          <ac:spMkLst>
            <pc:docMk/>
            <pc:sldMk cId="3648498584" sldId="2145708012"/>
            <ac:spMk id="29" creationId="{192A93BD-9CA9-B367-3104-CDDC9A1BFE70}"/>
          </ac:spMkLst>
        </pc:spChg>
        <pc:spChg chg="mod">
          <ac:chgData name="Bez, Florian" userId="30d7df6a-5295-4d75-a650-5a1fab7b8b2e" providerId="ADAL" clId="{DEF8C959-161B-48E6-918F-19FB2A9D3909}" dt="2023-04-21T07:21:46.867" v="7567"/>
          <ac:spMkLst>
            <pc:docMk/>
            <pc:sldMk cId="3648498584" sldId="2145708012"/>
            <ac:spMk id="30" creationId="{AE0D2397-771E-1380-0DC6-EF55F33F8677}"/>
          </ac:spMkLst>
        </pc:spChg>
        <pc:spChg chg="mod">
          <ac:chgData name="Bez, Florian" userId="30d7df6a-5295-4d75-a650-5a1fab7b8b2e" providerId="ADAL" clId="{DEF8C959-161B-48E6-918F-19FB2A9D3909}" dt="2023-04-21T07:21:46.867" v="7567"/>
          <ac:spMkLst>
            <pc:docMk/>
            <pc:sldMk cId="3648498584" sldId="2145708012"/>
            <ac:spMk id="31" creationId="{3E335DBC-29D9-FEAB-91FC-DA3605C0F1D4}"/>
          </ac:spMkLst>
        </pc:spChg>
        <pc:spChg chg="del">
          <ac:chgData name="Bez, Florian" userId="30d7df6a-5295-4d75-a650-5a1fab7b8b2e" providerId="ADAL" clId="{DEF8C959-161B-48E6-918F-19FB2A9D3909}" dt="2023-04-20T13:54:51.795" v="7558" actId="478"/>
          <ac:spMkLst>
            <pc:docMk/>
            <pc:sldMk cId="3648498584" sldId="2145708012"/>
            <ac:spMk id="39"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0"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1"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2"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3"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4"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5"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6"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7"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48"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53" creationId="{00000000-0000-0000-0000-000000000000}"/>
          </ac:spMkLst>
        </pc:spChg>
        <pc:spChg chg="del">
          <ac:chgData name="Bez, Florian" userId="30d7df6a-5295-4d75-a650-5a1fab7b8b2e" providerId="ADAL" clId="{DEF8C959-161B-48E6-918F-19FB2A9D3909}" dt="2023-04-20T13:54:55.858" v="7559" actId="478"/>
          <ac:spMkLst>
            <pc:docMk/>
            <pc:sldMk cId="3648498584" sldId="2145708012"/>
            <ac:spMk id="56"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57"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58"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59"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60"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61"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62"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63" creationId="{00000000-0000-0000-0000-000000000000}"/>
          </ac:spMkLst>
        </pc:spChg>
        <pc:spChg chg="mod">
          <ac:chgData name="Bez, Florian" userId="30d7df6a-5295-4d75-a650-5a1fab7b8b2e" providerId="ADAL" clId="{DEF8C959-161B-48E6-918F-19FB2A9D3909}" dt="2023-04-21T07:21:46.867" v="7567"/>
          <ac:spMkLst>
            <pc:docMk/>
            <pc:sldMk cId="3648498584" sldId="2145708012"/>
            <ac:spMk id="64" creationId="{D9C92709-FDD2-29E2-0B78-796573B3385E}"/>
          </ac:spMkLst>
        </pc:spChg>
        <pc:spChg chg="del">
          <ac:chgData name="Bez, Florian" userId="30d7df6a-5295-4d75-a650-5a1fab7b8b2e" providerId="ADAL" clId="{DEF8C959-161B-48E6-918F-19FB2A9D3909}" dt="2023-04-20T13:54:51.795" v="7558" actId="478"/>
          <ac:spMkLst>
            <pc:docMk/>
            <pc:sldMk cId="3648498584" sldId="2145708012"/>
            <ac:spMk id="65" creationId="{00000000-0000-0000-0000-000000000000}"/>
          </ac:spMkLst>
        </pc:spChg>
        <pc:spChg chg="mod">
          <ac:chgData name="Bez, Florian" userId="30d7df6a-5295-4d75-a650-5a1fab7b8b2e" providerId="ADAL" clId="{DEF8C959-161B-48E6-918F-19FB2A9D3909}" dt="2023-04-21T07:21:46.867" v="7567"/>
          <ac:spMkLst>
            <pc:docMk/>
            <pc:sldMk cId="3648498584" sldId="2145708012"/>
            <ac:spMk id="65" creationId="{28EB24D6-C649-F6DE-8C71-8D5183DCEDE0}"/>
          </ac:spMkLst>
        </pc:spChg>
        <pc:spChg chg="mod">
          <ac:chgData name="Bez, Florian" userId="30d7df6a-5295-4d75-a650-5a1fab7b8b2e" providerId="ADAL" clId="{DEF8C959-161B-48E6-918F-19FB2A9D3909}" dt="2023-04-21T07:21:46.867" v="7567"/>
          <ac:spMkLst>
            <pc:docMk/>
            <pc:sldMk cId="3648498584" sldId="2145708012"/>
            <ac:spMk id="66" creationId="{E1B7F90D-F5AA-67F4-6BFC-EB892569EEB7}"/>
          </ac:spMkLst>
        </pc:spChg>
        <pc:spChg chg="mod">
          <ac:chgData name="Bez, Florian" userId="30d7df6a-5295-4d75-a650-5a1fab7b8b2e" providerId="ADAL" clId="{DEF8C959-161B-48E6-918F-19FB2A9D3909}" dt="2023-04-21T07:21:57.862" v="7571"/>
          <ac:spMkLst>
            <pc:docMk/>
            <pc:sldMk cId="3648498584" sldId="2145708012"/>
            <ac:spMk id="68" creationId="{12E771FF-3C26-F49B-5FF7-3B1AA55865E8}"/>
          </ac:spMkLst>
        </pc:spChg>
        <pc:spChg chg="del">
          <ac:chgData name="Bez, Florian" userId="30d7df6a-5295-4d75-a650-5a1fab7b8b2e" providerId="ADAL" clId="{DEF8C959-161B-48E6-918F-19FB2A9D3909}" dt="2023-04-20T13:54:51.795" v="7558" actId="478"/>
          <ac:spMkLst>
            <pc:docMk/>
            <pc:sldMk cId="3648498584" sldId="2145708012"/>
            <ac:spMk id="69"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69" creationId="{5DC4A957-97CD-71BA-F2F2-52AC2E2E388C}"/>
          </ac:spMkLst>
        </pc:spChg>
        <pc:spChg chg="del">
          <ac:chgData name="Bez, Florian" userId="30d7df6a-5295-4d75-a650-5a1fab7b8b2e" providerId="ADAL" clId="{DEF8C959-161B-48E6-918F-19FB2A9D3909}" dt="2023-04-20T13:54:51.795" v="7558" actId="478"/>
          <ac:spMkLst>
            <pc:docMk/>
            <pc:sldMk cId="3648498584" sldId="2145708012"/>
            <ac:spMk id="70"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70" creationId="{DEBCE9A6-816E-C42B-171E-64A94C0839FA}"/>
          </ac:spMkLst>
        </pc:spChg>
        <pc:spChg chg="del">
          <ac:chgData name="Bez, Florian" userId="30d7df6a-5295-4d75-a650-5a1fab7b8b2e" providerId="ADAL" clId="{DEF8C959-161B-48E6-918F-19FB2A9D3909}" dt="2023-04-20T13:54:51.795" v="7558" actId="478"/>
          <ac:spMkLst>
            <pc:docMk/>
            <pc:sldMk cId="3648498584" sldId="2145708012"/>
            <ac:spMk id="71"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71" creationId="{2AE80AD8-D61E-7B5A-A844-C00354FF5BB2}"/>
          </ac:spMkLst>
        </pc:spChg>
        <pc:spChg chg="del">
          <ac:chgData name="Bez, Florian" userId="30d7df6a-5295-4d75-a650-5a1fab7b8b2e" providerId="ADAL" clId="{DEF8C959-161B-48E6-918F-19FB2A9D3909}" dt="2023-04-20T13:54:51.795" v="7558" actId="478"/>
          <ac:spMkLst>
            <pc:docMk/>
            <pc:sldMk cId="3648498584" sldId="2145708012"/>
            <ac:spMk id="72"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72" creationId="{EC7BA7F8-8FFE-C4E0-9FB3-B87C18DE45D2}"/>
          </ac:spMkLst>
        </pc:spChg>
        <pc:spChg chg="del">
          <ac:chgData name="Bez, Florian" userId="30d7df6a-5295-4d75-a650-5a1fab7b8b2e" providerId="ADAL" clId="{DEF8C959-161B-48E6-918F-19FB2A9D3909}" dt="2023-04-20T13:54:51.795" v="7558" actId="478"/>
          <ac:spMkLst>
            <pc:docMk/>
            <pc:sldMk cId="3648498584" sldId="2145708012"/>
            <ac:spMk id="73"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73" creationId="{FD2EEBEE-D77A-742C-6148-EA9007ABDAAD}"/>
          </ac:spMkLst>
        </pc:spChg>
        <pc:spChg chg="del">
          <ac:chgData name="Bez, Florian" userId="30d7df6a-5295-4d75-a650-5a1fab7b8b2e" providerId="ADAL" clId="{DEF8C959-161B-48E6-918F-19FB2A9D3909}" dt="2023-04-20T13:54:51.795" v="7558" actId="478"/>
          <ac:spMkLst>
            <pc:docMk/>
            <pc:sldMk cId="3648498584" sldId="2145708012"/>
            <ac:spMk id="74" creationId="{00000000-0000-0000-0000-000000000000}"/>
          </ac:spMkLst>
        </pc:spChg>
        <pc:spChg chg="mod">
          <ac:chgData name="Bez, Florian" userId="30d7df6a-5295-4d75-a650-5a1fab7b8b2e" providerId="ADAL" clId="{DEF8C959-161B-48E6-918F-19FB2A9D3909}" dt="2023-04-21T07:21:57.862" v="7571"/>
          <ac:spMkLst>
            <pc:docMk/>
            <pc:sldMk cId="3648498584" sldId="2145708012"/>
            <ac:spMk id="74" creationId="{799528F4-6EB8-9195-21F0-927C36AE6ECA}"/>
          </ac:spMkLst>
        </pc:spChg>
        <pc:spChg chg="del">
          <ac:chgData name="Bez, Florian" userId="30d7df6a-5295-4d75-a650-5a1fab7b8b2e" providerId="ADAL" clId="{DEF8C959-161B-48E6-918F-19FB2A9D3909}" dt="2023-04-20T13:54:51.795" v="7558" actId="478"/>
          <ac:spMkLst>
            <pc:docMk/>
            <pc:sldMk cId="3648498584" sldId="2145708012"/>
            <ac:spMk id="75"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76" creationId="{00000000-0000-0000-0000-000000000000}"/>
          </ac:spMkLst>
        </pc:spChg>
        <pc:spChg chg="add mod">
          <ac:chgData name="Bez, Florian" userId="30d7df6a-5295-4d75-a650-5a1fab7b8b2e" providerId="ADAL" clId="{DEF8C959-161B-48E6-918F-19FB2A9D3909}" dt="2023-04-21T07:24:35.221" v="7605" actId="1582"/>
          <ac:spMkLst>
            <pc:docMk/>
            <pc:sldMk cId="3648498584" sldId="2145708012"/>
            <ac:spMk id="76" creationId="{804BB223-8D01-047A-2E33-37EB4137083A}"/>
          </ac:spMkLst>
        </pc:spChg>
        <pc:spChg chg="del">
          <ac:chgData name="Bez, Florian" userId="30d7df6a-5295-4d75-a650-5a1fab7b8b2e" providerId="ADAL" clId="{DEF8C959-161B-48E6-918F-19FB2A9D3909}" dt="2023-04-20T13:54:51.795" v="7558" actId="478"/>
          <ac:spMkLst>
            <pc:docMk/>
            <pc:sldMk cId="3648498584" sldId="2145708012"/>
            <ac:spMk id="77" creationId="{00000000-0000-0000-0000-000000000000}"/>
          </ac:spMkLst>
        </pc:spChg>
        <pc:spChg chg="del">
          <ac:chgData name="Bez, Florian" userId="30d7df6a-5295-4d75-a650-5a1fab7b8b2e" providerId="ADAL" clId="{DEF8C959-161B-48E6-918F-19FB2A9D3909}" dt="2023-04-20T13:54:51.795" v="7558" actId="478"/>
          <ac:spMkLst>
            <pc:docMk/>
            <pc:sldMk cId="3648498584" sldId="2145708012"/>
            <ac:spMk id="78" creationId="{00000000-0000-0000-0000-000000000000}"/>
          </ac:spMkLst>
        </pc:spChg>
        <pc:spChg chg="mod">
          <ac:chgData name="Bez, Florian" userId="30d7df6a-5295-4d75-a650-5a1fab7b8b2e" providerId="ADAL" clId="{DEF8C959-161B-48E6-918F-19FB2A9D3909}" dt="2023-04-21T07:24:37.496" v="7606"/>
          <ac:spMkLst>
            <pc:docMk/>
            <pc:sldMk cId="3648498584" sldId="2145708012"/>
            <ac:spMk id="78" creationId="{4BF4A0F3-AE33-1068-169A-2F0825BDBC40}"/>
          </ac:spMkLst>
        </pc:spChg>
        <pc:spChg chg="mod">
          <ac:chgData name="Bez, Florian" userId="30d7df6a-5295-4d75-a650-5a1fab7b8b2e" providerId="ADAL" clId="{DEF8C959-161B-48E6-918F-19FB2A9D3909}" dt="2023-04-21T07:24:37.496" v="7606"/>
          <ac:spMkLst>
            <pc:docMk/>
            <pc:sldMk cId="3648498584" sldId="2145708012"/>
            <ac:spMk id="79" creationId="{7A69C102-C666-63B1-C546-DD40990DFFE4}"/>
          </ac:spMkLst>
        </pc:spChg>
        <pc:spChg chg="mod">
          <ac:chgData name="Bez, Florian" userId="30d7df6a-5295-4d75-a650-5a1fab7b8b2e" providerId="ADAL" clId="{DEF8C959-161B-48E6-918F-19FB2A9D3909}" dt="2023-04-21T07:24:37.496" v="7606"/>
          <ac:spMkLst>
            <pc:docMk/>
            <pc:sldMk cId="3648498584" sldId="2145708012"/>
            <ac:spMk id="80" creationId="{C65EA118-2BA2-9D03-A6A1-7109BAFA354D}"/>
          </ac:spMkLst>
        </pc:spChg>
        <pc:spChg chg="mod">
          <ac:chgData name="Bez, Florian" userId="30d7df6a-5295-4d75-a650-5a1fab7b8b2e" providerId="ADAL" clId="{DEF8C959-161B-48E6-918F-19FB2A9D3909}" dt="2023-04-21T07:24:37.496" v="7606"/>
          <ac:spMkLst>
            <pc:docMk/>
            <pc:sldMk cId="3648498584" sldId="2145708012"/>
            <ac:spMk id="81" creationId="{49ED1553-76A4-D42F-C5A5-AEAD1CD5233D}"/>
          </ac:spMkLst>
        </pc:spChg>
        <pc:spChg chg="mod">
          <ac:chgData name="Bez, Florian" userId="30d7df6a-5295-4d75-a650-5a1fab7b8b2e" providerId="ADAL" clId="{DEF8C959-161B-48E6-918F-19FB2A9D3909}" dt="2023-04-21T07:24:37.496" v="7606"/>
          <ac:spMkLst>
            <pc:docMk/>
            <pc:sldMk cId="3648498584" sldId="2145708012"/>
            <ac:spMk id="82" creationId="{BB3138AC-4FC1-EA49-A737-54C9AEAD3440}"/>
          </ac:spMkLst>
        </pc:spChg>
        <pc:spChg chg="mod">
          <ac:chgData name="Bez, Florian" userId="30d7df6a-5295-4d75-a650-5a1fab7b8b2e" providerId="ADAL" clId="{DEF8C959-161B-48E6-918F-19FB2A9D3909}" dt="2023-04-21T07:24:37.496" v="7606"/>
          <ac:spMkLst>
            <pc:docMk/>
            <pc:sldMk cId="3648498584" sldId="2145708012"/>
            <ac:spMk id="83" creationId="{B033C8F6-8C5C-AB55-B1ED-69D09F887F61}"/>
          </ac:spMkLst>
        </pc:spChg>
        <pc:spChg chg="mod">
          <ac:chgData name="Bez, Florian" userId="30d7df6a-5295-4d75-a650-5a1fab7b8b2e" providerId="ADAL" clId="{DEF8C959-161B-48E6-918F-19FB2A9D3909}" dt="2023-04-21T07:24:37.496" v="7606"/>
          <ac:spMkLst>
            <pc:docMk/>
            <pc:sldMk cId="3648498584" sldId="2145708012"/>
            <ac:spMk id="84" creationId="{9697B8F8-13F2-084E-4BC1-EEE144AC7B85}"/>
          </ac:spMkLst>
        </pc:spChg>
        <pc:grpChg chg="add del mod">
          <ac:chgData name="Bez, Florian" userId="30d7df6a-5295-4d75-a650-5a1fab7b8b2e" providerId="ADAL" clId="{DEF8C959-161B-48E6-918F-19FB2A9D3909}" dt="2023-04-21T07:21:56.178" v="7570"/>
          <ac:grpSpMkLst>
            <pc:docMk/>
            <pc:sldMk cId="3648498584" sldId="2145708012"/>
            <ac:grpSpMk id="27" creationId="{0BF5DC61-0193-6A2B-7BC7-D4DA5B3FB31D}"/>
          </ac:grpSpMkLst>
        </pc:grpChg>
        <pc:grpChg chg="add del mod">
          <ac:chgData name="Bez, Florian" userId="30d7df6a-5295-4d75-a650-5a1fab7b8b2e" providerId="ADAL" clId="{DEF8C959-161B-48E6-918F-19FB2A9D3909}" dt="2023-04-21T07:22:00.818" v="7574"/>
          <ac:grpSpMkLst>
            <pc:docMk/>
            <pc:sldMk cId="3648498584" sldId="2145708012"/>
            <ac:grpSpMk id="67" creationId="{6534A9E2-FF16-2E26-9011-1AF579DFF06C}"/>
          </ac:grpSpMkLst>
        </pc:grpChg>
        <pc:grpChg chg="add mod">
          <ac:chgData name="Bez, Florian" userId="30d7df6a-5295-4d75-a650-5a1fab7b8b2e" providerId="ADAL" clId="{DEF8C959-161B-48E6-918F-19FB2A9D3909}" dt="2023-04-21T07:24:37.496" v="7606"/>
          <ac:grpSpMkLst>
            <pc:docMk/>
            <pc:sldMk cId="3648498584" sldId="2145708012"/>
            <ac:grpSpMk id="77" creationId="{88D45DA6-5C3B-FFF7-0D29-73926D67CD0E}"/>
          </ac:grpSpMkLst>
        </pc:grpChg>
        <pc:picChg chg="add del mod">
          <ac:chgData name="Bez, Florian" userId="30d7df6a-5295-4d75-a650-5a1fab7b8b2e" providerId="ADAL" clId="{DEF8C959-161B-48E6-918F-19FB2A9D3909}" dt="2023-04-21T07:21:24.853" v="7561"/>
          <ac:picMkLst>
            <pc:docMk/>
            <pc:sldMk cId="3648498584" sldId="2145708012"/>
            <ac:picMk id="22" creationId="{BD1FF4E0-F690-CA0C-3675-FC23CD91161B}"/>
          </ac:picMkLst>
        </pc:picChg>
        <pc:picChg chg="add del mod">
          <ac:chgData name="Bez, Florian" userId="30d7df6a-5295-4d75-a650-5a1fab7b8b2e" providerId="ADAL" clId="{DEF8C959-161B-48E6-918F-19FB2A9D3909}" dt="2023-04-21T07:21:24.853" v="7561"/>
          <ac:picMkLst>
            <pc:docMk/>
            <pc:sldMk cId="3648498584" sldId="2145708012"/>
            <ac:picMk id="23" creationId="{FF05275B-1A6C-512C-FF45-BB5A33EB2B16}"/>
          </ac:picMkLst>
        </pc:picChg>
        <pc:picChg chg="add del mod">
          <ac:chgData name="Bez, Florian" userId="30d7df6a-5295-4d75-a650-5a1fab7b8b2e" providerId="ADAL" clId="{DEF8C959-161B-48E6-918F-19FB2A9D3909}" dt="2023-04-21T07:21:24.853" v="7561"/>
          <ac:picMkLst>
            <pc:docMk/>
            <pc:sldMk cId="3648498584" sldId="2145708012"/>
            <ac:picMk id="24" creationId="{E291E161-6D23-2FC3-6EB8-7FB8F43871E2}"/>
          </ac:picMkLst>
        </pc:picChg>
        <pc:picChg chg="add del mod">
          <ac:chgData name="Bez, Florian" userId="30d7df6a-5295-4d75-a650-5a1fab7b8b2e" providerId="ADAL" clId="{DEF8C959-161B-48E6-918F-19FB2A9D3909}" dt="2023-04-21T07:21:24.853" v="7561"/>
          <ac:picMkLst>
            <pc:docMk/>
            <pc:sldMk cId="3648498584" sldId="2145708012"/>
            <ac:picMk id="25" creationId="{9804078C-7BB9-9EA6-948C-A47CCA037E57}"/>
          </ac:picMkLst>
        </pc:picChg>
        <pc:picChg chg="add mod">
          <ac:chgData name="Bez, Florian" userId="30d7df6a-5295-4d75-a650-5a1fab7b8b2e" providerId="ADAL" clId="{DEF8C959-161B-48E6-918F-19FB2A9D3909}" dt="2023-04-21T07:24:28.340" v="7603" actId="2085"/>
          <ac:picMkLst>
            <pc:docMk/>
            <pc:sldMk cId="3648498584" sldId="2145708012"/>
            <ac:picMk id="26" creationId="{DD1683E7-3899-C00A-8A9F-0E11ACA4D231}"/>
          </ac:picMkLst>
        </pc:picChg>
        <pc:picChg chg="add mod">
          <ac:chgData name="Bez, Florian" userId="30d7df6a-5295-4d75-a650-5a1fab7b8b2e" providerId="ADAL" clId="{DEF8C959-161B-48E6-918F-19FB2A9D3909}" dt="2023-04-21T07:22:56.756" v="7589" actId="1440"/>
          <ac:picMkLst>
            <pc:docMk/>
            <pc:sldMk cId="3648498584" sldId="2145708012"/>
            <ac:picMk id="75" creationId="{957E399D-11E3-6053-F744-962F67532560}"/>
          </ac:picMkLst>
        </pc:picChg>
      </pc:sldChg>
      <pc:sldChg chg="addSp delSp modSp add mod ord delAnim modAnim">
        <pc:chgData name="Bez, Florian" userId="30d7df6a-5295-4d75-a650-5a1fab7b8b2e" providerId="ADAL" clId="{DEF8C959-161B-48E6-918F-19FB2A9D3909}" dt="2023-04-21T09:17:40.090" v="9922" actId="207"/>
        <pc:sldMkLst>
          <pc:docMk/>
          <pc:sldMk cId="2823513467" sldId="2145708013"/>
        </pc:sldMkLst>
        <pc:spChg chg="mod">
          <ac:chgData name="Bez, Florian" userId="30d7df6a-5295-4d75-a650-5a1fab7b8b2e" providerId="ADAL" clId="{DEF8C959-161B-48E6-918F-19FB2A9D3909}" dt="2023-04-21T08:18:44.423" v="8888" actId="20577"/>
          <ac:spMkLst>
            <pc:docMk/>
            <pc:sldMk cId="2823513467" sldId="2145708013"/>
            <ac:spMk id="2" creationId="{D80B81FD-744A-49A8-9CF9-3DE47A77E15E}"/>
          </ac:spMkLst>
        </pc:spChg>
        <pc:spChg chg="mod">
          <ac:chgData name="Bez, Florian" userId="30d7df6a-5295-4d75-a650-5a1fab7b8b2e" providerId="ADAL" clId="{DEF8C959-161B-48E6-918F-19FB2A9D3909}" dt="2023-04-21T08:53:21.356" v="9021" actId="20577"/>
          <ac:spMkLst>
            <pc:docMk/>
            <pc:sldMk cId="2823513467" sldId="2145708013"/>
            <ac:spMk id="8" creationId="{9F78A8D4-BB13-DDCE-9659-8D1BE04FECD5}"/>
          </ac:spMkLst>
        </pc:spChg>
        <pc:spChg chg="mod">
          <ac:chgData name="Bez, Florian" userId="30d7df6a-5295-4d75-a650-5a1fab7b8b2e" providerId="ADAL" clId="{DEF8C959-161B-48E6-918F-19FB2A9D3909}" dt="2023-04-21T09:17:17.945" v="9917" actId="14100"/>
          <ac:spMkLst>
            <pc:docMk/>
            <pc:sldMk cId="2823513467" sldId="2145708013"/>
            <ac:spMk id="9" creationId="{0278BB28-1044-2F86-2B92-4032A5045549}"/>
          </ac:spMkLst>
        </pc:spChg>
        <pc:spChg chg="del mod">
          <ac:chgData name="Bez, Florian" userId="30d7df6a-5295-4d75-a650-5a1fab7b8b2e" providerId="ADAL" clId="{DEF8C959-161B-48E6-918F-19FB2A9D3909}" dt="2023-04-21T08:59:34.275" v="9082" actId="478"/>
          <ac:spMkLst>
            <pc:docMk/>
            <pc:sldMk cId="2823513467" sldId="2145708013"/>
            <ac:spMk id="10" creationId="{46F3A574-956C-945E-FBFC-D40D863089E7}"/>
          </ac:spMkLst>
        </pc:spChg>
        <pc:spChg chg="del">
          <ac:chgData name="Bez, Florian" userId="30d7df6a-5295-4d75-a650-5a1fab7b8b2e" providerId="ADAL" clId="{DEF8C959-161B-48E6-918F-19FB2A9D3909}" dt="2023-04-21T09:12:12.428" v="9822" actId="478"/>
          <ac:spMkLst>
            <pc:docMk/>
            <pc:sldMk cId="2823513467" sldId="2145708013"/>
            <ac:spMk id="16" creationId="{4573F1F2-4C82-037F-B78E-1CC6212DE4FC}"/>
          </ac:spMkLst>
        </pc:spChg>
        <pc:spChg chg="add mod">
          <ac:chgData name="Bez, Florian" userId="30d7df6a-5295-4d75-a650-5a1fab7b8b2e" providerId="ADAL" clId="{DEF8C959-161B-48E6-918F-19FB2A9D3909}" dt="2023-04-21T09:15:15.187" v="9914" actId="113"/>
          <ac:spMkLst>
            <pc:docMk/>
            <pc:sldMk cId="2823513467" sldId="2145708013"/>
            <ac:spMk id="19" creationId="{455B052F-AB1C-BC92-134C-2ECB98BCF437}"/>
          </ac:spMkLst>
        </pc:spChg>
        <pc:spChg chg="del">
          <ac:chgData name="Bez, Florian" userId="30d7df6a-5295-4d75-a650-5a1fab7b8b2e" providerId="ADAL" clId="{DEF8C959-161B-48E6-918F-19FB2A9D3909}" dt="2023-04-21T08:43:55.991" v="8944" actId="478"/>
          <ac:spMkLst>
            <pc:docMk/>
            <pc:sldMk cId="2823513467" sldId="2145708013"/>
            <ac:spMk id="22" creationId="{C4986359-31B8-BC06-9CCC-7388F0D1FF4C}"/>
          </ac:spMkLst>
        </pc:spChg>
        <pc:spChg chg="del">
          <ac:chgData name="Bez, Florian" userId="30d7df6a-5295-4d75-a650-5a1fab7b8b2e" providerId="ADAL" clId="{DEF8C959-161B-48E6-918F-19FB2A9D3909}" dt="2023-04-21T08:21:43.715" v="8925" actId="478"/>
          <ac:spMkLst>
            <pc:docMk/>
            <pc:sldMk cId="2823513467" sldId="2145708013"/>
            <ac:spMk id="1024" creationId="{6180B546-DF12-E818-39C6-E3BE2683C58C}"/>
          </ac:spMkLst>
        </pc:spChg>
        <pc:spChg chg="del">
          <ac:chgData name="Bez, Florian" userId="30d7df6a-5295-4d75-a650-5a1fab7b8b2e" providerId="ADAL" clId="{DEF8C959-161B-48E6-918F-19FB2A9D3909}" dt="2023-04-21T08:43:55.991" v="8944" actId="478"/>
          <ac:spMkLst>
            <pc:docMk/>
            <pc:sldMk cId="2823513467" sldId="2145708013"/>
            <ac:spMk id="1033" creationId="{70889484-B90C-20DC-93F4-250310B6CC58}"/>
          </ac:spMkLst>
        </pc:spChg>
        <pc:spChg chg="del">
          <ac:chgData name="Bez, Florian" userId="30d7df6a-5295-4d75-a650-5a1fab7b8b2e" providerId="ADAL" clId="{DEF8C959-161B-48E6-918F-19FB2A9D3909}" dt="2023-04-21T08:21:45.972" v="8927" actId="478"/>
          <ac:spMkLst>
            <pc:docMk/>
            <pc:sldMk cId="2823513467" sldId="2145708013"/>
            <ac:spMk id="1034" creationId="{8B04E454-0DC9-E0EF-7BE7-0CE36BDFBC05}"/>
          </ac:spMkLst>
        </pc:spChg>
        <pc:spChg chg="del">
          <ac:chgData name="Bez, Florian" userId="30d7df6a-5295-4d75-a650-5a1fab7b8b2e" providerId="ADAL" clId="{DEF8C959-161B-48E6-918F-19FB2A9D3909}" dt="2023-04-21T08:43:55.991" v="8944" actId="478"/>
          <ac:spMkLst>
            <pc:docMk/>
            <pc:sldMk cId="2823513467" sldId="2145708013"/>
            <ac:spMk id="1035" creationId="{0138B07C-E822-066E-52F7-53BF4EE9FCAA}"/>
          </ac:spMkLst>
        </pc:spChg>
        <pc:spChg chg="del">
          <ac:chgData name="Bez, Florian" userId="30d7df6a-5295-4d75-a650-5a1fab7b8b2e" providerId="ADAL" clId="{DEF8C959-161B-48E6-918F-19FB2A9D3909}" dt="2023-04-21T08:43:55.991" v="8944" actId="478"/>
          <ac:spMkLst>
            <pc:docMk/>
            <pc:sldMk cId="2823513467" sldId="2145708013"/>
            <ac:spMk id="1036" creationId="{85E81916-B7ED-B850-D161-C55A598C4759}"/>
          </ac:spMkLst>
        </pc:spChg>
        <pc:spChg chg="del">
          <ac:chgData name="Bez, Florian" userId="30d7df6a-5295-4d75-a650-5a1fab7b8b2e" providerId="ADAL" clId="{DEF8C959-161B-48E6-918F-19FB2A9D3909}" dt="2023-04-21T08:43:46.884" v="8942" actId="478"/>
          <ac:spMkLst>
            <pc:docMk/>
            <pc:sldMk cId="2823513467" sldId="2145708013"/>
            <ac:spMk id="1037" creationId="{4A15A322-57E7-B99F-9134-A183668E5AD5}"/>
          </ac:spMkLst>
        </pc:spChg>
        <pc:spChg chg="add mod">
          <ac:chgData name="Bez, Florian" userId="30d7df6a-5295-4d75-a650-5a1fab7b8b2e" providerId="ADAL" clId="{DEF8C959-161B-48E6-918F-19FB2A9D3909}" dt="2023-04-21T09:17:40.090" v="9922" actId="207"/>
          <ac:spMkLst>
            <pc:docMk/>
            <pc:sldMk cId="2823513467" sldId="2145708013"/>
            <ac:spMk id="1040" creationId="{DB56030D-5007-6D59-A010-0828EC9E79F5}"/>
          </ac:spMkLst>
        </pc:spChg>
        <pc:spChg chg="del mod">
          <ac:chgData name="Bez, Florian" userId="30d7df6a-5295-4d75-a650-5a1fab7b8b2e" providerId="ADAL" clId="{DEF8C959-161B-48E6-918F-19FB2A9D3909}" dt="2023-04-21T08:53:44.233" v="9031" actId="478"/>
          <ac:spMkLst>
            <pc:docMk/>
            <pc:sldMk cId="2823513467" sldId="2145708013"/>
            <ac:spMk id="1041" creationId="{3F1123A7-4BDC-80BB-8872-771FABDDB88F}"/>
          </ac:spMkLst>
        </pc:spChg>
        <pc:spChg chg="add mod">
          <ac:chgData name="Bez, Florian" userId="30d7df6a-5295-4d75-a650-5a1fab7b8b2e" providerId="ADAL" clId="{DEF8C959-161B-48E6-918F-19FB2A9D3909}" dt="2023-04-21T09:17:30.845" v="9919" actId="20577"/>
          <ac:spMkLst>
            <pc:docMk/>
            <pc:sldMk cId="2823513467" sldId="2145708013"/>
            <ac:spMk id="1042" creationId="{BCA7B06B-E821-C548-AFAA-996588ECA06F}"/>
          </ac:spMkLst>
        </pc:spChg>
        <pc:grpChg chg="del">
          <ac:chgData name="Bez, Florian" userId="30d7df6a-5295-4d75-a650-5a1fab7b8b2e" providerId="ADAL" clId="{DEF8C959-161B-48E6-918F-19FB2A9D3909}" dt="2023-04-21T08:21:44.620" v="8926" actId="478"/>
          <ac:grpSpMkLst>
            <pc:docMk/>
            <pc:sldMk cId="2823513467" sldId="2145708013"/>
            <ac:grpSpMk id="24" creationId="{4B924533-8525-B9D6-31A1-16BD460B8D84}"/>
          </ac:grpSpMkLst>
        </pc:grpChg>
        <pc:grpChg chg="del">
          <ac:chgData name="Bez, Florian" userId="30d7df6a-5295-4d75-a650-5a1fab7b8b2e" providerId="ADAL" clId="{DEF8C959-161B-48E6-918F-19FB2A9D3909}" dt="2023-04-21T08:43:55.991" v="8944" actId="478"/>
          <ac:grpSpMkLst>
            <pc:docMk/>
            <pc:sldMk cId="2823513467" sldId="2145708013"/>
            <ac:grpSpMk id="1025" creationId="{948EDF5E-9FCA-D667-FA2C-A6CBEB38670C}"/>
          </ac:grpSpMkLst>
        </pc:grpChg>
        <pc:grpChg chg="add del mod">
          <ac:chgData name="Bez, Florian" userId="30d7df6a-5295-4d75-a650-5a1fab7b8b2e" providerId="ADAL" clId="{DEF8C959-161B-48E6-918F-19FB2A9D3909}" dt="2023-04-21T09:14:15.367" v="9909" actId="165"/>
          <ac:grpSpMkLst>
            <pc:docMk/>
            <pc:sldMk cId="2823513467" sldId="2145708013"/>
            <ac:grpSpMk id="1038" creationId="{95623DE0-76C6-AB0F-9C70-9DF73C2A4DDB}"/>
          </ac:grpSpMkLst>
        </pc:grpChg>
        <pc:picChg chg="del mod">
          <ac:chgData name="Bez, Florian" userId="30d7df6a-5295-4d75-a650-5a1fab7b8b2e" providerId="ADAL" clId="{DEF8C959-161B-48E6-918F-19FB2A9D3909}" dt="2023-04-21T08:53:16.106" v="9017" actId="478"/>
          <ac:picMkLst>
            <pc:docMk/>
            <pc:sldMk cId="2823513467" sldId="2145708013"/>
            <ac:picMk id="3" creationId="{B37AB0FD-2989-C415-06E1-A8F27CB01E77}"/>
          </ac:picMkLst>
        </pc:picChg>
        <pc:picChg chg="add mod">
          <ac:chgData name="Bez, Florian" userId="30d7df6a-5295-4d75-a650-5a1fab7b8b2e" providerId="ADAL" clId="{DEF8C959-161B-48E6-918F-19FB2A9D3909}" dt="2023-04-21T09:06:10.838" v="9714" actId="1076"/>
          <ac:picMkLst>
            <pc:docMk/>
            <pc:sldMk cId="2823513467" sldId="2145708013"/>
            <ac:picMk id="11" creationId="{EBDC0275-6FED-53D8-1CD2-E8B1B4A05939}"/>
          </ac:picMkLst>
        </pc:picChg>
        <pc:picChg chg="add mod">
          <ac:chgData name="Bez, Florian" userId="30d7df6a-5295-4d75-a650-5a1fab7b8b2e" providerId="ADAL" clId="{DEF8C959-161B-48E6-918F-19FB2A9D3909}" dt="2023-04-21T09:06:11.912" v="9715" actId="1076"/>
          <ac:picMkLst>
            <pc:docMk/>
            <pc:sldMk cId="2823513467" sldId="2145708013"/>
            <ac:picMk id="13" creationId="{D587C5F9-71A3-73DA-5DCB-1379C4C848FA}"/>
          </ac:picMkLst>
        </pc:picChg>
        <pc:picChg chg="add del mod">
          <ac:chgData name="Bez, Florian" userId="30d7df6a-5295-4d75-a650-5a1fab7b8b2e" providerId="ADAL" clId="{DEF8C959-161B-48E6-918F-19FB2A9D3909}" dt="2023-04-21T08:52:30.783" v="9013" actId="478"/>
          <ac:picMkLst>
            <pc:docMk/>
            <pc:sldMk cId="2823513467" sldId="2145708013"/>
            <ac:picMk id="15" creationId="{C8629729-F192-412E-5626-ECFE9977756F}"/>
          </ac:picMkLst>
        </pc:picChg>
        <pc:picChg chg="add mod">
          <ac:chgData name="Bez, Florian" userId="30d7df6a-5295-4d75-a650-5a1fab7b8b2e" providerId="ADAL" clId="{DEF8C959-161B-48E6-918F-19FB2A9D3909}" dt="2023-04-21T09:17:19.809" v="9918" actId="1076"/>
          <ac:picMkLst>
            <pc:docMk/>
            <pc:sldMk cId="2823513467" sldId="2145708013"/>
            <ac:picMk id="18" creationId="{F95BF583-6FDA-1F36-2CCF-89F0556E3181}"/>
          </ac:picMkLst>
        </pc:picChg>
        <pc:picChg chg="add mod topLvl">
          <ac:chgData name="Bez, Florian" userId="30d7df6a-5295-4d75-a650-5a1fab7b8b2e" providerId="ADAL" clId="{DEF8C959-161B-48E6-918F-19FB2A9D3909}" dt="2023-04-21T09:15:23.832" v="9915" actId="1076"/>
          <ac:picMkLst>
            <pc:docMk/>
            <pc:sldMk cId="2823513467" sldId="2145708013"/>
            <ac:picMk id="21" creationId="{ACE58FF7-0B79-BA36-D5D6-EA98F06E4989}"/>
          </ac:picMkLst>
        </pc:picChg>
        <pc:picChg chg="add mod topLvl">
          <ac:chgData name="Bez, Florian" userId="30d7df6a-5295-4d75-a650-5a1fab7b8b2e" providerId="ADAL" clId="{DEF8C959-161B-48E6-918F-19FB2A9D3909}" dt="2023-04-21T09:14:18.959" v="9910" actId="1440"/>
          <ac:picMkLst>
            <pc:docMk/>
            <pc:sldMk cId="2823513467" sldId="2145708013"/>
            <ac:picMk id="31" creationId="{2B77071B-45D6-04E8-B8B2-F1E898146795}"/>
          </ac:picMkLst>
        </pc:picChg>
        <pc:picChg chg="del">
          <ac:chgData name="Bez, Florian" userId="30d7df6a-5295-4d75-a650-5a1fab7b8b2e" providerId="ADAL" clId="{DEF8C959-161B-48E6-918F-19FB2A9D3909}" dt="2023-04-21T08:43:48.596" v="8943" actId="478"/>
          <ac:picMkLst>
            <pc:docMk/>
            <pc:sldMk cId="2823513467" sldId="2145708013"/>
            <ac:picMk id="1026" creationId="{239B6328-8E9C-BA66-CB7D-1DA1FCFCCB91}"/>
          </ac:picMkLst>
        </pc:picChg>
        <pc:picChg chg="del">
          <ac:chgData name="Bez, Florian" userId="30d7df6a-5295-4d75-a650-5a1fab7b8b2e" providerId="ADAL" clId="{DEF8C959-161B-48E6-918F-19FB2A9D3909}" dt="2023-04-21T08:43:44.317" v="8941" actId="478"/>
          <ac:picMkLst>
            <pc:docMk/>
            <pc:sldMk cId="2823513467" sldId="2145708013"/>
            <ac:picMk id="1053" creationId="{812B9B62-2547-EFD7-966A-8F2A0F747035}"/>
          </ac:picMkLst>
        </pc:picChg>
        <pc:cxnChg chg="del">
          <ac:chgData name="Bez, Florian" userId="30d7df6a-5295-4d75-a650-5a1fab7b8b2e" providerId="ADAL" clId="{DEF8C959-161B-48E6-918F-19FB2A9D3909}" dt="2023-04-21T08:43:55.991" v="8944" actId="478"/>
          <ac:cxnSpMkLst>
            <pc:docMk/>
            <pc:sldMk cId="2823513467" sldId="2145708013"/>
            <ac:cxnSpMk id="1039" creationId="{562DDC6A-CAE7-670D-706A-3BEEA7461AE2}"/>
          </ac:cxnSpMkLst>
        </pc:cxnChg>
      </pc:sldChg>
      <pc:sldMasterChg chg="modSp mod addSldLayout delSldLayout modSldLayout">
        <pc:chgData name="Bez, Florian" userId="30d7df6a-5295-4d75-a650-5a1fab7b8b2e" providerId="ADAL" clId="{DEF8C959-161B-48E6-918F-19FB2A9D3909}" dt="2023-04-21T10:14:49.465" v="10213" actId="47"/>
        <pc:sldMasterMkLst>
          <pc:docMk/>
          <pc:sldMasterMk cId="3797982245" sldId="2147483648"/>
        </pc:sldMasterMkLst>
        <pc:spChg chg="mod modVis">
          <ac:chgData name="Bez, Florian" userId="30d7df6a-5295-4d75-a650-5a1fab7b8b2e" providerId="ADAL" clId="{DEF8C959-161B-48E6-918F-19FB2A9D3909}" dt="2023-04-17T17:41:19.296" v="843"/>
          <ac:spMkLst>
            <pc:docMk/>
            <pc:sldMasterMk cId="3797982245" sldId="2147483648"/>
            <ac:spMk id="12" creationId="{0E366F92-F00E-4DBF-99FD-D0E58A0EFF4D}"/>
          </ac:spMkLst>
        </pc:spChg>
        <pc:sldLayoutChg chg="modSp mod">
          <pc:chgData name="Bez, Florian" userId="30d7df6a-5295-4d75-a650-5a1fab7b8b2e" providerId="ADAL" clId="{DEF8C959-161B-48E6-918F-19FB2A9D3909}" dt="2023-04-17T17:43:11.039" v="910" actId="20577"/>
          <pc:sldLayoutMkLst>
            <pc:docMk/>
            <pc:sldMasterMk cId="3797982245" sldId="2147483648"/>
            <pc:sldLayoutMk cId="637432465" sldId="2147483666"/>
          </pc:sldLayoutMkLst>
          <pc:spChg chg="mod modVis">
            <ac:chgData name="Bez, Florian" userId="30d7df6a-5295-4d75-a650-5a1fab7b8b2e" providerId="ADAL" clId="{DEF8C959-161B-48E6-918F-19FB2A9D3909}" dt="2023-04-17T17:41:44.649" v="854" actId="20577"/>
            <ac:spMkLst>
              <pc:docMk/>
              <pc:sldMasterMk cId="3797982245" sldId="2147483648"/>
              <pc:sldLayoutMk cId="637432465" sldId="2147483666"/>
              <ac:spMk id="5" creationId="{D53D78F5-6983-4445-80A2-08426FAA21E3}"/>
            </ac:spMkLst>
          </pc:spChg>
          <pc:spChg chg="mod modVis">
            <ac:chgData name="Bez, Florian" userId="30d7df6a-5295-4d75-a650-5a1fab7b8b2e" providerId="ADAL" clId="{DEF8C959-161B-48E6-918F-19FB2A9D3909}" dt="2023-04-17T17:42:27.113" v="880" actId="20577"/>
            <ac:spMkLst>
              <pc:docMk/>
              <pc:sldMasterMk cId="3797982245" sldId="2147483648"/>
              <pc:sldLayoutMk cId="637432465" sldId="2147483666"/>
              <ac:spMk id="6" creationId="{348C4E9D-9EEE-43BD-8FB9-0AF649E9C92C}"/>
            </ac:spMkLst>
          </pc:spChg>
          <pc:spChg chg="mod modVis">
            <ac:chgData name="Bez, Florian" userId="30d7df6a-5295-4d75-a650-5a1fab7b8b2e" providerId="ADAL" clId="{DEF8C959-161B-48E6-918F-19FB2A9D3909}" dt="2023-04-17T17:42:49.049" v="884"/>
            <ac:spMkLst>
              <pc:docMk/>
              <pc:sldMasterMk cId="3797982245" sldId="2147483648"/>
              <pc:sldLayoutMk cId="637432465" sldId="2147483666"/>
              <ac:spMk id="12" creationId="{9101541F-59D1-4BD5-AD24-814023F042A7}"/>
            </ac:spMkLst>
          </pc:spChg>
          <pc:spChg chg="mod modVis">
            <ac:chgData name="Bez, Florian" userId="30d7df6a-5295-4d75-a650-5a1fab7b8b2e" providerId="ADAL" clId="{DEF8C959-161B-48E6-918F-19FB2A9D3909}" dt="2023-04-17T17:43:11.039" v="910" actId="20577"/>
            <ac:spMkLst>
              <pc:docMk/>
              <pc:sldMasterMk cId="3797982245" sldId="2147483648"/>
              <pc:sldLayoutMk cId="637432465" sldId="2147483666"/>
              <ac:spMk id="14" creationId="{EBB21637-2AC6-40D3-8665-F25A47F007F3}"/>
            </ac:spMkLst>
          </pc:spChg>
        </pc:sldLayoutChg>
        <pc:sldLayoutChg chg="del">
          <pc:chgData name="Bez, Florian" userId="30d7df6a-5295-4d75-a650-5a1fab7b8b2e" providerId="ADAL" clId="{DEF8C959-161B-48E6-918F-19FB2A9D3909}" dt="2023-04-17T18:58:27.074" v="2737" actId="47"/>
          <pc:sldLayoutMkLst>
            <pc:docMk/>
            <pc:sldMasterMk cId="3797982245" sldId="2147483648"/>
            <pc:sldLayoutMk cId="3315918713" sldId="2147483696"/>
          </pc:sldLayoutMkLst>
        </pc:sldLayoutChg>
        <pc:sldLayoutChg chg="del">
          <pc:chgData name="Bez, Florian" userId="30d7df6a-5295-4d75-a650-5a1fab7b8b2e" providerId="ADAL" clId="{DEF8C959-161B-48E6-918F-19FB2A9D3909}" dt="2023-04-17T18:58:27.074" v="2737" actId="47"/>
          <pc:sldLayoutMkLst>
            <pc:docMk/>
            <pc:sldMasterMk cId="3797982245" sldId="2147483648"/>
            <pc:sldLayoutMk cId="142396900" sldId="2147483698"/>
          </pc:sldLayoutMkLst>
        </pc:sldLayoutChg>
        <pc:sldLayoutChg chg="del">
          <pc:chgData name="Bez, Florian" userId="30d7df6a-5295-4d75-a650-5a1fab7b8b2e" providerId="ADAL" clId="{DEF8C959-161B-48E6-918F-19FB2A9D3909}" dt="2023-04-21T10:14:49.465" v="10213" actId="47"/>
          <pc:sldLayoutMkLst>
            <pc:docMk/>
            <pc:sldMasterMk cId="3797982245" sldId="2147483648"/>
            <pc:sldLayoutMk cId="1399623811" sldId="2147483698"/>
          </pc:sldLayoutMkLst>
        </pc:sldLayoutChg>
        <pc:sldLayoutChg chg="add del">
          <pc:chgData name="Bez, Florian" userId="30d7df6a-5295-4d75-a650-5a1fab7b8b2e" providerId="ADAL" clId="{DEF8C959-161B-48E6-918F-19FB2A9D3909}" dt="2023-04-21T07:29:33.378" v="7643" actId="47"/>
          <pc:sldLayoutMkLst>
            <pc:docMk/>
            <pc:sldMasterMk cId="3797982245" sldId="2147483648"/>
            <pc:sldLayoutMk cId="3048314131" sldId="2147483698"/>
          </pc:sldLayoutMkLst>
        </pc:sldLayoutChg>
      </pc:sldMasterChg>
    </pc:docChg>
  </pc:docChgLst>
  <pc:docChgLst>
    <pc:chgData name="Dreher, Petra" userId="S::petra.dreher@trumpf.com::53e9cd50-e31f-4143-9b40-676a52abb06a" providerId="AD" clId="Web-{DF7BA2C9-F852-E8AD-4CBA-E2223EE1576E}"/>
    <pc:docChg chg="modSld">
      <pc:chgData name="Dreher, Petra" userId="S::petra.dreher@trumpf.com::53e9cd50-e31f-4143-9b40-676a52abb06a" providerId="AD" clId="Web-{DF7BA2C9-F852-E8AD-4CBA-E2223EE1576E}" dt="2023-04-21T12:07:11.128" v="19" actId="14100"/>
      <pc:docMkLst>
        <pc:docMk/>
      </pc:docMkLst>
      <pc:sldChg chg="modSp">
        <pc:chgData name="Dreher, Petra" userId="S::petra.dreher@trumpf.com::53e9cd50-e31f-4143-9b40-676a52abb06a" providerId="AD" clId="Web-{DF7BA2C9-F852-E8AD-4CBA-E2223EE1576E}" dt="2023-04-21T12:06:34.737" v="16" actId="20577"/>
        <pc:sldMkLst>
          <pc:docMk/>
          <pc:sldMk cId="1055528600" sldId="7278"/>
        </pc:sldMkLst>
        <pc:spChg chg="mod">
          <ac:chgData name="Dreher, Petra" userId="S::petra.dreher@trumpf.com::53e9cd50-e31f-4143-9b40-676a52abb06a" providerId="AD" clId="Web-{DF7BA2C9-F852-E8AD-4CBA-E2223EE1576E}" dt="2023-04-21T12:06:34.737" v="16" actId="20577"/>
          <ac:spMkLst>
            <pc:docMk/>
            <pc:sldMk cId="1055528600" sldId="7278"/>
            <ac:spMk id="2" creationId="{D80B81FD-744A-49A8-9CF9-3DE47A77E15E}"/>
          </ac:spMkLst>
        </pc:spChg>
      </pc:sldChg>
      <pc:sldChg chg="modSp">
        <pc:chgData name="Dreher, Petra" userId="S::petra.dreher@trumpf.com::53e9cd50-e31f-4143-9b40-676a52abb06a" providerId="AD" clId="Web-{DF7BA2C9-F852-E8AD-4CBA-E2223EE1576E}" dt="2023-04-21T12:06:15.299" v="14" actId="20577"/>
        <pc:sldMkLst>
          <pc:docMk/>
          <pc:sldMk cId="1612980084" sldId="7292"/>
        </pc:sldMkLst>
        <pc:spChg chg="mod">
          <ac:chgData name="Dreher, Petra" userId="S::petra.dreher@trumpf.com::53e9cd50-e31f-4143-9b40-676a52abb06a" providerId="AD" clId="Web-{DF7BA2C9-F852-E8AD-4CBA-E2223EE1576E}" dt="2023-04-21T12:06:15.299" v="14" actId="20577"/>
          <ac:spMkLst>
            <pc:docMk/>
            <pc:sldMk cId="1612980084" sldId="7292"/>
            <ac:spMk id="15" creationId="{A10ABC81-5167-4F0F-A756-047806F31B6A}"/>
          </ac:spMkLst>
        </pc:spChg>
      </pc:sldChg>
      <pc:sldChg chg="modSp">
        <pc:chgData name="Dreher, Petra" userId="S::petra.dreher@trumpf.com::53e9cd50-e31f-4143-9b40-676a52abb06a" providerId="AD" clId="Web-{DF7BA2C9-F852-E8AD-4CBA-E2223EE1576E}" dt="2023-04-21T12:05:07.250" v="10" actId="14100"/>
        <pc:sldMkLst>
          <pc:docMk/>
          <pc:sldMk cId="1453339753" sldId="7325"/>
        </pc:sldMkLst>
        <pc:spChg chg="mod">
          <ac:chgData name="Dreher, Petra" userId="S::petra.dreher@trumpf.com::53e9cd50-e31f-4143-9b40-676a52abb06a" providerId="AD" clId="Web-{DF7BA2C9-F852-E8AD-4CBA-E2223EE1576E}" dt="2023-04-21T12:04:25.155" v="1" actId="20577"/>
          <ac:spMkLst>
            <pc:docMk/>
            <pc:sldMk cId="1453339753" sldId="7325"/>
            <ac:spMk id="30" creationId="{3C1AB998-8AF9-87CE-3596-CD55F2A5CB4F}"/>
          </ac:spMkLst>
        </pc:spChg>
        <pc:picChg chg="mod ord">
          <ac:chgData name="Dreher, Petra" userId="S::petra.dreher@trumpf.com::53e9cd50-e31f-4143-9b40-676a52abb06a" providerId="AD" clId="Web-{DF7BA2C9-F852-E8AD-4CBA-E2223EE1576E}" dt="2023-04-21T12:05:07.250" v="10" actId="14100"/>
          <ac:picMkLst>
            <pc:docMk/>
            <pc:sldMk cId="1453339753" sldId="7325"/>
            <ac:picMk id="1026" creationId="{8DB85D2C-C11F-41FB-EB05-4DEBD218ED44}"/>
          </ac:picMkLst>
        </pc:picChg>
      </pc:sldChg>
      <pc:sldChg chg="modSp">
        <pc:chgData name="Dreher, Petra" userId="S::petra.dreher@trumpf.com::53e9cd50-e31f-4143-9b40-676a52abb06a" providerId="AD" clId="Web-{DF7BA2C9-F852-E8AD-4CBA-E2223EE1576E}" dt="2023-04-21T12:05:26.735" v="13" actId="20577"/>
        <pc:sldMkLst>
          <pc:docMk/>
          <pc:sldMk cId="117434321" sldId="7326"/>
        </pc:sldMkLst>
        <pc:spChg chg="mod">
          <ac:chgData name="Dreher, Petra" userId="S::petra.dreher@trumpf.com::53e9cd50-e31f-4143-9b40-676a52abb06a" providerId="AD" clId="Web-{DF7BA2C9-F852-E8AD-4CBA-E2223EE1576E}" dt="2023-04-21T12:05:26.735" v="13" actId="20577"/>
          <ac:spMkLst>
            <pc:docMk/>
            <pc:sldMk cId="117434321" sldId="7326"/>
            <ac:spMk id="34" creationId="{58E9135A-D940-ECFB-7A81-F0267F184A8A}"/>
          </ac:spMkLst>
        </pc:spChg>
      </pc:sldChg>
      <pc:sldChg chg="modSp">
        <pc:chgData name="Dreher, Petra" userId="S::petra.dreher@trumpf.com::53e9cd50-e31f-4143-9b40-676a52abb06a" providerId="AD" clId="Web-{DF7BA2C9-F852-E8AD-4CBA-E2223EE1576E}" dt="2023-04-21T12:07:11.128" v="19" actId="14100"/>
        <pc:sldMkLst>
          <pc:docMk/>
          <pc:sldMk cId="837475812" sldId="2145708009"/>
        </pc:sldMkLst>
        <pc:spChg chg="mod">
          <ac:chgData name="Dreher, Petra" userId="S::petra.dreher@trumpf.com::53e9cd50-e31f-4143-9b40-676a52abb06a" providerId="AD" clId="Web-{DF7BA2C9-F852-E8AD-4CBA-E2223EE1576E}" dt="2023-04-21T12:07:11.128" v="19" actId="14100"/>
          <ac:spMkLst>
            <pc:docMk/>
            <pc:sldMk cId="837475812" sldId="2145708009"/>
            <ac:spMk id="2" creationId="{D80B81FD-744A-49A8-9CF9-3DE47A77E15E}"/>
          </ac:spMkLst>
        </pc:sp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1B810D8D-68EF-104F-897B-400E5A86AC0E}"/>
              </a:ext>
            </a:extLst>
          </p:cNvPr>
          <p:cNvSpPr>
            <a:spLocks noGrp="1"/>
          </p:cNvSpPr>
          <p:nvPr>
            <p:ph type="sldNum" sz="quarter" idx="3"/>
          </p:nvPr>
        </p:nvSpPr>
        <p:spPr>
          <a:xfrm>
            <a:off x="103482" y="9395859"/>
            <a:ext cx="428200" cy="332191"/>
          </a:xfrm>
          <a:prstGeom prst="rect">
            <a:avLst/>
          </a:prstGeom>
        </p:spPr>
        <p:txBody>
          <a:bodyPr vert="horz" lIns="0" tIns="0" rIns="0" bIns="0" rtlCol="0" anchor="ctr"/>
          <a:lstStyle/>
          <a:p>
            <a:pPr algn="r"/>
            <a:fld id="{17A3870A-23B3-8C42-9680-396FBEA6B6AD}" type="slidenum">
              <a:rPr lang="de-DE" sz="1000" b="1">
                <a:solidFill>
                  <a:schemeClr val="tx2"/>
                </a:solidFill>
                <a:cs typeface="Arial" panose="020B0604020202020204" pitchFamily="34" charset="0"/>
              </a:rPr>
              <a:pPr algn="r"/>
              <a:t>‹#›</a:t>
            </a:fld>
            <a:endParaRPr lang="de-DE" sz="1000" b="1">
              <a:solidFill>
                <a:schemeClr val="tx2"/>
              </a:solidFill>
              <a:cs typeface="Arial" panose="020B0604020202020204" pitchFamily="34" charset="0"/>
            </a:endParaRPr>
          </a:p>
        </p:txBody>
      </p:sp>
      <p:pic>
        <p:nvPicPr>
          <p:cNvPr id="7" name="Grafik 6">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42180" y="9144273"/>
            <a:ext cx="428200" cy="468975"/>
          </a:xfrm>
          <a:prstGeom prst="rect">
            <a:avLst/>
          </a:prstGeom>
        </p:spPr>
      </p:pic>
      <p:sp>
        <p:nvSpPr>
          <p:cNvPr id="2" name="Fußzeilenplatzhalter 1"/>
          <p:cNvSpPr>
            <a:spLocks noGrp="1"/>
          </p:cNvSpPr>
          <p:nvPr>
            <p:ph type="ftr" sz="quarter" idx="2"/>
          </p:nvPr>
        </p:nvSpPr>
        <p:spPr>
          <a:xfrm>
            <a:off x="585207" y="9395859"/>
            <a:ext cx="2719070" cy="332191"/>
          </a:xfrm>
          <a:prstGeom prst="rect">
            <a:avLst/>
          </a:prstGeom>
        </p:spPr>
        <p:txBody>
          <a:bodyPr vert="horz" lIns="0" tIns="0" rIns="0" bIns="0" rtlCol="0" anchor="ctr"/>
          <a:lstStyle/>
          <a:p>
            <a:r>
              <a:rPr lang="de-DE" sz="1000">
                <a:solidFill>
                  <a:schemeClr val="accent1"/>
                </a:solidFill>
                <a:cs typeface="Arial" panose="020B0604020202020204" pitchFamily="34" charset="0"/>
              </a:rPr>
              <a:t>Name | Abteilung | 30. Januar 2019</a:t>
            </a:r>
          </a:p>
        </p:txBody>
      </p:sp>
    </p:spTree>
    <p:extLst>
      <p:ext uri="{BB962C8B-B14F-4D97-AF65-F5344CB8AC3E}">
        <p14:creationId xmlns:p14="http://schemas.microsoft.com/office/powerpoint/2010/main" val="1402407393"/>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4076" userDrawn="1">
          <p15:clr>
            <a:srgbClr val="F26B43"/>
          </p15:clr>
        </p15:guide>
        <p15:guide id="3" pos="187" userDrawn="1">
          <p15:clr>
            <a:srgbClr val="F26B43"/>
          </p15:clr>
        </p15:guide>
        <p15:guide id="4" orient="horz" pos="203"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03T09:39:46.493"/>
    </inkml:context>
    <inkml:brush xml:id="br0">
      <inkml:brushProperty name="width" value="0.0375" units="cm"/>
      <inkml:brushProperty name="height" value="0.0375" units="cm"/>
      <inkml:brushProperty name="color" value="#586E8B"/>
    </inkml:brush>
    <inkml:brush xml:id="br1">
      <inkml:brushProperty name="width" value="0.01875" units="cm"/>
      <inkml:brushProperty name="height" value="0.01875" units="cm"/>
      <inkml:brushProperty name="color" value="#586E8B"/>
    </inkml:brush>
  </inkml:definitions>
  <inkml:trace contextRef="#ctx0" brushRef="#br0">17621 57 14349,'-4'-3'-2989,"4"3"2485,0 0 356,0 0 169,0-4 61,0 4-261,-3 0 207,3 0-189,0 0 226,0 0-5,0 0 6,-3 0-56,3 0 3,0 0 101,0 0-61,0 0 105,0 0-96,-4 0 19,4-3 60,0 3 286,0 0 713,-3 0-105,3 0 624,0 0-563,0 0 247,-3 0-30,3 0 310,0 0-390,0 0-459,-4-3-58,4 3-651,-3 0 903,3 0-466,-3 0 511,-1 0-732,4 0 473,0 0-597,-3 0 410,-1 0-98,4 0-160,-3 0 44,0 0-297,-1-4 81,1 4-47,3 0 166,-3 0-113,3 0-56,-4 0-58,1 0-69,3 0 62,-3 0 122,-1 0-189,4 0 125,-3 0-239,0 0 240,3 0-180,-4 0 238,1 0-255,0 0 144,3 0 6,-4 0 7,1 0 169,0 0-170,-1 0 166,4 0-155,-3 0 147,0 0-159,3 0 84,-4 0-113,1 0 23,-1 0-29,4 0 26,-3 0-19,0 0 21,3 0-22,-4 0-2,4 0 6,-3 0-4,3 0-14,-3 0 9,-1 0-8,1 0 15,3 0-30,-3 0 21,-1 0-26,4 0 13,-3 0 11,0 0-41,3 0-28,-4 0-43,1 0-75,0 0-24,3 0-427,-4 0-532,4 0-695,-3 0-447,3 0-156,-3 0 62,3 0 59,-4 0-2,1 0 445,3 0 501,-3 0 735,-1 0 407,4 0 243,-3 0-54,3 0 66,0 0-12,-4 0 9,4 0-20,0 0-17,-3 0 10,3 0-13,0 0 24,-3 0 3,3 0-6,-4 0 3,4 0 20,0 0-14,0 0 20,0 0-22,-3 0 43,3 0-32,0 0 35,0 0-21,-3 0-10,3 0-37,0 0-51,0 0 5,-4 0 2,4 0 80,0 0-10,0 0 14,0 0-34,-3 0 14,3 0-11,0 0-10,0 0-21,0 0 5,-3 0-129,3 0 77,0 0-106,0 0-185,0 0 256,0 0-174,-4 0 320,4 0 0,0 0 0,0 4 0,0-4 86,0 0 123,0 0 332,0 3 561,0-3-327,0 0 242,0 0-605,0-3 8,0-1-84,0 4-94,0-3-248,0 3-36,0-4-100,0 4 80,0-3 8,0 3 43,0-3 2,0 3 52,0-4-52,0 4-23,4-3-218,-4 3-50,0-3-143,0 3 44,0-4-26,0 4-42,0 0 40,0-3 37,3 3 172,-3 0 100,0 0 85,0-3 21,0 3-2,0 0 3,0 0 2,3-4-60,-3 4 44,0 0-45,0 0-73,0 0 49,0-3-192,0 3 13,0 0 90,0 0-1,4 0 184,-4 0 0,0 0 0,3 0 0,-3 0 0,3 0 0,-3 0 0,4 3 0,-4-3 0,3 0 0,-3 0 0,3 0 0,-3 0 0,4 0 0,-4 0 0,0 0 0,3 0-20,-3 0 16,0 0 55,0 0 37,0 0 4,4 0-12,-4 0-7,0 0 15,0 0 15,0 0 31,3 0-27,-3 0-3,0 0 9,3 0-41,-3 0 12,0 0-5,4 0 6,-1 0 19,-3 0 1,3 0 5,1 0-71,-1 0 20,-3 0-30,3 0 42,1 0-50,-1 0-23,0 0-2,-3 0-47,4 0 35,-1 4-1,-3-4 3,3 0 11,1 0 15,-1 0-24,-3 0-41,3 0 61,-3 0-70,4 0 76,-4 0-58,3 0 41,0 0-43,-3 0 48,4 0-29,-1 0 21,-3 0-22,4 0 0,-4 0 14,3 0-16,0 0 20,-3 3 3,4-3-4,-4 0 3,3 0 1,0 0-2,1 0 1,-4 0-3,3 0-16,0 0 13,1 0-13,-4 0 16,3 0-9,0 0 7,-3 0-6,4 0 4,-1 0 2,-3 0-1,3 0 0,1 0 9,-4 0 74,0 0 98,3 0 129,0 0 181,-3 0 137,4 0 190,-1 0 161,0 0 162,-3 0 89,4 0 82,-4 0-6,3 0-20,-3 0-69,4 0-77,-4 0-171,3 0-139,-3 0-202,3 0-127,1 0-196,-4 0-101,0 0-139,3 0-8,-3 0-41,0 0 34,3 0-27,-3 0 0,0 0 2,4 0 241,-4 0-96,0 0 339,0 0-345,0 0 53,0 0-277,3 0-35,-3 0-50,0 0 1,0-3 0</inkml:trace>
  <inkml:trace contextRef="#ctx0" brushRef="#br0" timeOffset="1">17611 10 26659,'3'-3'1382,"0"3"-691,1 0 0</inkml:trace>
  <inkml:trace contextRef="#ctx0" brushRef="#br0" timeOffset="2">17621 7 20308</inkml:trace>
  <inkml:trace contextRef="#ctx0" brushRef="#br0" timeOffset="3">17624 3 26114,'-3'0'-2763,"3"0"517,-4 0 303,4 0 240,0 4 507,0-4-267,0 0 29,0 0-138,0 0 332,0 0 718,-3 0 360,3 3 268,0-3 1,0 0-25,3 0-34,-3 0 17,0 0-16,0 0-46,0 0 49,4 0-55,-4 0 67,3 0-44,-3 0 30,0 3-27,3-3 35,-3 0-52,4 0-17,-4 0-14,0 0-11,3 0 57,-3 0-14,0 0 14,3 0-44,-3 0 24,4 0-29,-4 0-1,3 4 37,-3-4-43,0 0 47,3 0-34,-3 0 25,4 0-27,-1 3 29,-3-3 25,4 0-18,-4 0 19,3 0-20,-3 0-6,3 0 6,1 0-5,-4 0-5,0 0 7,3 0-5,-3 3-16,3-3 15,-3 0-17,4 0 23,-4 0-40,0 0 28,3 0-32,-3 4 38,0-4-10,0 0 6,3 0-13,-3 0 43,0 0-30,0 0 30,4 3-32,-4-3 9,0 0-5,0 0 8,0 0-7,3 0 2,-3 0 1,0 0-2,0 0-4,0 3 4,3-3-6,-3 0 8,0 0-48,0 0 34,0 0-37,0 4 40,4-4-20,-4 0 8,0 0-10,0 0 31,0 3-7,0-3 8,3 0-13,-3 0-3,0 0 3,0 4-1,0-4 0,0 0 0,0 3 1,0-3 5,3 0-16,-3 0 14,0 0-14,0 3-22,0-3 25,0 0-29,4 0 35,-4 0-4,0 0 2,0 4-6,3-4 23,-3 0-18,0 0 20,0 0-21,0 0-50,0 0 35,0 0-37,3 0 48,-3 0-90,0 0 67,0 3-186,0-3 118,4 0-255,-4 0 148,0 0-26,0 0 152,0 0 92,0 3 0,0-3 0,0 0 0,0 0 0,0 0 216,0 0-135,0 4 171,0-4-192,-4 0-7,4 0-54,0 3 30,0-3-34,0 3 47,0-3-50,-3 4-15,3-4-15,0 3 17,0 0-51,0-3 26,0 4-88,-3-1 21,3-3 6,0 3-12,0-3 35,0 4 34,-4-4 22,4 0 64,0 0-25,0 3 40,0-3 0,0 0-14,0 0 86,-3 0-80,3 0 43,0 0-60,0 0 54,-3-3 14,3 3 14,-4 0 35,4 0-80,-3 0 41,0-4-55,-1 1 8,-2 3-47,2-3-11,-2-1 2,-1 1-48,4 3 29,-4-3-11,0-1-32,0 1 70,1 0-28,-1-1 17,0 1-53,1 0-10,2-1-48,-2 1-76,2 3 39,1-3-62,0-1 71,-1 4 74,4 0 15,0 0 52,0 0 0,0-3 0</inkml:trace>
  <inkml:trace contextRef="#ctx0" brushRef="#br0" timeOffset="4">17624 7 28009,'-3'0'-1312,"3"0"1373,0 0 406,0 0-187,-4 0-66,4 0 62,0 0-284,0 0-2,0 0-660,0 3-148,0-3-501,-3 3-128,3-3-229,0 4-375,0-1 353,0 0-161,0-3 486,0 4 54,0-1 175,0-3 421,-3 3 264,3-3 316,0 4 0,0-4 0</inkml:trace>
  <inkml:trace contextRef="#ctx0" brushRef="#br0" timeOffset="5">17591 30 9502,'3'-3'-26,"-3"-1"-56,0 4 77,0 0-145,3-3 65,-3 3 62,0 0 16,0 0 68,-3 0 3,3 0-3,-3 0 0,-1 0-8,-3 0-37,4 0 27,-7 0-29,3 0-19,1 0-12,-4 0-28,0 0-25,0 0 17,0 0 18,-1 0 6,5 0-26,-1 0 8,-3 0-80,3 0 76,4 0-58,0 0 34,-1 0-21,4 0 20,0 0 20,4 0 21,-4 0-24,6 0 44,1 0-30,0 0 28,3 0 18,-4 0-28,5 0 40,-5 0-47,4 0 62,-3 3-44,0-3 49,-1 0-58,-2 0 68,-1 0-47,4 0 55,-7 0-63,3 0 83,-3 0-56,-3 0 65,3 0-71,-4 0 0,-2 0-3,-4 0-2,3 0 8,0 0-3,-3 0 15,4 0-12,-5 0 9,5 0-10,-1 0 0,0 0-1,-3 0-5,7 0 4,0 4-7,-4-4 7,4 0-3,-1 0-39,4 0-11,-3 3-53,3-3 43,0 0 0,0 0 28,3 0 14,-3 0-25,4-3 25,-1 3 10,0 0-6,1-4 6,-4 4-16,3 0 51,0-3-36,1 3 45,-4 0 47,3-3-17,-3 3 89,3 0-34,-3-4 7,4 4 11,-4 0-46,0 0 10,-4 0-44,1 0-38,0 0-8,-1 0-20,1 0 22,-4 0-59,1 4 17,2-4-88,-2 3-8,-1-3 29,4 0-52,-4 3 79,3-3-8,4 0 49,-3 4-12,3-4-34,0 0 16,0 0-22,0 0 35,3 0-35,1 0 25,-1 0-27,4 0 36,0 0 59,-4 0-40,0 0 42,1 0 9,-1 0-45,0 0 46,1 0-14,-4 0 31,0 0-2,0-4 4,0 4-41,-4 0 26,1 0-10,0 0 14,-1 0-26,1 0 22,0 0-14,-1 0 16,1 0 32,3 0 12,-3 0 12,3 0-87,-4 0-159,8 0 55,-4 0-58,0 0 154,3-3 0,0 3 0</inkml:trace>
  <inkml:trace contextRef="#ctx0" brushRef="#br0" timeOffset="6">17654 50 12785,'4'0'-3123,"-4"0"2708,0 0 190,3 0 81,-3 0 44,0 0-167,3 0 181,-3 0-132,4 4 218,-4-4 0,0 0 0,3 0 0,-3 0 0,0 0 0,3 0 0,-3 0 0,4 0 0,-4 0 0,0 0 0,0 0 0,3 0 0,-3 0 0,0 0 0,0 3 0,3-3 0,-3 0 0,0 0 0,4 0 0,-4 0 0,0 0 0,0 0 0,0 0 0,3 0 0,-3 0 0,0 0 0,3 0 0,-3 0 0,0 0 0,0 0 0,0 0 0,4 0 0,-4 0 0,0 0 0,0 0 0,0 0 167,0 0-60,0 0 65,0 0-92,0 0-73,-4 0 41,1 0-89,3 0-5,-3 0-18,3 0 26,-4 0-18,4 0 17,0 0-79,-3 0 58,3 0-17,0 0 55,0 0-13,0 0 35,0-3 0,0 3 64,0 0-39,0 0 49,0 0-10,0-4 16,0 4 53,0 0 0,0 0-32,0 0-25,-3-3-23,3 3-10,0 0 18,-4 0-58,1 0-6,0 0-11,3 0 13,-4 0-11,1 0 31,0-3-35,-1 3 34,4 0-60,-3 0 28,3 0-36,-4 0 2,4-4-1,0 4-18,0 0-33,0 0 69,0 0-34,0-3 48,0 3-6,4 0 7,-4 0-3,3-4-2,-3 4 69,0 0-52,4 0 52,-4 0 9,0 0-56,0-3 67,0 3-22,0 0 36,-4 0-9,4 0 32,-3 0-80,-1 0 40,4 0-38,-3 0-37,0 0 24,3-3-32,-4 3-11,4 0-87,-3 0 42,3 0-45,0 0 119,0-4 0,0 1 0</inkml:trace>
  <inkml:trace contextRef="#ctx0" brushRef="#br0" timeOffset="7">17574 27 9502,'-4'0'-26,"1"0"8,3 0 87,-3 0-148,-1 0 75,1 0-135,0 0-33,-4 3 52,4-3-82,-4 0 134,0 0 10,1 0 66,-1 0-8,0 0 0,0 3 0</inkml:trace>
  <inkml:trace contextRef="#ctx0" brushRef="#br0" timeOffset="8">17554 33 9502,'-4'0'0,"1"0"-12,0 0 12,-1 0 48,1 0-89,0 0 75,-1 0-103,1 0 96,-4 0-144,4 0 75,0 0-140,-4 0 24,0 0 40,4 0 14,-4 0 62,0 0 42,4 0 0,-4 4 0</inkml:trace>
  <inkml:trace contextRef="#ctx0" brushRef="#br0" timeOffset="9">17688 57 9502,'0'-3'-106,"0"3"28,0 0 100,0-4-53,0 4 38,0 0-4,0-3-83,0 3 79,-4 0-89,4-3 81,-3 3-81,0-4 61,-1 4-84,1 0 85,0 0-40,-1-3 41,1 3-17,0 0-3,-1 0-8,4 0 4,-3 0-11,3 0 42,-4 0-5,4 0 11,0 3 39,0-3 20,4 4 4,-4-1-7,3-3 20,1 0 25,-4 3 11,3-3-21,0 4-49,-3-4-14,4 0 30,-4 0-21,3 0-18,-3 3 9,0-3-16,3 0-16,-3 0 10,0 0-29,0 0 17,-3 0 23,0 0 7,-1 0-3,1 0 8,0 0 16,-1-3-17,1 3 19,-1 0 19,1 0 12,3 0 7,-3 0-13,-1 0-25,4 0 3,0 0 0,0 0 5,7 0 33,-7 0-32,7 0 34,-4 0-45,1 0-26,-1 0 20,0 3-21,1-3-4,-1 0 20,0 0-17,1 0 25,-4 3-80,3-3 13,-3 0-153,0 0 123,0 0-58,0 0 110,-3 0-18,-1 0 60,1 0 0,0-3 14,3 3 30,-4 0-33,1-3 8,3 3 0,-3 0-25,3-4-3,0 4 14,-4-3-20,4 3 7,0 0-175,0 0 105,0 0-189,0 0 159,4 0-153,-4 0 60,0 0 7,3 0 80,-3 0 89,3 0 0,1 3 0</inkml:trace>
  <inkml:trace contextRef="#ctx0" brushRef="#br0" timeOffset="10">17691 54 9502,'3'-4'-931,"-3"1"1086,0 3-60,0 0 139,0 0-120,-3 0-160,3 0 25,-3 0-5,-1 0 9,1 0-9,3 0-13,-3 0-6,-1 0-34,1 0 42,0 0-5,3-3-19,-4 3-47,1 0 57,3 0-56,-3-4 107,3 4 0,-4 0 0</inkml:trace>
  <inkml:trace contextRef="#ctx0" brushRef="#br0" timeOffset="11">17694 57 9502,'0'-3'-510,"0"3"109,0 0 237,0-4 92,0 4 72,0-3 53,4 3 37,-4 0 54,0-3-32,0 3 25,0 0-44,0-4 646,0 4-472,0 0 452,0 4-625,0-4 10,0 3-5,0 0-24,0 1 17,0-4-27,0 3 33,0 0-39,0 1-16,0-1-61,0 0 39,0 4-4,0-4 49,0 4-28,0-4-28,0 4 11,0-4-13,0 4 9,0-4-23,0 4 12,0-3-6,-4 2 24,4-2-2,0 2-7,0-2-7,0 2 25,-3-2-26,3 2 29,0-2-13,0-1 7,0 0-7,0 1-21,-3-1 15,3 4-16,0-4 25,0 0-55,0 4 40,0-7-42,0 7 52,0-4-52,-4 1 36,4-1-48,0 0 26,0 1 6,0 2-10,0-6 45,0 7-15,0-4 16,0 1-25,0-1 55,-3 0-39,3 1 44,0 2-54,0-2 21,0-1-14,0 0 22,0 1-20,0-1-7,0 1 4,0-1-7,0 0-5,0 1 16,0-4-17,0 3-1,0 0-3,0 1-11,0-1 11,0 0 31,0 1-12,0-1 11,-3 0-18,3 4 14,0-4-10,0 1 16,0-1-18,0 0-6,0 1 4,0-1-5,0 0-17,0 1 22,0-1-22,0 1 27,-4-1-31,4 0 19,0 1-20,0-1 5,0-3 15,0 3-21,0 1 21,0-1-26,0 0 16,0 1-15,0-1 15,0 0-15,0 1 11,0-1-8,0 0 14,0-3 4,0 4-5,0-1 9,0 0-6,0 1 7,0-1-10,0-3 3,0 4-3,0-1 4,0 0-1,0 1 14,0-4-9,0 3 9,0 0-10,0 1 8,0-4-2,0 3 3,0 0-3,0-3-5,0 4 5,0-1-4,0 0 1,0 1 0,0-4 1,0 3-14,0-3 10,0 3-9,0 1 10,0-4-18,0 3 12,0-3-13,0 3 16,0 1-22,0-4 13,0 3-16,0 0 24,0-3-2,0 4 0,4-4 39,-4 3-32,0-3 32,0 4-40,0-4 34,0 3-22,0 0 26,0-3-26,3 4-3,-3-4 7,0 3-4,0-3 6,0 3-21,0-3 17,0 4-17,0-4-6,0 3 13,0-3-17,0 3 23,0-3-6,0 4 3,0-4-9,0 0 19,0 3-13,0-3 14,0 0-12,0 0 4,0 3-2,0-3 5,0 0-5,0 0-6,0 0 4,0 4-4,0-4-1,0 0 6,0 3-7,0-3 7,0 0 0,0 0-2,0 0 1,0 3 3,0-3-3,0 0 2,0 4-29,0-4 18,0 0-21,0 0-55,0 0 17,0 3-77,0-3 7,0 0 14,0 0-21,0 3-80,0-3 39,0 0-79,0 4 77,0-4-107,0 0 51,0 0 20,0 3 104,0-3 122,-3 3 0,3 1 0</inkml:trace>
  <inkml:trace contextRef="#ctx0" brushRef="#br0" timeOffset="12">17688 64 9502,'0'-4'-319,"3"1"317,-3 3 44,0 0-5,0 0-10,0-3-15,0 3-1,0 0-58,0-4 40,-3 4-14,3 0 13,-4 0-67,4-3 28,-3 3-113,0 0 119,3 0-131,-7 0 86,7-3-60,-3 3 80,-1 0 66,1 0 0,3-4 0</inkml:trace>
  <inkml:trace contextRef="#ctx0" brushRef="#br0" timeOffset="13">17664 54 9056,'0'3'92,"0"-3"-43,0 0-11,0 0 72,0 3 16,0-3 5,0 0-8,0 0-96,0 4 32,0-4-40,0 0-159,0 0 57,0 0-118,-3 0 144,3 0-23,0 0 0,-3 0-36,-1-4 8,4 4 69,-3-3-8,-1 3 22,1-3-11,0-1 46,-1 4 25,1-3 0,3 3 39,-3-3-41,3 3 4,0 0 34,-4 0-68,8 0 35,-4 0-25,3 0 4,-3 0-17,3 3 11,4-3-20,-4 0 17,1 3-65,-1-3 41,-3 0-46,4 4 2,-4-4-11,3 0-4,-3 0 5,3 0 59,-3 0-13,0 0-11,0 3-2,0-3 43,0 0-24,0 0 45,-3 0-44,3 0 50,-3 0 29,3 0-8,0 0 50,-4 3-47,4-3 16,0 0-21,0 0-33,0 0-20,-3 0 17,3 0-7,0 4 32,0-4-17,0 0-5,0 0-7,0 0-20,0 3 22,3-3 19,-3 0-14,0 0 18,0 0-24,0 0 46,0 0-31,4 0 37,-4 3-38,0-3 0,0 0 18,0 0 80,0 0-63,0 0 54,0 0-67,0 0-22,0 0 25,-4 0-29,4 0-10,0 0 17,0 0-89,-3 0-1,6 0-84,-3-3 1,4 3 0</inkml:trace>
  <inkml:trace contextRef="#ctx0" brushRef="#br0" timeOffset="14">17624 57 9502,'-7'0'-911,"7"0"747,-3 0 92,3 0 72,-3 0 0,3-3 0,0 3 0,-4 0 0,4 0 0,-3 0 0,0-4 0</inkml:trace>
  <inkml:trace contextRef="#ctx0" brushRef="#br0" timeOffset="15">17611 50 9502</inkml:trace>
  <inkml:trace contextRef="#ctx0" brushRef="#br0" timeOffset="16">17611 47 9502,'0'7'-1075,"0"-7"1003,0 0 72,0 3 0,0-3 0</inkml:trace>
  <inkml:trace contextRef="#ctx0" brushRef="#br0" timeOffset="17">17611 50 9502,'3'0'-1147,"0"4"1147,-3-4 0,0 0 0,4 0 0,-4 3 0</inkml:trace>
  <inkml:trace contextRef="#ctx0" brushRef="#br0" timeOffset="18">17637 60 9502,'-3'-3'-169,"3"3"132,0 0 18,0 0-107,0 0 130,-3 0-3,3 0 124,0 0 48,0 0-41,0 0 41,0 0-113,-4 0 20,4 0-20,0 3-4,0-3-20,0 0 21,0 4-24,0-4 20,0 3-1,0 0-7,0-3 7,0 4-13,0-1 7,0-3-9,0 3 12,0 1-65,0-1 44,0 4-42,0-4 48,0 0-39,0 1 19,0-1-30,-3 0 44,3 1 8,0 3-9,0-4 45,0 0-37,0 1 33,0-1-43,0 0 3,0 4 1,0-4 0,0 1 8,0-1-38,0 0 31,0 4-27,0-4 38,0 1-54,0-1-14,0 4-7,0-4-62,0 0 91,0 4-52,0-3 35,0-1 22,0 0-22,0 1 15,0 2-3,0-2-3,0-1 1,0 0 7,0 1-3,0-1 3,0 0-1,0 1 1,0-1 7,0 0-5,-3 1 6,3-1 0,0 0-4,0 1 4,0-1-1,0 0-3,0 1 5,0-1-7,0 1 1,0-1-1,0 0 2,0 1 0,0 2-27,0-2 19,0-1-22,0 0 27,0 1 5,0-1-3,0 0 7,-4 1-10,4-1 3,0 0-4,0 1 16,0-1-10,0 0 12,0 1-17,0-1 12,0 0-8,0 1 11,-3-1-11,3 1 6,0-1-5,0 0 5,0 1-3,0-1-3,0 0 2,0 1-2,-3-1-2,3 0 3,0 1-4,0-1-7,0 0 9,0 1-11,0-1 12,0-3-17,0 3 13,0 1-14,0-1 16,0 0 3,0 1-3,0-1 4,0-3 2,0 4-5,0-1 6,0-3-8,0 3 1,0 1 1,0-4 1,0 3-7,0 0 7,0 1-7,0-4 9,0 3-43,0-3 29,0 3-31,0 1 34,0-4-8,0 3 1,0 0-4,0-3 14,0 4-2,0-1 3,0-3-6,0 0 21,0 3-14,0-3 17,0 4-33,0-4 10,0 3-9,0-3 14,0 3-24,0-3 20,0 4-19,0-4 23,0 3-41,0-3 23,0 3-26,0-3 39,0 4-1,0-4 0,0 3 17,0-3-22,0 4 22,0-4-25,0 3 34,0-3-20,0 3 22,0-3-24,0 4 35,0-4-21,0 0 26,0 3-30,0-3 15,0 3-11,0-3 13,0 0-17,0 4 12,0-4-3,0 3 10,0-3-44,0 3 26,0-3-29,0 4-5,0-4 25,0 3-32,0-3 38,0 0-43,0 3-8,0-3-10,0 4 12,0-4-18,0 3-5,0-3-14,0 3 18,-4 1-4,4-4-4,0 3-21,0 0 37,0-3 29,0 4 31,-3-4 0,3 3 0</inkml:trace>
  <inkml:trace contextRef="#ctx0" brushRef="#br0" timeOffset="19">17443 74 8523,'-3'0'21,"3"-4"95,0 4-70,0 0 5,0 0 9,0 0-8,-3 0 438,3 0-343,0 0 340,0 0-450,0 0 14,0 4-17,0-4 11,0 3-8,3-3 12,-3 3-11,0-3 17,0 4-12,0-1 9,0 0-7,0-3-15,3 4 11,-3-4-61,0 3 46,0 0-39,0-3 47,0 4-50,0-1 33,0-3-40,0 3 50,0 1 14,0-1-11,0 1 11,0-1 14,0-3-26,0 3 25,0 1-30,0-1 0,0 0 2,0 1 0,4-1-7,-4-3 6,0 3-2,0 1 9,0-1-26,0 0 19,0-3-23,0 4 25,0-1-41,0 0 30,0 1-36,0-4 33,0 3-2,0 0-3,0 1-10,0-1 14,0 0-14,0-3 16,0 4-2,0-1 0,0 1-2,0-4 3,0 3-1,0 0 1,0 1 0,0-1-2,0 0 34,0-3-23,0 4 25,0-1-31,0 0-23,0 1 16,0-1-16,0-3-2,0 3 18,0 1-19,0-1 12,0 0 7,0-3-9,0 7 10,0-4 5,0 1-5,0-1 4,0-3-7,0 3 3,0 1-1,0-1 2,0 1-1,0-1 25,0 0-15,0 1 17,0-1-44,-4 0 15,4 1-15,0 2 13,0-2 3,0-1-6,0 0 6,0 1-9,-3-1 6,3 0-7,0 1 7,0-1-6,0 0 4,0 1-4,0-1 3,-3 0-9,3 1 3,0-1-4,0 4 35,0-4-17,0 1 20,0-1-9,0 0-12,-4 1 13,4-1-14,0 4-3,0-4 4,0 0-3,0 4 4,0-4-11,0 1 12,-3-1-12,3 0 16,0 1-30,0-1 20,0 4-21,0-4 4,0 1 13,-4-1-17,4 0 13,0 1-1,0-1-1,0 0 4,0-3 0,0 7-1,0-7 1,0 7-1,0-4 1,0-3 0,0 3 0,0 1 0,-3-1 1,3 0-1,0 1 0,0-1-4,0 0 3,0 1-3,0-1 2,0-3 1,0 4-1,0-1 2,-3-3-1,3 3 0,0 1 0,0-4 0,0 0-8,0 0 6,0 3-6,0-3 7,0 0-9,-4 0 6,4 3-7,0-3 12,0 0-4,0 0 4,0 4 2,0-4-3,0 0 2,0 3-4,0 0 16,-3 1-11,3-4 12,0 3-15,0-3 18,0 3-13,0 1 15,-3-4-11,3 3-1,0-3 2,-4 3 38,4 1-31,0-1 33,0-3-42,0 3 34,0 1-23,0-4 29,0 3-35,0-3 25,0 3-18,0-3 21,0 4-22,0-4-41,0 3-12,0-3-2,0 0-164,0 0 79,0 4-114,0-4-221,0 0 121,-3 3-189,3-3 197,0 3-92,0-3 253,0 4-111,0-1 278,-3 4 0,3-1 0</inkml:trace>
  <inkml:trace contextRef="#ctx0" brushRef="#br0" timeOffset="20">18156 546 9502,'-3'0'-657,"3"0"1071,0 0-106,0 0-38,-3 0-53,3 0-74,0 0-87,0 0-8,0 0 15,0 0 46,-4 0 4,4 0-7,0 0 13,0 0-7,0 0 5,-3 0 12,3 0-18,-3 0 21,3 0-26,-4 3-30,1-3 22,3 0-15,-3 0 26,-1 0-48,4 0 30,-3 0-46,0 0 57,-4 3-46,3-3-21,1 0-3,-4 0-36,4 0 31,-4 0 3,4 0-11,-4 0 49,1 0-22,-1 4 18,4-4-54,-4 0-3,0 0-4,1 0 9,2 0-33,-3 0 50,1 3-63,2-3 73,-2 0-43,2 0 31,-2 0-47,2 0 31,-2 0-5,2 0 4,-2 0 1,2 0 5,1 0-6,-4 0 4,4 0 24,-4 0-15,4 0 18,-1 0-20,1 0 27,-4 0-19,4 0 18,0 0-23,-1 3-35,1-3 27,0 0-27,-1 0-2,1 0 25,0 0-27,-1 0 9,1 0 14,0 0-17,-1 0 17,1 0 4,0 0-7,-1 0 6,4 0-11,-3 4-7,-4-4 2,4 0-3,3 0 2,-4 0 8,1 0-7,0 0 9,-1 0-10,1 0 7,0 0-6,-1 0 14,1 0-5,3 0 6,-3 0-9,-1 3 18,1-3-14,0 0 14,-1 0-15,4 0 25,-3 0-15,0 0 17,3 0-20,-4 0 3,1 0 2,3 0 1,-3 0 12,-1 0-13,1 0 17,3 0-14,-3 0 1,-1 0-1,1 0-2,-1 0-31,1 0 25,0 0-28,3 0 32,-4 0-31,1 0 19,0 0-19,-1 0 24,1 4-21,0-4 15,-1 0-22,1 0 13,0 0 1,3 0-3,-4 0 21,1 3-8,0-3 7,3 0-12,-4 0 25,1 0-16,3 0 20,-3 0-24,-1 0 6,1 0-5,3 0 8,-3 0-7,-1 0 7,1 0-5,3 0-1,-4 0 0,1 0-3,0 0 6,3 0 4,-4 0-4,1 0 1,0 0-4,-1 0-12,4 3 10,-3-3-9,3 0 11,-3 0-14,-1 0 10,1 0-12,3 0 15,-3 0-13,-1 0 9,4 0-9,-3 0 25,0 0-12,3 0 12,-4 0-16,1 0 1,0 0 0,3 0 0,-4 0-5,1 0 4,0 0-3,-1 0 5,1 0-7,3 0 4,-4 0-4,1 0 7,0 0-8,-1 0 6,1 0-8,0 0 8,-1 0-2,1 0 1,3 0-1,-3 0-1,-1 0 1,1 0 1,0 0-2,3 0 2,-7 0-1,7 0 1,-3 0-2,-1 0 1,1 0 0,0 0 0,-1 0-1,1 4 1,-1-4-1,4 0 0,-3 0 1,-4 0 0,7 0-8,-3 0 6,0 0-6,-1 0 8,1 3-1,0-3 0,-1 0 1,1 0-2,0 0 29,3 0-20,-4 0 22,1 0-26,0 0-3,-1 0 3,1 3-2,0-3-2,-1 0 3,1 0-3,0 0-5,-1 0 7,1 0-7,-1 0 8,1 0-18,0 0 11,-1 0-13,1 0 14,0 0 2,-1 0-4,1 0 2,0 0 0,-1 0 6,4 0-5,-3 0 11,0 0-10,-1 0 5,1 0-6,0 0-3,3 0 3,-4 0-1,1 0 2,0 0 1,3 0 1,-4 0-1,1 0-1,0 0 3,-1 0-2,1 4 2,-1-4-1,1 0-2,0 0 2,-1 0 2,1 0-3,0 0 3,-1 0-3,1 3 2,0-3-1,-1 0 3,1 0-3,0 3 1,3-3-1,-4 0 1,1 0-1,0 0 0,-1 0 0,1 0 0,0 4 0,-1-4 0,1 0 0,0 0 0,-1 0 0,1 3 0,-1-3 1,1 0-2,3 0 1,-7 0 0,7 0 1,-3 0-2,0 0 1,-1 0 0,1 3 0,0-3-4,-1 0 3,1 0-3,0 4-6,-1-4 6,1 0-6,0 0 5,-1 0 2,1 3-3,-4-3 4,4 0-11,0 0 8,-1 3-9,-3-3 9,7 0-5,-6 0 2,2 0-2,1 0 4,0 4-10,-1-4 7,1 0-7,3 0 20,-3 0-7,-1 0 8,1 0 15,3 0-20,-3 0 21,-1 0-25,1 0 25,3 0-17,-3 0 19,-1 0-20,4 0-2,-3 0 4,0 0-3,-1 0 7,4 0-13,-6 0 12,6 0-11,-4 0-20,1 0 20,-1 0-24,1 0 24,0 0 1,-1 0-2,1 0 0,0 0 9,-1 0-7,1 0 6,0 0-8,-1 0 45,1 0-32,0 0 35,-1 0-41,1 0 0,3 0 4,-3 0-3,-1 0-1,4 0 1,-3 0 1,0 0-12,-1 0 13,4 0-12,-3 0 13,0 0-11,3 0 7,-4 0-8,1 0 7,-1 0 25,4 0-20,-3 0 19,3 0-25,-3 0 4,-1 0 0,1 0 1,0 0 25,3 0-19,-4 0 21,1 0-7,3 0-8,-3 0 12,-1 0-16,4 0-13,-3 0 9,0 0-10,-1 0 15,4 0-17,-3 0 12,0 0-12,-1-4 12,1 4-8,0 0 6,3 0-9,-4 0 7,1 0-1,0 0-2,-1 0 0,4 0 4,-7 0-5,4 0 4,0 0 1,-1 0-1,-2 0 2,6 0-1,-4 0-17,1 0 11,0 0-13,-4 0 16,4 0-10,-1 0 7,4 0-8,-3 0 10,0 0-8,-1 0 5,1 0-7,0 0 7,-1 0-3,4 0 3,-3 0-4,0 0 0,3 0 0,-4 0-1,1 0 6,3 0-2,-4 0 3,4 0-3,-3 0 1,0 0 0,3 0 1,-4 0-1,4 0-10,-3 4 7,0-4-7,3 0-15,-4 0 17,1 0-17,3 0 12,-3 0 7,-1 0-10,1 0 8,3 0-17,-3 0 12,3 0-14,-4 0 18,4 0-37,-3 0 24,0 0-25,3 0 22,-4 0 8,1 3-8,3-3 7,-3 0-22,3 0 15,-4 0-15,4 0-21,-3 0 27,3 0-32,-4 0 38,4 3-4,-3-3 1,3 0 1,-3 0-1,3 0 11,-4 0-11,4 0 10,0 0 47,-3 0-40,3 0 44,-3 4-58,3-4 22,0 0-15,0 0 21,-4 0-7,4 0-2,0 0 2,-3 3-3,3-3-12,0 0 4,-3 0-2,3 0-214,0 0 129,0 0-132,0 0 121,0 0 81,0 0-47,0 0 10,3 0-15,-3 3-8,0-3 13,3 0-263,-3 0 73,0 0-210,0 0 276,0 0 89,4 4 117,-4-4 0,3 0 0</inkml:trace>
  <inkml:trace contextRef="#ctx0" brushRef="#br0" timeOffset="21">18200 549 8519,'-3'0'-164,"-1"0"164,4 0 0,0 3 0,0-3 0,0 0 0,-3 0 0,3 0 0,0 0 0,0 0 0,0 0 0,-4 4 0,4-4 10,0 0-2,0 0 101,-3 0-72,3 0 234,0 0-111,0 0 110,0 0-31,0 0-77,0 3 28,0-3-79,0 0-10,0 0-29,0 0-53,3 0 49,-3 3-47,4-3 62,-4 0-57,0 0 37,3 0-39,-3 0 7,0 0-17,4 4-6,-4-4 7,3 0-9,-3 3-4,3-3-13,-3 0 12,0 0-8,4 4 31,-1-4-39,-3 3-11,0-3 32,3 0-35,1 3 47,-4-3-40,3 4 24,-3-4-29,0 3 36,3-3-40,-3 0 23,4 3-27,-4-3-37,3 4-13,-3-4-16,3 0 23,-3 3-207,0-3 66,0 0-90,0 0 163,4 3 146,-4-3 0,0 0 0</inkml:trace>
  <inkml:trace contextRef="#ctx0" brushRef="#br0" timeOffset="22">18176 552 8847,'-3'0'-411,"3"0"450,-3 0 53,3 0-39,0 0-13,0 0 21,0 0-6,-4 0-8,4 0 9,0 0-3,0 0-7,0 4 12,0-4-12,-3 0 31,3 0-24,0 0 28,0 0-32,0 3 60,0-3-46,0 0 43,-3 0-25,3 3-4,0-3 13,0 0-7,0 0-15,0 4 5,0-1-1,0-3-6,0 4 12,0-4-9,0 3 7,0-3-41,0 3 24,0 1-26,0-1 37,0 0-29,0 1 19,0-1-22,0 0 16,0 1-58,0-1 45,0 4-48,0-4-8,0 0 46,0 1-62,0 2 3,0-6 43,0 7-48,0-4 57,0 1-49,0-1 26,0 1-31,0-1 43,0 0-34,0 1 20,0-4-24,0 3 29,0 0-41,0 1 24,0-1-27,0-3 33,0 7-29,0-7 14,0 3-18,0 0 26,0 1 5,0-4-6,0 3 4,0 0 17,0-3-12,0 4 13,0-4 48,0 3-48,0-3 53,0 0-60,0 3 10,0-3 1,0 0 3,0 4 1,0-4-16,0 0 16,0 0-13,0 3-25,0-3 22,0 3-26,0-3 5,0 4 18,0-4-21,0 3 23,0 1-15,0-4 8,0 3-13,0 0 16,0-3-60,0 4 42,0-4-44,0 3 55,0-3-76,0 0 39,0 3-62,0-3 56,0 0 0,3-3 1</inkml:trace>
  <inkml:trace contextRef="#ctx0" brushRef="#br0" timeOffset="23">18213 569 9502,'-6'0'-401,"6"0"92,-4 0 144,4 0 49,-3 4 61,3-4 8,-3 3 64,3 0-38,-4 1 27,4 2-31,-3 1 22,3-4 9,0 4-10,-4 0 12,1-1 0,3 1-1,0-4 0,0 4-4,-3-4 1,6-3-4,-3 4 0,3-4 0</inkml:trace>
  <inkml:trace contextRef="#ctx0" brushRef="#br0" timeOffset="24">18240 593 8976,'0'-4'-57,"0"4"71,0 0 108,0 0-77,-3 0 2,3 0 26,0 0-18,0 4 18,0-4-33,0 3 38,0 0-20,0-3 25,0 4-23,0-4-9,0 3 5,0 0-5,0 1-22,0-4 16,0 3-15,0 0 22,-4 1-70,4-1 50,0 0-54,0-3 26,0 4 26,0-1-33,0 0 30,0 1-53,0-4 35,0 3-45,0 1 58,0-1-52,0 0 38,0-3-53,0 4 55,0-1-17,0-3 18,0 3-7,0-3 5,0 4-6,0-1 5,0-3 4,0 3-3,0 1 5,0-4-9,0 3-3,0-3 4,0 3-1,0-3 6,0 4-1,0-4 1,0 0-10,0 3 7,0-3-7,0 3 8,0-3-44,0 4 31,0-4-35,0 3 44,0-3-66,0 0 47,0 0-52,0 3 62,0-3 0,-3 4-2,3-4-2,0 0 21,0 3-23,0-3 23,0 0 21,0 3 9,0-3 6,0 4-13,0-4-16,0 3-15,0-3 25,0 0-25,0 4 16,0-4-11,0 0 13,0 3-9,0-3-50,0 3 37,0-3-42,0 0 0,0 0 36,0 4-42,0-4 46,0 0-10,0 3 5,0-3-14,0 3 22,0-3-11,0 4 5,0-4-9,0 0 21,0 3-15,0-3 20,0 3-17,0-3-6,0 4 9,0-4-9,0 0 12,0 3-29,0-3 20,0 0-21,0 3 23,0-3-2,0 0-1,0 4 12,0-4-9,0 0 8,0 3-11,0-3 7,0 0-5,0 3 8,0-3-8,0 0 1,0 4 2,0-4 0,0 0 3,0 3-3,0-3 3,0 0-2,0 0 5,0 3-4,0-3 3,0 4-2,0-4 6,0 0-3,0 0 41,0 0-35,0 3 45,0-3-24,0 0 2,0 0-10,0 0-9,3 0-6,-3 0-174,0 0 118,0 0-144,0 0 159,4 0 0,-4 0 0</inkml:trace>
  <inkml:trace contextRef="#ctx0" brushRef="#br0" timeOffset="25">18207 593 8199,'-4'-4'0,"4"4"0,0 0 0,0 0 0,0 0 0,0 0 0,-3 0 0,3 0 0,0 4 0,0-4 0,0 0 0,0 3 0,0-3 0,-3 3 0</inkml:trace>
  <inkml:trace contextRef="#ctx0" brushRef="#br0" timeOffset="26">18210 599 9502,'0'7'-379,"0"-7"333,-3 3-60,3 1 25,0 2-100,-4-2 51,4-1 71,0 0 2,-3 1 74,0 2-70,3-2-15,-4-1-9,1 4 5,3-4 69,0 1-8,0-1 11,0 0 0,0-3 0,0 4 0</inkml:trace>
  <inkml:trace contextRef="#ctx0" brushRef="#br0" timeOffset="27">18197 603 9502,'-4'0'-602,"4"0"471,-3 0 62,3 0 46,0 0 18,0 0 22,-4 3 13,4-3-16,-3 0 22,3 3-34,0 1 25,0-4-28,-3 3-29,3 0 42,0 1-42,-4-1 54,4 0-55,-3 4-24,3-4 0,0 4-76,0 0 72,0-4-75,0 1 79,0 2 12,0-2 43,0-1 0,0 0 0,0 1 0,0-4 0,3 0 0,1 0 0,-1 0 0,4 0 0,-7 0 0,3-4 0,1 1 0,-1 3 0,-3-3 68,3-1-10,-3 4 62,0-3-55,0 3 57,4 0-71,-4 0 44,-4 0-46,4 3-82,-3-3 68,0 7-68,3-4-5,-4 1-26,1-1-11,-1 4-20,1-4 37,0 0-43,3 4 8,-4-7 32,4 7 36,0-7 25,0 3 0,0-3 0,0 0 0,4 0 0,-1 3 0,4-6 0,-4 3 0,1 0 0,-1-3 0,-3 3 0,3-4 0,1 4 64,-4-3 26,0 3-4,3 0 135,-3 0-168,0 0 111,-3 0-124,3 0-30,-4 3 26,1 1-20,3-4-26,-3 3-12,3 0-6,-4 1-62,4-1 28,-3-3-12,3 4 18,0-1 16,0 0-5,-4-3-20,4 4 17,0-4-16,0 3 39,0-3-42,0 0 43,4 0 49,-4 0-34,3 0 39,-3 0-54,4 0 44,-4 0 14,3 0 80,0-3 9,-3 3-25,0-4-23,4 4-6,-4 0 5,0 0 125,3 0-129,-3 0 29,-3 0-109,3 4-55,0-4 76,-4 3-41,4 0-11,-3 1-10,3-4-17,0 3 19,0-3-9,-3 3-6,3-3-23,0 4 22,0-4 16,0 0 27,0 0-28,0 3 73,0-3-46,0 0 46,0 0 3,0 3-33,0-3 42,0 0-53,0 0 36,0 0-20,0 0 25,0 4-29,0-4 52,0 0-38,0 0 52,0 0-49,0 0 29,0 3-19,0-3 15,0 0 1,0 0-14,0 3 20,3-3-11,-3 0-9,0 0 9,0 0-11,0 0-40,0 4-10,0-4-2,3 0 8,-3 0-37,0 0 13,0 0-67,0 0 69,0 3 10,4-3 35,-1 0 0,-3 3 0</inkml:trace>
  <inkml:trace contextRef="#ctx0" brushRef="#br0" timeOffset="28">18217 603 9502,'-4'3'-1139,"1"0"1048,0 1 19,-1-4 72,4 0 0,-3 3 0,3-3 18,0 0-13,0 0 15,0 0-22,0 0 3,3-3-3,-3 3 4,0 0 1,0 0-1,0 0-1,0-4 10,0 4-7,0 0 7,0 0-12,0 0-33,0-3 27,0 3-29,0 0 37,0 3-4,-3-3 2,3 0 2,0 4 0,-3-4 3,3 0-3,0 3 3,-4-3-3,4 3-1,0-3 13,0 0 55,0 0-34,-3 0 78,3 0-91,0-3 36,3 3-43,-3-3-6,0 3 5,0-4 1,0 1-32,0 3 33,0 0-34,0 0 24,0 0 6,0-3-61,0 3 46,-3 0-44,3 0 52,-4 3-64,4-3-11,-3 3-2,3 1 16,-3-1 57,3 0 0,0 1 0,-4-4 0,4 0 0,4 3 0,-4 0 0,0-3 0</inkml:trace>
  <inkml:trace contextRef="#ctx0" brushRef="#br0" timeOffset="29">18076 613 9390,'0'3'201,"0"0"-176,0-3 32,0 4-15,0-4 9,0 3-15,0 0-15,0 1 6,0-1-8,-3 0-30,3 1-10,0-1-6,0 1 16,0-1-79,0 0 31,0 1-123,0-1 121,0 0-192,0-3 104,0 0-71,0 0 115,3 0 105,-3 4 0,0-4 0</inkml:trace>
  <inkml:trace contextRef="#ctx0" brushRef="#br0" timeOffset="30">18006 623 9528,'0'0'273,"3"0"-222,-3 0 80,0 0-131,0 0 33,0 0-121,0-4 109,0 4-210,0 0 106,0 0-291,0 0 255,0-3-50,0 3 169,0 0 0,0-3 0</inkml:trace>
  <inkml:trace contextRef="#ctx0" brushRef="#br0" timeOffset="31">17801 633 9856,'4'-4'-139,"-4"4"137,0 0-56,3 0 23,-3 0 36,0 0-44,0 0 42,4 0-10,-4 0 3,0 0-56,0 0 41,3 0-40,-3 0 57,0 0-14,0 0 8,0 0-11,3 0 8,-3 0 37,0 0-27,0 0 24,0 0 16,4 0-35,-4 0 39,0 0-32,0 0-7,3 0 16,-3 0-14,0 0 13,0 4-21,0-4 27,0 0-5,0 0 8,3 0 36,-3 0-11,0 3 4,0-3 0,0 0-6,0 0-10,0 0 22,0 0-20,0 3-4,0-3 12,0 0-8,0 0-47,0 0 32,0 4-83,0-4 68,0 0-26,0 0 27,0 0-20,0 0 9,-3 3-12,3-3 14,0 0-3,0 4-1,0-4 1,0 3 23,-3-3-12,3 3 16,0-3-22,0 4 9,-4-4-5,4 3 7,0-3-5,0 3-2,0-3 3,0 0-2,0 4 1,-3-1-1,3-3 0,0 0 0,0 3 7,0 1-5,0-4 3,0 0-18,0 3 6,0-3-7,0 0 13,0 3-6,0-3 4,0 0-5,0 4-32,0-4 28,0 0-30,0 0 36,0 0-7,0 3 4,0-3-6,0 0 4,0 0 21,0 0-18,0 3 76,0-3-59,0 0 45,0 0-23,0 0-14,0 0 19,0 0 26,3 0-28,-3 0 26,0 0-41,0 0-4,0 0-31,0 0 26,4 0-21,-4 0 23,0 0-17,0 0 9,3 0-12,-3 0-6,0 0 17,0 0-20,0 0 21,3 0-26,-3 0 18,0 0-23,0 0 23,0 0-2,0 0 2,4 0-10,-4 0 9,0 0-9,0 0 11,0 0-7,0 0 5,3 0-7,-3 0 1,0-3 1,0 3-2,0 0 3,0 0 11,0-3-7,3 3 7,-3 0-10,0-4 17,0 4-11,4-3 13,-4 3 11,0-3-19,3 3 22,-3-4-8,0 1-18,0 0 18,3-1-19,-3 4-5,0-3 10,4 0-8,-4-1 11,0 1-58,0 3 39,0-7-44,0 7 52,0-3-46,0 3 28,3-4-32,-3 1-15,0 0 44,0-1-51,0 4-5,0-3-24,0 3 2,0-3 6,0 3-126,0-4 31,0 4-124,0-3 82,0 3 127,-3 0 12,3 0 88,0 0 0,-4 0 0</inkml:trace>
  <inkml:trace contextRef="#ctx0" brushRef="#br0" timeOffset="32">18217 623 9502,'0'6'-179,"0"-2"50,0-1-107,0 4 106,0-4 100,-4 1 9,1 2-2,3-2 31,-3 2-40,-1-2 48,1-1-69,3 4-17,-3-4-7,-1 0 16,4 1 8,-3-1 39,3 0-43,0-3 49,0 0 0,0 0-3,3 0 0,1-3 1</inkml:trace>
  <inkml:trace contextRef="#ctx0" brushRef="#br0" timeOffset="33">17992 623 9738,'0'3'117,"0"-3"-213,0 0 0,4-3 1</inkml:trace>
  <inkml:trace contextRef="#ctx0" brushRef="#br0" timeOffset="34">18086 633 9477,'3'0'482,"-3"0"-57,-3-4-389,3 4-40,-3 0 2,-1 0-98,4 0 106,-3 0-222,0 0 102,3 0-157,-4 0 155,4 0 71,-3 0 45,3 0 0,-3 0 0</inkml:trace>
  <inkml:trace contextRef="#ctx0" brushRef="#br0" timeOffset="35">18116 633 9493,'4'0'-25,"-4"0"72,0 3-37,0-3 37,0 0-39,0 0-63,0 0 35,-4 0-7,4 0 21,0 0 1,0 3-10,-3-3-43,3 0-20,0 0 59,-4 0-17,4 0 48,0 4-34,-3-4 24,3 0-24,0 0 20,0 3 2,0-3-5,0 0 2,0 4 55,0-1-38,0-3 41,0 0-47,0 3 53,0-3-34,0 0 39,0 4-46,0-4 41,3 0 26,-3 3-6,4-3 46,-4 0-40,0 3 15,0-3-54,3 0 52,-3 0-131,0 0 123,0 0-93,0 0-64,-3 0 22,-1 0-59,1 0 57,0 0 45,-4 0 0,4 0 0</inkml:trace>
  <inkml:trace contextRef="#ctx0" brushRef="#br0" timeOffset="36">17932 650 8932,'0'-4'-107,"-3"4"297,3 0-40,0-3-75,0 3-127,0 3 55,0-3-31,0 0 37,0 4-35,0-1 21,0-3-24,0 3 7,-4-3 23,4 0-31,0 4 31,0-4-13,0 3 10,0-3-9,0 3 7,0-3 21,0 0-15,0 4 16,0-4-10,0 0-8,0 3 10,4-3-11,-4 0 62,0 0-42,0 0 44,0 3-43,3-3-10,-3 0 15,0 0-14,0 0 12,3 0-4,-3 0 4,0 0 0,4 0-35,-4 0 25,0 0-25,0 0 2,0 0 18,0 0-22,3 0 25,-3-3-25,0 3 16,0 0-20,3-3 11,-3 3 6,0-4-6,0 4 7,0 0-19,0-3 12,0 3-15,0 0 19,0-3-43,0 3 29,0-4-31,0 4 24,0 0 6,0-3-11,0 3 12,0 0 14,0 0-16,0 0 41,0-3-43,0 3-28,0 0 22,0 0-45,0 0 67,0 3 14,0-3-16,0 3 18,0 1-21,0-4 19,0 3-12,0-3 14,0 3-14,0-3 19,0 0-8,0 4 11,0-4 8,4 0-21,-4 3 21,0-3-25,0 0 69,3 0-48,-3 0 55,0 3-83,0-3 18,3 0-16,-3 0 21,0-3-9,4 3 7,-4 0-7,0 0 7,0-3-10,3 3 5,-3-4-7,4 4 33,-4-3-20,0 0 19,3 3-30,-3-4 16,0 1-10,0 0 12,0-1-170,0 4 35,0-3-107,0 3 129,0-4 46,0 4 43,0-3 0,0 3 0</inkml:trace>
  <inkml:trace contextRef="#ctx0" brushRef="#br0" timeOffset="37">18043 643 8802,'3'0'277,"-3"0"-237,0 0-1,0 3-39,0-3 28,0 4-30,0-4 38,0 3 10,0-3-8,0 3 12,0-3-14,0 4-5,0-4 1,0 3-48,0-3 33,0 0-92,0 0 14,0 0 2,0 0-66,3-3 114,-3 3-67,0-4 74,0 1-32,0 3 22,0-3-31,0-1 60,0 1-35,0 3 35,0 0 13,0-4-31,0 4 31,0 0 385,0-3-296,0 3 184,0 0-367,4 3-130,-4-3 137,3 0-99,-3 0 93,0 0-126,3 0 121,-3 0-5,4-3 75,-4 3 0,0 0 0</inkml:trace>
  <inkml:trace contextRef="#ctx0" brushRef="#br0" timeOffset="38">17691 646 8376,'0'-3'-161,"0"3"161,0-4 0,0 4 0,0 0 0,0 0 46,0 0 142,0 0-87,0 0 86,0 0-151,3 0-12,-3 0 22,0 4-21,0-4-1,0 0 0,0 0-3,0 3 0,0-3 9,0 4-9,0-4-14,-3 3 13,3 0-20,0-3 23,0 4-40,0-1 29,0 0-31,0-3 36,0 4-39,-3-1 27,3 0-29,0 1 34,0-1-26,0-3 19,0 3-25,0 1-38,0-1-19,0-3-8,0 3 19,0-3 11,0 4 41,0-4-33,0 3 49,0-3 0,3 0 0</inkml:trace>
  <inkml:trace contextRef="#ctx0" brushRef="#br0" timeOffset="39">17996 643 9061,'0'0'157,"0"0"-99,0 0-40,3 0 38,-3 0-70,0 0 54,0 0-21,0 0 0,0 0-29,3 0 29,-3 0-33,0 0 43,0 0-29,0 0 19,0 0-23,0 0 22,4 0-18,-4 0 10,0 0-18,0 0 28,3 0-6,-3 0 4,0 0-30,0 0 17,3 0-20,-3 0 27,0 0-22,0 0 17,4 0-16,-4 0 19,0 0 10,0 0-8,0 0 7,0 0-11,0 3 14,0-3-9,0 0 9,0 0-16,0 0 1,0 4-1,0-4 7,0 0-15,0 3 14,0-3-13,0 0-28,0 3-12,0-3-5,0 4 11,-4-4 16,4 0 15,0 3-22,0-3 21,-3 0 33,3 3-24,0-3 24,0 0 29,0 0-48,0 4 52,0-4-59,-3 0 28,3 3-12,0-3 16,0 0 11,0 0-12,0 3 18,0-3-52,3 0 12,-3 0-25,0 0 33,0 0-67,3 0-19,-3 0-11,4 0-194,-4 0 98,0 0-67,3 0 124,-3 0 117,0 0 0,3 0 0</inkml:trace>
  <inkml:trace contextRef="#ctx0" brushRef="#br0" timeOffset="40">17591 650 8678,'-4'0'172,"4"-4"-47,0 4-144,4 0 28,-4 0-46,0 0 50,0 0-12,3 0-5,-3 0 7,0 0-26,0 0 21,0 0-7,0 4 9,3-4 18,-3 0-12,0 0 13,0 0-14,0 0-4,4 0 4,-4 3-5,0-3 38,0 0-24,0 0 27,0 0-30,0 0 2,0 3-1,0-3 0,0 0 21,3 0-13,-3 4 15,0-4-17,0 0-18,0 0 13,0 3-13,0-3 16,0 0-10,0 3 7,0-3-9,0 0 9,0 0-30,0 4 21,0-4-23,0 0 6,0 3 13,0-3-13,0 0 3,0 3 12,0-3-15,0 4 16,0-4-1,0 3 0,0-3 0,0 3-1,0-3-3,0 4 3,0-4-1,0 0-19,0 0 14,0 3-14,0-3 19,0 3-2,0-3 0,-3 0 0,3 0 8,0 4-6,0-4 6,0 3-8,0-3 19,0 0-13,0 0 15,0 0-19,0 0 2,0 3-1,0-3 4,0 0-19,0 4 14,0-4-13,0 0 16,0 0-4,0 0 2,0 3 1,0-3-1,0 0 2,0 0-4,0 0 59,3 0-39,-3 0 42,0 0-48,0 3-9,0-3 12,0 0-8,0 0-1,0 0 1,0 4 8,0-4 0,0 0 27,0 0-25,0 0 11,0 0-17,0 0 29,0 0-15,-3 0 19,3 0-23,0 0-3,-4 0 9,4 0-8,-3 0-201,3 0 39,0 0-80,-3 0 122,3 0 100,-4-4 0,4 4 0</inkml:trace>
  <inkml:trace contextRef="#ctx0" brushRef="#br0" timeOffset="41">17892 656 8847,'3'0'-370,"-3"0"499,0 0-43,0-3 4,0 3-36,4 0-1,-4 0 24,0 0 10,0 0-30,0 0 31,0 0-33,3 0-2,-3 0 4,0 3-13,0-3 6,0 0-4,0 4 6,0-4 7,0 0-9,0 3 6,0-3-7,0 3-64,0-3 46,0 0-45,0 4 14,0-4 32,0 3-41,0-3 45,0 0-122,0 0 78,0 0-98,0 0 107,0 0-29,0-3 22,0-1-24,0 4-15,0 0 27,0 0-30,0-3 40,0 3-11,0-3 6,-3 3-7,3 0 16,0-4-6,0 4 3,0 0-8,0 0 73,0-3-58,0 3 109,0 0-37,0 0-6,0 0 21,0 0-82,0 0 17,0-3-15,3 3 0,-3 0 7,0 0-9,0 0 14,3 0-108,-3 0 23,0 0-101,4 0 104,-4 0-212,0 0 220,3 0-165,-3 0 220,0 0 0,3 0 0</inkml:trace>
  <inkml:trace contextRef="#ctx0" brushRef="#br0" timeOffset="42">17878 663 9281,'0'-3'-333,"0"3"277,0 0 124,0 0 1,0 0-28,0-4 45,0 4-33,0 0-4,0 0 49,0 0-34,0 0-4,0 0-10,0-3-53,-3 3 11,3 0 20,0 0-22,0 0 27,-3 3-52,3-3 31,0 0-36,0 0 43,0 0-35,-4 4 19,4-4-24,0 0-5,0 3 31,-3-3-35,3 3 21,0-3 8,0 0-11,0 0 14,-3 4-6,3-4 3,0 0-5,0 3 7,0-3-2,0 0-1,0 0 0,0 3-1,0-3 5,0 0-3,0 4 4,0-4 32,0 0-25,0 0 27,0 3-33,0-3 44,0 0 10,3 0 7,-3 0 35,0 3-71,3-3 39,-3 0-45,0 0-21,0 0 16,4 0-12,-4 0 22,0 0-22,0 0 14,3 0-21,-3 0-12,3 0 24,-3 0-28,0 0 52,4-3-14,-4 3 10,0 0-17,3-3 9,-3 3-5,0-4 9,0 4-12,4-3-29,-4 3 22,0-3-17,0 3-32,0-4 45,3 4-47,-3 0 54,0-3-145,0 3 22,-3 0-92,3-3-146,0 3 101,-4 0-44,4 0 151,-3 0 142,-1 0 0,4 0 0</inkml:trace>
  <inkml:trace contextRef="#ctx0" brushRef="#br0" timeOffset="43">18002 663 9502,'4'0'-554,"-4"-3"424,3 3 181,-3 0-42,0 0 112,0 0-72,3 0 267,-3 0-195,0-4 136,0 4-278,-3 0-4,0 0 14,3 0-13,-4 4-20,4-4-24,-3 0 25,3 0 15,0 0 36,-3 3-46,3-3 26,0 0-11,-4 3 5,4-3-3,0 0 59,0 0-43,0 4 45,0-4-19,0 0-16,0 3 22,0-3-25,0 0-18,0 3 14,0-3-15,4 0 23,-4 0-118,3 0 26,-3 0-111,3 0 120,-3 0 12,4 0 65,-1-3 0,0 3 0</inkml:trace>
  <inkml:trace contextRef="#ctx0" brushRef="#br0" timeOffset="44">17587 663 9079,'0'-3'-147,"0"3"241,0 0-84,-3 0 9,3 0-61,0 0 51,0 3-38,0-3 45,0 0-32,0 0 16,0 3-19,-4-3 20,4 0-14,0 0 5,0 4-9,0-4-19,0 3 27,0-3-31,0 3 36,-3-3 1,3 4 0,0-4 2,0 3 51,0-3-42,0 0 44,0 3-54,0-3 65,0 4-42,0-4 47,0 0-56,0 0-9,0 0 14,0 3-11,0-3-10,0 0 12,0 3-8,0-3 16,0 0-29,0 0 19,0 4-28,0-4 10,0 0 13,0 3-16,0-3 15,0 0 11,0 0-13,0 3 11,3-3-10,-3 0 5,0 0-2,0 0 4,0 4-3,0-4 37,0 0-24,0 0 27,0 0-51,0 0 11,4 0-9,-4 0-98,0 3 83,0-3-87,0 0 108,0 0-1,0 0 0,0 3 0</inkml:trace>
  <inkml:trace contextRef="#ctx0" brushRef="#br0" timeOffset="45">17390 663 9763,'0'3'234,"0"-3"-191,-4 4 30,4-4 7,0 3-7,0 0-66,0 1 38,0-1-50,0 0 63,0 1-50,0-1-14,0 0-4,0 1 8,0-1-17,0 0-14,0 1-13,0-4 18,0 3-34,0 0 22,0-3-92,0 4-425,0-4 314,0 0-284,0 0 460,0-4 67,0 1 0,0 0 0</inkml:trace>
  <inkml:trace contextRef="#ctx0" brushRef="#br0" timeOffset="46">18217 666 8858,'0'0'-438,"0"0"676,0-3-82,0 3-3,0 0-73,-4 3-24,4-3-12,-3 4-38,3-1 44,-3 4-46,-1-1 7,4-2-19,-3 2-5,0-2 13,3-1 1,-4 4-21,4-4 3,-3 0-7,3 1-33,0-4-28,0 3-15,0-3-36,0 0 43,3-3 9,1 3-8,-1-4 58,0 1-6,1 0 44,-1-1 13,0 1 4,1 3-24,-4-3 21,3-1 5,-3 4 17,3-3 118,-3 3-131,0 0 153,0 3-156,-3-3 53,3 4-52,-3-1-2,3 0 2,-4 1-28,1-1 24,3 0-15,-3 1 23,3-1-47,-4 1 34,4-4-41,0 3 45,0-3-157,0 3 90,0-3-105,0 0 121,4 0 18,-4 0 20,3 0-14,-3 0 15,0 0-23,0 0 48,0 0-36,3 0 104,-3 4-95,0-1 58,0 0-64,-3 1-78,3-4 14,0 3-31,0 0 53,-3 1 42,3-1 0,0 0 0</inkml:trace>
  <inkml:trace contextRef="#ctx0" brushRef="#br0" timeOffset="47">16884 666 9920,'3'0'1010,"-3"0"-508,0 0-437,0 0-8,0 4-16,0-1-33,0-3 4,0 3 14,-3 1-8,3-1 6,0 0-26,0 1 12,-3-1-6,3 4 11,0-4 13,0 0-29,-4 1-9,4-1 0,0 4-24,0-4-41,-3 1 70,3-1-35,0 0 48,0 1-25,0-1 13,0 0-17,0 1 22,0-4-10,0 3 3,0 0-7,0-3 14,0 4-42,0-4 31,0 3-31,0 0 23,0-3 9,0 0-11,0 4 9,0-4-4,0 0 0,0 3-2,0-3 21,0 3-9,0-3 10,3 0-15,-3 0-6,0 4 4,0-4-3,4 0 5,-4 3-22,0-3 17,0 0-16,0 3 18,0-3 2,3 4-3,-3-4-10,0 0 10,0 3-13,0-3 13,0 3-11,0-3 8,0 4-9,0-4 9,0 3 32,0-3-23,0 4 26,0-4-4,0 3-19,0-3 22,0 3-23,0-3 15,0 4-9,0-4 11,0 3-26,0-3 8,0 3-4,0-3 7,0 4-52,-3-4 38,3 0-44,0 3 55,0-3-52,0 3-10,0-3-14,-4 4-51,4-4 15,0 0 6,0 3 0,0-3-32,0 0 0,-3 3-96,3-3-9,0 0 25,0 4-34,0-4 98,0 0-71,0 3 159,0-3-52,0 0 125,0 0 0,0 3 0,0-3 0,0 0 0,0 0 0,0 4 0,0-4 0,0 0 0,0 0 0,0 0 0,0 3 155,0-3-48,0 0 122,0 0-66,0 0-23,0 0-25,3 0-18,-3 0-6,0 0 24,0 0-8,4 0 3,-4 0-7,0 0 31,3 0-12,0-3 12,-3 3-30,4 0 0,-1 0 7,0-4 13,1 4-25,-1-3 22,4 3-25,-4-3-43,1 3-9,2-4 10,-2 4-76,-1-3 28,4 3-24,-4-3 20,4 3-2,-4-4-15,0 4-19,1-3 20,2 3 6,-2-3 0,-1 3-21,4 0-1,-4 0 28,1-4 3,2 4-4,-2 0 3,-1 0-3,0 0 3,1-3-10,-1 3 16,4 0-15,-4 0 18,0 0 42,1 0-30,-1-3 31,4 3-3,-4 0-28,0 0 30,1 0-34,-1-4-3,1 4 6,-1 0-3,0 0-5,1 0 5,-1 0-2,0 0 9,1 0-39,-1 0 28,0 0-35,4-3 41,-4 3-53,1 0 38,-1 0-48,0 0 35,1 0 3,-1 0-7,0 0 25,4 0 37,-4 0-25,1 0 22,-1 0 3,4 0-33,-4 0 39,1 0-47,-1 0 54,0 0-37,4 0 46,-4 0-52,1 0-11,-1 0 14,4 0-16,-4 0-26,0 0 32,4 0-37,-4 0 49,1 0-50,-1 0 34,0 0-46,4 0 41,-3 0-4,-1 0 2,4 0-2,-4 0 42,0 0-33,4 0 32,-4 0-35,4-3 32,-4 3-19,1 0 22,-1 0-22,4 0-29,-4 0 25,0-4-23,1 4-1,2 0 17,-2 0-20,-1 0 1,4 0 16,-4 0-18,1 0 17,-1 0 6,0-3-10,4 3 8,-4 0-10,4 0 15,-4 0-10,1 0 9,-1 0-7,0 0-5,1-4 5,-1 4-4,0 0-3,1 0 5,2 0-5,-6 0 7,7 0-19,-3 0 13,-1-3-15,0 3-3,1 0 13,-1 0-15,0 0 17,1 0 2,-1 0-2,0 0 0,1 0-1,-1 0 6,4 0-5,-4 0 3,0 0 19,1-3-17,-1 3 20,0 0-11,4 0-4,-4 0 9,1 0-11,-1 0 0,1 0-1,-1-4 1,0 4 0,1 0-31,-1 0 22,0 0-25,1 0 31,2 0-3,-2 0 1,-1 0-5,0 0-7,1 0 3,-1 0-5,4 0 17,-4 0-4,0 0 3,1 0-6,-1 0 34,0 0-23,4 0 26,-3 0-34,-1 0 36,0 0-25,1 0 31,2 0-35,-2-3-1,-1 3 0,4 0 1,-4 0-20,0 0 20,4 0-20,-7 0 23,7 0-12,-4 0 7,0 0-9,1 0-19,2 0 21,-2 0-28,-1 0 31,1 0-8,-1 0 6,4 0-6,-4 0 4,0 0 9,1 0-6,-1 0 8,0 0 29,4 0-27,-7 0 30,3 0-36,1 0 6,-1 0-3,0 0 8,1 0-13,-1 0 7,0 0-4,1 0 5,-1-3-49,1 3 35,-1 0-40,0 0 47,1 0-5,-1 0-1,0 0-1,1 0-4,-1 0 13,0 0-13,1 0 22,-1 0-17,0 0 12,1 0-11,-1 0 5,0 0-1,1 0 3,-1 0 1,4 0 0,-4 0 2,0 0-2,1 0-2,-1 0-28,1 0 19,-1 0-19,0-4 20,1 4 4,-1 0-6,0 0 13,4 0-8,-4 0 6,1 0-8,-1 0 9,0 0-6,1 0 7,-1 0-9,4 0 5,-4 0-2,0 0 3,1 0 5,-1 0-7,0 0 9,1 0-8,-1 0 3,1 0-4,-1 0 3,0 0-30,1 0 20,2 0-21,-2 0 26,-1 0-28,0 0 18,1 0-21,-1 0 24,4 0 13,-4 0-11,0 0 10,1 0-13,-1 0 6,0 0-8,1 0 6,-1-3-6,4 3 25,-4 0-16,1 0 19,-1 0-22,0 0 2,1-3 1,-1 3-2,0 0 1,1 0-3,2 0 4,-6 0-19,7 0 13,-4 0-13,1 0 16,-1 0-39,0 0 29,1 0-33,-1 0 26,0 0 5,1 0-7,-1 0-11,0 0 17,1 0-20,-1 0 22,1 0-19,-1 0 14,0 0-17,1 0 17,-1 0 24,0 0-16,-3 0 22,4 0-28,-1 0-14,0 0 11,1 0-9,-4 0-13,3 0 20,-3 0-21,3 0 9,-3 0 12,4 0-14,-1 0 17,0 0 9,-3 0-7,4 0 1,-4 0-7,3 0 36,-3 0-24,3 0 30,-3 0-39,4 0 49,-4 0-34,0 0 42,3 0-29,0-4-6,-3 4 10,4 0-12,-4 0 15,3 0-9,-3 0 12,4 0-21,-1 0 5,-3 0-5,3 0 5,-3 0-8,4 0 5,-1 0-4,-3 0 4,3 0 2,-3 0-1,4 0 0,-4 0 0,3 0 9,-3 0-7,3 0 3,-3 0-6,0 0-3,4-3 5,-4 3 3,3 0-2,0 0 2,-3 0-2,4 0-4,-4 0 3,0 0-3,3 0 2,-3 0 7,3 0-5,-3 0 5,4 0 0,-4 0-4,3 0 4,-3-3-1,3 3-2,-3 0 3,4 0-4,-4 0-16,3 0 12,-3 0-14,0 0 17,3 0-19,1 0 14,-4 0-14,0 0 15,3 0-24,-3 0 14,4 0-15,-4 0 13,3 0 7,-3 0-10,0 0 23,3 0-13,-3 0 15,0 0-16,4 0 4,-4 0-4,0 0 5,0 0-3,3 0 21,-3 0-15,0 0 17,3 0-20,-3 0 8,0 0-5,0 0 2,4 0-5,-4 0-1,0 0 4,3 0 3,-3 0-3,0 0 3,0 0-3,3 0-11,-3 0 8,0 0-10,0 0 11,0 0-11,0 0 9,4 0-10,-4 0 22,0 0-8,0 0 9,0 0-6,0 0-4,3 0 6,-3 0-7,0 0 0,0 0 6,0 0-4,0 0 6,3 0 4,-3 0-8,0 0 11,0 0-8,0 0 0,0 0-137,4 0-39,-4 0-141,0 0 0,0 0 0</inkml:trace>
  <inkml:trace contextRef="#ctx0" brushRef="#br0" timeOffset="48">17714 666 8753,'4'0'71,"-4"0"7,0 0 117,0 0-219,-4 0 37,4 0-46,-3 0 54,3 0-55,-3 0 39,3 0-44,-4 0 31,4 4 3,-3-4-7,3 0-5,-3 3 18,3-3-18,-4 0 18,4 3-7,0-3 6,-3 0-8,3 4 6,0-4-12,0 0 9,0 0-6,0 0 9,0 0 3,3 0 20,-3 0-17,0 0 18,4 0-23,-4 0 21,0 0-14,0 0 18,3 0-21,-3 0 8,0 0-3,0 0 4,3 0-16,-3 0 8,0 0-10,4 0 13,-4 0-8,0 0 7,3 0-9,-3 0 7,0 0 34,3 0-24,-3 0 23,0 0 31,4 0-43,-4 0 46,0 0-52,0 0 14,3 0-3,-3 0 6,0 3 4,0-3-16,0 0 18,0 3-14,0-3-28,0 4 20,0-4-24,0 0-20,0 3 33,0-3-34,0 3 38,0-3-41,0 0 24,0 0-29,0 4-21,0-4 2,0 0-57,0 3 14,0-3 0,0 0 0</inkml:trace>
  <inkml:trace contextRef="#ctx0" brushRef="#br0" timeOffset="49">17728 673 8208,'3'0'267,"-3"0"-121,0 0 76,0 0-99,0 0-51,0 0 78,4 0-106,-4 0 39,0 0-49,3 0 4,-3 0-46,0 0 32,0 0-31,0 0 8,3 0 28,-3 0-31,4 0 32,-4 0-47,0 0-10,0 0-13,3 0 18,-3 0-36,0 0 54,0 0-63,0 0 49,0 0 3,3 0-16,-3 0 32,0 0-19,0 0 64,0-3-49,0 3 42,-3 0-43,3 0 25,0 0-13,-3 0 17,3 0-14,-4 0 20,1 0-10,3 0 14,-3 3-16,-1-3 8,4 3-3,-3-3 4,3 4-8,0-4 39,-4 3 15,4 0-1,0 1 63,0-4-91,0 3 59,0-3-113,0 3 38,0-3-36,4 4 49,-1-4-87,-3 3 23,4-3-52,-1 0 49,4 0 25,-4 0 0,0-3 0</inkml:trace>
  <inkml:trace contextRef="#ctx0" brushRef="#br0" timeOffset="50">17658 670 8928,'0'3'120,"0"-3"-73,0 3-19,0-3 19,0 0-22,0 4-38,0-4 27,0 0-30,0 3 27,0-3 7,0 3-9,0-3-1,0 4 9,0-4-12,0 0 13,0 3-50,0-3 35,0 3-39,0-3 47,0 0-45,0 4 31,0-4-38,0 3 45,0-3-24,0 0 18,0 0-22,0 0-3,0 0 9,0 0-48,0 0 48,3 0-27,-3 0 35,0 0 5,0 0-6,0-3 5,0 3-10,0 0 20,0-4-15,0 4 15,0 0-29,0 0 10,0-3-8,0 3 10,0-3-1,0 3 0,0 0 2,0 0 11,0-4-6,0 4 5,0 0-11,0-3 13,0 3-10,0-3 11,3 3 24,-3 0-27,0 0 31,0-4 10,4 4-28,-4 0 33,0-3-39,0 3 9,0 0-3,0 0 5,0 0-6,3 0-6,-3-3 6,0 3-5,0 0 7,0 0 4,3 0-3,-3 0 3,0 0-10,0 0 3,4 0-4,-4 3 53,0-3-36,0 0 37,0 0-46,3 0-2,-3 0 5,0 3-3,0-3 5,0 0-12,0 4 11,0-4-10,0 0 13,0 3-21,0-3 13,0 0-14,0 3 1,0-3 11,0 4-12,0-4-1,0 0-16,0 3 6,0-3-9,0 3 14,0-3 5,0 0-8,0 4 13,-3-4-7,3 3 5,0-3-7,0 0 6,0 0-35,0 3 26,0-3-27,0 0 33,0 0-257,0 0 173,0 0-191,0 0 234,3 0 2,-3 0 18,0-3 4,3 3 21,-3-3 0,4 3 0</inkml:trace>
  <inkml:trace contextRef="#ctx0" brushRef="#br0" timeOffset="51">17326 680 9502,'0'-4'227,"3"4"-147,-3 0-100,0 0-13,0-3-68,0 3-166,0 0 101,0 0-30,0 0 114,0 0 82,4 0 0,-4-3 0</inkml:trace>
  <inkml:trace contextRef="#ctx0" brushRef="#br0" timeOffset="52">17617 683 9502,'4'0'-699,"-1"0"661,-3 0 53,0 0 25,0 0 51,0 0-43,0 0 25,0 0-60,0-3-10,3 3 45,-3 0-120,0 0 97,0 0-78,0 0 74,4 0-7,-4 0 9,0 0 17,0 0-26,0 0 29,3 0-23,-3 3-34,0-3 31,0 0-31,0 0 3,0 0 17,0 0-23,3 0 12,-3 0 16,0 0-20,0 0 5,0 0 2,4-3-12,-4 3 14,0 0 0,0 0-1,0 0 26,0 0-20,3 0 21,-3 0-1,0 0-15,0-4 17,0 4 1,-3 0-13,3 0 15,0 0-18,0-3 5,-4 3-1,4 0 2,0 0-3,0 0-1,-3 0 2,3 0 0,0 0 4,-3 0-3,3 0 2,0 0-30,0 3 19,-4-3-19,4 0 24,0 0-25,0 4 16,-3-4-19,3 0 22,0 0-17,0 3 12,0-3-16,0 3 12,-3-3 3,3 0-6,0 4 4,0-4-20,0 0 11,0 0-11,0 3 8,0-3 8,0 3-9,0-3 11,0 0 4,0 4-3,0-4 3,0 0-6,0 3 52,0-3 15,0 0 4,3 0 46,-3 0-86,0 0 41,0 0-52,3 3 0,-3-3 9,4 0-4,-4 0-53,3 0-23,-3 0 2,3-3 12,-3 3-87,4 0 28,-4 0-104,3 0 76,-3-3 72,0 3 13,3-4 44,-3 4 0,4-3 0</inkml:trace>
  <inkml:trace contextRef="#ctx0" brushRef="#br0" timeOffset="53">17497 683 10680,'0'0'-95,"0"0"6,0 0 55,0-3 23,0 3-39,0 0 120,0 0-61,0 0 108,0 0 106,0 0-122,0 0 167,-4 0-237,4 0 53,0 3-34,0-3 9,0 0-3,0 0-2,0 3-27,0-3 19,0 0-15,0 0-20,0 4 24,0-4-32,4 0 32,-4 0-29,0 0 24,0 0-26,3 0 31,-3 0-70,3 0 48,-3 0-52,0 0 65,4-4-79,-4 4 57,0 0-67,0 0 22,3-3-29,-3 3 7,0 0-2,-3 0 58,3-3-14,0 3 9,-4 0 30,4 0-22,0 0 26,-3 0-37,0 0 63,3 0 21,0 3 11,-4-3 39,4 0-33,0 3-5,0-3 8,-3 0-53,3 4 14,0-4-5,0 0 54,3 0-47,-3 3 52,0-3-61,4 0-5,-4 0 11,3 0-15,0 0 21,-3 0-71,4 0-15,-4 0-9,3 0-91,-3 0 77,0 0-101,4 0 103,-4 0-59,0-3 87,0 3-68,0 0 57,0 0-22,0 0 25,-4 0-29,4-4 71,-3 4-13,-1 0 25,4 0-15,-3 0 61,3 0-13,-3 0 87,3 0 20,0 0-34,0 4 64,-4-4-37,4 0 30,0 0-53,0 0 5,0 0-14,0 3-18,0-3 24,4 0-23,-4 0 56,0 0-27,3 0 36,-3 0-55,3 0-143,-3-3 38,4 3-112,-4 0-598,3 0 518,-3 0-492,4-4 673,-4 4 0,0-3 0</inkml:trace>
  <inkml:trace contextRef="#ctx0" brushRef="#br0" timeOffset="54">17336 680 9376,'0'0'-217,"3"0"-113,-3 0 0</inkml:trace>
  <inkml:trace contextRef="#ctx0" brushRef="#br0" timeOffset="55">17393 690 9502,'3'0'-221,"-3"0"224,0 0 18,0 0 49,4 0 37,-4 0 20,0-4 10,0 4-26,0 0 71,0 0 50,0 0-46,0 0 38,0-3-115,0 3-81,-4 0-20,4 0 10,-3 0 6,3 0-82,-3 0 16,3 0-101,-4 0 68,4 0-189,-3 3 45,0-3-128,3 0 143,0 0-32,-4 0 21,4 0 27,0 0 67,-3 0 121,3 4 0,0-4 0</inkml:trace>
  <inkml:trace contextRef="#ctx0" brushRef="#br0" timeOffset="56">17433 686 8586,'4'0'665,"-4"0"-491,0 0 196,0 0-71,3 0-137,-6-3 42,3 3-209,0 0-63,-4 0 7,4 0-1,-3 0 15,3 0 21,0 0-24,-4 0 57,4 0-66,-3 0 59,3 0-14,-3 3 7,3-3-5,-4 0 20,4 0-12,0 0 13,-3 4-9,3-4 0,0 0 1,0 0 0,-3 0-8,3 0 5,0 3-5,0-3 8,0 0-52,0 0 37,0 3-41,0-3 4,0 0 31,0 0-35,0 0 39,0 0 17,0 4-19,3-4 17,-3 0-25,0 0 60,3 3 6,-3-3 9,0 0 19,4 0-33,-4 0 6,3 0 40,-3 0-56,3 0 31,-3 3-31,0-3 10,4 0 1,-4 0 1,0 0-9,3 4-15,-3-4 11,0 0-12,0 0 8,4 0 5,-4 3-5,0-3 8,0 0 64,0 3-49,0-3 51,0 4 1,0-4-47,0 3 61,0-3-71,0 0 39,0 0-29,0 4 27,0-4-42,0 0-13,0 0 10,0 3-54,0-3 54,0 0-41,-4 0-88,4 0 19,-3 0-118,3 0 100,-4 0-299,4-3 96,-3 3-79,0 0 180,-1-4 200,1 4 0,0-3 0</inkml:trace>
  <inkml:trace contextRef="#ctx0" brushRef="#br0" timeOffset="57">17236 686 9168,'-4'0'-44,"4"0"60,0 0 42,0 0-97,-3 0 82,3 0-183,0 0 114,0 0-64,0 0 35,-3 0 46,3 0-15,0 0 13,0 0-2,0 0 7,0 0 8,0 0-5,0 4 10,0-4-12,0 0 25,0 0-16,0 3 17,0-3 9,-4 0-22,4 3 24,0-3-31,0 4 6,0-4-5,0 3 8,0-3-10,0 0 0,0 3-2,0-3 2,0 4-7,0-4 10,0 0-11,0 3 10,0-3 70,0 0-52,0 3 54,0 1-25,0-4-30,0 0 37,0 3-65,0-3 24,0 4-21,0-4 30,0 3-26,0-3 22,0 3-21,0-3 27,0 0-75,0 4 50,0-4-56,0 3 53,0-3 29,0 3-32,0-3 28,0 0 35,0 4-38,0-4 45,0 0-64,0 3 8,0-3-5,0 3 14,4-3-37,-4 4 28,0-4-27,0 0 36,0 3-19,0-3 15,0 0-16,0 3-4,0-3 12,0 4-23,0-4 13,0 0-25,0 0-195,0 3 146,0-3-133,0 0 211,0 0 0</inkml:trace>
  <inkml:trace contextRef="#ctx0" brushRef="#br0" timeOffset="58">17360 710 8816,'0'0'272,"0"0"-261,0 3 17,0-3-21,0 0-12,0 3 31,0-3-33,0 4 40,0-4-47,0 3-10,0-3-5,-4 0-30,4 4 65,0-4-58,0 0 51,0 0-23,0 0 85,0-4-44,0 1 47,0-1-58,0 1 53,0 0-34,0 3 37,0-4-1,0 1-35,0 0 42,0-1-46,0 4 8,0-3-6,0 3 12,0-3-6,0 3 141,0 0-109,0 0 103,4 0-130,-4 0 28,0 0-16,3 0 17,-3 3-75,0-3-9,3 0-7,-3 0 15,0 0-155,4 0 45,-4 0-134,3 0 153,-3 0 52,0 0 51,3 0 0,-3 0 0</inkml:trace>
  <inkml:trace contextRef="#ctx0" brushRef="#br0" timeOffset="59">17132 690 9282,'3'0'60,"-3"0"-23,0 0-71,4 0 49,-4 0-61,0 0 74,0 0-64,0 3 44,3-3-53,-3 0 42,0 0 1,0 0-4,0 0 2,3 3-6,-3-3-1,0 0-2,0 0 30,0 4-10,0-4 14,0 0-20,0 3 30,0-3-21,4 0 25,-4 0-30,0 0-1,0 3 1,0-3 1,0 0-14,0 4 15,0-4-15,3 0 18,-3 3-5,0-3 3,0 0-4,0 3-5,0-3 6,0 4-9,0-4 8,0 0-6,0 3 5,0-3-6,0 0 5,0 4-15,0-4 12,0 3-18,0-3 15,0 0-2,-3 3 3,3-3 2,0 0 0,0 4-1,0-4 0,0 0 11,0 3-10,0-3 9,0 0-11,0 0-18,0 3 14,0-3-14,0 0 20,0 4-66,0-4-18,0 0-3,0 0-155,0 0 170,0 0-130,0 3 149,0-3 0,0 0 1</inkml:trace>
  <inkml:trace contextRef="#ctx0" brushRef="#br0" timeOffset="60">17129 747 8742,'-4'0'105,"4"0"-65,0 0 16,-3 0-15,3 0-37,0 0 48,0 0-90,0 0 68,0 0-101,-4 0 32,4 0-15,0 0 16,0 0 30,0 0 4,0 0-5,0-4 16,0 1-13,0 3 12,0 0-6,0-3-6,0 3 7,0-4-6,4 4 4,-4-3-13,0 3 12,3-3-11,-3 3-6,0-4 11,4 4-14,-4-3 17,0 3 3,0 0-3,0-4 0,3 4-1,-3-3-29,0 3 20,0 0-22,0 0 45,3-3-16,-3 3 17,0 0-19,0 0 9,4-4-5,-4 4 7,0 0 10,0 0-14,3-3 16,-3 3-19,0 0 35,0 0-25,3 0 28,-3 0-30,0 0 3,0-3-1,0 3 1,0 0-2,0 0-4,4-4 4,-4 4-31,0 0 3,0 0-27,0 0 1,0 0 0</inkml:trace>
  <inkml:trace contextRef="#ctx0" brushRef="#br0" timeOffset="61">17329 696 9545,'4'0'-48,"-4"0"0,-4 0 48,4 4 0,0-4-7,0 0 5,-3 0-5,3 3-33,0-3 25,0 0-31,0 0 4,0 0 25,-3 0-41,3 0 37,0 0-16,0 0 33,0 0-4,0 3 16,0-3 6,0 0-19,-4 0 16,4 0-14,0 0 3,0 0 0,0 0-4,0 4 17,0-4-11,0 0 12,0 0-9,0 0 34,0 0-19,0 0 23,0 0-26,0 3-64,0-3 37,0 0-54,0 0 58,0 0-10,0 0 11,0 0-151,0 0 83,0 3-114,4-3 118,-4 0 1,0 0 0</inkml:trace>
  <inkml:trace contextRef="#ctx0" brushRef="#br0" timeOffset="62">17256 700 9380,'0'3'201,"0"-3"-160,0 0-50,0 3 37,0-3-44,0 0-11,0 4 46,0-4-52,0 3 63,0-3-66,0 0 45,0 3-53,3-3 62,-3 4-31,0-4 22,0 3-33,0-3 68,3 0-42,-3 4 43,0-4-43,0 0 20,0 0-10,4 3 12,-4-3-9,0 0-9,0 0 10,3 0-9,-3 0-16,0 0 15,0 0-18,3 0 1,-3 0 15,0 0-17,0 0 17,0-3-5,4 3-2,-4-4 0,0 4 0,0 0-34,0-3 22,0 3-24,3-4 32,-3 1-67,0 3 44,0 0-48,0-3 48,0 3 14,0 0-19,0-4 54,0 4-32,0 0 31,0-3 52,0 3-56,0 0 73,0 0-80,0 3 5,0-3-5,0 4-13,-3-4 8,3 3-11,0-3 1,0 0 10,0 3-9,0-3 10,0 4-6,0-4 4,0 0-5,0 3 5,0-3 6,0 0-5,0 0 5,0 4 14,0-4-15,0 3 17,0-3 29,0 3-36,0-3 40,0 0-49,3 0-4,-3 4 5,0-4-2,4 0 6,-4 0 3,3 0-3,-3 0 1,0 0-12,3 0 10,-3 0-10,0 0 10,4-4-26,-4 4 16,0 0-17,0 0-38,0-3 45,3 3-49,-3-3 58,0 3-14,0-4 10,0 4-11,0 0 10,0 0-10,0-3 8,0 3-14,0 0 31,0 0-22,0 0 8,0 0-62,0-4 30,0 4-26,0 4 52,3-4 13,-3 0-9,0 0 6,0 3-19,0-3-43,0 0 32,4 0-33,-4 0 0,0 0 28,3 0-36,-3-3 46,0 3-72,0 0 67,0-4-49,3 1 79,-3 0 0,4-1 0</inkml:trace>
  <inkml:trace contextRef="#ctx0" brushRef="#br0" timeOffset="63">17329 703 9304,'0'0'27,"4"0"-20,-4 0 8,0 0-10,0 0 7,0 0-3,0 0 2,0 0-1,3 0 1,-3 0 12,0 0-8,0 3 12,0-3-14,0 0 1,0 0-2,0 4 3,0-4-7,0 0 7,0 0-5,3 0 3,-3 3 2,0-3-4,0 0 2,0 3-1,0-3 1,0 0 0,0 4 0,0-4-12,0 0 9,0 0-9,0 3 8,0-3-8,0 0 3,0 0-23,0 0 22,0 4-13,0-4 17,0 0 0,0 0-51,0 0 36,0 3-234,0-3 126,0 0-95,4 0 143,-4 0 68,0 0 0,3 3 0</inkml:trace>
  <inkml:trace contextRef="#ctx0" brushRef="#br0" timeOffset="64">17239 710 9910,'-3'-4'270,"3"4"-248,0 0-6,-4 0 15,4 0-62,0 0 22,-3-3-108,3 3-147,-3 0 55,3 0-50,-4 0 137,1 0 122,3 0 0,-3 0 0</inkml:trace>
  <inkml:trace contextRef="#ctx0" brushRef="#br0" timeOffset="65">16964 703 8847,'-3'0'-290,"3"0"373,0 0 109,-3 0-126,3 0 56,0 0 6,0 0-9,0 0-91,0 3 12,0-3-48,-4 0 69,4 0-13,0 4 4,0-4-10,0 0-1,0 0-30,0 3 22,0-3-26,0 0 23,0 3 0,0-3-8,0 4 6,0-4-29,0 3 25,0-3-23,0 4-9,0-4 28,0 3-31,0 0 38,0-3-51,0 0 32,0 4-38,0-1 43,0-3 3,0 3-5,0-3 4,0 4-9,0-4-16,0 0 5,0 3-8,0-3-10,0 3 23,0-3-24,0 0-38,0 4 44,0-4-47,0 0 59,0 0-47,0 3 29,0-3-34,0 0 40,0 0-6,0 3 118,0-3-84,0 0 107,0-3-118,0 3 12,0-3-4,0 3 4,0-4-46,4 4-17,-4-3-3,0 3 11,0-3 19,0 3 19,0 0-32,0-4-3,0 4 7,0-3-13,0 3 13,0 0 25,0 0-25,3-3 23,-3 3 10,0 0-12,0 0 20,0-4-25,0 4 35,0 0-24,0 0 29,3 0-11,-3 0-12,0 0 14,0-3-19,0 3 9,4 0-2,-4 0 6,0 0 34,0 0-28,0 0 64,0 0-62,0 0 31,3 0-17,-3 0-10,0 0 15,0 0-23,0 0 37,0 0-26,0 3 44,4-3-44,-4 0 15,0 0-16,0 0 2,0 0-14,0 4 14,0-4-14,3 0-2,-3 0 9,0 3-12,0-3 18,0 0-43,0 0 26,0 0-30,0 0 38,0 3-28,0-3 21,0 0-29,0 0 56,0 4-24,0-4 24,0 0-32,0 0 5,0 0-4,0 0 5,0 3-13,0-3 11,0 0-11,0 3 16,0-3-18,0 0 13,0 4-15,0-4 15,0 0-36,0 0 22,-3 3-25,3-3-25,0 3 43,-4-3-49,4 0 40,0 4 8,0-4-12,0 0 12,0 3 16,-3-3-16,3 0 15,0 3-20,0-3 74,0 0-54,0 4 58,0-4-65,0 0 46,0 0 19,0 0-2,0 3 53,0-3-86,0 0 54,0 3-85,0-3 33,0 0-30,0 4 35,0-4-61,0 0-11,0 0-6,0 3 11,0-3 7,0 0-36,0 0-171,0 0 131,0 0-76,3 0 184,-3 0 0,4 0 0</inkml:trace>
  <inkml:trace contextRef="#ctx0" brushRef="#br0" timeOffset="66">16918 710 9260,'0'0'22,"0"0"65,0-4 7,-4 4-13,4 0-39,0 0-11,0 0 4,0 0-57,0 0 26,-3 0-12,3 0 9,0 0 11,0 0 15,0 0-26,-3 0-19,3 0-3,-4 0-19,4 0 20,0 0-4,-3 0-1,3 0-14,0 0 13,-4 0-15,4 0 38,-3 0-42,3 0 47,0 4-64,-3-4 47,3 0-49,0 0 30,0 0 15,-4 0-21,4 3 21,0-3-2,0 0 0,-3 0-4,3 0 27,0 3-21,0-3 22,0 0-20,0 0 0,0 4 0,0-4 5,-3 0 17,3 0-10,3 0 35,-3 3-35,0-3 19,0 0-2,0 0-11,3 0 13,-3 0-16,0 0 11,0 0-6,4 4 8,-4-4 3,0 0-10,3 0 12,-3 0-13,0 0 6,0 0-5,3 0 3,-3 3-14,0-3 9,4 0-9,-4 0 10,0 0-6,0 0 3,0 0-3,3 0 4,-3 0-2,0 3 2,0-3-2,0 0-1,4 0 2,-4 0-2,0 0 2,0 0-1,0 0 0,3 0-21,-3 0 16,0 0-16,0 0 21,0 0-1,0 0-1,0 4 5,0-4-6,3 0 6,-3 0-2,0 0-3,0 0 3,0 3-4,0-3 58,0 0-41,0 0 46,0 0-30,0 0-14,0 3 18,0-3-19,0 0-6,0 4 7,0-4-7,0 0 9,0 0 13,0 0-8,0 3 11,0-3-23,0 0 5,0 3-2,0-3 1,0 0 3,0 4 3,0-4-4,0 0 5,0 0 60,0 3-45,0-3 49,0 0-6,-3 3-42,3-3 50,0 0-57,0 0 57,0 4-41,0-4 47,0 0-67,0 0 17,0 0-11,0 0 31,0 0-11,0 0 13,0 3-71,-3-3 33,3 0-39,0 0-56,-4 0 25,4 0-97,0 0 99,-3-3-1,3 3 50,-4 0-8,4 0 0,-3-4 0</inkml:trace>
  <inkml:trace contextRef="#ctx0" brushRef="#br0" timeOffset="67">17333 710 9238,'0'0'-435,"3"0"307,-3 0-79,0 0 0</inkml:trace>
  <inkml:trace contextRef="#ctx0" brushRef="#br0" timeOffset="68">17172 713 8607,'0'0'776,"0"0"-722,0 0 155,0 0-167,0 0-29,0 3 21,0-3-20,0 4-18,0-4-2,0 3-15,0-3 14,0 4-36,0-4 54,0 3-61,0 0 70,0-3-51,0 0 34,0 4-42,0-4 30,0 3 2,3-3-4,-3 0 11,0 3 36,0-3-27,4 0 27,-4 4-33,0-4 32,0 0-22,3 0 28,-3 0 6,0 0-21,0 0 26,0 0-21,0 0 1,3 0 4,-3 0-42,0 0 18,0 0-29,4 0 37,-4 0-57,0 0 41,0-4-50,0 4 59,0 0-45,0-3 30,0 3-36,0 0 37,0 0-7,0-3 4,3 3-8,-3 0 36,0-4-27,0 4 27,0 0-4,0 0-17,0 0 22,0 0-24,3-3 4,-3 3-1,0 0 4,0-3-3,0 3-39,0 0 27,0-4-30,0 4-4,0 0-13,0-3-2,0 3 4,0 0-10,0 0-29,0-4 5,0 4-182,0 0 100,0 0-56,0-3 115,0 3 109,0 0 0,0 0 0</inkml:trace>
  <inkml:trace contextRef="#ctx0" brushRef="#br0" timeOffset="69">17336 713 9196,'0'0'107,"3"0"97,-6 0-11,3 0-204,0 0-11,-3 0 13,3 0 3,-4 0-7,4 0-20,0 0 18,-3 0-24,3 3 44,0-3-48,-3 4 53,3-4-16,0 0 11,0 3 10,0-3-7,0 0 12,-4 4-16,4-4-2,4 3 1,-4-3 1,0 0 2,0 3-66,3-3-17,0 0-6,-3 0 17,4 0 63,-4 0 2,3 0 1,-3 0 0,3 0 0</inkml:trace>
  <inkml:trace contextRef="#ctx0" brushRef="#br0" timeOffset="70">17028 730 8204,'0'-3'373,"0"3"145,0-4-227,0 8-7,0-4-268,0 0-47,0 3 55,0-3-29,0 3 22,0-3-34,0 0 34,0 4-42,0-1 32,0-3-30,0 0-8,0 3 28,0 1-30,0-4 39,0 0-8,0 3 4,0-3-6,0 3-7,0-3 6,0 0-8,0 4 1,0-4 6,3 0-3,-3 0 3,0 0 1,0 0 0,0 0-1,4 0 1,-4 0 9,0 0-6,0 0 8,0 0 14,3 0-16,-3 0 17,0 0-23,0 0 53,0 0 16,3 0 2,-3 0-3,0 0-38,4-4 1,-4 4 4,0 0-37,0-3 16,0 3-16,3-3 2,-3 3 1,0 0-7,0 0 7,0 0-16,0-4 21,0 4-26,0 0 23,0-3-16,0 3 5,4 0-9,-4 0 15,0 0 3,0 0-2,0-3 1,0 3-5,0 0 4,0 0-4,0-4-8,0 4 8,0 0-9,0 0 12,0 0-19,0 0 12,3-3-13,-3 3 17,0 0-14,0 0 9,0-3-10,0 3 10,0 0-5,0 0 2,0-4 4,0 4 0,0 0 7,0 0-7,0 0 0,0 0 2,0-3-6,0 3 24,0 0 4,0 0 68,0 0-39,0 0 26,0 0-67,0 0 5,-3 3-8,3-3 11,0 0-17,0 4 12,0-4-16,0 3 17,0-3-11,0 3 8,-4-3-10,4 4 35,0-4-20,0 3 21,0-3-10,0 3-10,0 1 13,0-4-16,0 0 0,0 3 0,0 0 2,0-3 0,0 4-29,0-4 20,0 0-22,0 0 31,4 3-115,-4-3 25,0 0-112,3 0-68,-3 0 38,3 0-57,-3 0 155,0-3 62,4 3 65,-4 0 0,3-4 0</inkml:trace>
  <inkml:trace contextRef="#ctx0" brushRef="#br0" timeOffset="71">17152 723 9502,'-3'-3'4,"-1"3"0,4 0 26,0 0-21,-3 0 35,3 0-59,0 0 53,-3 0-19,3 0 25,0 0-83,0 0 27,-4 0-120,4 0 127,0 0-92,0 0 86,0 0-76,-3 0 51,3 0 21,0 3 0,0-3 0</inkml:trace>
  <inkml:trace contextRef="#ctx0" brushRef="#br0" timeOffset="72">17072 737 8886,'0'-4'408,"0"4"-210,0 0-69,0 0-59,3 0-57,-3 0 60,0 0-111,0 0 40,3 0-29,-3 0 14,0 0-28,0-3 50,0 3-57,0 0 35,4 0 9,-4 0-15,0 0 25,3 0 2,-3 0-3,0 0-1,0 0 12,0 0-9,3 0 12,-3 0-14,0 0 22,0 0-8,4 0 2,-4 0-3,0 0-29,0 0 24,0-3-2,0 3 1,0 0 7,0 0 28,0 0-30,0 0 33,0 0-37,-4-4-17,4 4 17,0 0-16,0 0 3,-3 0 7,3 0-8,0 4 1,-3-4 16,3 0-16,-4 0 15,4 0 11,0 0-16,-3 3 17,3-3-22,0 0 8,-3 3-5,3-3 4,0 0 1,-4 0-7,4 4 9,0-4-7,0 0-17,0 3 14,-3-3-16,3 3 23,0-3-12,0 4 7,0-4-12,0 0 86,0 3-57,3-3 60,-3 0-74,0 3 58,4-3 17,-4 4 2,3-4-4,0 0-47,-3 0 7,4 0-1,-1 3 13,0-3-111,1 0 37,-4 0-89,3 0-234,-3-3 85,3 3-89,1 0 190,-4 0 156,0-4 0,3 1 0</inkml:trace>
  <inkml:trace contextRef="#ctx0" brushRef="#br0" timeOffset="73">16991 730 9064,'4'0'42,"-4"0"-29,3 0-30,-3 0 41,0 0-63,3 0 41,-3 0-45,0 0 47,0 0-41,0 0 22,4 0-27,-4 0 31,0 0 9,0 0-12,3 0 40,-3 0-30,0 0 29,0 0-12,0 0-8,3 0 48,-3 0-26,0 0 22,0 3 24,0-3-38,4 0 8,-4 0-29,0 0-13,0 0-13,0 0 26,0 0-28,0 0 27,0 4-17,0-4 11,0 0-12,0 0-8,0 3 16,-4-3-22,4 0 24,0 0-17,0 3 12,0-3-14,0 0-2,-3 4 9,3-4-9,0 0 14,0 0 0,0 3 0,0-3-1,0 0 0,0 3 3,0-3-4,0 0 3,0 0-3,0 4 6,0-4-3,0 0 5,0 0-128,0 3 92,0-3-90,0 0 122,0 3 0,0-3 0</inkml:trace>
  <inkml:trace contextRef="#ctx0" brushRef="#br0" timeOffset="74">16941 737 9706,'-3'-4'445,"3"4"-371,0 0-50,0 0-56,0 0 70,-4 0-95,4 0 96,0 0-86,0 0 63,0 0-113,-3 0 104,3 0-84,0 0 59,0 0-34,-3 4-30,3-4 67,0 0-22,0 3 25,-4-3 19,4 3-23,0-3 21,0 4 21,0-4-14,0 3 17,0 0-25,0-3 62,0 4 17,0-4 9,0 3-8,0-3 0,0 3 29,4-3-8,-4 4-59,3-4-73,-3 0 11,0 0-320,3 3 130,-3-3-223,4 0 252,-4 0 98,0 0 79,3 0 0,-3 0 0</inkml:trace>
  <inkml:trace contextRef="#ctx0" brushRef="#br0" timeOffset="75">17005 743 9743,'0'-3'-7,"0"3"-5,-4 0 28,4 0-80,0 0 67,0 0-83,-3 0 19,3 0-30,0 0 42,-3 3-8,3-3 52,0 0-7,0 4-4,0-4-15,-4 0 56,4 0-45,0 3 45,0-3 8,0 3 16,0-3 4,0 0-11,0 4-2,0-4-25,0 0 33,4 0-71,-4 0 36,0 0-35,3 3 48,-3-3-118,0 0 29,3 0-104,-3 0 96,0 0 18,0 0 48,4 0 5,-4 0 0,3-3 0</inkml:trace>
  <inkml:trace contextRef="#ctx0" brushRef="#br0" timeOffset="76">17939 804 9502,'16'-4'-887,"-5"4"655,-5-3 147,1-1 15,0 4 74,-1-3-4,-2 0 44,-4 3 12,3-4-16,-3 4 7,3 0-48,-3-3-12,0 3 25,-3 0-29,3 0 27,-3 0-35,-1 3 26,1-3-27,0 4 12,-1-1 13,1-3-17,0 3 16,-1-3 3,4 4-13,-3-4 9,3 3 5,-3-3-2,3 0 14,0 0-16,0 0 5,0 0-4,3 0 4,0 0-3,1 0 4,2 0-3,1-3 0,0 3-1,-1-4 0,1 1-1,3 3 1,-3-3-1,-4-1 2,4 4-2,-4-3 1,4 3-1,-4 0 4,-3-3-2,4 3 3,-4 0 22,3 0-20,-6 0 21,3 0-25,0 0-53,-4 0 40,4 0-43,-3 0 32,3 3 13,0-3-15,-3 3 15,3-3 7,0 4-2,0-4 6,0 3-2,3-3 0,-3 3 0</inkml:trace>
  <inkml:trace contextRef="#ctx0" brushRef="#br0" timeOffset="77">18156 790 9502,'0'-3'-297,"0"-1"283,0 4-91,0-3 42,0 3-121,0 0 78,0 0 57,0-3 19,0 3 61,-3 0-59,3 0 39,-7 0-46,4 0 54,-4 0-45,1 3 31,-1-3-33,0 3 42,0-3-53,1 4-30,-1-1 4,0-3-43,4 3 96,-4 1-32,4-4 44,0 3 0,-1-3 0,4 0 0,0 0 0,0 4 0,0-4 0</inkml:trace>
  <inkml:trace contextRef="#ctx0" brushRef="#br0" timeOffset="78">18103 790 9502,'3'-3'-224,"-3"-1"229,3 4-69,1 0 20,-4-3-69,0 3 100,0 0 41,-4 0 26,1 0-53,0 3 42,-4-3-44,0 4 54,1-4-58,-1 3-13,0-3-5,1 0-23,-1 3 16,-3-3 11,3 4-75,0-4 36,1 0-16,2 0 20,-2 0-6,2 0-8,1 0-22,0 0 21,-1 0-11,4 0 37,0 0-34,4 0 44,-1 0 3,4 0 17,-4 0 23,4 0-16,-1 0 15,1 0-5,0 0-24,0 0 29,-1 0-29,-2-4 66,2 4 23,-2 0-3,-1-3-8,0 3-12,1 0 27,-4 0-2,0-3 13,0 3-1,0 0-24,0 0 4,-7 0-26,0 0-33,1 0 39,-1 0-76,-3 0 53,3 0-56,-3 0 66,0 0-35,0 0 18,0 0-23,0 0 18,0 3-30,3-3-26,1 3 9,-1-3-12,0 0-6,4 4-35,-1-4 13,4 0-56,0 0 46,0 0-18,4 0 73,-1 0 5,4 0 48,0 0-40,-1-4 43,1 4-28,-4 0 25,4-3-52,-4 3 53,1 0-35,-1-3 40,-3 3 10,3 0 21,-3 0 15,4-4 28,-4 4-36,-4 0 8,4 0-13,-3 0-25,0 0-11,-4 0 9,0 0-40,1 0 31,-1 0-31,-3 0 33,3 0-23,0 0 14,1 0-16,-4 0 14,3 0-37,0 0-23,1 0-3,2 0-32,1 4 23,0-4 8,-1 3-57,4-3 79,-3 0-53,6 0 60,-3 3 24,4-3-15,-1 0 17,0 0-27,4 0 50,-4 0-35,4 0 43,-4 0-54,1-3 52,-1 3-36,0 0 79,1-3-37,-4 3 13,3 0-14,-3-4 28,3 4 7,-3-3 16,0 3-19,-3 0-57,3 0 5,-3 0-6,-4 0 15,4 0-52,-4 0 36,0 0-41,1 0 54,-1 3-78,0-3-19,1 4-13,-1-4-27,0 3 88,0-3-26,4 3-34,0-3 55,-1 0-70,4 4 76,-3-4-3,6 0 34,-3 0-15,0 0 14,4-4-19,-1 4 35,0 0 19,-3 0-1,4-3 32,-4 3-18,0 0-5,0 0 36,3 0-68,-6 0 38,3-3-39,0 3 9,-4 0-6,1 0-30,0 0 21,-1 0-26,1 0-16,0 0-13,-1 3-8,-2-3 15,2 0-29,1 0-14,-4 3-19,7-3 29,-3 0 57,0 4 14,-1-4 0,4 0 0,0 0 22,-3 0-12,3 0 9,0 0 53,0-4-58,3 4 66,-3 0-71,0-3 10,0 3-4,-3 0 3,3 0-13,0 0 13,-3 0-13,3 0 18,-4 0-36,1 0 25,3 0-28,-4 0 10,1 0 2,0 0-12,-1 0 11,1 0-48,0 3 43,-1-3-47,1 4 56,3-4-3,-3 0 4,-1 0 0,4 3 0,-3-3 0,3 0 0,0 0 0,-3 0 0,3 0 0,0 0 0,-4 0 0,4 0 0,0 0 0,-3 0 0,3 0-33,0 0 22,-3 0-17,3 0 73,-4 0 24,4 0 1,-3 0-9,3 0 1,-3 0-36,3 0 40,-4 0-40,1 0 25,0 0-16,-1 0 21,1 0-24,-1 0-22,4 0 19,-3 0-19,-4 0-51,4 0 12,0 0-72,-1 0-40,1 0 33,3 0-7,-3 0 63,3 0 52,0 0 0,0-3 0,0 3 0,0 0 0,0 0 0,0-4 0,0 4-38,0 0 235,0-3-167,0 3 192,0 0-185,0 0-31,-4 0-5,1 0 1,0 3-28,3-3 47,-4 4-29,1-4 30,0 3-68,-1-3 51,1 4-58,3-4 66,-3 0-56,-1 3-6,4-3-12,-3 0 4,3 0 10,-3 0 22,3 0 158,0 0-74,0 0 130,0 0-155,0 0 9,3 0 1,-3 0 1,0 0-2,-3 0-63,3 0 30,0 0-33,-4 0 39,1 0-45,-1 0 27,4 0-30,-3 0 36,3 0-41,-3 0-190,3 0 131,0 0-126,0 0 264,0 0 2,0 0 22,0 0-18,-4 0 41,4 0-60,0 0 57,-3 0-71,3 0 10,0 0-4,0 0-219,0 0 149,-3 0-175,3 3 200,0-3 1,0 4 0</inkml:trace>
  <inkml:trace contextRef="#ctx0" brushRef="#br0" timeOffset="79">18136 783 8858,'-3'-3'-236,"3"3"600,-3 0-293,3 0-16,-4 0-191,4 0 71,-3 0 46,0 0 29,-1 0 38,1 0-46,-4 0-17,4 3-6,-4-3 11,4 4-35,-4-4 15,0 3-69,1-3 70,-1 3-83,4-3 47,-1 4-95,-2-4 93,2 0 6,1 3 61,3-3 0,-3 0 0,3 4 0,0-4 0,0 3 0</inkml:trace>
  <inkml:trace contextRef="#ctx0" brushRef="#br0" timeOffset="80">18223 790 9502,'-3'-3'-807,"3"3"1145,0 0-230,-3 0 7,3-4-160,0 4 72,0 0-49,-4 0 81,4 0-51,0 0 60,-3 0-63,3 0 39,0 0-42,-3 0 58,-1 0-9,4 0 7,-3 0-10,3 0-4,-3 0 3,-1 0 3,1 0-1,-1 0 8,1 0-9,0 0 0,-1 0 5,1 0 3,0 0-1,-1 0 0,-2 0-48,2 4 30,1-4-30,0 0 45,-4 0-46,4 0-5,-1 0-15,-2 0-45,2 0 73,1 3-38,0-3 45,-1 0 8,1 0-17,-1 0 10,1 0 4,0 0-2,-1 0 3,1 0-9,0 0-9,-1 0 7,1 3-2,3-3 4,-3 0-10,-1 0 8,1 0-7,0 0-28,3 0 32,-4 0-32,1 0 18,3 0 11,-3 0-17,3 0 18,-4 0-11,1 0 7,3 0-9,-3 0 7,-1 0 45,4 0-31,-3 0 36,3 0-45,-3 0 17,-1 0-12,1 0 16,-1 0-43,1 0 26,0 0-25,-1 0 43,1 0-14,3 0 11,-7 0-14,4 0 21,0 0-15,-1 0 12,1 0-19,0 0-6,-4 0 4,4 0-1,-1 0 5,1 0 4,-4 0 2,4 0-3,0 0 15,-1 0-9,1 0 10,-1 0-10,1 0-11,0 0 4,-1 0-9,1 0-12,0 0 13,-1 0-14,1 0 20,0 0 4,-1 0-5,1 0 5,0 0-10,-1 0-22,1 0 12,-4 0-15,4 0 23,0 0 0,-1 0-2,1 0 0,0 4 23,-1-4-13,1 0 14,-1 0-28,1 0 5,0 0-5,-1 0 8,1 0-13,0 0 9,-1 0-9,1 0 14,0 0 6,3 0-4,-4 0 4,1 0-9,0 0-12,-1 0 7,4 3-8,-3-3-5,0 0 12,-1 0-15,1 0-8,0 0 17,3 0-19,-4 0 23,1 4-2,0-4 0,3 0-2,-4 0 1,1 0 37,3 0-29,-4 3 28,4-3-34,-3 0 19,0 0-13,3 0 17,0 0-22,-4 0 6,4 0-2,-3 0-7,3 0 9,-3 0-8,3 0 9,-4 0-14,1 0 11,3 0-13,-3 3 14,-1-3-12,1 0 7,3 0-12,-3 0 2,-1 0 4,1 0-5,3 0 10,-3 4 1,-1-4-2,1 0 2,3 0 0,-3 0-1,3 3 2,-7-3-2,7 0 5,-3 0-4,-1 3 5,4-3-6,-3 0 14,-1 0-10,4 0 12,-3 0-13,0 0-1,3 0 1,-4 0 0,1 0-13,3 0 11,-3 0-11,-1 0-5,4 0 12,-3 0-14,3 0 18,-3 0-16,3 0 11,-4 0-15,4 0 16,-3 4 3,0-4-1,3 0 1,-4 0-4,4 0 9,-3 0-7,3 0 10,-3 0-3,3 0-4,-4 0 7,4 0 1,-3 0-7,3 0 10,-3 0-12,3 0 6,-4 0-4,4 0 2,-3 0-2,3 0-2,0 0 2,-3 0-1,3 0 1,0 0-10,-4 0 7,4 0-7,0 0-55,0 0 47,-3 0-51,3 0-116,0 0 96,-4 0-142,4 0 142,0 0 0,0 0 1</inkml:trace>
  <inkml:trace contextRef="#ctx0" brushRef="#br0" timeOffset="81">17912 797 9502,'3'-7'-93,"1"7"50,-4-3-147,3 3 69,-3-4-136,0 4 151,0 0-72,0 4 142,0-4-7,-3 0 10,-1 3-26,4-3 43,-3 3-47,0 1 58,3-4-16,-4 0 14,1 3-11,3-3 18,0 0 0,-3 4 0,3-4 0,0 0 0,-4 3 0</inkml:trace>
  <inkml:trace contextRef="#ctx0" brushRef="#br0" timeOffset="82">18133 787 9502,'10'0'-812,"-7"3"672,4-3 140,-4 3 0,1 1 0</inkml:trace>
  <inkml:trace contextRef="#ctx0" brushRef="#br0" timeOffset="83">17714 824 9502,'10'0'-495,"-3"-4"107,0 4 159,0 0 137,-1 0 20,1-3 68,-4 3 3,1-3 44,-1 3-31,0-4 35,1 4-43,-4 0 69,3 0 117,-3-3-64,-3 3 76,3 0-161,-4 0 11,1 0-1,0 0-50,-1 3 1,1-3-8,0 0 12,-1 4-11,1-4 26,0 0-36,-1 3 30,1-3-70,3 0 5,-3 0-96,3 0 57,-4 3-165,4-3 171,0 0-93,0 0 164,4 0 10,-1 0-9,4 0 11,-1 0 26,-2 0-33,2 0 20,1 0-30,3-3 37,-3 3 18,-1-3 78,-2 3-28,2-4 57,-2 4-87,-1 0 53,1-3-82,-1 3 51,-3 0-50,0-3-9,3 3 6,-3 0-5,0 0 16,0-4-57,0 4 37,-3 0-52,3 0 63,-3 0-45,-1 0-10,1 0-11,-1 0-48,1 0 66,0 0-32,-1 4-22,4-4 57,-3 0-64,3 3 72,-3-3-32,3 3 22,0-3-35,0 0 7,0 0 6,0 0-10,3 0 27,0 0 14,1 0-9,2 0 13,1 0-18,0 0 3,0 0-1,-1-3 36,1 0-26,3-1 27,-3 4-34,-1-3 1,-2-1 0,-1 4 3,0-3 3,1 3 25,-1 0-19,-3 0 30,0 0-25,0 0 6,-3 0 20,-1 0-25,1 3 17,0 1-22,-1-4 16,-2 3-9,2-3 11,1 4-10,0-4 16,-1 0-7,4 3 10,-3-3-13,3 0-16,0 0-46,0 0 29,0 0-29,3 0 52,4 3 0,0-3 0</inkml:trace>
  <inkml:trace contextRef="#ctx0" brushRef="#br0" timeOffset="84">17661 824 8847,'3'-4'-398,"-3"4"447,0 0-15,0-3 18,4 3-23,-4 0 62,0 0-38,0-3 45,0 3-54,0 0 26,3 0-22,-3-4 25,0 4-25,0 0-69,0 0 53,0 0-51,0-3 18,0 3-12,0 0-11,0 0 0,0 0 44,0 0-66,0 0-6,-3 0-17,3 0 20,-4 0-16,1 3-7,0-3-17,3 4 18,-4-1 11,4 0 32,-3-3-35,3 0-24,0 4 52,0-4-7,0 0 34,3 0 21,1 0 9,-1 0-41,0 0 50,1 0-59,2-4 79,1 4 13,-4-3 15,1 3-9,-1-3-4,0 3-28,1-4 30,-1 4-47,-3 0-33,3 0-43,-3 0 24,0 0-87,0 0 100,0 4-45,0-4 42,-3 3-30,3 0 23,-3-3-19,3 4 47,-4-4 0,1 0 0,3 3 0</inkml:trace>
  <inkml:trace contextRef="#ctx0" brushRef="#br0" timeOffset="85">17611 850 9502,'0'-3'-1161,"0"3"1217,0-3-41,0 3 62,-4 0-89,4-4 32,0 4-36,-3 0 43,3 0-66,0-3 43,0 3-48,0-3 26,0 3 22,0 0-24,0 0 18,0-4 7,0 4-11,0-3 11,0 3 22,0 0-15,0-3 18,0 3-25,0-4 34,0 4-24,0 0 38,3-3-39,-3 3 14,0-3-15,4 3 10,-4 0-26,0-4 21,0 4-30,0 0 27,0 0-3,0 4 3,0-1 1,0 0-7,0 1 6,0-1-2,0 0 6,0 1-8,0 2-8,-4-2 5,4 2-45,-3-2-5,3-1-3,0 4 11,0-4-19,-3-3-13,3 3-32,0-3 28,0 0 20,0-3 80,3 0-50,-3-1 48,3 1 22,1 0 21,-4-4 9,3 4-19,-3-1-4,3-2-46,-3 6 66,4-4-69,-4 1 68,0 0-48,0 3 42,3 0-45,-6 0 5,3 0-72,-4 0 56,4 3-60,-3 0 12,0 1-21,-1 2-2,1-2 10,0 2-5,3-2 31,-4 2-41,1-2 36,0 2-35,3-2-34,0-1 10,0-3 15,0 4 57,0-4 13,0 3 0,3-3 0,-3 0 0,7-3 0,-4-1 0,0 4 0,1-7 0,-1 4 0,4 0 0,-4-4 0,-3 4 0,3-1 0,1 1 22,-4 0 33,0-1-21,3 1 32,-3 0 18,0-1 1,0 4 114,0 0-96,0 0 27,0 0-130,-3 4 28,3-1-29,-7 0-11,7 4-13,-7 0-6,4-1 2,0 1-17,-4 0 3,4 3-63,-1-3 48,1 3-39,-4-4 55,7 1-24,-3 3 28,3-7-28,-4 4 28,4-4-17,0-3 55,4 4 0,-1-4 0,1-4 0,-1 4 0,4-6 0,-4 2 0,4-2 0,-4-1 0,0 0 0,4 1 0,-7 2 0,3-2 0,-3 2 0,4 1 81,-4-4 11,0 7 78,0-3-9,0 3-18,0-4-60,0 4-9,0 4-40,-4-1 16,1 1-39,3 2-22,-3 1 6,-1-4 6,1 4-44,0 0 13,-1 3-103,1-4 24,0 1 1,-1 0-11,1-1 14,3 5 42,-3-5-12,-1 1 50,4-4-48,0 1 50,0-1-25,0 0 48,0 1 0,0-4 0,4 0 0,-1 0 0,0 0 0,1-4 0,-1 1 0,0 0 0,1-1 0,-1 1 0,0 0 61,-3-1 21,4 1 4,-4 3-19,3 0 27,-3-3-26,0 3 134,0 0-105,0 0 44,0 0-90,0 3-38,0 0-22,-3 4 5,-1-4 16,1 4-43,0 0 20,3-1-97,-7 4-30,4-3 14,3 3-73,-4-3 75,1 3 8,3-3 53,0-4 32,0 4 18,0-4 11,0 0 0,3-3 0,1 0 0,-1 0 0,0 0 0,1 0 23,-1-3-30,0 0 22,1-4 29,-1 7 32,-3-7-5,3 4 7,-3 0-31,4-1 33,-4 4-14,0-3 16,0 3 79,0 0-60,3 0 40,-3 0-76,-3 3-52,3 1-6,0-1-23,-4 4-4,4-4-56,-3 4 26,3-1-1,-3 4 3,-1-3 8,4 0-33,-3-1 6,3 1-9,-3 0 22,3 0-34,0-1 14,0-2-10,0-1 21,0 0 8,0 1-13,0-4 24,3 0 25,-3 0 1,3 0 22,-3 0-2,4 0 3,-1-4-5,-3 4 30,3-3 10,-3 0-12,4 3-1,-4-4 9,3 4 28,-3 0-4,0 0 9,0 0-33,0 0 5,0 0 3,0 4-5,0-1-12,0 0 8,0 4 4,0 0-68,0-1 50,-3 1-54,3 3 10,-4-3-15,4 3-13,-3-3 16,3-1-38,0 1-13,0 0-16,0-1 22,0-2 66,0-1 10,0-3 4,0 3 0,0-3 0,0-3 0,3 3 0,1-3 0,-1-1 0,-3 1 0,3 0 0,-3 3 0,0-4 0,4 1 0,-4 3 65,0-3 6,3 3 79,-3 0 6,0 0-50,0 0 9,0 0-129,0 3 54,0 0-52,0 1 7,0-1 33,0 0-28,0 1 42,-3 2-81,-1 1 9,4 0-89,-3-4 88,3 4-108,-3 0 73,3-4-114,-4 0 106,4 4 4,0-4 64,0-3 6,0 4 0,0-4 0,0 0 0,0 0 0,4 0 0,-4 0 0,3 0 0,-3 0 0,0 0 0,0 0 0,3-4 0,-3 4 46,0 0 129,0 0-31,0 0 59,0 0-149,4 4-14,-4-4-21,0 3 20,0 0-32,-4 1-14,4 2-3,0-2-64,-3-1 13,3 4-4,-3-1-3,3-2 30,-4 2 12,4-2-21,-3 3 20,3-4-23,0 0-37,0 1 16,0-1-12,0 0 99,0-3-49,0 4 50,0-4 16,0 3-45,0-3 54,0 0-19,3 0 20,-3 0 0,4 0 3,-4 0-25,0 0 0,0 0 24,3 0-12,-3 0 1,0 0-6,0 0-4,0 3 9,0 1-5,0-1 6,-3-3-39,3 3 16,-4 4-18,4-4-33,-3 1 40,3 2-43,-3 1 53,-1-4-41,4 4-14,-3-3 0,3-1 1,0 0 12,-3 1 8,3-1-14,0 0 10,0-3-32,0 4 14,3-4-20,-3 0 57,0 0-11,3 0 15,1 0 30,-1 0 16,-3 0 2,3-4-9,-3 4 16,4-3 19,-4 3 15,3 0-21,-3 0 21,0 0-45,0 0 47,3 0-45,-3 0-17,0 3 24,0 1-79,-3-1 57,3 4-59,-3-4 21,3 4-12,-4-1-13,1 1 16,3 0-26,-3-1-5,3-2-19,-4 3 19,4-4-19,0 0 48,0 1-55,0-1 61,0-3 4,0 3-2,0-3 2,4 0 1,-1 0-13,-3-3 12,3 0 15,1 3-17,-1-7 24,0 7-29,1-7 59,-4 4 10,3 3 11,-3 0-15,3-4 0,-3 4 17,0 0-1,0 0 72,0 4-101,0-4 65,0 3-90,0 4 28,0 0-24,-3-1-28,0 1 30,-1 3-37,1-3 53,0 3-58,3-4-13,-4 4-16,1-3 18,0 0-25,3 0 12,-4-4-65,4 0 44,0-3-70,0 4 87,0-8-44,0 4 92,0-3 9,4 0 0,-1-4 0,-3 4 0,3-1 0,-3 1 45,4-1-45,-4 4 39,3-3 10,-3 3 7,0 0 61,0 0-61,0 3 47,0 1-78,0-1 15,0 4-22,-3 0-23,3-1 40,-4 1-60,1 3 41,3-3-41,-3 3 43,-1 0-18,4-4 0,-3 5-8,3-5 3,-3 1-59,3 0 34,0-4-40,0 0 53,0 1-51,0-1 29,0-3-43,0 0 58,0 0-3,3 0 54,-3-3-39,0 3 38,0-4-47,3 4 71,-3-3 20,0 3 6,0 0 39,0 0-85,0 0 62,0 0-44,0 3 5,0 1-52,0-1 17,0 0-23,0 4-21,0 0 39,-3-1-41,3 1 44,-3 0-34,3 3-23,0-3 3,0-1-3,0 1 17,0-4 6,0 1-10,0-1 10,0 0-28,0-3-25,0 0 1,0 0 30,3-3 14,-3 0 27,3-4 15,-3 4 12,4-4 0,-1 4-8,-3-4 20,3 0 17,-3 4 12,4-4-17,-4 7 8,0-3 6,0 3 53,3-4-41,-3 4-39,0 4-18,0-1-16,-3 0 26,3 4-61,-4 0-19,1 0-9,0-1 18,-1 4-18,1 0-16,0-3-22,3 3 25,-4-3 7,1-1 42,3 1-50,-3-3 50,3 2-55,0-6 16,0 4-19,0-4 39,0-4 27,3 4 14,-3-6 0,3 2 0,1-3 0,-1 1 44,-3-1 4,3 4 3,1-4-25,-4 4 33,3-1 14,-3 1 19,0 0-21,3 3 13,-3-4-49,0 4 60,0 0-62,0 0-26,0 4 20,0 2-25,-3-2 33,3 2-70,-3 1-16,-1 0-16,4-1 8,-3 5 0,0-5-29,-1 1 13,4 3-37,-3-3 46,0-1-12,3-2 21,0 2 37,0-2 20,0-1 0,0-3 0,0 0 0,0 0 0,3 0 0,0-3 0,1-1 0,-1 1 0,0-4 0,4 1 0,-7 2 0,3-2 0,1-1 0,-1 4 90,-3-1-11,3 1 99,-3 0-46,0 3-11,0 0-42,4 0-17,-4 0-24,-4 3 19,4 4-57,-3-1 48,0 1-46,-1 3 62,1-3-95,0 3 22,-1 0-82,-2 0 49,6-3-54,-7-1 27,7 4-50,-3-6 1,-1 2-4,4-2 17,0-1 35,0-3 47,0 0 23,0 0 0,4-7 0,-1 4 0,0 0 0,1-4 0,-1 0 0,0 4 0,1-4 0,-1 4 0,-3 0 24,3-1 44,-3 1 39,4 3 50,-4-4 1,0 4-46,0 0-20,0 4-45,0-1-46,0 1 2,-4 2-6,4-2 8,-3 6-51,0-4 13,-1 1-96,1 0 49,0-1-25,-1 1 56,1 0-56,3-1 37,-3-2-1,3-1 14,0 1 55,0-1 0,0-3 0,0 0 0,0 0 0,3 0 0,0-3 0,1-1 0,-1 1 0,0-1 0,1-2 0,-1-1 0,-3 4 63,0-1 8,3 1 77,-3 0-32,0 3-11,4-4-32,-4 4-18,0 0-8,0 4-71,0-1 45,-4 0-43,1 4 64,3 0-72,-7-1 6,4 1-80,0 3 79,-1 0-125,1-3 54,0 0-42,-1 3 62,1-4 76,0 1 0,3 0 0,3-4 0,-3 0 0,3 1 0</inkml:trace>
  <inkml:trace contextRef="#ctx0" brushRef="#br0" timeOffset="86">17293 827 9502,'0'-3'-386,"3"3"429,-3-4 16,0 4-65,0 0-52,0 0 10,0 0-86,0-3 89,-3 3-40,-1 3 52,1-3-8,0 0-74,-4 4 66,0-4-75,4 3 78,-4 0-36,0-3 28,4 4-1,0-1 10,-1-3 45,1 3 0,3-3 0,-3 0 0,3 4 0,0-4 0,3 0 0,-3 0 0,3 0 0,1-4 2,-1 4-6,0-3 11,1 0-12,-1 3 95,0-4-26,1 1 82,-1 0-56,-3 3-22,0-4-22,3 4-16,-3 0 5,0 0 7,0-3-4,0 3 13,-3 0-59,0 0 50,-1 0-50,1 3 4,-4-3-18,4 0-5,0 4 15,-4-1-37,0-3-15,4 3-32,0-3-27,-1 4 35,1-4 12,0 0-3,3 0 68,-4 0-7,8 0 18,-4 0 0,3 0 0,-3 0 0,3 0 0,1 0 0,-4-4 18,3 4 28,-3-3-15,3 3 6,-3-3 5,0 3 12,4 0 15,-4 0 47,0-4-72,0 4 41,-4 0-58,4 0-6,-3 0 6,0 0-6,-1 0-22,-2 0 30,2 4-31,-2-4-13,2 3-17,-3-3-13,4 3 15,-4 1-29,4-4-10,3 3-16,-3-3 20,-1 3-20,4-3 66,0 0-56,0 0 75,0 0 0,4 0 0,-4 0 0,3 0 0,-3-3 0,0 0 0,3 3 0,-3 0 0,0-4 3,4 4 65,-4-3-33,0 3 37,0-3 8,0 3 1,0 0 20,0 0-16,0-4-7,-4 4-34,4 0 39,-3 0-94,3 0 51,-3-3-45,-1 3 7,1 0 33,0 3-40,-4-3 44,4 0-106,-1 4 27,1-1-103,0-3 101,-1 3-123,1 1 80,0-4-129,3 0 133,0 3 1,-4-3 80,4 0 40,0 0-44,4-3 36,-4 3 11,0-4-27,3 1 39,-3 3-22,0 0 40,0-3 24,0 3 40,0 0-35,0 0 9,-3 0-33,3 0-3,-4 0-7,1 0-62,3 0 55,-3 0-102,-4 0 36,3 3-12,1-3 2,0 3-9,-1 1-24,1-4 3,0 3 0,3-3 17,-4 3 13,1-3-21,3 4-191,0-4 151,0 0-115,0 0 161,3-4 51,-3 4-58,4 0 62,-4-3 10,0 0 8,0 3-8,0 0 92,0 0-47,0 0 89,0 0-108,0 0 0,-4-4-21,1 8 21,0-4-80,-1 0 37,1 0-46,0 3 62,-1 0-69,-2 1-17,2-4-13,1 3 17,-4 0-7,4-3-17,0 4-15,-1-4 16,1 3-4,-1-3 48,1 0-63,0 0 76,3 0-37,-4 0 31,4 0 39,-3 0-34,3 0 44,-3-3-58,3 3 38,0-4 13,-4 1 10,4 3-11,-3-3 9,3 3-33,-3-4 39,-1 4-41,4-3 19,-3 3-13,0-3 15,-1 3-5,4 0-2,-3 0 4,0 0-9,3-4 14,-4 4-10,1 0 10,0 0-21,3 0 6,-4 0-5,4 0 6,-3 0 12,3 0-9,-3 0 11,-1 0-12,4 0 14,0 0 33,0 0-20,-3 0-28,3 0-51,0 0-6,3 0 11,-3 0 40,0-3 43,0 3-38,0 0 37,-3 0-35,3 0 1,-4 0 4,1 0 31,3 0-20,-3 0 23,-1 0-17,4 0-45,-3 0 31,3 0-30,-3 0-10,3 0 29,0 3-37,0-3 24,-4 0-35,4 0 17,0 0-16,4 0 29,-4 0 7,3 0-8,4 0 7,-4 0-10,7 0 4,0-3-5,0 3-9,0 0 14,4 0-16,-4 0 63,3 0-34,1 0 37,-4 0-44,3 0-48,-3 0 34,-3 0-36,3 0 48,-4 3-64,1-3 46,0 4-49,-4-1 69,1 0 2,-1-3 7,0 4 0,-3-1 0,4 0 0</inkml:trace>
  <inkml:trace contextRef="#ctx0" brushRef="#br0" timeOffset="87">17564 830 9502,'0'0'-963,"0"-3"933,0 3 125,0 0-29,0 0-26,0-3 36,0 3-40,0 0-12,0 0 6,0 0-11,0-4 34,0 4 36,0 0 20,3 0-15,-3 0-16,0 0-46,0 4 28,0-4-23,0 3 15,0 0-22,0-3 47,0 4-33,0-1 39,0 0-34,0 1-7,0-1 9,3-3-4,-3 7-32,0-4 27,0 0-28,0 1-11,0-1 27,0 0-24,0 1 35,0-1-41,4 1-16,-4 2-11,0-2 13,0-1-1,0 0 28,0 1-35,0 2 47,0-2-17,0 2 15,0-2-17,0 2 26,0-2-19,0 2 19,0-2 5,0 2-18,0 1 26,0-3-29,0 2 54,0 1-39,0-4 41,0 4-47,3 0 51,-3-4-34,0 0 35,3 4-88,-3-4 31,0 1-34,0 2 51,0-2-68,0-1 49,0 0-55,4 1 11,-4-1 32,0 1-34,0-1 38,0 0-11,0 1-1,0-1-5,0 0-1,0 4 48,0-4-39,0 1 38,0 2-38,0-2-3,0 2 8,0-2-7,0 2 27,0 1-14,0-3 14,0 2-2,3 1 5,-3-4 0,0 4-1,0-4 13,0 4-17,0-4 20,0 1-25,0 2-17,0-6 14,0 7-13,0-4 23,0 1-49,0-1 39,0 0-41,0 1 6,0-1 23,0 1-34,0 2 24,0-2 5,0-1-8,0 4 9,0-4-1,0 4-4,0-4 2,0 0 1,0 4 2,0 0-1,0-4 2,0 4 0,0-4 13,0 4-8,0 0 10,0-4 18,0 4-20,0-1 20,0-2-28,0-1 1,0 4 0,0-4 2,0 4-15,0-4 10,0 0-10,0 4 15,0-4-17,0 1 12,0 2-14,0-2 15,0-1-13,0 1 9,0-1-14,0 0 15,0 1-6,0 2 4,0-2-4,0-1 7,0 4-3,-3-4 4,3 0 3,0 4-5,0-4 6,0 1-7,0 2 22,0-2-15,0-1 16,0 0-20,0 4 26,0-3-18,0-1 16,0 4-29,0-4 3,0 4-1,0-4 9,0 4-10,0-4 9,-4 4-9,4-4-9,0 4 12,0-4-14,0 0 17,0 4-16,0-4 12,0 1-15,0-1 15,0 4 11,0-4-8,0 4 12,0-4 1,-3 1-10,3-1 12,0 4 10,0-4-19,-3 4 20,3-4-23,0 0-1,0 4 1,0-4 2,0 1 3,0 2 1,0-2 1,0-1-3,0 4-22,0-4 16,0 1-19,0 2 4,0-2 10,0 2-13,0 1 18,0-4 6,0 4-7,0 0 6,0-1-9,0 1 50,0 3-36,0-3 38,0-4-46,0 7 34,0-3-22,0-4 26,0 4-26,0 0-2,0-4 8,0 4-5,0-4-39,0 4 26,0-4-28,0 0-27,0 1 47,0-1-51,-4 1 54,4-1-19,0 0 6,0 1-11,0 2 13,0-2 7,0 2-11,0 1 9,0 0 2,0-4-3,0 7 6,0-3 29,0-1-25,0 1 27,0 0-31,0 0 14,-3-1-7,3 1 10,0 0-12,0-4 20,0 4-13,0-4 16,0 0-21,0-3 27,0 4-19,0-4 18,0 3-20,0-3-12,0 3 9,0 1-8,0-4 9,0 3 3,0 1-2,0-1-50,0 0 36,0 1-43,0 2 53,0 1-51,0-4-8,3 4-11,-3 0 15,0-1 71,0 1-21,0 0 21,0 3-33,0-3 53,0-1-37,0 1 46,0 0-43,0-1-3,0 1 6,0-4-4,0 4-5,0 0 9,0-4-6,0 4-12,0-4 10,0 0-9,0 1 14,0 3-23,0-4 15,0 0-25,0 4 15,0-4 3,0 4-5,0 0 6,0-4-16,0 4 10,0 3-12,0-4 17,0 1-3,0 3 2,0-3-3,0 3 23,0 0-15,0 0 15,4 0-19,-4-3 47,3 6-33,-3-6 36,0 0-45,3 3 16,-3-4-10,0 1 15,0 0-56,0-4 34,0 0-31,0 1 24,0-1 11,0-3-13,0 3 14,0 1-29,0-1 16,0-3-20,-3 3 17,3 1 11,0-4-14,0 3 13,-3 0-4,3 4 1,0-3 4,0-1 4,0 0-5,0 4 6,0 0-7,0-4 3,0 4-2,0-4 3,0 4-3,0-1 0,0 1 0,0-4 1,0 4-2,0-4 27,0 4-19,0-3 20,0-1-33,0 4 6,0-4-6,0 0 2,-4-3 6,4 4-7,0-1 8,0-3-5,0 3 3,0 1-4,0-1 3,0 0 13,-3-3-11,3 4 10,0-1-14,0 0 3,0 4-1,0-4 1,0 4 1,0-4-1,0 1 1,-3 3-4,3-1 5,0-2-5,0 2 5,0 1 14,0-4-10,0 4 10,0 0-14,0-4-6,-4 4 4,4-1-3,0-2 4,0 2 0,0-2 0,-3-1 1,3 4 1,0-4-3,0 1 1,0-1-1,0 0-5,0 1 5,-3-1-4,3 0-1,0 1 5,0-1-7,-4 0 7,4 1-3,0-4 2,0 6 0,0-2 0,0-1-12,-3 0 8,3 1-9,0-1 12,0 1 0,0-1 0,0 0 1,0 4-1,0-4-1,0 1 2,0 2 26,0-2-19,0-1 21,0 4-27,0-4 1,0 0-1,0 1 2,0 2 0,0-2-4,0-1 3,0 0-1,0 1 2,0-1-5,0 1 3,0-1-6,0 0 13,0 1-6,0-4 6,0 3-9,0 0 27,0 1-20,0-4 21,-3 3-15,3 0-6,0 1 8,0-4-8,0 3 9,0 0-7,0 1 10,0-1-10,0-3-12,0 3 8,0 1 2,0-1 5,0-3 10,0 3-12,0 1-8,0-1 3,0 4-6,0-4 9,0 1-14,0-1 10,0 0-10,0 1 12,0-1-10,0 0 6,0 1-7,0-1 1,-4 0 7,4-3-8,0 4 7,0-1 6,0-3-4,0 3 6,0-3 27,0 4-23,0-1 25,0-3-34,0 3-6,0-3 7,0 4-6,0-1 11,0 0-23,0 1 18,0-1-16,0 0 3,0 1 11,0-1-12,0 1 3,0-1 7,0 4-7,0-4 6,0 0 58,4 1-43,-4-1 43,0 0-57,0 1 15,0-1-8,0 0 11,0 1-8,3-1 4,-3-3 3,0 3-1,0 1-17,0-1 7,3 0-9,-3-3-28,0 4-9,0-4-5,0 0-259,0 0-26,0 0-269,0 0-1,0 3 1</inkml:trace>
  <inkml:trace contextRef="#ctx0" brushRef="#br0" timeOffset="88">17306 850 8847,'0'-3'-492,"0"3"492,0-3 0,3 3 0,-3-4 0,0 4 0,4 0 0,-4-3 0,0 3 0,0-3 0,3 3 0,-3 0 0,0-4 0,3 4 0,-3 0-12,0-3 72,0 3-47,4 0 56,-4 0-54,0-3-3,0 3-8,0 0 32,0 0-21,0 0-3,0 0 0,-4 0-29,4 0 29,-3 0-50,0 0 36,-1 0-36,1 3-25,-4-3-20,4 3-2,0-3 16,-1 4 67,1-4 2,3 3 0,-7 0 0</inkml:trace>
  <inkml:trace contextRef="#ctx0" brushRef="#br0" timeOffset="89">17276 844 9502,'3'-7'-866,"-3"7"831,0-3 40,0 3 5,0-4-4,0 4 4,0 0-16,0 0 8,0 0-9,-3 0 11,-1 0-8,1 0 6,0 0-7,-1 4 8,-2-4-50,-1 6-14,0-2-2,4-1-34,-4 4 84,1-4-33,2 0 46,1 1 0,0-1 0,-1 0 0</inkml:trace>
  <inkml:trace contextRef="#ctx0" brushRef="#br0" timeOffset="90">17658 830 8658,'-4'4'174,"4"-4"-84,0 0-12,0 0-16,0 3-21,0-3 25,0 0-16,0 0 19,0 0-44,0 3 19,0-3-13,0 0 21,0 0-18,0 4 9,0-4-14,0 3 3,0-3 13,0 3-13,0 1 14,0-1-24,0 0 13,0 1-17,0 2 24,0-2-17,0-1 13,0 4-13,0 0 10,0-1 24,0-2-18,0 2 19,0 1-34,0-4 6,0 4-7,0-4-18,0 4 21,0-4-21,0 1 27,0 2-29,0-2 20,0 3-21,0-4 27,0 0-30,0 1 20,0 2-28,0-2 31,0-1 23,0 0-17,0 1 18,0 2-28,0-2 0,0-1 1,4 0 7,-4 1-3,0-1 6,0 4-6,0-4 7,0 0-6,0 1 9,3-1-17,-3 1 2,0-1-5,0-3 3,0 3-21,0 1 20,0-1-24,0 0 9,0 1 10,0-1-12,0 0 18,0 1-19,0-1 12,0 0-15,0 1 12,0-1-16,0 0 9,0 1-10,0 2 43,0-2-17,0-1 17,0 1-26,0-1 35,0 4-23,-3-4 26,3 0-16,0 1-11,0-1 12,0 0-10,0 1-35,0-4 28,0 3-27,0 0 34,0 1 0,0-4-1,0 0 2,0 3-26,0-3 0,0 3-10,0-3 11,0 0-15,0 4 23,0-4-29,0 3 19,-4-3 1,4 3-4,0-3 9,0 4-10,0-4 8,0 3-9,0-3 9,0 3 0,0 1-2,-3-4 0,3 3 2,0-3 11,0 4-8,0-1 9,0-3-12,0 3 31,0-3-20,-4 4 22,4-4 21,0 0-37,0 3 41,0-3-43,0 0 0,0 0 5,0 3-6,0-3-2,0 0 5,0 0-5,0 4 6,0-4-30,0 0 20,0 3-25,0-3 9,0 0 13,0 3-15,0-3 14,0 4-38,0-4 20,0 0-23,0 3 4,0-3 26,0 3-27,0-3 30,0 4 9,-3-4-7,3 3 5,0-3-11,0 3 40,0-3-27,0 4 31,0-4-12,0 0-16,0 3 18,0-3-19,0 3 5,0-3 1,0 0 3,0 4-13,0-4 2,0 3-1,0-3 5,0 3-14,0-3 10,0 4-15,0-4 18,0 3-16,0 1 11,-3-4-14,3 3 24,0-3-2,0 3 3,0-3-4,0 0 19,0 4-19,0-4 20,0 0-7,0 3-11,0-3 16,0 0-18,0 3-10,0-3 8,0 0-6,0 0-1,0 4-1,0-4-3,0 0 4,0 3-11,0-3 14,0 3-17,0-3 18,0 4 11,0-4-10,0 3 9,0-3-10,0 3-2,0 1 5,0-4-4,0 3 32,0-3-20,0 3 22,0-3-25,0 0-8,0 4 8,0-4-6,0 3 17,0-3-10,0 3 11,0-3-13,0 0 5,0 4-4,0-4 3,0 0 45,0 0-33,0 3 34,0-3-44,0 3-11,0-3 13,0 0-11,0 0 18,0 4-29,0-4 22,3 3-24,-3-3 28,0 0-12,0 4 8,0-4-24,0 3 16,3 0-8,-3-3 9,0 4-3,0-4-2,4 3-2,-4-3 5,0 3-6,3 1 6,-3-1-6,0-3 7,0 3-4,0 1 3,4-1-2,-4-3-9,0 3 9,0 1-12,0-1 34,0-3-13,0 3 15,3 1-17,-3-1-13,0 0 6,0 1-5,0-4 7,0 3 0,0 0 0,0 1 0,0-1 1,0 1-2,0-1 1,0 0 1,0 4 20,0-4-15,0 1 15,0-1-24,3 0 21,-3 4-12,0-4 15,0 1-17,0-1-1,0 0 2,0 1 0,0-1-27,0 0 19,0 1-21,0-1 28,0 0-39,0 1-10,0-4-8,-3 3-3,3 1 36,0-1-4,0-3 4,0 7 7,0-7-11,0 3 8,-3 0 35,3 1-24,0-1 30,0-3-39,0 3 24,0 1-17,0-1 24,-4 0-26,4 1 6,0-1-5,0 0 8,0-3-15,0 4 11,0 2-12,0-6 15,0 4-4,0-1 3,0 0-4,0 1 4,0-1-2,0 1 1,0-1-4,0 0-6,0 1 5,0-4-3,0 3-1,0 0 4,0 1-5,0-1 7,0-3-8,0 3 6,0 1-7,0-1 4,0-3 1,0 3-1,0 1-1,0-1 2,0 0-3,0 1 2,0-1 1,0 0-16,0 1 12,0-1-11,0 0 2,0 1 11,-3-1-13,3 1 14,0-1 5,0 0-4,0 4 5,0-4 19,0 4-20,0-4 22,0 1-28,0 2 6,0-2-2,0-1 4,0 0-2,0 4-27,0-4 23,0 1-24,0-1-1,0 0 19,0 1-24,0-1 28,0 4-11,0-4 8,0 1-12,0-1 12,0 0-8,0 1 5,-4-1-7,4 0 22,0 1-14,0 2 15,0-2-16,0-1 16,0 0-9,0 4 10,0-4-11,0 1 3,0 2-1,0-2 4,0 3 25,0-4-22,0 4 24,0-4-30,0 0 3,0 4-1,0-4 2,0 4-44,0-4 30,0 1-32,0-1 42,0 0-75,0 1 53,0-1-61,0 4 63,0-4 1,0 1-6,0-1 2,0 4 9,0-4-13,-3 0 12,3 4 27,0 0-24,0-4 27,0 4-36,-3-1 42,3-2-28,0 2 36,0 1-41,0 0 33,0-4-24,0 4 28,0-4-24,0 4 2,0-4-1,0 4 0,0-4-4,0 1 4,0-1-2,0 0-1,0 1 1,0-1-2,0 0 2,0 1-1,0-1 1,0 0 0,0 1-1,0-4 0,0 3 0,0 0 0,0 1 1,0 3 0,0-4 1,0 0 52,-4 4-39,4-4 43,0 1-54,0 2 6,0-2-1,0-1 3,0 0-3,0 1-2,0-1 1,0 0 4,0 1 2,0-4-26,0 3 20,0 0-24,0 1 27,0-4-43,0 3-14,0 0-1,0 1-34,0-1 69,0 1-37,0-1 39,0 0 11,-3-3-9,3 7 9,0-4-14,0 1-5,0-1 2,0 0-1,0 1 8,0 2-1,0-2 4,0-1 2,0 4 26,0-1-15,0-2 17,0 2-7,0 1-17,0-3 19,0 2-23,0-2 22,3 2-15,-3 1 18,0 0-27,4-4 9,-4 4-7,0-4 10,3 4-33,-3-1 25,0-2-26,0 2 29,0 1-40,0-3 24,0-1-28,0 4 41,0-4-3,0 4 1,0-4-6,0 0 14,0 4-9,0-4 11,0 4-6,0-4-7,0 4 8,0-4-5,0 1-15,0 2 16,0-2-14,0 3 19,0-4-14,0 4 9,0-4-12,0 4-38,0-4 29,0 7-33,0-7 28,0 4 12,0 0-16,0-1 18,0 1 14,0 0-11,0 0 10,-3-1-15,3 1 32,0 0-22,0-1 28,0-2-34,0 2 43,0-2-31,0-1 42,0 0 9,0 1-26,0 2 32,3-2-62,-3-4 7,0 3-6,0 4 13,0-4-21,0 1 14,0-4-17,3 3 23,-3 4-39,0-7 26,0 6-33,0-6 38,4 4-26,-4-1 17,0 0-23,0-3 33,0 4-11,0-1 9,0 0 2,0 1 2,0-4 2,0 3-2,0 0 7,0 1-11,0-1 13,0 0-15,0 4 29,0-3-20,0-1 22,0 0 9,0 1-21,0 2 24,0-2-30,0-1-22,0 0 17,0 1-14,0 2 11,0-2 6,0-1-7,0 0 7,0 1-1,0-1 0,0 0-3,0 1 0,0-1-5,0 0 0,0-3-1,0 4 7,0-1-1,0 1 4,0-1-11,0 0 6,0 1-6,0-1 9,0 0-30,0 1 21,0-1-22,-4 0 26,4 1 8,0 2-9,0-2 7,-3-1-10,3 4 25,0-4-19,0 0 19,0 1 20,0-1 11,0 0 5,0 1-23,0 3-26,0-4-9,0 0 18,0-3-27,0 4 23,0-1-23,0 0 26,0-3-31,0 4 22,3-1-23,-3 0 26,0-3-12,4 4 3,-4-1-5,0 0 0,0 1-9,0-1-2,3-3-1,-3 7 11,0-4 5,0-3-2,0 7 4,0-4-4,0 0 3,0 1-3,0-4-51,0 3-15,0 1 0,0-4 9,0 3-454,0 0 382,0-3-378,0 4 509,4-4 0,-4 0 0</inkml:trace>
  <inkml:trace contextRef="#ctx0" brushRef="#br0" timeOffset="91">17309 840 8747,'4'-3'389,"-8"3"-778,4 0 406,-3 0-21,3 0-31,-3 3 39,-1-3-42,1 4 52,0-4-78,-1 3 9,1 0-72,0 1 71,-1-1 11,1-3 44,-1 3 1,1 1 0,0-1 0</inkml:trace>
  <inkml:trace contextRef="#ctx0" brushRef="#br0" timeOffset="92">16864 847 9502,'0'0'-173,"0"-3"235,0 3 133,0 0-88,0 0-59,0 0 52,0 0-55,3 0 67,-3 0-53,0 0 28,4 0-31,-4 0-12,3 3-21,0-3 3,1 3-8,-4 1 7,3-1-27,0 0-1,-3 1-14,4-1 39,-1 0-22,0 1 0,1-1 0</inkml:trace>
  <inkml:trace contextRef="#ctx0" brushRef="#br0" timeOffset="93">17155 854 9502,'4'0'-888,"-1"0"658,0 0 171,1 0 1,2 0 94,-2 0-26,2 0-23,4 0 15,-3-4-16,0 4 13,3 0 4,0 0-4,-3-3-12,3 3 11,-4 0-12,-2 0 14,2-3 0,-2 3 0</inkml:trace>
  <inkml:trace contextRef="#ctx0" brushRef="#br0" timeOffset="94">17246 844 9502,'-7'0'-235,"7"0"68,-3 0 82,3 0 44,-4 0 36,4 0-22,-3 0 73,3 0-27,-3 3 33,3-3-57,-4 0-14,1 3-2,0 1 9,-1-4-46,4 3 17,-6-3-88,6 0 92,-4 3-94,1-3 67,3 4-106,-4-4 99,4 0 7,0 0 59,-3 0 5,3 0 0,0 0 9,0 0-20,-3 0 5,3 0 76,0 0-19,0 0 108,0 0-70,-4 0 34,4 0-55,-3 0 4,3 0-11,0 0-90,-3-4 73,-1 4-72,4 0 31,-3 0 21,3 0-37,-3 0-27,-1 0 35,1 0-43,0 0 45,3 0-31,-4 4-31,1-4 14,3 3-9,-3-3 15,-1 0-26,1 3 11,0-3-4,3 0 45,-4 4-14,4-4 43,-3 0-32,0 0 33,3 0-37,0 0 49,-4 0-36,1 0 38,3 0-40,0 0 21,-4 0-5,4 0 9,-3 0-6,3 0 22,0 0-10,-3-4 14,3 4 8,-4 0-29,4 0 31,-3 0-36,0-3 3,3 3-3,0 0 2,-4 0-37,1 0 29,0 0-30,3 0 38,-4 0-43,1 0-12,0 0-2,-1 0 2,4 0 46,-3 0-3,0 0 6,-1 3 0,4-3 0,-3 0 0,0 0 0,3 0 0,-4 0 0,1-3 0,0 3 0,3 0 0,-4 0 0,1 0 0,-1 0 39,1 0-30,0-3 30,-4 3-30,4 0 16,-1 0-7,1 0 14,0 0-37,-4 0 18,4 0-15,-1 0-35,1 0-14,0 0-5,-1 0 10,1 0 48,0 0-2,3 0 0,-4 0 0</inkml:trace>
  <inkml:trace contextRef="#ctx0" brushRef="#br0" timeOffset="95">16985 847 9502,'-10'0'-916,"3"0"987,3 0 190,-2 0-159,2 0-42,1 0-62,0 0 17,-4 3 43,0-3 13,4 0-14,0 4 16,-1-4-104,-2 0 22,2 0-67,1 3 52,0-3 24,-4 0 0,3 3 0</inkml:trace>
  <inkml:trace contextRef="#ctx0" brushRef="#br0" timeOffset="96">17356 860 9502,'-3'0'-1075,"-1"0"1003,4 0 72,0 4 0,0-4 0,-3 0 0,6 0 0,-3 0 0,0 0 0,0-4 0,4 4 0,-4 0 0,3 0 0,-3 0 0,0-3 0,4 3 0,-4 0 0,0 0 0,0 0 0,3 0 0,-3 0 0,0 0 0,0 0 0,0 0 0,3 0 0,-3-3 0,0 3 0,0 0 0,0 0 0,0 0-69,4 0 52,-4 0-15,0 0 42,0 0 31,3 0 26,-3-4-34,0 4 40,0 0 71,0 0 282,0 0-176,0 0 149,0-3-354,-3 3-19,3 0 42,-4 0-25,4 0 25,0 0-29,-3 0-10,3 0 9,-3 0-4,3 3 10,-4-3-21,4 0 13,-3 0-18,-1 0-16,1 4 31,3-4-32,-3 0 36,-1 0-65,1 0 42,0 3-53,-1-3 58,-2 0-52,2 0 30,1 0-30,-4 3 29,4-3 13,-4 0-16,4 0 31,0 4-17,-1-4 17,-2 0-18,2 0-6,-3 0 8,4 0-7,0 0 11,-1 0-21,1 0 14,0 3-13,-1-3 18,1 0-4,3 0 3,-3 0-4,-1 0 13,1 0-8,0 0 8,-1 0-11,1 0 4,0 0-3,-1 0 4,1 0-6,3 0 5,-7 0-5,4 0 7,0 0-14,-1 0 11,4 0-10,-3 0 10,-1 0-21,-2 0 13,2 0-16,1 0 4,3 0 11,-7 0-12,4 0 14,0 0-22,-1 0 15,1 0-18,3 0 22,-3 3-4,-1-3 3,1 0-3,0 0 33,-1 0-24,4 0 24,-3 0-29,0 0 1,-1 0 1,1 0 1,3 0 1,-3 0-4,-1 0 6,1 0-2,-1 0-2,1 0 4,3 0-5,-3 0 32,-1 0-19,1 0 20,0 0-28,3 0 11,-4 0-8,1 0 9,0 0-10,3 0-10,-4 0 9,1 0-7,0 0 10,-1 0-9,4 0 8,-3 0-8,0 0-12,-1 0 14,1 0-17,3 0 13,-3 0 12,-1 0-16,4 0 15,-3 0 24,0 0-22,-1 0 28,4 0-34,-3 0-2,-1 0 2,1 0-1,0 0-20,3 0 20,-4 4-20,1-4 25,0 0-20,-1 0 13,4 0-13,-3 0-24,0 0 27,3 0-33,-4 0 39,1 0-22,0 0 15,-1 0-18,4 0 19,-3 0 12,0 0-8,-1 0 12,4 0 15,-3 0-23,0 3 26,-1-3-29,4 0 6,-3 0-1,0 0 3,-1 0-2,1 0-1,-1 0 2,1 0 2,3 0-52,-3 0 37,-1 0-40,4 0 44,-3 0 1,3 0-4,-3 0 3,3 0 25,-4 0-19,4 0 21,-3 0-29,3 0 18,-3 0-10,3 0 13,0 0-16,0 4 6,-4-4-4,4 0 12,0 0-31,-3 0 23,3 0-23,0 0 22,-3 0-23,3 0 14,0 0-17,-4 0 19,4 3 0,-3-3-4,3 0 3,-3 0-30,3 0 23,0 0-21,-4 0-49,4 0-20,0 0-66,-3 0 1,3 0 8,0 0 0</inkml:trace>
  <inkml:trace contextRef="#ctx0" brushRef="#br0" timeOffset="97">17363 870 9502,'0'-3'-1147,"0"3"1147,0-3 0,0 3-19,0 0 68,0-4-46,3 4 62,-3 0-24,0-3-13,0 3 16,0 0-44,0 0 17,0 0-43,0 0 4,0-3 8,4 3-1,-4 0-1,0 0 23,0 0-45,3 0 75,-3 0-39,0 0 37,0 3-26,0-3-6,0 0 10,0 0-7,3 0 50,-3 3-37,0-3 41,0 0-49,0 4 63,0-4-46,0 0 51,4 0-18,-4 3 21,0-3-3,0 0 4,0 0 17,0 3-30,0-3 37,0 0-54,0 0-6,0 0 16,0 0-8,0 4-15,0-4 6,0 0-20,0 0 25,3 0-52,-3 3 36,0-3-43,0 0 21,0 0 14,0 0-13,0 0 12,0 4-17,0-4 4,0 0-13,0 3-7,0-3 28,0 3-27,0-3 32,0 0-37,0 4 25,0-4-31,0 0 36,0 3-9,0-3 7,0 3-6,0-3 24,0 4-14,0-4 16,0 0-5,0 3-11,0 0 11,0-3-16,0 4 31,0-1-19,0-3 24,0 3-28,0 1 31,0-4-24,0 3 28,0-3-23,0 3-1,0 1 4,0-4-7,0 3-59,0-3 43,0 3-43,0-3 2,0 4 37,0-1-42,0-3 47,0 3-19,0 1 7,0-4-11,0 3 5,0 1-17,0-1 5,0-3-10,0 3 63,0 1-27,3-4 29,-3 3-39,0 0 40,0 1-27,0-4 36,0 3-53,0 0 14,0 1-11,0-4 15,0 3-18,0-3 19,0 3-18,0-3 22,0 4-41,0-1 27,0-3-31,0 3 29,0-3 2,0 4-10,0-1 6,0 0 14,0 1-9,0-4 15,0 3 8,0 0-16,0 1 19,0-1-23,0 1 8,0-1-2,-3 0 4,3 1-3,0-1-10,0 0 8,0 1-7,0-1-9,0 0 10,0 1-13,0-1 16,0 0-27,0 1 20,0-1-21,0 0 2,0 1 15,0-1-16,0 0 17,0 1-11,-3-1 6,3 4-9,0-4 12,0 1-7,0-1 6,-4 4-6,4-1 5,0-2-2,0-1 2,0 4-2,0-4 29,0 0-20,0 4 20,0-4-3,0 1-15,0-1 18,0 0-21,0 1 37,0-1-26,0 1 31,0-1-38,0 4-6,0-7 5,0 3-3,0 0-16,0 1 21,0-1-22,0 0 23,0 1 1,0-4-2,0 3 3,0 0-26,0 1 16,0-1-18,0 0 21,0 1-11,0-1 7,0 0-9,0 4 9,0-4 16,0 4-11,0-3 14,4 2 43,-4 1-41,0-4 43,0 4-55,0-4-9,0 4 10,0 0-9,0-4 1,0 0 6,0 1-4,0 2 8,0-6-35,0 4 24,0-1-28,0 0 37,0 1-47,0-1 33,0 1-42,0-1 40,0 0-2,0 1-5,0-1 8,0 0 19,0 1-13,0-1 17,0 0-9,0 4-7,0-4 8,0 1-8,0-1 48,0 4-30,0-1 34,0-2-38,0-1-17,0 0 16,0 4-12,0-3 13,0-1-30,0 0 21,0 1-23,0-1 0,0 0 18,0 1-22,0-1 26,0 0-19,0-3 12,0 4-16,0-1 14,0-3-4,0 3 2,0 1-1,0-1 12,0 0-8,0 1 8,0-1-8,0 0-2,0 1 2,0 2-1,0-2-1,0-1 2,-4 4-2,4-4 3,0 4 35,0-4-26,0 4 28,0-4-34,0 1 56,0 2-41,0-2 47,0-1-65,0 0 14,0 1-11,0-1 18,0 0-40,0 1 31,0-1-30,0 0-5,0 1 24,0-1-29,0 4-4,0-4 28,-3 1-30,3-1 30,0 0-5,0 4 0,0-4-5,0 1 8,0-1 5,0 0-3,0 4 6,0-4 4,0 1-7,0 2 8,0-2-9,0-1 25,0 4-16,0-4 17,0 1-22,0-1 0,0 4 1,0-4 0,0 4-8,0-4 6,0 0-6,0 1 7,0 2-8,0-2 5,0-1-7,0 0 4,0 4 1,0-4-3,0 1 3,0 2 0,0-2 0,0 3 1,0-1-1,-3-2 1,3 2 0,0-2 0,0 2 4,0 1-3,0 0 4,0-1-5,0 1 13,0 0-8,0-1 9,0 1-7,0 0-3,0 0 4,3-1-5,-3 1 22,0-4-15,0 4 16,0-4-24,0 1 3,0-1-2,3 0 6,-3 1-68,0-1 50,0 0-55,0 1 66,0-1-44,0 1-15,0-4-1,0 3-56,0 0 86,-3 1-55,3-1 61,0 0-6,0 1 3,0 2-6,0-2 58,0-1-45,0 4 47,0-1-57,0-2 29,0 2-15,0 1 21,0 0-16,0 0 31,0-4 1,0 7 108,0-7 104,0 4 171,0 0 205,0-4 167,0 4 182,0-4 202,0 4 177,0-4 101,0 0-16,0 1-51,0-1-159,0 0 45,0 1-241,-3-1-25,3 1-352,0 2-224,0-6-187,-4 7-138,4-4 1,0 4 0</inkml:trace>
  <inkml:trace contextRef="#ctx0" brushRef="#br0" timeOffset="98">17363 877 8355,'0'-3'0,"0"3"0,0 0 0,0 0 0,-3-4 0</inkml:trace>
  <inkml:trace contextRef="#ctx0" brushRef="#br1" timeOffset="99">17554 891 8355,'-4'0'113,"4"0"-69,0 0 138,0 0-96,0 0-51,0 0 29,-3 0-60,3-4 24,0 4-14,0 0-12,-3 0 14,3 0-18,0 0 5,0 0 6,0 0-7,0 0 10,-4 0-1,4 0-2,-3 0 0,3 0 1,-3 0-8,3 0 5,0 0-6,-4 0-5,4 0 10,-3 0-11,3 0 15,-3 0-6,-1 0 4,4 0-5,0 0 8,-3 0-4,0 0 5,3 0-7,-4 0 0,4 0 0,-3 0-1,-1 4 2,4-4 17,-3 0-12,3 0 13,-3 0-8,3 0-6,0 0 7,-4 0-6,4 0 7,-3 0-5,3 0 4,0 0-20,0 0 10,-3 0-8,3 0 12,0 0-18,-4 0 12,4 0-15,0 0 19,-3 0-19,3 0 13,0 0-17,-3 0 26,3 3-8,-4-3 7,4 0-9,0 0 9,-3 0-8,3 0 8,-3 0 16,3 0-17,0 0 21,0 0-25,-4 0 10,4 0-7,-3 0 8,3 0-7,-3 0-2,3 0 1,-4 0-1,4 0-8,0 0 9,0 0-9,-3 0 9,3 0-6,0 0 3,-3 0-3,3 3-4,0-3 7,-4 0-9,4 0 9,0 0-10,-3 0 7,3 0-8,-3 0 9,3 0-9,0 0 6,-4 0-7,4 0 3,0 0 3,-3 0-4,3 0 4,0 0-1,0 0-1,-4 0 0,4 0 3,0 0 0,0 0-1,-3 0 1,3 0 1,0 0-1,-3 0 2,3 0-2,0 0 1,-4 0 0,4 0 0,0 0-1,0 0 5,0 0-3,-3 0 2,3 0-3,0 0 22,0 0-15,-3 0 16,3 0 1,0 0-16,-4 0 19,4 0-23,0 0 3,0 0-2,0 0 5,-3 0-8,3 0 8,0 0-7,0 0 0,-3 0 3,3 0-4,0 0 5,0 0-39,0 0 27,-4 0-31,4 0 39,0 0-41,-3 0-9,3 0-8,0 0-71,0 0 50,0 0-71,-3 0 64,3 0-34,0 0 3,0 0 27,0 0 4,-4 0 72,4 0 0,0 0 0</inkml:trace>
  <inkml:trace contextRef="#ctx0" brushRef="#br1" timeOffset="100">17550 904 9502,'-6'-3'-900,"6"3"770,0 0 82,-4 0 97,4 0-66,-3-4 32,0 4-40,3 0 47,0 0 45,-4 0-31,1 0 35,3 0-44,-3 0 56,3 0-39,-4 0 46,4 0-56,-3 0 41,0 0-30,3 0 34,-4 0-70,4 0 33,-3 0-31,-1 0 5,1 0 18,3 0-21,-3 0 34,3 0-74,-4 0 53,4 0-66,-3 0 72,3 0-60,0 0 45,-3 0-53,-1 0 57,4 0-8,0 0 4,-3 4-4,3-4 3,-3 0-6,3 0 6,-4 0 7,4 0-7,0 0 9,-3 0-8,3 3-10,-3-3 8,3 0-7,-4 0 8,4 0-19,-3 3 15,3-3-17,-3 0 21,3 0-33,-4 0 21,4 0-26,-3 0 42,3 0-10,-3 0 10,3 4-14,0-4 24,-4 0-18,4 0 19,-3 0-27,3 0 6,-3 0-5,3 0 7,-4 0-12,4 0 12,-3 0-11,3 0 15,0 0-30,-4 0 20,4 0-21,-3 0 4,3 0 15,0 0-19,-3 0 20,3 0 30,-4 0-22,4 0 26,0 0-32,-3 0 1,3 0 0,0 0 1,-3 0-16,-1 0 14,4 0-13,0 0 16,-3 0-11,3 0 9,-3 0-9,3 0-61,-4 0 50,4 0-57,-3 0-57,3 0 22,0 0-110,-3 0 126,3 0 18,0 0 70,0-4 0,-4 4 0</inkml:trace>
  <inkml:trace contextRef="#ctx0" brushRef="#br0" timeOffset="101">17651 907 9502,'0'7'-1140,"0"-7"1191,0 3 1,-4 1 200,4-1-191,0 0-30,0 1-74,-3-1 20,3-3 4,0 3 39,-3 4-44,3-4-18,-4 1-17,4 3-9,-3-1 16,0-2-10,3 2 50,0 1-56,-4-4 68,4 4 0,-3 0 0</inkml:trace>
  <inkml:trace contextRef="#ctx0" brushRef="#br0" timeOffset="102">17644 994 9195,'3'4'-111,"-3"-1"241,0-3-11,0 3-66,0 1 2,0-4 2,0 6 6,0-2-82,0-1-14,0 4-16,0-4 17,-3 4 13,3 0-11,-3-4-116,-1 7 35,1-7-50,0 4 99,-1 0-134,4-4 78,-3 0-49,3 1 85,0-1 82,0 0 0,-3 1 0</inkml:trace>
  <inkml:trace contextRef="#ctx0" brushRef="#br0" timeOffset="103">17641 1075 9502,'0'3'-728,"-4"-3"1064,4 3-71,0-3-160,0 0-25,0 0-50,0 4-56,0-4 31,0 3-4,0 0 8,0-3-12,0 4-19,-3-1-3,3 1 13,0-1 17,-3 4-20,3-1-6,-4 1-131,4-4 85,-3 7-109,3-6 71,0 2-36,0 1 28,-3-4-69,3 4 69,0-4 34,3-3 6,-3 4 50,0-4 37,3 0 5,-3 0 20,4 0 17,-1 0-28,-3 0 0,0 0 16,3 0-6,-3 0 53,4 0-22,-4 0 89,0 0-113,0 0 39,0 0-48,0 3-30,-4 1-21,4-1 30,-3 4-40,3-4 3,-3 0-21,3 1 2,-4 2 2,1-2-27,3-1-26,0 0 1,0 1 5,-3-1 2,3 0 33,0-3-44,0 4 72,0-4 11,3 0 12,-3 0 0,0 0 0,3 0 0,-3 0 0,4 0-9,-4 0-5,0 0 2,0 0 0,3 0 50,-3 3 15,0-3-8,0 3 6,0 1-12,0-4 31,0 6-10,0-2 4,0-1-22,-3 1-5,3-1-26,0 0 11,0 1-33,0-1 41,0 0-46,0 1-8,0-1-7,0 0 7,0 1-23,0-4-18,0 3-15,0 0 21,0 1-25,0-4 59,0 3-52,0-3 71,0 3 6,0-3 0,0 4 0,0-1 0,0 0 0</inkml:trace>
  <inkml:trace contextRef="#ctx0" brushRef="#br1" timeOffset="104">17560 1088 8985,'-3'0'-496,"3"0"450,0 0 95,0 0-15,0 0 29,0 0 1,0 0-16,-3 0 79,3 0-78,0 0 50,0 0-65,-4 0 27,4 0 8,0 0 2,0 0-26,0 0-8,-3 0-12,3 0 20,0 0-40,0 0 27,-3 0-35,3 0 26,0 0 6,0 0-8,0 0-36,-4 0 35,4 0-44,0 0 50,-3 0-30,3 0 22,-3 0-21,3 0 22,-4 0-21,4 0 14,-3 0-17,0 0 21,3 0-27,-4 0 20,4 0-23,-3 0 4,0-3 12,3 3-15,-4 0 13,1 0 6,-1 0-8,4 0 8,-3 0-8,3 0 6,-3 0-10,3 0 10,-4 0 6,1 0-5,3 0 8,-3 0 0,-1 0-5,4 0 6,-3 0-8,3 0 18,-3 0-12,-1 0 13,4 0-1,0 0-12,-3 0 13,0 0-14,3 0 0,0 0-1,-4 0 4,4 0-1,-3 0-7,3 0 5,-3 0-8,3 0-1,0 0-1,-4 0-3,4 0 4,0 0-2,-3 0 6,3 0-8,0 0-4,-3 0 7,3 0-9,-4 0 12,4 0-15,0 0 10,-3 0-11,3 0 13,-3 0-1,3 0-1,-4 0-1,4 0 1,-3 0-9,3 0 4,0 0-6,-4 0 11,4 0 0,-3 0 0,3 0 12,0 0-10,-3 0 11,3 0-13,-4 0 3,4 0-2,-3 0 3,3 0-2,0 0-1,-3 0 1,3 0 0,-4 0 1,4 0-18,0 0 13,0 0-13,0 0 1,-3 0 11,3 0-15,0 0 20,0 0-5,-3 0 4,3 0-5,0 0 8,0 0-8,-4 0 7,4 0-6,0 0 8,-3 0-5,3 0 6,0 3-8,0-3 2,0 0-151,0 0-35,0 0-150,-3 0 0</inkml:trace>
  <inkml:trace contextRef="#ctx0" brushRef="#br1" timeOffset="105">17560 1098 9502,'-3'-3'-1140,"0"3"1200,-1 0-3,1 0 218,3 0-103,-3 0-24,3-4-51,-4 4-21,1 0-60,0 0 51,3 0-51,-4 0 34,4 0 12,-3 0-22,0 0 28,3-3-70,-4 3 48,4 0-54,-3 0 67,0 0-66,3 0 45,-4 0-49,1 0 17,-1 0 24,4 0-29,-3 0 24,0 0-23,-1 0 17,1 0-20,3 0 14,-3 0 10,-1 0-15,1 0 17,0 3 6,-1-3-4,1 0 3,0 0-7,3 0-17,-7 0 12,7 0-11,-3 0-19,-1 0 25,1 4-28,0-4 33,-1 0-37,4 0 26,-3 0-31,0 0 12,-1 0 13,4 0-16,-3 0 18,3 0 22,0 0-19,-4 0 18,4 0-23,0 0 10,-3 0-7,3 0 7,0 0-4,-3 0-6,3 0 7,-4 0-7,4 0-5,0 0 7,-3 0-8,3 0-35,-3 0 34,3 0-36,-4 0 42,4 3-47,0-3-16,-3 0 0,3 0 2,-3 0-114,3 0 22,0 0-97,-4 0 135,4 0 59,-3 0 56,3 0 0,0 0 0</inkml:trace>
  <inkml:trace contextRef="#ctx0" brushRef="#br0" timeOffset="106">17641 1657 9061,'-4'0'-486,"4"0"450,0 0 45,-3 0-11,3 0 15,0 0-12,0 0-4,-3 4 5,3-4-6,0 3 8,-4 0-4,4-3 5,-3 4-7,3-4-50,0 3 36,-3 0-37,3-3 49,0 4-78,0-4 57,0 0-63,0-4 71,0 1 21,3 0-24,-3-4 32,3 0-23,1-3 60,-1 4 21,0-1-11,-3 0 3,4 0-18,-1 1 35,-3 2-11,0-2 18,0 2-23,0 4 38,0-3-58,0 3 33,0 0-81,-3 0 50,-1 0-79,1 3 55,0 1-58,-1-1 64,1 0-31,-4 1 13,4 2-15,0-2 13,3-1-47,-4 4 23,1-4-31,3 1 34,-3-4-41,3 3 2,0-3-13,0 0 30,0-3 41,3-1-14,-3-3 13,7-3-18,-7 0 26,6 0-19,-2 0 19,-1-3-22,-3 3 11,3-4-4,1 4 7,-4 0-3,0 0-50,0 4 38,0-1-39,0 0 34,0 7 6,0-3-9,-4 3 26,1 0-14,3 3 10,-3-3-14,-1 4 41,1-1 11,3 4 4,-3-4-10,3 4 19,0-4 15,-4 0 14,4-3-18,0 4-33,0-1-14,0-3 13,0 0-73,0-3-15,0-4-6,0 4 15,4-7 1,-4 3-12,3 0-21,0-3-2,-3 0 57,4 0-9,-4 0 37,3 3-18,-3-3 5,0 4-15,3-1 59,-3 4 23,0-1 8,0 1-17,0 0-6,0 3 11,0-4 18,0 4-18,0 0-3,-3 0-29,3 0 35,0 0-81,0 0 45,-3 0-46,3 0-6,-4 0-16,4 0-6,0 0 15,-3 0 2,3-3 33,-3 3-47,3 0 50,0-3-71,-4 3 50,4-4-58,0 1 63,0-1 1,-3 1-7,3 0 11,0-1-22,0-2 62,0 2-41,0 1 46,0-4-47,0 4 56,0 0-32,0-1 59,0 1-26,0-4-13,0 7 14,0-3-21,0 0-4,0 3 9,0-4-10,0 4 12,0 0-3,0-3 6,0 3-8,0 0-26,-3-3 21,3 3-20,0 0-23,0 0-14,0 0-3,0-4 9,0 4-12,-4-3 2,4 3-24,0-4 9,0 4 35,0-3-5,0 0 3,0 3 32,0-4-32,0 1 29,0 0-38,0-1 99,0 1-23,4 0 85,-4-1-70,3 1 37,-3 0-6,3-4-26,-3 4-54,4-1-30,-4 1-37,3-4 57,0 1 0,-3 2 0</inkml:trace>
  <inkml:trace contextRef="#ctx0" brushRef="#br1" timeOffset="107">17564 1289 8692,'0'0'172,"-4"-3"-63,4 3-30,0 0-8,0 0-21,-3 0 12,3 0-2,0 0 5,0 0-1,0 0-5,-3 0 0,3 0-1,-4 0-35,4 0 23,0 0-23,-3 3-10,0-3 27,3 0-30,0 0 39,-4 0-38,1 0 25,0 0-29,3 0 25,-4 0-61,1 0 40,0 0-70,-1 0 77,4 0-16,-3 0 12,0 0 7,-1 3-36,1-3 26,-1 0-29,1 0 24,0 0 0,3 0-1,-4 0 5,1 0-21,0 0 16,-1 0-18,4 0 21,-3 0-9,0 0 6,-1 0-11,4 0-12,-3 0 12,3 0-13,-3 0 21,3 0-14,0 0 9,-4 4-11,4-4 12,-3 0 1,3 0-3,-3 0 1,3 0 12,0 0-8,-4 0 10,4 0-10,0 0-1,-3 0 2,3 0-1,-3 0-1,3 0 2,-4 0 0,4 0-14,-3 0 9,3 3-10,0-3 13,-3 0-24,3 0 18,-4 0-21,4 0 24,0 0-19,-3 0 13,3 0-15,0 0 29,0 0-10,-4 0 9,4 0-13,0 0 34,0 0-24,-3 0 26,3 0-18,0 0-9,0 0 13,-3 0-15,3 0 23,-4 0-16,4 0 21,0 0-23,-3 3 0,3-3 0,0 0-1,-3 0-7,3 0 9,-4 0-10,4 0 11,0 0-11,0 0 8,-3 0-10,3 0 2,0 0 3,0 0-4,-3 0 5,3 0-33,0 0 20,0 0-46,0 0 47,0 0-50,-4 0 44,4 0-26,0 0-19,0 0-10,-3 4-9,3-4 12,0 0 39,0 0 6,0 0-13,-3 0-84,3 0 3,0 0-6,-4 0 54,4 0 73,0 0 0,0 0 0</inkml:trace>
  <inkml:trace contextRef="#ctx0" brushRef="#br1" timeOffset="108">17567 1306 9502,'-3'0'-176,"-1"0"171,4 0-49,0 0 102,-3 0-26,3 0 63,0 0-21,-3 0 33,3 0-72,-4 0 51,4 0-60,-3 0 66,3 0-5,-3 0 11,3 0-8,-4 0 5,1 0-7,0 0-16,3 0-21,-4 0 22,1 0-18,0 0 38,-1 0-68,1 3 39,0-3-42,-4 0 60,3 0-52,-2 0 38,2 3-43,-2-3-10,2 0-13,-2 0-10,2 4-18,-2-4 67,2 0-31,1 0 33,-4 3-30,4-3 24,0 0-24,-1 3 25,1-3-41,-4 0 28,4 0-27,3 0 36,-4 4-18,1-4 13,0 0-13,-1 0 3,1 0 8,3 0-9,-3 0-17,-1 3 19,4-3-24,0 0 27,-3 0-39,3 0 29,0 0-521,0 0 293,0 0-292,0 0 411,-3 0 106,3 0 0,-4 4 0</inkml:trace>
  <inkml:trace contextRef="#ctx0" brushRef="#br0" timeOffset="109">17644 1383 9502,'3'0'-656,"1"3"442,-4-3 94,0 3 26,3-3-5,-3 0 31,0 4 14,0-4 54,0 3-5,0-3 8,0 3 18,0 1-17,0-1 18,0-3 40,0 4-49,0-1 45,0-3-64,-3 3 68,3 1 22,0-1 20,0-3-23,0 0-37,0 0-5,0 3-51,0-3 39,0 0-52,3 0 11,-3 4-11,0-4-11,0 0-24,0 3 54,0-3-20,0 3 18,0 1 7,0-1-14,0 0 11,0 1-8,0 2 17,0-2-11,0 2 12,-3-2-10,3 2-30,0-2 21,0-1-21,-4 4-5,4-7 25,0 3-28,0 1 49,0-4-14,0 3 12,0-3-19,0 0 24,4 3-19,-4-3 21,0 0-23,0 0 24,0 4-16,0-4 18,0 3-16,0-3 58,0 3-34,0-3 39,0 4-53,0-1-5,0 0 8,0 1-56,0-4 43,0 3-44,0 0 53,0 1-64,-4-1-18,4 0-3,0 1 5,0-4 68,0 3-4,0 0 8,0 1-1,0-4 1,0 3 0,0 1 19,0-1-24,0-3 14,0 3-21,0 1 40,0-4-20,0 3 23,0-3-26,0 3-17,0-3 21,0 4-16,0-1 17,0 0-13,0-3 9,0 4-11,0-1 6,0 0 8,0-3-7,0 4 5,-3-1 64,3 0 18,0 1 4,0-1 51,0 4-51,0-7 18,0 3-22,0 4-69,0-7 8,0 3-3,0 1 18,0-1-42,0 0-25,0 1 2,0-1 9,0 0-36,0-3 17,0 4-90,0-4 31,0 3 21,0-3 18,0 3-31,0-3 59,0 4-71,0-4 72,0 0 22,0 3-14,0 0 25,0-3-36,0 4 60,0-4 20,0 3 9,0 0-16,0 1-13,0-4 7,0 3 20,0 0-67,0-3-36,0 4-13,0-1 23,0 0-14,0-3-10,0 4-8,0-1 13,0 1 51,-3-1 0,3 0 0</inkml:trace>
  <inkml:trace contextRef="#ctx0" brushRef="#br0" timeOffset="110">17641 1738 9502,'-4'3'-375,"4"0"90,-3 1 133,3-1 81,0 0 42,-3 1 36,3-1 33,0 0-17,-4 1 9,4-1-15,0 4 18,-3-4-60,3 0 42,0 1-45,0-1-12,0 1-16,0-1-6,0 0 9,0-3 61,0 4-8,3-1 0,-3 0 0</inkml:trace>
  <inkml:trace contextRef="#ctx0" brushRef="#br0" timeOffset="111">17644 1825 9502,'0'6'-48,"0"-6"3,0 4 122,0-1-194,0 0 85,0 1-133,0-1 92,0 0-2,0 1-5,0 3 23,0-4-112,0 0 151,0 4-98,-3-4 116,3 4 0,-4 0 0</inkml:trace>
  <inkml:trace contextRef="#ctx0" brushRef="#br0" timeOffset="112">17644 1912 9502,'0'3'-7,"0"0"0,0 1 98,0-1-173,3 0 71,-3-3-151,0 4 149,0-1-110,0 1 99,0-4-117,0 3 104,0 0-110,0 1 77,0-1-110,-3 0 111,3-3 14,0 4 55,0-1 0,-3 4 0</inkml:trace>
  <inkml:trace contextRef="#ctx0" brushRef="#br0" timeOffset="113">17634 1969 9502,'-7'0'-829,"4"3"952,3 0 238,-3 1-102,-1 2-288,4-2 27,-3 2-173,3-2 94,-3 2-4,3 1 20,-4 0-43,4-4 1,-3 4-9,3-4 31,0 1-54,0 2 123,-3-2-54,3-4 70,0 3 0,3 0 0,-3 1 0,3-4 0,1 0 0,-1 0 0,0 3 0,1-3 0</inkml:trace>
  <inkml:trace contextRef="#ctx0" brushRef="#br0" timeOffset="114">17647 1989 9502,'0'3'-881,"-3"0"1051,3-3-93,0 4-12,0-4-67,0 3 74,0-3-75,0 3-16,0 1-12,0-4 20,0 3-2,0 1-10,0-4-11,0 6 12,0-6-25,0 4-17,0-1-8,0 0 13,0 1 65,-3-1-6,3 0 0,0 1 0</inkml:trace>
  <inkml:trace contextRef="#ctx0" brushRef="#br0" timeOffset="115">17366 2046 20841,'0'13'1284,"0"-6"-778,0-1 260,0 1-340,0 0-178,0-4 7,0 4-139,0 3 55,0-3-122,0-1 14,0 1-50,0 3 16,0-7-28,0 4 7,0 0-58,0-1 6,0 1-55,0-3 25,0-1-64,0 4 9,0-4-45,0 0 5,0 1 27,0-1-15,0 4 48,0-4 10,-3 0 86,3 1 94,0-1 79,0 4 65,0-1-23,0-2-33,-3 2-3,3 1-117,0 0-7,0 0-241,0-4 88,0 4-234,0-1 121,0 1-69,0 0 19,0-1 136,0-2-51,0 2 183,0-2-96,0-1 219,0 0-110,-4 4 187,4-3-112,0-1 56,0 0 17,0 1 28,0-1 77,-3 0 28,3-3 81,0 4-147,0-1 165,-4 0-176,4 1 13,0-1-57,0 0-176,-3-3-73,3 4-108,0 2 49,0-2-192,0-1 87,0 0-177,0 4-44,-3-4 75,3 4-99,0-3 127,0 2-73,0 1 199,0-4-81,0 4 234,0 0-99,0-1 166,0 1-36,0-4 66,0 4 33,0 0 8,0-1 71,0 1 16,0 0 40,0 0 39,0 3 12,0-4 25,0-2-42,0 6-79,0-4-112,0-2-136,0 2-86,0 1-80,0 0-35,0-4-44,0 4-35,3 0 19,-3-4-43,0 0 66,0 4 44,0-4 63,0 1 106,0 2 54,0-2 98,0 2 51,0-2 111,0 2 15,0-2 5,0 3-12,0-1-69,0-2 131,0 2 36,0 1 201,0-4 1,-3 4 3,3 0-152,0-4-116,0 4-213,0-1-195,0-2-170,0 2-238,0-2-35,0 3-50,0-4 139,0 4 112,0-4 169,0 4 51,0-4 76,0 4 32,0-4 43,0 0-47,0 1 61,0 2-104,0-2 106,0-1-21,0 0 52,0 1 6,0 2-3,0-6 63,0 7-33,0-3 114,0-1-106,0 0 41,0 1 16,0-1 58,0-3 205,0 3-19,0 1 277,-4-4-230,4 3 308,0-3-199,0 0-36,0 3 49,0-3-494,0 0 131,0 4-518,0-4 260,0 0-332,0 3 226,0-3-101,0 3-73,0-3 263,0 4-101,0-1 231,0-3-14,0 3 13,0 1-83,0-1 13,0-3-74,0 3-83,0-3-221,0 4 389,0-4-50,4 0 560,-4-4 0,3 1 1</inkml:trace>
  <inkml:trace contextRef="#ctx0" brushRef="#br0" timeOffset="116">17617 2059 9502,'-6'7'-204,"6"-4"72,-4 0 106,4 1-92,-3 2 42,3 1-125,0-3 84,-3 2 55,3 1 24,0 0-20,0-4 5,0 4-27,0-4 34,0 4 44,0-4 2,0 0 0,0 1 0,3-4 0,0 0 0,1 3 0,-1-3 0</inkml:trace>
  <inkml:trace contextRef="#ctx0" brushRef="#br0" timeOffset="117">17644 2062 9502,'-3'7'-190,"3"-4"125,0 1 29,0-4-34,0 3 91,0 0-60,0 1 98,0-1-49,0 1 59,0-1-89,0-3 11,0 3-84,0 1-17,0-1 32,0 0-48,0-3 91,0 4-62,0-1 28,0 0-40,3 1 1,-3-4 53,0 3 4,0-3 9,0 3 78,0-3-62,0 4 59,3-4-69,-3 0 77,0 0-48,0 0 55,0 3-55,0-3 41,0 0 38,0 3-15,0-3 71,0 4-106,0-1 64,0 0-48,0-3-2,0 7 7,0-4-10,0 1-41,0-1 30,0 1-27,0-1 31,0 0-48,0 1 29,0-1-35,0 0 22,4 1 15,-4-1-16,3 0 12,-3-3-37,4 4-22,-4-4 6,3 3-24,-3-3 63,0 0-27,0 0 36,3 0-15,-3 0 13,0 0 28,0 0 13,0 3 4,0-3-10,0 4 11,0-4 10,0 3 35,-3 0-30,3 1-10,0-1-32,-3 0 44,3 1-31,0 2 36,0-2-39,-4 3-45,4-4 32,0 4-35,0-4 49,0 4-53,0-4-18,0 0-10,0 4 17,0-4-2,0 1-9,0 2-15,0-6-26,0 4 54,0-1-17,0 0-9,0 1 35,0-4-39,-3 3 40,3 0-4,0-3 0,0 0 2,0 4 31,0-4-24,0 0 29,0 3-33,0-3 21,0 4 11,0-4-2,0 3 46,0-3-16,0 3 11,0 1-13,0-1-14,0 0-15,0 4 23,0-4-28,0 4 18,0 0-7,0-1 6,0 1 3,0-4-5,0 7 5,0-3-4,0 0-13,0 0-8,0-1 0,0 1-20,0-4 27,0 4-17,0-4 18,0 1-16,0-1 9,0 0-11,0 1 15,-4-4-10,4 0 5,0 3-58,0-3 42,0 0-75,0 3 71,0-3-26,0 0 40,0 4-2,0-4-1,0 3 58,0 0-49,0 1 52,0-1-60,0 1 53,0 2-36,0 1 40,0 0-44,0-1 16,0 4-1,0-3 6,0 3 16,0 0-20,0-3 25,0 3-26,0-3-16,0-1 7,0 4-8,0-3-35,0 0-11,-3 3-5,3-4 7,0 1 3,0 0-19,0 0 1,0-4-2,0 4 56,0-4-21,0 4 16,0-4 28,0 4 16,0-4 1,3 4 47,-3-4-24,4 4 4,-4-1-4,0 1-21,0 0-23,0 3 24,0 0-38,0 0 0,-4 0 0</inkml:trace>
  <inkml:trace contextRef="#ctx0" brushRef="#br1" timeOffset="118">17550 2093 8262,'-3'0'485,"3"0"-329,0 0 306,0 3-406,-3-3-50,3 0-24,0 0 25,0 0-58,0 0 23,0 0 28,0 0-43,-4 0 52,4 0-12,0 0 9,0 0 57,-3 0-40,3 0 47,0 0-60,0 0 21,-3 0-14,3 0 21,0 0-36,0-3 19,-4 3-16,4 0-35,0 0 37,-3 0-43,3 0 53,-3 0-65,3 0 46,-4 0-59,4 0 68,-3 0-68,3 0 47,-3 0-55,3 0 61,-4 0-24,1-4 17,3 4-15,-4 0 21,4 0-7,-3 0 4,3 0 11,-3 0-13,3 0 15,0 0-15,-4 0 34,4 0-23,-3 0 26,3 0-27,0 0 14,-3 0-7,3 0 9,-4 0-5,4 0-8,-3 0 9,3 0-10,0 0 2,-3 0-2,3 0 2,-4 0-11,4 0 9,0 0-9,0 0 10,-3 0-17,3 0 10,0 0-11,0 0 14,-3 0 0,3 0-1,0 0-1,0 0 10,0 0-6,-4 0 5,4 0-7,0 0 7,-3 0-5,3 0 6,0 0 1,-3 0-5,3 0 6,0 0-6,-4 0-24,4 0 18,0 0-19,0 0 23,-3 0 0,3 0-2,0 0 2,0 0 4,-3 0-4,3 0 4,0 0-6,0 0 33,-4 0-23,4 0 25,0 0 6,0 0-25,-3 0 28,3 0-32,-3 4-9,3-4 11,0 0-5,-4 0 6,4 0-27,-3 0 17,3 0-21,0 0 29,-4 0-19,4 0 13,-3 0-18,3 0 1,0 0 5,-3 0-7,3 0 13,-4 0 2,4 0-3,-3 0 1,3 0 7,0 0-5,-3 0 6,3 0-7,0 0 7,-4 0-5,4 0 8,0 0-4,-3 0-1,3 0 1,0 0-2,0 0 6,-3 0-4,3 0 5,0 0-9,0 0 1,-4 0 0,4 0 1,0 0-21,-3 0 14,3 0-16,0 0 5,0 0 9,0 0-9,0 0 10,-3 0-76,3 0 119,0 0-100,0 0 160,0 0-80,0 3 30,3-3-17,-3 0-22,0 0 17,0 0-25,0 0 14,0 3-18,0-3 9,0 0-12,0 0 25,0 0-4,0 0 3,0 4-2,0-4-8,0 3 6,0-3-4,0 0-7,0 0 7,0 3-6,0-3 9,-3 4-12,3-4 11,0 3-10,0-3-11,0 3 14,0 1-19,0-4 15,0 3 6,0-3-6,0 3 6,0 1 22,0-4-19,0 3 20,0-3-24,0 3 3,0 1-2,0-4 4,-4 3-2,4-3-12,0 3 10,0-3-9,0 4 24,0-1-8,0-3 8,0 3-13,0-3 0,0 0 0,0 4 0,0-4 5,0 3-4,0-3 6,0 0-6,0 4-14,0-4 11,0 3-11,0-3 14,0 3-33,0-3 24,0 4-27,0-4 24,0 0 2,0 0-4,0 3 3,0-3 3,0 0-5,0 3 4,0-3-1,0 0 1,0 4 1,0-4-2,0 0-30,0 0 22,0 0-21,0 3 28,0-3-20,0 0 13,0 3-17,0-3 25,0 0-7,0 4 7,0-4-26,0 0 13,0 3-15,0-3 18,0 0-24,0 0 18,0 0-20,-3 3 24,3-3 1,0 0-2,0 0-4,0 0 31,0 0-29,0 4 53,0-4-51,0 0 30,0 0-23,0 0 10,0 0-17,0 3 10,0-3-21,0 0 18,0 0-15,0 0 29,0 0-22,0 3 62,0-3-45,0 0 79,0 0-61,0 0 30,0 4-47,0-4 1,0 0 9,0 0 19,0 3-3,0-3 53,0 0-12,0 0 9,0 0-11,0 0-76,0 0 32,3 0-32,-3 0-9,0 0 27,0 0-30,4 0 38,-4 0-20,0 3 12,3-3-20,-3 0 21,3 0 5,-3 0-3,4 0 2,-1-3-7,-3 3-7,3 0 6,1 0 0,-1 0-4,-3 0 8,3 0-7,1 0-9,-1 0 10,-3 0-11,3 0 15,1 0-27,-4 0 19,3 0-24,1 0 28,-4 0-12,3 0 8,0 0-10,-3 0 10,4 0-3,-1 0 3,-3 0-2,3 0 2,-3 0-2,0 0 3,4 0 2,-4 0-2,3 0 3,-3 0-4,3 0 21,1 0-16,-4 0 17,0 0-20,3 0 18,-3 0-12,3 0 15,-3 0-18,4 0 10,-4 0-6,3 0 9,-3 0-24,3 0 12,-3 0-11,0 0 13,4 0-10,-4 0 8,3 0-10,-3 0-48,0 0 38,3 0-42,-3 0 49,0 0-61,4 0 38,-4 0-43,0 0 65,0 0-1,3 0-2,-3 0-7,3 0 29,-3 0-20,0 0 23,4 0 6,-4 0-25,3 0 26,-3 0-27,4 0 7,-4 0 2,0 0 2,3 0 3,-3 0-4,0 0 7,3 0-6,-3 0 3,0 0-7,4 0 4,-4 0-4,3 0-2,-3 0 2,0 0-2,3 0-2,-3 0 4,0 0-3,4 0 2,-4 0-15,0 0 12,0 0-13,3 0 16,-3 0-17,0 0 10,0 0-11,3 0 13,-3 0 6,0 0-8,0 0-7,4 0 4,-4 0-31,0 0 27,0 0-16,0 0-1,0 0 15,0 0-15,3 0 19,-3 0 19,0 0-15,0 0 20,0 0-22,3 0 3,-3 0 26,0 0-24,0 0 29,0 0-31,0 0 10,4 0-5,-4 0 0,0 0 0,0 0-1,3 0 1,-3 0 1,0 0 16,0 0-13,0 0 13,0 0-12,0 0-3,3 0 4,-3 0-1,0 0-2,0 0 5,4 0-4,-4 0-21,0 0 15,0 0-33,0 0 32,0 0-10,0 0 12,0 3 52,3-3-38,-3 0 39,0 0-51,0 0 18,0 0-12,0 0 23,0 4-15,0-4 8,0 0 0,0 0 190,0 0-141,0 0 146,0 0-192,0-4-22,0 4 10,0 0-16,0-3 12,0 3-17,0-3 8,0 3-10,0-4 17,0 1 5,0 3-5,0-3-3,0 3 2,0-4-2,0 4 6,0-3-9,0 3 7,0-3-6,0 3 6,0-4-6,0 4 2,0-3-4,0 0-8,0 3 12,0 0-12,0-4 4,0 1 5,0 3-7,0-3 7,0 3-3,0-4 3,0 4-3,0-3 3,0 0-1,0 3 0,0 0 0,0-4 1,0 4 0,0-3 0,0 3 0,0-4 0,0 4 0,0 0 0,0-3 0,0 3-8,-3-3 5,3 3-5,0-4-18,0 4 18,0-3-20,0 3 25,0-3 4,0 3-4,0 0 1,0-4-2,0 4 6,0 0-4,0-3 5,0 3 2,0 0-8,0-3 9,0 3-10,0-4 5,0 4-1,-4-3 2,4 3 1,0 0-27,0-3 21,0 3-22,0-4 15,0 4 5,0-3-9,0 3 10,0-3 5,0 3-3,0-4 3,0 4 4,0 0-9,0-3 9,0 3-10,0 0 4,0-3-2,0 3 3,0-4-16,0 4 9,0 0-6,0 0 11,0-3-51,-3 3 36,3 0-52,0 0 63,0 0-7,0-3 13,0 3 0,0 0 0</inkml:trace>
  <inkml:trace contextRef="#ctx0" brushRef="#br0" timeOffset="119">17621 2123 9502,'-7'6'-203,"7"1"214,-3-4-144,3 1 48,0 2-117,-4 1 102,4-4 13,-3 4-8,3-3 31,0 2 16,0-2 15,0-1 31,0 0-93,0 1 79,0-4-43,0 0 53,0 0-35,0 0 29,3 0-25,1 0 37,-4 0 0,3-4 0,-3 1 0,3 3 0,-3-3 0,4 3 0,-4 0 0,0 0 76,0-4-50,3 8 53,-3-4-7,0 3-50,-3 0 56,3 1-64,0-1 29,-4 4-19,4-4 23,-3 4-22,3-4-15,-3 7 9,3-7-11,0 4 20,0-4-23,0 4 16,0-3-26,0-1-33,0 4-20,0-7-2,0 3-119,0-3 135,0 0-94,0 0 102,0-3 46,0 3-41,0-4 49,0 1 22,0 3-34,0-3 41,0 3 131,0 0-116,0 0 169,0 0-179,0 3 2,0 0-6,0 1-81,-4 2 61,4-2-58,-3-1-11,3 4 51,-3-4-64,3 4 26,0-4-21,0 0 4,-4 1-4,4-1-5,0 0-31,0-3-55,-3 0 49,3 0 20,0 0 76,3 0-19,-3-3 25,0 0 38,4-1-43,-4 1 50,0 0 27,3-1-16,-3 1 91,3 3-80,-3-3 52,0 3-77,4-4 38,-4 4-23,0 0-29,0 0 38,0 0-78,0 4 44,0-1-37,0 4-21,0-4-22,0 4-8,-4-1-56,1-2 49,0 2-22,-1 1 22,1 0-9,3 0-3,-3-4-17,-1 4 19,4-4-24,0-3-3,-3 3-19,3-3 37,3 0 49,-3 0 22,0-3 0,4 3 0,-1-7 0,4 4 0,-4-4 0,4 4 10,-4-4-21,0 0 17,1 4 44,-1 0 26,0-1 10,1 1-27,-4 3 1,0 0 21,3-3-3,-3 6 32,0-3-79,0 3 32,0 1-31,-3-1-4,-1 4 0,1 0-4,3-1-57,-3 1 49,-1-4-55,1 4 3,0 3 44,-1-7-53,1 4 63,0-4-48,-1 4-5,1-4-15,3 1 15,-3-1 20,3-3 4,0 3-70,0-3 8,0-3-53,3 0 4,0-1 61,1 1-5,-1-4 66,0 4 23,1-4-32,2 4 29,-2 0-34,-1-4 79,-3 7-17,3-3 69,1-1-22,-4 4 25,0 0-20,3 0-20,-3 0-8,0 4-39,0-1 34,0-3-59,-3 7 32,-1-1-28,1 1-25,0 0-14,-1-1-6,-2 1-2,2 0-24,1 0 1,0-4-65,-4 4 55,4-1-56,-1-2 35,4-1-3,0 0 38,-3-3 54,6 0 0,-3-3 0,4 0 0,2-1 0</inkml:trace>
  <inkml:trace contextRef="#ctx0" brushRef="#br0" timeOffset="120">17631 2380 9502,'-4'7'-113,"1"-4"-42,3 1 53,0-4-98,-3 7 105,-1-4 20,4 0-3,-3 1 30,0-1 16,3 4 9,-4-4 26,1 4-30,0-4 33,3 0-41,-4 1 29,4-1-30,-3 0-28,3-3-16,0 4-2,0-4 17,0 0 65,7-4 0,-4 1 0,4 0 0</inkml:trace>
  <inkml:trace contextRef="#ctx0" brushRef="#br0" timeOffset="121">17634 2407 9502,'-3'7'12,"3"-4"52,0 4-183,-4-4 89,4 1-125,-3-1 92,3 0-31,-3 4 22,-1-4-66,4 1 101,-3 2-43,0-2 36,-1-1-8,1 0-58,0 1 97,3-1-52,-4 1-10,1-4 57,3 3-56,-3-3 74,3 0 0,0 0 0,3 0 0,0 0 0,1 0 0</inkml:trace>
  <inkml:trace contextRef="#ctx0" brushRef="#br0" timeOffset="122">17617 2578 9502,'0'3'-150,"0"1"137,4-4-131,-4 3 88,0 0-6,0 1-9,-4-1 25,4 0 19,0 1 8,-3-1-11,0 0-9,3 4-28,-7-3 35,4 2-2,3-2-75,-4-1 16,1 0-19,0 1 22,3-4 75,-4 3 8,4-3 7,0 0 0,4 0 0,-1-3 0,-3 3 14,7-4-22,-4 1 8,0 3 29,1-3 12,-1-1 17,0 4-3,1 0-12,-1-3-20,-3 3 34,3 0-42,-3 0 44,0 0-24,4 0 18,-4 0-10,0 0-65,0 3 45,0 1-44,0-4-7,0 3 40,-4 4-54,1-4 16,3 0 22,-3 4-24,-1 0 31,1-4-61,0 4 38,-1-1-45,1-2 58,0 2-24,-1-2 10,1-1-14,3 1 17,-3-1-65,3 0 41,0-3-37,0 0 66,0 4 13,0-4 0,3-4 0,0 4 0,1 0 29,-4 0-28,3 0 19,-3-3-30,3 3 54,1 0 25,-4 0-2,0 0 3,0 0-45,0 0 10,0 3-1,0-3 8,0 4-47,0-4 38,0 6-38,0-2-13,-4-1 31,1 0-35,0 1 0,-1-1-15,1 4-2,0-4-3,-1 0-10,1 4-31,-1-7 7,4 7 11,-3-7 62,3 3 3,-3 0 0,3-3 0,0 0 0,0 0 0,0 0 0,3 0 0,0 0 0,-3 0 0,0 0 0,4 0 0,-1 0 0,-3 4 100,0-4-20,4 0 99,-4 0-100,0 0-7,0 3-51,0-3 10,0 4 1,0-4-13,0 3 7,0 0-4,0 1-33,-4-4 1,4 3-16,-3 0-60,-1 1 22,1-1-21,0-3 25,-1 3-23,1-3 66,3 4-59,-3-4 76,3 0 0,0 0 0,0-4 0,3 1 0,0 3 0,1-7 0,-1 1 0,0-1 0,1 0 0,-1 0 9,1 1 32,-1-1 33,4 0-20,-7 1 49,3-1-80,-3 4 50,0-4-46,0 4-35,0-4 26,0 4-31,-3-1 45,3 1-60,-4 0 39,1-1-50,3 1 17,-3-1 22,3 1-28,-4 3 2,4-3 25,0-1-27,0 4 31,0-3-39,0 0 28,4-4-33,-4 4 37,3-1-21,4-2 12,-4 2-11,0-2 11,4-4 8,-4 3-6,4 0 3,0-3 16,-4 3-15,0 1 16,1-1-8,-1 4-5,-3-4 6,0 4-5,0 3 14,0 0-8,0-4 10,-3 4-11,-1 0 35,1 0-23,0 4 26,-1-4-31,1 3 7,0-3-3,-1 3-9,1 1 3,0-4-13,-1 3 16,1 0-41,0-3 29,3 0-29,-4 4 35,4-4-16,-3 0 3,3 0-21,0 0 13,0 0 1,0-4 2,0-2-8,3 2 5,1 1-6,-4-4 34,3 1-14,0 2 15,1-2 9,-4-1 5,3 0 5,-3 4-5,0-1 30,3-2-36,-3 6 40,0-4-49,0 1 22,0 0-6,0 3 10,0 0-6,-3-4-1,3 4 6,-3 0-4,3 0-49,0 0 27,0 0-32,-4 0-13,4 0 37,0 0-42,0-3 50,0 0-68,0-1-20,4-2-12,-4-1 20,0-3 62,3 3 6,0-6 2,1-1 0,2 1 0</inkml:trace>
  <inkml:trace contextRef="#ctx0" brushRef="#br0" timeOffset="123">17614 2474 9502,'-10'7'-904,"7"-7"887,3 3 76,-4 1 217,4 2-110,-3-2-184,3-1-34,-3 0-124,-1 1 82,4-1-35,0 0 29,-3 1-61,3-1 99,-4 0 12,4 1 50,0-4 0,0 3 0,4-3 0,-4 3 0</inkml:trace>
  <inkml:trace contextRef="#ctx0" brushRef="#br0" timeOffset="124">17601 2528 9502,'-4'0'-222,"4"0"152,-3 0 30,3 0-85,0 3 112,-3-3-94,3 3 71,-4 1-100,4-1 93,-3 1-63,-1-1 29,4 0-10,-3 4 19,3-4 67,-3 1 1,3-1 0,0 0 0,0 1 0,0-1 0,3 0 0</inkml:trace>
  <inkml:trace contextRef="#ctx0" brushRef="#br0" timeOffset="125">17604 2565 9502,'-7'3'-292,"7"0"62,-3-3 95,3 4 28,0-1 42,0 0-1,-3 1 46,3-4 17,0 3-9,-4 0 12,4 1-17,0-4 2,0 3-3,0 0-63,-3 1 47,3-4-51,-4 3 64,4-3 10,0 3 1,0-3 10,0 0 0,0 4 0,4-4 0,-1 0 0,1-4 0,-1 4 0</inkml:trace>
  <inkml:trace contextRef="#ctx0" brushRef="#br0" timeOffset="126">16181 2976 9502,'-3'4'-36,"-1"-1"48,4 0 60,0-3 0,0 0 169,0 4-95,0-4 139,0 0-154,4-4 37,-1-2-48,4-1-8,-1 0-2,1 1-9,3-4-19,0 0 14,0 0-9,4-1 35,-1 1-60,0 4 39,4-4-31,0 0-43,0 3 29,-1-3-95,4 3 80,1 4-63,-5-4 37,4 0-28,-3 4 28,0 0-21,0-1 49,-4 1-54,4 0 35,-4 3 3,1-4-7,-4 1 12,3 3-22,-3-3 18,3-1-19,-3 4 9,4-3 11,-4 0-15,3-1 17,1 1-27,-1 0 19,-3-1-25,7 4 29,0-3-68,-4 3 48,4-3-52,-1 3 17,5 0-18,-5 0 1,1-4 1,0 4-3,-4 0 27,-3 0-33,4 0-13,-8 0-13,1 0-11,-4 0 17,1 0-53,-4 0 75,0 0-80,-4 0 75,-2 0 13,-4 0-33,0 4-2,-4-4 10,-3 3-19,1 0 34,-4 1 30,-1-4-28,1 3 31,0-3-72,0 0 29,-3 0-22,3 3 36,-4-3-20,4 4 17,-3-4-18,3 3 14,-4 0 34,4-3-27,0 4 20,3-1 15,-3 4 5,3-4 11,4 0-11,3 1 26,0-1 6,3 0 20,4-3 18,3 4-30,-3-4 12,6 0 67,0 0-38,4 0 65,0-4-65,3 4 58,-4-6-44,4 2 61,1-2-26,-1-1 3,-4 4-20,8-4-18,-4 0 16,0 4-16,0-4 19,3 4-49,-3-4 7,7 4-22,-4 0 36,1-1-59,2 1-17,1 3-10,-3-4 10,6 1 10,-4 3-15,5-3-7,-1 3-21,0 0 47,0 0-10,0 0 4,0 0-12,3 0 6,-3 0-9,4 0-21,-4 0 33,7 0-36,-7 0 43,3 0-27,1 3 19,-1-3-21,1 0 25,-1 0-30,1 0 21,-4 3-26,0-3-2,3 0 16,-3 0-19,-3 0 26,0 0-18,-1 0 10,1 0-11,-3 4 14,2-4-57,-2 0 38,2 0-44,-6 0 27,7 0 22,0 0-27,-4 0 31,4 0 14,-4 0-13,4 0 12,-3 0 22,-1 0-30,0 0 34,1 0-37,-4 0-3,0 0 7,0 0-4,0 0 8,-3 0-22,-1 0 21,1 0-21,3 0-31,-7 0-18,4 3-5,0-3 14,0 4 5,-1-4 18,4 0-26,-3 3 19,0-3 5,-1 0-8,1 3 4,0-3 68,3 0-40,-4 4 46,1-4-15,0 0-28,3 0 31,-3 3-32,-1-3 31,1 0-11,3 0 18,-3 3-18,3-3-68,-3 0 49,3 0-51,0 0 62,-4 0-64,8 0 44,-4 0-50,0 0 2,0 0 38,0 0-49,3 0 54,-3 0 27,0 0-20,4 0 17,-4 0 14,3 0 5,-3 0 11,4 0-4,-8 0-8,8 0-17,-8 0 21,4 0-19,0 0 39,-3 4 31,0-1-11,-4-3 32,1 3-76,-1 1 37,-3-1-36,3 0 2,-3 1-3,0-4-1,0 3-8,-3-3 12,0 3-13,-4 1 12,0-1 40,0-3-29,-3 0 30,0 3-41,4-3 31,-8 0-24,4 0 30,-3 0-32,-1 0 65,1 0 13,-4 0 55,1-3-47,-4 3-6,3 0-53,-7-3-9,1-1 5,-4 1-8,0 0 16,1-1-33,-5 4 23,-2-3-31,-1 0 38,1 3-22,-4-4 14,4 1-18,-1 3 18,1 0-36,-1 0 26,-3 0-28,7 0 32,-3 0 0,6 0-1,-3 0-15,0 0 10,0 0-14,6 0 16,-3 0-42,4 0 31,-4 0-34,7 0 40,-7 0-3,7 0 0,0 0 0,0-3 22,0 3-17,0-4 18,-4 4-32,8 0 7,-4 0-7,-1 0 10,5 0 8,-4 0-6,0 0 9,3 0-10,-3 0-7,3 4 5,-3-1-6,0-3-22,3 3 22,-3 1-25,3-1-17,1 0 35,-1-3-40,3 4 48,1-1-29,-4 0 20,7 1-22,4-4 18,-5 3-71,5 0 44,2-3-47,1 4 58,0-4-31,3 0-23,0 0 7,3 0 0,0 0 47,4 0-9,0 0 7,3 0-8,3 0 57,1 0-41,-4 0 40,3 0-49,4 0 23,-4 0-11,4 0 18,-4 0-21,4 0 56,-4 0 26,1 0-3,3 0 5,-4-4-19,0 4-13,1-3 23,3 3-33,-4-3-11,0-1 8,4 4-38,-4-3 28,8 3-27,-5-3 32,1 3-16,6-4 9,-2 4-12,5 0 9,1 0-10,0-3 1,3 3-3,7 0 3,-4 0-9,4 0 7,3-3-8,-3 3 21,0 0-5,3 0 5,-6 3 46,-1-3-37,-6 0 41,3 3-52,-7-3 52,1 0 14,-1 4 2,-3-4-1,1 0-6,-1 0 19,0 0 8,3 0-16,1 0-28,-1 0-5,0 0 16,8 0-25,-5 0 21,5 0-26,-1 3-39,0-3-12,0 3-11,3 1 20,-2-1-137,2 0 41,-3 1-129,4-4 94,-4 0-254,0 3 84,-3-3-71,-1 0 201,1 0 179,-3-3 0,-1 3 0</inkml:trace>
  <inkml:trace contextRef="#ctx0" brushRef="#br0" timeOffset="127">2903 6951 10443,'6'-4'-2,"8"1"5,-4-1-6,0 1 3,3 0-4,-3-1 5,0 1 15,4 0-11,-4-4 12,0 4-4,0 3-7,-3-4 9,3 1-9,0 3 2,-4-3 0,4 3 2,-3-4-13,3 4 7,-3-3-7,0 3 9,-1 0-11,1 0 9,0 0-10,3 0 11,-4 0-3,1 0 2,3 0-4,-3 0 41,0 0-30,3 0 31,-4 0-38,1 0 7,3 0-2,-3 0 4,-1 0-11,1 0 5,0 0-4,-1 0 6,-2 0-14,6 3 9,-7-3-11,4 0 16,-4 4-19,4-4 13,-4 0-18,4 0 9,0 3 5,-4-3-8,4 0 7,-1 3 11,1-3-9,0 0 11,0 0-8,3 4-1,-4-4 2,1 0-2,0 3 30,3-3-20,0 0 21,-4 0-25,5 0 11,-1 0-6,-4 0 10,4 0 17,0 0-22,4 0 25,-4 0-30,0 0 34,0 0-23,0 0 26,3 0-41,-3 0 9,4 0-10,-4 0 13,0 0 1,0 0-1,-3 0 0,3 0 0,0 0-42,-4 0 30,1 0-31,0 0 33,-1 0-32,1 3 18,0 1-23,0-1-18,-1 4 39,1-4-43,-4 0 50,4 1-43,3-1 31,-3 4-34,-1-7 39,4 3-8,0 1 6,-3-1-6,3-3 3,0 3-4,0-3 3,-3 4 3,3-4-2,0 0 4,-3 0-4,3 0-32,0 0 22,0 3-23,-3-3 31,3 0 21,0 0-16,-4 0 15,8 0 1,-8 0-14,5 0 15,-1 0-20,0 0 26,0 3-18,0-3 21,0 0-25,3 4 14,-3-4-10,4 0 19,-4 3-8,0-3 2,3 3-1,0-3 11,1 4-15,-4-4 14,3 0-17,-3 3 6,4-3-4,-1 3 5,-3-3-5,4 0 1,-4 4-1,3-4 1,-3 0 1,3 3-12,-3-3 8,4 3-9,-4-3 11,3 4-6,-3-4 4,0 0-7,0 0-1,4 0 3,-7 0-4,3 0 0,0 0 6,0-4-6,3 1 6,-3 0-2,3-7 2,-2 3-2,-1-3 2,0 0 17,3 0-12,-3 0 13,-3 0-17,3 0 0,-4 0 1,5 3 0,-5 0-1,1 1 1,0-1 0,-1 4-4,-2-1 5,2 1-6,1 0 6,0 3 23,-1-4-17,4 4 18,-3-3-23,3 3 10,0 0-8,-3-4 9,3 1-4,3 0-3,-3-1 5,0-2-20,4-1 13,-4 0-14,3 1 17,-3-1-10,0-3 7,0 3-8,-3-3 4,3 3-21,-3-3 12,0 4-14,-4-1-12,7 0 25,-7 1-28,4-4 32,0 6 7,-4-2-5,4-1 5,-1 0 29,1-3-28,0 7 30,3-4-37,-3 0 26,-1 1-16,4-1 19,0 0-21,-3 1-2,3-4 8,0 3-5,0-3 11,0 0-8,0 0 6,0-4-6,0 4-2,0-6 1,0 2-3,1-3-35,-1 1 26,-4-4-27,4 3 33,-3-3-34,3 0 24,-3 0-29,-1-4 36,1 4-18,3 0 12,-6 3-16,6-3 16,-7 7-6,4-4 5,-7 7-7,6 0 5,-2 3-5,-1 1 5,-3 2 20,3 1-14,-3-1 17,4 4-21,-1 0 18,-3 0-12,0 0 13,3 0-16,1 0 14,-1 0-9,0-3 12,1 3-14,2-3 7,1-1-5,0-2 6,0-1-6,3-3 2,-4 0-1,4 0 0,0-3-2,4-4 1,-4 3 0,0-6 0,0 4 0,0-1-1,3 0 1,-6 0-1,3-3 1,-3 7 0,3-4 0,-3 0-29,3 4 21,-7 0-23,4 3-13,-1-1 28,1 1-31,-4 4 37,4 2 0,-4 1-6,1 0-1,2-1 22,-2 4-18,2 0 22,1-3-26,-3 3 22,2 0-15,1 0 16,3-3-8,-3 3-15,3-4 17,-4 1-18,1-4 2,3 1 5,-3-1-8,0 0 11,-1 0-12,1-3 7,0 0-11,-1 4-9,1-4 12,-4 0-14,4 3 17,-4-3-64,1 3 42,2 0-47,-2 1 72,-1 2-5,4 1 3,-4-4-11,4 7 50,0-3-37,-1 3 38,1 0-47,0 0 48,-1 3 13,4 1 10,-3-1 41,3 4-72,0-4 35,0 4-37,0 0-11,0-4 20,0 4-16,4-4 7,-4-3-30,3 3 17,1-3-14,-4 0-27,3 0-13,-3 0-10,3-3 15,1 3-4,-4-7-19,0 4 1,0 0 3,3-4 47,-3 0 1,0 0-12,1 4 51,-5-4-39,4 4 39,0 0-45,0-1 32,-3 4-24,3-3 36,0 3 3,0 0-12,0 0 19,-3 3-22,3 1 48,0-1-28,-3 4 33,3-1-38,0 1-14,-4-4 15,5 4-15,-5-3-11,4-1 8,0 0-7,0-3-37,-3 0 36,3 0-37,0 0 30,0 0 11,0 0-16,0 0 17,-3 0-13,3 0 8,0 0-13,-3-3 11,3 3-5,0-3 4,-3 3-2,-1 0 16,1 0-12,3 0 12,0 0-12,-3 0 26,3 0-15,0 0 17,-4 0-21,5 0-3,-5 0 4,8 0-2,-4-4-1,0 4 2,0-3-1,3-1 3,1 1-13,-1-4 10,-3 4-11,3-4 6,1 1 4,-1 2-6,1-2 5,-1 2-2,0-2 1,1 2 0,-1 4 0,1-3 1,-4 3 0,6-3 0,-6 3 0,4 0 0,-1 0 1,1 3-1,-1 0 11,4 1-7,-4 2 8,4-2-11,-4 2 4,4-2-2,-4 2 2,4 1-5,0-4 1,0 1-1,-4-1 3,4 0-1,-1 1 0,1 3 0,0-7-4,0 6 3,-4-6-3,4 7 3,-1-4-9,5 1 6,-5-1-8,1 0 9,0 1-3,0 2 2,3-2-3,0-1 4,0 4 1,-3-4-1,3 0-1,0 4 29,0-4-19,0 1 20,-3-1-23,3-3-2,-4 4 5,1-4-4,3 3-19,-3-3 14,0 0-14,0-3-8,-1-1 20,4 1-22,-3-4 25,0 0-47,-4-3 29,4 0-35,-4 4 37,4-4 15,-4 0-17,1 3 14,3-3 9,-7 3-11,3 4 15,0-4-21,1 0 25,-1 4-17,-3 0 22,4-1-16,-1 4 10,-3-3-4,0 0 6,4-1-14,-4 4 5,0-3-3,0 0 1,0-1-4,0 1 3,0 0-2,-4-4-10,1 4 8,0-4-10,3 0 13,-3-3-51,-1 0 37,1 0-41,0 0 50,-4-3-19,4-1 12,-1 1-16,1-1 20,-4 1-8,4 0 6,-3-1-7,2 1 6,1 3-5,-4 0 4,4 0 22,-4 3-17,1 0 21,-1 4-25,4 0 39,-4-1-28,0 4 33,4-3-25,-4 3-5,4 0 8,0 0-11,0 3 1,-4-3 2,4 4 1,-1-4-1,1 3-12,3-3 8,-3 0-9,3-3 11,-4 3-12,5-7 9,-5 0-12,8-3-7,-8-3 11,4-1-14,-3 1 16,3 0-22,-3-1 13,3-3-15,-3 7 13,-4-3 6,4 3-8,-1-3 9,-2 6 10,2 0-6,1 4 8,-4-1-13,4 1 23,0 3-16,-1 0 19,4 0-4,1 0-10,-1 0 11,0 3-10,3 4 43,0 0 22,-3 0-3,4-4 0,3 4-20,-4-1-12,0-2 18,1-1-54,2 0 14,1 1-10,-3-4 20,2 3-44,-2-3-18,2 0-6,1-3-43,-3 3 81,2-4-41,-2-2 39,-1-1 10,4 0-21,-4 4 15,1-4-7,-4 4 6,3-4-2,-3 4-2,4-1 26,-4 1-17,0 3 22,0 0-20,3 0 18,-3 0-7,3 0 9,-2 3 48,2 1-50,-3-1 53,3 4-64,1 0 21,-1-4-15,-3 4 19,4-4-27,-4-3 13,0 3-12,3-3-44,-3 0 37,0-3-41,4 0 55,-4-4-42,0-3-10,-4-7-11,4 0 14,-3 1-29,0-4 46,-4-1-57,0-2 47,1 3-1,-1-3-2,-3-1 6,4 4 37,-4-3-28,0-1 29,0 4-9,0 0-17,0-3 21,0 6-26,0 0 49,0-3-36,0 3 42,0 0-45,3 4 63,-3-4-46,3 4 52,1-4-40,-4 4-6,6-4 10,-2 7-11,-1-7-9,0 7 8,1-3-7,2-1 5,1 4 8,-4 0-4,4 0 5,0 0 12,-1 4-14,1-1 14,3 0-23,-3 1 40,0 2-25,3 1 28,-4-1-18,4 4-13,0 0 15,-3-3-14,3 3 10,0 0-8,-3 0 14,3 0-12,-3 0-42,3 0-16,0 0-6,-4-3 12,4-1 0,1 1-10,-1-4-11,0-3-8,0 0 41,0 0-7,-4 0 4,4-3 16,0-4-17,-3 4 13,3-4 9,-3 0-9,0 0 11,3 1-14,-7 2 13,4 1-10,-1 3 15,1-4-17,-4 8 23,1-4-15,2 3 17,1 0 1,-3 4-11,2-4 12,4 4-18,-3 0 32,0 3-22,6-4 23,-6 1 9,6 0-28,-6-1 33,10-2-38,-7 2-1,0-3 6,3 1-5,-3-4-36,0 3 28,4-6-33,-4 3 44,0-4-77,0-3 54,0 4-63,0-4 39,0 1 17,-3 2-22,3-6 22,-4 7 13,4-4-18,-3 0 14,0 1 18,3-1-16,-4 3 17,1 1-25,3-4 36,-3 4-24,0-1 33,-1 1-39,1 3 31,0 0-21,-1-3 25,1 3-21,0 0 2,-4-1 0,4 1-3,-4 0-29,4 0 21,0 0-21,-4 0 25,4 0-17,-4 0 11,4 0-13,-1 3 6,-2-3 8,2 0-11,-2 4 10,2-1 11,1 4-8,-4-1 8,4 1 25,0 0-27,0 3 28,-1 0-34,1 0 48,0 0-34,3 0 42,-4 0-34,4 0 2,-3 3 3,3 0-3,0-3-2,-3 4 0,3-4 1,0 3 1,-3-3-30,3 3 22,0-3-22,0 0 25,0 0-34,-3 4 22,3-4-24,0 0 26,0 0-32,0 0 17,0 0-21,-4 0 24,4 0 6,1 0-6,-1 0 5,0 0 3,0 0-2,-4 3 2,4 0 4,0 1-6,0 2 7,1 1-6,-1 3 57,0-3-38,0 3 42,0 0 1,0 0-40,0 0 45,0 3-54,0-6-15,0 3 12,0 4-10,0-8 0,0 4 0,3 0-5,-2-3 7,-1 0-28,0-1 29,3-2-33,-3 2 33,3-2-26,-3-1 11,1 0-16,2 1 15,0-4-27,-3 0 14,4 3-18,-4-3 29,0 0 4,3 0-2,-3 0 1,4 0 24,-4 0-16,3 0 14,-3 4 50,4-1-53,-1 4 59,-3 3-70,0 0 29,3-4-19,-3 8 28,0-1 21,4 1-22,-4 2 26,0 1-33,3-4-9,-3 4 10,0-3-8,4-1-12,-4 0-15,0 1 5,3-8 0,-3 1-35,0 0-12,4-4-12,-4 0 15,3-3-16,-3 4 47,4-4-58,-4 0 65,0 0-17,0 0 13,0-4-20,0 4 45,0 0-36,0-3 36,-3 3-35,3 0 47,0 0-28,-4 0 30,1 3-2,3 1-28,-3-1 36,3 4-36,-3-4 30,-1 4-22,4 3 21,-3-3-12,0-1-6,3 1 7,-4 0-9,1-1-1,0 4 2,0-3-1,-1-3 2,4 6-9,-3-4 7,0-2-7,3 2-1,-4 1 6,1-4-8,0 4 9,3-4-7,-3 4 3,3-4-5,-4 4 10,8 0-3,-8-4 4,4 4-4,1 0 2,-1-4-1,0 0 2,0 1-2,0-1-2,3-3 2,-3 0-1,4 0-50,-4 0 37,0 0-40,3-3 47,0-4-26,-3 4 15,4-4-19,-4 0 37,0 0-7,3 4 5,-6 0-11,3-1 19,0 4-13,0-3 16,0 3 5,-3 0-17,3 0 18,0 3-17,0-3 5,-3 7 3,3-4 0,0 8 0,-4-5 12,5 1-8,-1 0 9,0-1-10,0 1-6,0 0 8,0-1-7,0-2-28,0-1 20,0-3-21,3 0 27,-3 0-42,4 0-15,-4-3-1,3-4 2,-3-3 44,4 0-4,-4-3-4,3 3 8,-6-4-8,6-3 1,-6 4 33,-1 0-31,5-1 32,-5 1-32,-2-1 21,2 1-10,-2 0 14,2-1-3,-6 4-12,7-3 13,-7 3-13,3-4 8,1 4-6,-1 0 3,0-3-4,1 3 4,-1 0-3,0 0 3,1-4 9,3 4-9,-4-3 9,0 3-10,4-3 1,0-1 1,-4 4-1,4-3-2,-1-1 1,-2 4 0,2-3 1,1 3-4,-4 0 3,7 0-3,-6 0 4,3 0-4,-1 3 2,1 0-2,0 1 1,-1-1 0,1 4 0,3-1 1,-3-3 0,3 4 0,-4-4 0,8 4 0,-4 0 0,0-1 0,0-2 0,0 2 0,3-2 0,-3 6 0,4-7 0,-4 4 0,0 3 0,3-4 0,-3 1 0,4 0 0,-4 3 0,0 0 0,0 0 0,3-4 0,-3 4 0,4 0 0,-4 0 0,3 0 0,-3 0 0,0 0-23,4 0 16,-4 0-16,0 0 13,0 0 6,0 0-8,0 0 8,0 0-11,0 0 8,0 0-10,0 0 11,-3 0 12,3 0-9,0 0 10,0-3-13,-3 3 17,3 0-12,0-3 16,-4 3-14,4-4 0,0 4 1,0-3-1,1 3 25,-5-4-15,4 4 17,0 0-20,0 0-4,-3 0 6,3 4-6,0-1-11,-3 1 7,3 2-10,0 1 13,-3 3 24,3-3-18,0 6 18,-4-3-12,4-3-7,1 3 7,-1 0-8,0-3-4,0 3 2,0-4 1,3-2-14,-3 2 15,7-6-15,-7 0 17,7 0-30,-4 0 20,0-3-23,4-4 23,-3 1-14,-1-8 5,0 1-7,-3-1-33,4 1 36,-4-7-37,0 3 43,0 0-7,0-3 5,0 0-8,-3 0-1,3 0 1,-4 0-4,1 3 5,-4-3 19,4 0-15,0 3 16,-4 1-2,1-1-11,-4 3 14,3-2-16,0 2 26,1-2-18,-1-1 20,-3-3-23,3 3 24,1-3-17,-1-3 18,-3 2-11,3 1-4,-3 4 6,0-4-8,4-1 0,-4 1 1,0 4-1,0-1-27,0 0 19,-4 0-20,4 1 25,0 2-13,-3 1 7,3-4-10,0 7 9,-3-3 9,3-1-8,-4 4 7,4 0-1,-3-3-3,3 6 4,0-3-6,0 0 11,0 0-7,0 0 10,0 0-7,0 3 1,0-3 0,0 3 0,0-3 2,0 4-3,0-1 3,0 0-5,0 1 10,3-1-5,1 0 6,-1 1 6,0 2-11,1-3 11,2 4-13,-2 0 3,-1-1-2,4 1 3,-4 0-8,4-1 5,0 1-6,-1 0 7,1-4-7,0 4 5,-1-1-4,4 1 4,-3 0-5,0-1 1,3 1-3,-4 0 2,5 3 3,-5-4-4,1 4 3,3 0 1,-3-3-1,3 3 1,-4 0 0,1 0 0,3 0 1,-3 0-1,0 0 0,-1 3 0,1 1 0,0-1 1,-1 4-1,4-4 0,-3 4 0,0-4 0,-1 4 0,1-1 0,0 1 0,0-4 0,-1 7 0,1-6 0,-4 3 0,4-1 0,0 1 0,-1 0 0,-2-1 0,2 4 0,-2-3 1,2 3-1,-2-3 14,3 3-10,-4 0 12,4 0-10,-4 0-2,4 0 2,-1 0-2,1 0 17,-4-3-10,4 3 12,0-3-3,-1-1-8,1 1 10,3 0-12,-3-4-1,0 0 0,-1 1 0,1 2-19,0-2 15,-1-1-17,1 0 19,3 1-15,-3-1 11,-1 0-12,1 1 11,0 3-3,3-4 0,-3 4-5,-1-1 17,4 4-9,-3-3 9,3 3-10,0 0 60,0 3-40,0-2 44,0 2-51,4 0 18,-4 1-8,3-4 12,0 0-42,-2 0 15,-1 0-15,3-3 22,0-4-38,-3 4 27,4-4-30,-4-3-16,3 0-21,1 0 0,-1 0-8,0 0 52,1-3-13,-1-4 8,1 0-9,-1 1 40,0-1-30,1 0 31,-4 0 1,3 4-18,-3-4 23,0 4-27,0 0 25,0-1-17,-3 1 24,3 0-20,-3 3 4,3-4-1,-3 4-2,3 0 11,-4 0-9,1 0 9,0 0-11,-1 4 23,4-1-15,-3 4 17,0 3-4,-1-4-14,5 4 16,-5 1-18,4-1 2,-3 0-2,3 0 5,-3 0-21,3-4 16,0 4-16,0-3 17,0-4-29,0 1 20,0-4-22,-3 3 24,3-6-48,0-1-20,-4-2 3,1-8-44,0 1 86,0-4-46,-4-3 50,0 0 6,1 0-5,2-3-1,-6 2 5,0 1-15,4 0 16,-4 4-11,0-1 38,0 3-27,0 4 34,0 0-21,0 4-3,0-1 7,0 4-11,-4-1 57,4 4 16,0 0 5,4-3-10,-1 3-57,0 0 21,4 0-14,0 0 18,-1 0-16,1 0-22,3 0 14,0 0-17,-3 0-32,3 0 41,-3 0-44,6-3 51,-6-4-22,3 4 8,0-4-13,0 0 5,0 0 13,-3 1-16,3-1 14,0 0 7,-4 4-4,4-7 7,0 3-11,1 4 32,-1-7-22,0 6 27,-4-2 4,4-1-22,0 0 25,0 4-29,0-4 27,-3 4-16,0 0 20,3-1-33,0 1 2,-3 3 3,-1-3 5,1 3-23,3 0 17,-3 0-22,-1-4 7,5 4-1,-5 0-7,4 0 7,-3 0-16,0 0 21,3 0-24,0 0 26,-4 4-6,4-4 4,1 0-4,-1 3 67,3 4-47,-3-1 49,0 1-60,0 3 44,3 0-28,1 0 32,-1 4 15,1-1-39,-4 0 50,6 1-56,-5 3 15,2-4-11,0 4 15,1-4-10,-1 4-44,0-4 32,1-3-37,-1 4 46,1-4-40,-1 0-10,0-4-11,-3 1-31,4-4 14,-4 1 5,0-1-3,3-3-14,-6 0 29,3 0-36,0-3 22,-3-4 23,3 4-30,-3-7 26,-1 0 38,4 3-25,-3 0 28,0-3-36,-1 4 47,1-1-32,0 3 38,-1 1 27,1 0-48,-3-1 54,2 4-58,1 0 22,0 0-13,-1 0 22,1 0-29,3 4 7,-7-1-4,4 4 5,3 0-1,-3-1 0,3 4-2,-3-3 1,3 3-17,0-3 11,0 3-13,0-4-4,0 1 14,0 0-16,0 0 19,0-1-13,3 1 9,1-4-10,-1 4 5,0-4 2,-2 1-3,5-1 4,-2-3 3,-1 0-5,4 0 5,-7 0-4,7 0 25,-4 0-17,0-7 18,1 4-45,-4-4 17,3-3-18,-3 0 24,0 0-23,4-3 16,-4 3-18,0-4-17,0 1 26,-3 0-29,3-1 33,-4-3 5,4 4-7,-3 0 6,3-1-10,-3 1-2,-1-1 0,4 1-1,-3 3 5,0-3 1,0 3 1,3-1 22,-4 1-17,4 4 20,0-4-23,0 6 19,0-2-12,1-1 14,-1 4-17,0-1 12,3 1-8,0 0 10,-3-1 12,7 1-15,-3 0 16,-1 3-19,0-4 8,4 1-4,-4-1 5,4 1-8,-3 0-5,-1-4 6,0 4-6,1-1-1,-1-2 4,-3-1-5,4-3 8,-4 3-30,0 1 20,0-4-23,-4-1-35,1 5 43,3-4-47,-6-4 55,2 4-17,1 0 8,-4-3-12,1 3 25,-1-4-5,0 1 1,1 0-4,-1-1 22,0 1-17,-3 3 19,4-4-27,-4 4 33,0-3-19,3 3 23,-3 0-2,0 3-19,0 1 23,0-1-24,0 0 42,3 4-31,-3-4 30,4 4-37,-1-1 62,-3 1-44,7 3 50,-1-3-39,-2 3-7,3-4 11,3 4-9,-4 0 25,4-3-13,-3 3 17,3 0-16,0 0-57,0 0 44,-3-3-44,3 3-28,0 0 51,0 0-59,0 0 72,3-4-52,-3 4-10,1 0-13,-1-3-8,0 3 49,0 0-10,0-3 8,0-1 19,3 4-21,-3-3 17,4 3-21,-1-3 48,-3-1-33,3 1 36,1 0 6,-1 3 10,1-4 11,-1 1-14,-3 3 3,3 0-30,1-4 37,-4 4-41,3 0 13,-3 0-11,0 0 10,4 0-19,-4 0 13,0 0-12,3 0 16,-6 0-36,3 4 25,0-4-34,0 3 18,3 1 7,-6-1-11,6 4 14,-2-4-6,-1 4 2,0-4 0,0 0 1,0 1 4,0 2-4,0-2 3,0-1 0,0 4 0,3-4 0,-3 4 0,-3-1 0,3-2 0,3 6 0,-3-7 4,1 7-2,-1-3 3,0 0-5,0-1 26,0 4-18,0-3 19,3 0-18,-3-1-3,0 1 4,0-3-4,4-4-40,-4 3 28,3-3-30,-3 0-11,0 0 35,0 0-39,0 0 45,4-7-27,-8 4 14,4-4-19,0 0 19,1 1 14,-1-4-16,0 3 13,0 0 15,-4-3-15,4 4 18,0-1-24,-3 0 31,3 0-22,-3 1 29,0-1-12,-1 0-11,1 4 13,3-4-15,-3 7 5,-4-6-1,4 6 3,-1-4-5,1 1-11,-4 3 7,4-3-8,0 3 10,0-4-23,-1 4 17,4-3-20,-3 3 29,3-3-8,-3 3 7,3 0-9,0 0 21,0 0-15,0 0 17,0 0-19,0 0 56,0 0-36,0 0 40,0 3-32,0-3-15,4 3 20,-4 1-26,0-1 10,0 0-8,0 1 12,0 2-30,0-6 22,0 7-22,0-7 23,-3 3-35,3-3 21,0 0-26,0 0-12,0 0 33,-4 0-39,5 0 45,-1 0-2,-4-3 2,4 0-1,0-1 16,-3-2-17,3 2 17,-3 1-18,-1-4 7,1 4-4,0 0 7,0-1-2,-1 4-2,1-3 5,0 0-6,-1 3-15,-2 0 9,6 0-12,-7-4 16,4 4 2,-1 0-4,1 0 3,0 4 9,-4-4-7,7 3 7,-6 0-10,6 1 38,-4-1-27,1 4 32,0-4-40,-1 0 30,5 1-21,-5 2 29,4-6-41,-3 4 17,0-1-16,3-3 18,-4 3-27,4-3 20,-3 0-20,3 0-23,-3 0 31,3 0-36,-3 0 43,-1 0-36,1 0 24,0 0-30,3 0 32,-7 0-5,7 0 3,-7 0-2,4-3 9,0 3-8,0 0 8,-1 0 14,1 0-15,0 0 18,-1 0-22,1 0 39,3 0-27,-3 0 33,3 0-26,-3 0 3,3 0 3,0 0-3,0 0 19,0 0-16,0 0 17,0-3-23,0 3-18,0-4 13,0 4-12,0 0 4,0 0 9,0 0-10,0 0 11,0 0-38,4 0 25,-4 0-27,0 0-2,0 0 26,0 4-31,3-1 36,-3-3-10,0 3 7,7 1-9,-7-1 7,3-3 7,4 3-4,-4-3 7,1 0 30,3 0-30,-1 0 31,1 0-36,-4 0 12,4 0-5,0 0 7,0-3-3,-4 3-9,4-3 9,0 3-8,-4 0 6,0 0-2,4-4 0,-3 4 1,-1 0-4,0 4 2,4-4-3,-7 3 4,7 4-8,-7-4 6,3 4-8,1 0 1,-1-1 3,-3 1-3,3 3 6,1-3-4,-1-1 4,-3 1-3,4 0-4,2-1 4,-2-2-5,-1 2 6,1-2-4,-1-1 3,0-3-2,1 4 1,3-4 0,-4 0 1,-3 0 0,7 0 0,-7 0 0,3 0 0,-3 0-8,0 0 6,0 0-5,0 0 6,0-4 0,-3 4 0,3 0 0,0 0-1,-3 0 2,3 0-1,0 4 1,-3-4 11,3 3-8,0 0 8,0 4-11,-4 0 15,4-4-10,1 4 13,-1-1-19,0 1 4,0 0-4,0 3 7,0-4-10,3 1 8,-3 3-8,0-3 8,0 0-4,4-1 3,-4 4-4,0-3-4,0 3 6,0-3-7,0-1 7,0 5 2,-3-1-2,6-4 3,-6 1 1,3 0-4,0-1 4,0 1-4,0 0-2,0-4 2,0 0-1,3 4 2,-3-4 14,4-3-10,-1 4 11,1-1 18,-1 1-23,-3-1 26,3 0-32,1 4 49,3-4-31,-4 4 33,0 0-43,1-1-11,-1 1 11,1 3-8,-4 0-18,6-3 21,-6 3-24,4 3 32,-1-3-30,-3 0 20,4 4-28,-1-1 30,-3 1-26,3-4 19,1 3-22,-4-3 20,3 3-4,1-3 2,-1 1 1,0-1 0,1 0 0,-1-4 0,1 4-30,2-3 22,-2 0-23,-1-1 30,4 1 1,-4 0-2,4 0 0,0-1-1,-4 1 6,4 0-4,-4-1 4,4 1 2,0 0-6,-1-4 7,-2 4-9,3-4-8,-4 0 8,4 1-7,-4-1-6,4-3 10,0 3-10,-4-3 13,0 4 5,4-1-3,-3-3 1,2 4 26,-6-1-23,7 4 23,-4-1-29,1 1 50,-1 3-34,1 0 37,-4 3-42,3-3 46,0 7-32,1-3 42,-4 2-58,3 1 15,1-4-10,-4 4 16,3 0-42,0-4 30,-2-3-33,2 4 37,0-4-62,-3 0 39,4-3-44,-4-1 47,3 1-57,-3-4 35,4 1-42,-8-1 43,8 0 14,-4 1-18,0-1 16,0 0 40,0 4-30,0-4 34,-3 4-14,3-4-21,0 4 25,-4-3-25,1 2 34,0-2-15,3 2 20,-3-2-41,-1 2 5,1-2-4,3-1 11,-3-3-57,-1 0 40,1 3-48,0-3 52,3 0 1,-3 0-4,3 0-3,0 0 37,-4 0-30,4-3 30,0 3-1,0-3-23,0 3 26,1 0-32,-1 0 20,-4 0-13,4 0 21,-3 0-23,3 0 8,-3 0-5,-1 3 5,4 0-31,-3 4 21,0 3-25,3-3 31,0-1 12,0 5-10,0 2 5,0 0 28,3 1 7,1-1 5,-1 4-6,1 0 20,2 3-36,4 0 41,1 0 3,-1 3-41,3-3 52,1 0-56,2 4-37,-2-4 27,3 3-24,-1-2 41,1 2-113,-3-3 18,2 3-112,-2 4-153,-1 0 55,-6 3-30,3 4 151,-7-4 148,-3 0 0,0-10 0,-3 3 0,0 1 0</inkml:trace>
  <inkml:trace contextRef="#ctx0" brushRef="#br0" timeOffset="128">17497 2853 9502,'10'0'-1150,"-3"0"1224,-4 0-38,0 0 61,1 0-110,-1 0 36,4 0-41,-7 0 52,6-4-45,-2 4-7,-1-3-11,4 3-45,-4 0 74,4-4-41,-4 4 51,0-3-30,4 3 20,-4-3-32,4 3 11,-3 0 5,-1-4-10,4 4 16,-4-3-3,0 3 4,1-3-5,-1 3-5,0 0 9,1-4-11,-1 4 14,0 0 10,1 0-7,-1 0 6,-3-3 31,3 3-31,1 0 32,-1 0-38,0 0 75,1 0-13,-1 0 67,1 0-66,-1 0 64,-3 0-44,3 0 79,1 0-76,-4 0 48,0 0-77,3 0 199,-3 0-143,0 0 121,0 0-151,-7 0-5,4 0-5,-4 0-1,-3 0-1,0 0-24,0 0 17,-3 3-8,-1-3 15,1 4-44,-4-4 28,4 3-38,-4-3 22,0 3 20,0-3-22,1 0-15,-4 4 26,3-4-38,-3 0 42,0 3-76,0-3 54,3 0-61,-3 3 72,3-3-55,0 0 40,4 0-41,0 0 48,-1 0-35,4 0 23,-3 0-31,6 0 46,-3 0-13,3 0 13,1 0 0,-1 0-11,-3 0 10,3-3-14,0 3 11,-3-3-6,4 3 10,-4-4-11,0 4 4,0-3-2,0 3 6,0 0-4,-4 0-20,4 0 12,0 0-19,0 0 24,-3 0-4,3 0 1,0 0-2,3 0 12,-3 0-7,0 0 9,3 0-4,0 0-6,1 0 7,-1 0-8,0 0 31,1 0-20,-1-3 24,4 3-24,-4 0-10,0-4 8,0 4-9,1-3-30,-4 3 29,3 0-31,0 0 39,1 0-55,-1 0 37,0-3-42,-3 3 18,7 0 17,-4 0-21,0-4 23,1 4-6,2 0-2,1 0-1,-4-3 0,4 3 1,0-3-3,-1 3 2,1 0 2,0-4 2,-1 4 0,1-3 0,0 3 38,-1-3-26,-3 3 29,4-4-20,0 1-10,-4 0 12,0-1-13,4 4-13,-4-3 12,1 0-11,-1 3 15,0 0-1,1 0 1,-1 0 0,0 0-5,-3 0 0,3 0-3,4 0 4,-7 0-1,7 0 1,-4 0-2,0 0-5,1 3 3,-1 0-3,0-3 6,1 4-11,2-1 9,-3 0-9,4-3 11,-4 4-4,4-1 2,-4-3-2,4 0 2,-4 3 4,4-3-3,0 4 1,-4-4-10,0 3 4,1-3-3,2 3-2,-2-3 6,-1 4-6,0-1 8,0-3-8,1 3 6,-1 1-7,0 2 7,1-2 5,-1-1-4,0 0 2,1 4-4,-1-3-3,4 2 3,-4-2-2,0-1 1,0 0 2,4 1-1,-4-1-7,1 0 6,2 1-7,-2-1 9,2 0-42,-2-3 29,2 4-32,-2-1 40,2 0-4,-2-3 2,-1 4-6,0-4 17,4 3-13,-4-3 12,0 3-13,1 1 15,-4-4-11,3 3 11,0 0-6,1 1-5,-1-1 8,0 1-7,0-1 11,-3-3-6,7 3 6,-4 1-7,1-1 7,-1 0-5,4 1 5,-4-1 2,4 0-7,-4-3 8,4 4-9,-1-4 3,-2 3-2,2-3 3,1 3 8,-4-3-6,4 0 7,-4 0-9,4 0 57,-1-3-38,-2 3 42,2-3-52,1-1 35,-4-2-22,4-1 27,-4 0-29,7 1-4,-3-1 9,0 0-51,3 4 36,-4-4-34,1 4 42,3-1-70,0 1 46,-4 0-52,4 3-58,0-4 82,4 4-100,-4 0 129,3 4-14,1-4 12,2 3-16,1-3 29,3 0-19,-3 0 24,3 0-25,3 0-2,1 0 6,-1 0-4,4-3-22,-1 3 16,1-4-16,3 4 24,-3 0-47,6-3 33,-3 3-39,1 0 47,-1 0-16,0 0 5,0-3-7,-3 3 0,3 0 9,0 0-9,-4 0 7,5 0 40,-1 0-28,-4 0 34,1 0-42,3 0 37,0 0-25,-3 0 28,3 0-33,0 0 19,-3 0-14,3 0 17,-3 0-1,0 0-3,-1 0 6,-2 0-20,-1 0 2,0 0-5,1 0 8,-1 0-21,-3 0 15,0 0-17,0 0 20,0 0-43,0 0 32,1 0-37,-1 0 44,0 0-5,0 0 4,3 0-6,0 0 4,1 0-8,-1 0 6,4 0 12,0 0-7,3 0 11,-3 0-16,3 0 52,-4 0-38,1 0 44,3-4-52,-3 4 36,-4 0-26,4-3 31,-7 3-34,3-3 10,1 3-6,-4-4 7,0 1-11,-3 3 8,3 0-8,-4-3-14,4 3 13,-3 0-16,3-4 18,-3 4-57,3 0 36,3 0-40,-3-3 53,4 3 9,-1-3-9,-3 3 7,4-4 42,-1 4-35,0-3 40,1-1 19,-4 4-49,3 0 54,-3-3-63,0 0 29,0 3-15,-3 0 21,3 0-18,-3 0-9,-1 0 15,1 0-13,3 0 13,-6 0-27,6 0 21,-7 0-21,4 0-20,-1 0 25,1 0-34,0 0 42,-1 0-34,1 0 23,3 0-27,-3 0 42,0 0-13,3 0 12,-4 0-14,4 0 34,-3 0-25,0 0 26,3-4-32,-4 4 14,1 0-5,3-3 7,-3 3 12,0-3-17,-1 3 21,1 0-24,-4-4-23,4 4 17,0 0-19,-4 0 27,4 0-34,-4-3 23,4 3-29,-4 0 12,4 0 11,-4 0-14,4 0 15,-4 0 1,4 0-5,0 0-2,-1 0 18,1 0-11,0 0 12,-1 0-12,4 0 8,-3 0-3,3 0 5,-3 0-14,0 0 4,3 0-5,0 0 9,-4 0-30,4 0 22,-3 3-23,3 1 27,0-4-11,0 3 7,-3 0-11,3 1 11,-3-1-2,3 0 2,0 1-5,0-1 11,-3 1-9,-1-1 9,4 0 28,-3-3-25,0 4 29,3-1-36,-7-3 4,4 3-2,-1 4 5,-2-7-4,2 3-23,-2 1 17,-1 2-19,4-2-8,-4-1 23,1 0-24,2 1 27,-2-1-7,2 4 1,1-4-4,-4 0 15,4 1-5,0-1 2,-1 1-6,1-1 69,3 0-49,-3-3 56,0 4 3,-1-4-47,1 3 53,0-3-60,-1 3-6,-2-3 10,2 4-6,1-4 12,-4 3-43,1-3 34,2 3-35,-2-3 18,-1 4 12,4-4-15,-4 3 11,1 0-26,-1 1 10,4-1-14,-4-3 24,4 3-15,-1 1 8,1-1-12,0 0 34,-1-3-11,1 4 15,3-1-21,-3 0 44,3-3 9,-3 4 7,3-1-12,-4-3-36,4 4 0,-3-1 5,0 0-16,0-3 18,-1 4-18,1-1 25,0 0-48,-1 1 34,1-1-37,0 4 5,-4-4 24,4 0-33,-1 1 37,1 2-25,0-2 17,0 2-20,-1-2 38,1-1-17,0 4 18,-1 0-18,4-1 11,-3-2-6,3 6 9,0-4-7,0-2-1,0 6 2,0-4-1,0 1-5,0 3 2,0-3-3,0 0 6,0-1 22,1 1-17,-5 0 17,4 3-22,-3-7-1,3 4 2,-3-1-3,-1 1 60,1-4-46,0 4 46,-1-4-101,1 4-9,0-3-1,0-1 11,3 4 42,-4-4-12,1-3 6,0 7-14,-1-4-7,1 0 8,3 1-9,0-1-20,0 0 27,0 4-31,0 0 37,0-1-15,0-2 10,-3 6-13,3-7 11,-3 4 20,3 0-12,-3-1 15,-1-2-19,1-1 27,0 0-19,-1 1 22,1-1-20,-4 0-3,4-3 5,-4 4 6,4-4-9,-4 0 12,4 0-13,-3 0 8,2 0-6,-2 3 8,-1-3-8,0 0-21,4 3 16,0-3-20,-4 4-6,4-1 20,-1 0-22,1 1 24,-4-1-9,4 4 4,0-4-5,0 4 49,-1 0-30,1-4 30,0 4-40,-4-1 39,4 1-26,-1 0 30,1-4-33,0 4 6,-4-1-2,0-2 8,4 3-16,-4-1 12,1-2-8,3 2 7,-4-2-55,4 2 39,-1-2-43,1 2 54,0-2-6,-1-1 3,4 4-7,-3-4-12,0 0 4,3 1-7,0 2 7,-3 1-5,3-3 2,0-1-4,3 4 13,-6-4 0,3 0-3,3 4-1,-6-4 6,3-3-4,0 4 16,0-1 3,0 0-8,3 1 9,-2-1-19,-5-3 10,4 3-4,0 1 6,-3-1-7,0 0 14,3 1-8,-7-1 10,7 0-10,-3 1-8,0-1 9,-1 1-6,1-1 10,0 0-5,-1 1 2,1-1-3,0 0-18,-1 1 13,1-1-15,0-3-4,-1 7 13,5-7-15,-5 3 16,1 0 19,0 1-17,-1-1 17,1 0-2,0 1-4,-1-1 11,-2 0-10,2 1-3,1-1 1,-4 0-1,1 4-5,-1-3 3,1 2 1,-1 1 1,0 0-2,1-4 1,-1 4-1,-3-1 2,3 1 2,1 0-2,-4-4-1,3 4-1,0-4-2,1 4 2,2-4 10,-2 4-8,6-4 8,-4 4-12,4-4 12,1 1-8,-1 2 16,3-2-15,-3 2 16,7 1-12,-7-4 9,0 4-9,3 0-10,-3-4 7,0 4-9,0-4-4,-3 1 10,3-1-10,-3 0 8,3 1 4,-3-1-6,-1 0 5,1-3-40,3 0 29,-3 4-33,-1-4 39,4 0 31,-3 0-23,3 0 30,0 0-38,0-4-16,0 4 11,4 0-16,-4-3 29,0 0-7,0 3 7,0-4-8,0 4 5,0 0-3,-3 0 3,3-3-7,-4 3 5,1 3-4,0-3 5,-1 4 10,1-1-10,0 0 6,0 4-6,-4 0-50,4-1 36,-4 1-37,0 3 64,4-3-14,-4-1 14,-3 1 32,7 3 14,-4-3 3,1 0-8,2-1-52,-2 1 8,-1 3-4,4-3 14,0-1-5,-4 1 8,4 3-5,-1-3 15,4 3-20,-3 0 19,3 0-21,0 0 35,0 3-18,0 1 16,4-1-22,-1 4 66,0-4-50,1 7 54,2-3-49,1 7-6,-3-4 10,6 3-8,-4-3-37,1 4 37,3-4-34,-3 3 46,0-6-223,3 3 46,-3 0-139,3-3 153,-7 3 64,4-3 48,0 3 0,-1 0 0</inkml:trace>
  <inkml:trace contextRef="#ctx0" brushRef="#br0" timeOffset="129">13305 3562 9502,'7'0'-292,"-4"0"74,0 0-183,1 0 267,2 0 79,-2 0 100,-4 0-5,7 0-8,-4 0 10,0 0-13,-3 0 16,7 0-8,-7 0 10,3 0-12,1 0-12,-4 0 7,3 0-5,-3 0 10,3 0 15,-3 0-9,4 0 100,-4 0-78,0 0 100,0 0-110,0 4 26,0-4-33,0 0 6,0 3 1,0 0 3,0 4-1,0-4 10,-4 1-11,1-1 19,0 4-18,-1-1 1,-2-2-4,2 3-6,1-4-19,-4 0 21,4 4-21,-1-7 25,-2 3 17,2 1-16,1-1 16,0-3-25,-1 0 5,1 3-7,0-3 7,-1 0-16,1 0 11,0 0-7,-1 0 12,1 0-39,0 0 26,-1 0-31,1 0-2,0-3 33,-1 0-35,1-4 37,0 0-26,-1 1 7,1-5-11,-1 1-40,1 0 47,3-3-53,-3 3 61,-1 0-58,4 0 41,-3 0-43,0 0 44,3 0-19,-4 3 7,1 0-7,0 1 9,3-1 6,-4 0-8,1 4 7,0 0-5,-1-1 4,1 1-3,0 3 1,-1-3 2,1 3-2,0 0 3,-1-4-4,-2 4 3,6 0-3,-4 0 3,1 0 5,-1 0-4,1 0 3,0 0 15,-1 0-13,1 0 13,0 4-17,-1-4-4,1 3 3,0 0-1,-4 1 3,7-4 1,-3 3-1,-4-3 1,4 3-5,-1 1 4,1-4-3,0 3 3,-1-3 10,1 3-8,-4-3 8,4 0-10,-1 4 0,-2-4-1,-1 3 2,4-3 11,-4 0-8,4 3 10,-4-3 0,4 0-8,-1 4 8,-2-4-9,2 0-15,1 0 11,0 0-11,-4 3 18,4-3-2,-1 0 2,-3 0-5,4 0 10,0 0-6,-1 0 7,1 0 17,-4 0-19,4 0 19,0 0-25,-1 0 13,1-3-8,0 3 11,-1-4-13,-2 4 4,2-3-1,1 0 3,-4-1-17,4-2 10,-4 2-12,4 1 14,-1 0-20,-2-1 14,-1-2-16,4-1 12,-4 3 5,0-2-8,4-1 9,0 0-11,-4 1 8,0-1-9,1 0 8,2 1-4,-2-4 4,-1 3-2,3 4 4,-2-4 0,-1 0-1,4 0 0,-4 4-7,0-4 5,4 4-4,-4-4-8,4 4 10,-4 0-11,4-1 12,0 1-9,-4-4 6,4 4-8,-4 0 10,3-1-6,-2 1 5,2-4-5,1 4 39,0-1-25,-4 1 26,4 0-34,-1-1 13,-2 1-9,-1-4 10,4 7-15,-4-3 3,4 0 0,-4-1 7,4 1-30,-4 0 22,0-1-25,0 1 29,4 3-53,-4-3 35,4-1-39,-4 4 40,4-3 6,-4 0-10,1 3 11,2-4-7,-2 1 5,2-1-5,-2 4 16,-1-3-12,3 0 13,-2-1-14,2 4 6,-2-3-2,2 3 4,1-3-2,0-1 4,-4 4 1,4-3-1,-1 3-7,1-3 0,0 3-2,-1-4-7,1 4 8,-4-3-7,4 3 8,-1-3-4,1-1 2,0 4-3,-4-3 3,4 3-15,-4-3 11,4 3-12,-1 0 14,-2-4-2,-1 4 0,4-3-1,-1 3-14,-2-3 12,-1 3-14,4-4 25,-4 4 1,3-3 1,1 3-3,-4-3-7,1 3 13,2-4-9,-2 4 11,-1 0-4,0-3-6,1-1 8,-1 4-7,-3 0 9,3 0-6,0-3 9,1 3-11,-1 0 9,-3 0-6,3 0 5,1 0-4,-1 0-1,-3 3 1,3 1-1,1-1-1,-1 1 2,-3 2-1,3 1-1,0 0 0,-3 3 1,4-4-1,-1 4-4,0 0 3,-3-3-3,4 3 4,-5 4-28,5-4 20,-1 3-22,-3-3 26,3 3-1,1-2 1,-4 2-29,3 0 21,-3-3-25,3 0 30,0 4-46,1-8 33,-1 5-36,0-5 43,4 4 5,0-6-4,3-1 2,0 4 13,-4-4-16,4 0 16,0-3 9,4 0-20,-4 0 22,3 0-26,4 0 14,-1 0-10,1 0 15,0 0-15,0 0 39,-1-3-28,-2 0 33,2-4-38,1 0 67,0 1-48,-1-4 50,1 3 9,0-3-46,-1-4 51,1 1-70,0 3 4,3-3 0,-3-1 5,-1 4-14,-2-3 11,2-1-6,1 4 15,0-3-31,-1 3 20,1 0-29,-4 0 32,4 0-41,0 3 23,-4-3-29,4 0 0,0 3 29,-1 1-32,1-1 36,-4 3-13,4-6 10,0 7-8,-1 0 7,1-1-1,0 1 1,-1 0-2,1-1 11,0 1-10,3 3 10,0-3-10,-3 3 3,3 0-1,-4 0 2,4 0-1,-3 0 26,3 3-16,-3-3 41,0 3-39,-1 1 14,1 2-19,3-2-1,-7-1-7,4 4 5,0-1-5,-4 1-2,4-3 9,-4 2-9,0 1 11,4 0 7,-3-1-5,-1 1 5,0 0-17,1-1 7,-1 1-7,0-4 8,1 4 13,2 0-10,-2 0 11,-1-4 19,4 0-21,-4 1 22,0 2-26,4-2 2,0 2-1,-4-6 2,4 7 1,0-4-9,-4 1 6,4 2-4,-1-2 3,1 2 10,0-2-5,-4 3 4,4-4 0,-1 4-7,1-1 4,-4 1 9,4 0-8,0-4 10,-4 4-13,4-4-1,0 0 0,-1 4 3,1-4 0,-4 1-5,4-1 5,0 0-7,-1 1 6,1-1-26,0 1 20,0-1-21,-1 0 7,1 1 9,0-1-12,-4 0-24,7 4 31,-7-4-35,7 1 40,-6 2-32,2 1 22,1-4-26,3 4 30,-3-4-13,0 4 9,-1-4-12,1 4 11,0-3-2,-1 2 2,1-2 1,0 2 1,-1-2-2,4 2 4,-3-2-3,0-1-1,0 4 3,3-7-3,-4 6 3,4-2-2,-3-1 2,0-3-2,3 3-18,-4-3 13,5 0-13,-5 0 18,1 0-2,3 0 1,-3 0 3,-1 0-4,4 0 4,-3 0-5,0 0 3,-1 0-3,1 4 3,0-4-2,0 0-44,-1 3 31,-2-3-33,2 3 42,1-3-29,0 4 20,-4-1-23,4-3 13,-1 4 9,-2-1-14,2-3 16,1 3-6,-3-3 6,2 4-7,1-4 34,0 3-22,-4 0 23,4-3-26,-1 0 17,-2 4-8,2-4 9,1 3-11,-4-3 46,4 0-30,-4 3 35,4-3-35,-3 4-10,-1-4 13,0 3-19,1 0 11,-1 1-11,0-4 12,1 3-33,-1 0 22,-3 1-24,3-1 27,-3-3-3,4 3 0,-4 1-2,3-1 0,-3 0 0,3-3-3,1 4 2,-4-1-1,3 1 13,0-4-9,1 3 9,-1-3 0,0 3-6,1 1 8,2-4 24,-2 0-22,3 3 25,-1-3-32,-2 0 10,2 0-8,-2 0 11,2 0-11,-2 0 1,2 0-1,-2 0 1,2 0 1,-2 0-4,-1-3 3,0 3-4,1 0-8,-1-4 9,1 1-11,-1 0-4,0 3 13,-3-4-17,4 1 19,-1-1-14,-3 1 9,3 0-10,1-1 11,-4 1-4,3-4 3,-3 4-3,3 0 6,-3-1 4,4 1-2,-1-4 2,-3 4 3,3 0-7,1-4 8,-4 0 63,0 4-53,3-4 59,-3 0-72,3 1 54,1 2-36,-4-2 42,3-1-48,0 0 2,1-3-3,-4 4 6,3-1-39,-3 0 32,3 1-33,1-1 39,-4 0-46,0 4 30,3-4-38,-3 0 44,4 4-29,-4-4 21,3 1-20,-3 2 5,3 1 8,-3 0-12,0-1 10,4-2 7,-4 2-6,3 1 6,-3 0-1,3-1 0,-3 1 2,4-1-3,-1 1 2,0 0-1,1-1 3,-1 1-3,0 0 1,1-1 0,-1 1-1,0-4 0,1 7 0,-1-3 0,0-4 0,1 4 5,-1 0-3,0-1 4,1 1-6,-1 0 13,1-1-8,-1 1 9,0 3-15,1-3 3,-4-1-1,6 4-3,-6-3 4,4-1-4,-1 4 5,-3-3 10,3 3-7,1-3 7,-4 3-9,3-4 5,0 4-4,1 0 5,-1-3-8,0 3 1,-3-3-1,4 3 2,-1 0 5,0-4-3,1 4 5,-1 0-7,0 0 2,1 0-2,-1 0 2,-3-3 0,7 3 0,-4 0 1,1 0-2,-1 0-9,4 0 6,-7 0-6,6 0 9,-2 0-5,2 0 4,-2 0-27,-1 0 21,0 0-17,4 0 20,-4 0-7,1 0 4,2 0-7,-2 0 8,3 0 0,-4 0 0,4 0-2,-4 0 0,4 0 5,-1 0-3,1 0 3,0 0-4,-1 0 3,-2 0-3,6 0 5,-7 0-2,4 0 2,0 0-1,-1-3 0,1 3-2,0 0 1,-1-4-1,1 4 0,-4-3 1,4 3 0,0-3-1,-1 3 8,-2-4-6,-1 4 7,4 0-9,-4-3 0,1 3 1,2 0 0,-2 0-1,-1 0 2,0 0-2,1-3-1,-1 3 2,0 0-3,1 0 4,-1 0-27,0 0 19,1 0-20,-1 0 25,0 0-1,1 0 0,-1 0-1,0 0 1,1-4-2,-1 4 1,0 0 0,1 0 6,-1 0-6,1 0 7,-4 0-3,3 0-2,0-3 2,1 3 1,-1 0 5,0 0-2,1 0 3,-1 0-8,0 0 17,1 0-10,-4 0 12,3 0-19,0 0 2,1 0-1,-4 0 3,3 0-7,0 0 4,-3 0-4,4 0 0,-1 0 4,-3 3-4,3-3 4,-3 4-1,4-1-1,-1-3 0,0 3-1,-3 1 10,4-1-8,-1 0 8,1 1 25,-1-1-23,0 0 26,1-3-32,-1 4 26,0-1-18,4 0 22,-7 1-25,3-1-10,4 0 7,-7 1-6,3-1-9,1 1 16,-1-1-17,-3 0 20,3 1-12,1-4 6,-1 3-6,-3 0 3,3 1-10,-3-1 3,4 0-6,-4 1 4,3-1 7,1 0-5,-4 1 6,3-1 0,0 0 1,-3 4-2,4-4 34,-1 1-24,0-1 25,1-3-32,-4 7 5,3-7-2,0 3 4,-3 1-8,4-1 6,-1 0-6,-3 1 9,3-1-17,1 0 13,-4 1-13,3-4 1,-3 3 8,0 0-11,3-3 13,1 4-10,-4-1 7,3 0-11,-3-3 11,3 4-4,-3-1 2,4-3 1,-1 3 2,-3 1-1,3-4 1,1 3-1,-1 0-1,1-3 0,-4 4 0,3-4 0,0 3 0,1-3 0,-1 3 0,0-3-29,1 4 21,-1-4-22,0 0 28,1 0-8,-1 0 6,0 0-8,1 0 8,-1 0-3,0 0 2,1 0-2,-1 0 8,0 0-8,-3 0 8,4 0-7,-1 0 6,0 0-3,1 0 6,-1 0-18,-3 0 10,4 0-9,-1-4 11,0 4-16,-3-3 8,4 3-10,-1-3 12,0 3-22,1-4 14,-1 4-15,4-3 22,-4 0 1,0-1-3,1 4 8,2-3-8,-2 0 8,-1-1-11,4 1 13,-4 0-7,4-1 9,-4 1-7,4 0 12,-4-1-6,1 4 8,2-3-10,-2 0 10,2-1-5,-2 4 6,-1-3-6,4 3-4,-7-3 6,6 3-20,-2 0 10,-1 0-10,0 0 13,1 0 2,-1 0-1,-3 0 2,7 0-3,-7 0 6,3 0-7,-3 0 7,4 3-9,-1 0 11,0 1-7,1-1 6,-4 0 0,3 1-6,0-1 7,1-3-3,-1 3-1,0 1 2,1-1-2,-1 0-6,0 1 5,1-1-6,-1 0 6,4 1-1,-4-1 1,0 0-1,4 1 2,-4-1-2,1 0 2,3 1-2,-4-1 1,4 1 0,-4 2 1,4-2-1,-1-4 1,1 3 0,0 0-1,-4 1 0,7-4 0,-3 3 1,-1 0-1,1 1 0,0-4 0,0 3 0,-1-3 0,4 3 0,-3-3 0,3 4 0,-3-4 0,-1 0 0,4 0 0,-3 3-13,0-3 9,3 0-10,-3 0 13,-1 0-30,4 0 21,-3 0-23,0 0 29,-1 0-28,1 0 20,0 0-24,0 0 27,-1 0-4,-2 0 1,2 0 1,1 0 0,-4 0-3,4 0 2,-4 0-28,1 0 20,2 0-21,-2 0 26,-1 0-21,0 0 15,1 0-14,3-3 19,-4-1-7,0 1 4,1 0-8,-1-1 41,4-2-28,-4 2 28,4 1-36,-4 0 25,4-4-19,-4 4 20,4-4 12,-4 3-22,4-2 30,-4-1-28,4 4-2,-4-4 7,4 0-9,-4 4 9,1-4 0,2 1 1,-2 2-1,-1-2-7,0-1 1,1 4-3,-1-4 2,-3 3 1,3 1-2,1 0 3,-1-1-11,-3 1 8,3 0-8,-3-1 10,4 1-2,-4 3 1,3-3-1,0-1-1,1 4-17,-1 0 10,0-3-11,1 3 8,-1-3 7,1-1-10,-1 4 10,0-3 4,1 0-2,2-1 5,-2 1 14,2 0-16,-2-4 18,2 4-22,-2-1 23,2 1-14,-2-4 15,2 4-18,-2-1 17,2-2-9,-2 2 10,3 1-3,-4-4-10,4 4 13,-4 0-15,4-4 5,-1 4-4,-2-4 4,2 4-7,-2-1 6,2-3-6,-2 4 6,-1 0 7,4-1-6,-4 1 6,0 0-7,1-1 4,-1 1-4,4 0 5,-4 3-1,1-4-2,-1 4 2,0-3-9,1 3 4,-1 0-5,4-3 7,-4-1 10,4 4-7,-4 0 6,0-3-8,4 3 9,0 0-7,-4 0 8,4 0-16,-4-3 5,4 3-5,-4 0 1,4 0 4,-4 0-3,4-4 5,-4 4-11,4-3 8,-4 3-10,1-3 11,2 3-10,-2-4 7,-1 1-10,4 0 12,-4-1-8,4 1 6,-4-1-5,1 1 5,2-4-1,-2 4 1,2 0-1,-2-4 0,-1 0 0,4 1 0,-4-1 0,0 0 0,1 1 0,-1-1 1,0 0-5,1-3 4,-1 3-3,0-3 3,1 0-15,-1 4 11,-3-4-11,3 0 15,1 3-1,-4-3 1,3 3 1,-3-3-2,4 0 2,-4 3-3,3 1 3,0-4-1,-3 3 2,4-3-3,-4 3 1,3 0 0,-3-3 1,3 4 1,-3-1-5,4 0 4,-1 1-4,0-1 3,1 0-6,-1 1 4,0-1-4,1 0 6,-1 0-1,0 4 1,4 0 23,-4-1-17,4-2 18,-4 2-24,8 1 20,-8 3-13,4 0 15,-4-3-16,7 3 4,-7-4-1,4 4 4,-4 0 26,4 0-23,0-3 25,-1 3-30,-2 0-15,2 0 12,-2 0-11,3 0 16,-4 0-25,4 0 17,-1 0-22,-2-3 20,2 3 1,1 0-3,0 0 4,-1-4 0,1 4-2,0 0 1,0 0-2,-4-3 13,7 3-12,-3 0 11,-1 0-13,4 0 5,-3-3-3,0 3-1,-1 0 2,1 0-3,0 0 4,0 0 3,-1 0-1,-2 0 0,2 0-3,1 0 7,0 0-4,-1 0 6,-2 0-7,2 0-11,1 0 8,0 0-8,-4 0 5,4 0 4,0 0-4,-4 0 6,4 3-13,-1-3 8,-2 0-8,2 0 2,-2 0 6,2 3-8,1-3 8,0 0-33,-1 0 23,1 0-24,3 4 30,-3-4 2,0 0-1,3 0 0,-4 0-7,4 3 1,-3-3-2,3 0 3,0 3 7,4-3-6,-4 0 5,0 0-2,0 4-1,3-4 2,-3 0-3,0 0 11,4 0-9,-4 3 12,0-3-13,0 0 28,-4 0-19,4 0 19,-3 0-7,0 0-12,-1 0 14,1 0-13,0 0-5,-4 0 6,1 0-3,2 0-6,-6 0 8,7 0-10,-4 0 10,1 0-17,-1 0 11,0 0-12,4 0 5,-4 0 7,4 0-9,0 0 5,-4 0 1,4 0-1,0 0 2,-1 0 3,4 0-3,-3 0 4,0 0-4,-1 0 6,1 0-3,0 0 3,-4 0-4,4 3 12,-1 1-8,1-4 9,-3 3-12,2-3 0,-2 3 0,2-3 12,-2 0-7,-1 4 7,4-4-9,-4 0 6,0 3-3,1-3 3,-1 3-4,0-3-11,1 0 9,-1 4-9,0-4 9,1 3-20,-1 1 14,0-1-15,1 0 8,-1-3 8,1 4-11,-1-1-5,0 0 8,1 4-10,-1-4 11,0 1 23,4-1-19,-4 0 18,1 1-19,-1-1 28,0 0-18,1 1 21,-1-1-25,0 0 1,4-3 2,-4 0 1,1 4-1,3-4 44,-1 0-33,-2 0 17,2 0-28,1 0-12,3-4 18,-7 4 10,7-3-10,-3 0 9,0-1-10,-1-2 25,1 2-17,0 1 21,0 0-25,-1-1-61,1 1-18,-4 3-5,7-3 16,-3-1-433,0 4 109,-1 0-176,4 0 297,-3 0 258,3 0 0,0 0 0</inkml:trace>
  <inkml:trace contextRef="#ctx0" brushRef="#br0" timeOffset="130">14380 3479 9502,'10'0'-109,"-7"0"7,4 0 121,-4 0-98,1 0 71,2 0-92,-2 0 133,-1 0 19,-3 0 50,3 0-14,1 0 20,-4 0 16,3 0 15,-3 0 24,3 0-39,-3 0 416,0 0-323,0 0 285,4 0-414,-4 0 9,3 0-23,0 0 14,1 0-10,2 0-53,1 0 52,-4 0-55,8 0 52,-5 0-26,1 0 19,3 0-21,0 0 29,-3 0-76,-1 0 46,4 0-52,-3 0 4,0 0-17,0 0-10,-1 0 15,1 0 1,0 0-8,-1 0-12,1 0-20,0 0 58,-1 0-16,-2-4 5,2 4-40,1-3 17,0 0-24,0-1 37,-1-2 14,1 2-13,0 1 11,-1-1-19,4 1 16,-3 0-14,0-1 16,-1 1-2,1 0 0,0-1 0,0 4-22,-4-3 16,4 3-16,-4-3 21,0 3-9,1 0 6,-1-4-8,0 4 5,-3 0 20,4 0-17,-4 0 17,3 0 5,0 0-125,-3 0 99,0 0-105,0 4 55,0-4 36,0 3-45,-3 0 52,0 4-2,-1-4 2,-2 4-12,-1-4 45,0 1-42,-3 3 43,3-1-41,-3 1 62,4-4-41,-4 4 46,3 0-11,-3-4-31,3 4 44,-3-4-48,4 0-13,-1 1 9,-3-1-12,3 0 12,0-3 7,1 4-8,-1-4-9,4 0 12,-4 0-17,0 0 19,4 0 20,0 0-15,-1 0 14,1 0-21,3 0 51,-3 0 18,3 0 70,-4 0-52,8 0-1,-4 0-48,3 0-1,4 0 8,-1 0-7,4 0 31,-3 0-27,3 3 26,0-3-32,3 3 43,-2-3-33,2 0 30,-3 0-40,3 0 0,-3 0 2,4 0 9,-4 0-14,0 0 15,0 0-13,0 0 15,3 0-16,-3-3 11,-3 0-13,3-1-15,0-2 19,0-1-20,-3 4 18,0-4-25,3 0 13,-4 1-16,1 2 25,-4-2-33,4-1 23,0 0-27,-4 0 28,1 4 3,2-4-5,-2 1 3,-1 2 6,0-2-5,1-1 5,-1 0-7,4 1-11,-7 2 9,6-6-9,-2 4 0,-1-1 8,0 0-9,1-3 14,-1 3-26,4 1 18,-4-1-21,4-3 5,-4 3 12,1 1-15,-1-1 17,4-3-10,-7 6 7,6-6-9,-2 7 9,-1-4-2,0 4 1,4-4 0,-7 1 0,7 2 1,-4-2 0,0 2 0,1 1-17,2-4 12,-2 4-12,-1-4 15,0 4-48,-3-1 32,7 1-35,-3 0 14,-4-1 23,3 1-27,0 0 33,1-1-9,-1 1 9,0 0-11,1-1-4,-1 1 2,0 0-2,1 3 3,2-4 2,-2 1-1,2 3 2,-2-3 3,2-1 15,-2 1-10,2 3 43,-2-3-39,-1 3 24,1-4-31,-1 4 17,0-3-13,1 3 17,-1-4-18,-3 4-35,0 0 18,3 0-28,-3 4 35,0-4 4,0 3 4,-3 1 22,-4 2-17,1 1 14,-5 0-6,1 3-12,0 0 14,-3-4 1,0 4-12,-4 0 17,3 1-18,-2-1 1,-1 3 2,-3-3 0,3 0 2,-3 3 5,0 1-4,0-4-2,3 3 1,-6 1-68,6 2 48,-3-2-57,3 3 67,4-4-8,-4 4 7,7-4-5,0 0 20,0-2-16,3 2 17,4-3 18,-1 0-25,1-3 27,3-4-33,0 0-15,0-3 13,0 4-8,3-4 14,4 0 0,3-4 0,0 1-3,4-4 54,-1-3 14,0 4 2,-2-4 61,2 0-99,0-1 52,1-2-59,-1 3 60,-3-3 32,4 3-3,-4-4 12,0 4-31,3-3 44,-3-1-23,3 1 24,-3 0-136,1 3 71,-1-4-71,-4 4 10,4-3-20,-3 6-8,0-3-30,-1 0 37,1 3 0,-4 1-6,4-1 20,-4 3-1,4-2-5,0 2-5,0 1 7,-4 0-14,4-1 8,-1 1 4,1 3 8,3-3-3,-3-1 4,-1 1-5,4 0 5,1-4-5,-5 4 7,1-1 0,3 1 0,-3 0-2,-1-1 3,1-2-2,0 2 2,-1 1-3,1-1 2,0 1-1,-4-4 2,4 4-2,-4 0 2,4-1 0,-4 1 0,1 0 8,-1-1-7,0 1 7,1 0-35,-1 3 20,-3-4-20,3 4 26,1-3-35,-4 3 24,3-3-28,-3 3 33,0 0-41,0 0 23,3 0-32,-3-4 37,0 4-6,0 0 60,0 0-43,0-3 44,0 3-8,0-3 10,0 3 10,0-4-12,0-2 13,0 2-35,0-3 42,4 1-46,-1-1 36,0-3-26,1 3 32,-1 1-51,4-4 20,-4 0-20,4 3 15,0-3 2,-4 3-5,4-3 8,-4 3-29,4 1 21,-1-1-24,1 0 25,-4 1-33,4-1 26,-4 0-28,4 1 32,0-1-9,0 0 5,-1 0-6,-2 1 30,2 2-20,1-6 20,-4 4-26,4 2 2,-4-2 0,4-1 2,-4 0-8,4 4 7,-4-4-5,1 0 6,-1 7-17,0-3 14,1 0-16,-1-1 20,1 4-52,-4-3 36,3 3-41,0 0 13,-3 0 23,4 0-32,-1 0 46,0 0-12,1 0 11,-1 0-14,0 0 21,1 0-16,-1 0 16,4 0-17,-1 0 16,1 0-11,0 3 13,-1-3-11,1 0 40,0 0-21,3 0 25,-3 0-30,-1 0 18,4 0-11,-3 0 13,3 0 1,-3 0-18,0 0 23,3 0-44,0 0 19,-4 0-20,4 0 22,0 0 0,0 0 0,-3 0-1,7 0-3,-4 0 57,0 4-41,0-4 43,0 0-54,0 0 48,0 0-31,3 0 35,-3 0-27,0 0-13,0 0 24,-3 0-58,3 0 34,-3 0-34,6 0 39,-6 0-68,0 0 51,-1 0-59,4 0 67,-3 0-57,3 0 33,-3 0-40,3 0 45,-4 0-34,1 0 28,7 0-36,-8 0 31,1 0-8,3 0 5,-3 0 40,-1 0-24,4 0 30,-3 0-39,0 0 52,-1 0-36,-2 0 43,3 3-52,-4-3 26,4 0-18,-4 0 24,0 0-24,1 0-2,-1 0 1,4 3-1,-4-3-31,4 0 31,-4 0-33,0 0 6,4 0 20,0 0-29,-1 4 32,1-4-20,0 0 14,0 0-14,3 3 15,-4-3-6,1 4 4,0-1-5,3-3 5,-4 3-2,1 1 1,3-4 0,-3 3 0,0-3 0,3 3 1,-4-3-11,1 4 8,3-1-7,-3-3 9,3 0-19,-4 3 14,5-3-15,-1 0 17,-4 0 3,4 0-3,-3 0 2,3 0-3,-3 0 6,3 0-4,-4 0 6,5 0-13,-5 0 4,1 4-3,0-4-10,-4 0 11,4 3-11,-1-3 15,1 3-34,-4-3 23,1 4-26,-1-4 29,0 3-36,1 0 21,-1-3-25,1 4 28,-4-4-35,3 0 21,-3 3 11,3-3 8,-3 0 28,0 3-36,0-3 45,0 0-30,0 0 36,0 0-43,0 4-37,0-4 32,0 0-31,0 0 63,-3 0-18,0 0 17,3 0-24,-7 0 27,0 0-22,0 0 23,1 0-25,-1 0 6,-3-4-4,0 4 5,0-3 19,-4 0-15,1-1 24,3 1-26,-3 0 6,-1-1-7,-2 1 1,2 0-7,-3-1 6,1 1-5,2-4 5,-2 4 7,2 0-5,-3-1 4,4 1-4,-4 0 39,4-4-28,3 3 31,-4 4-39,1-3 29,0 0-20,-1 3 26,4-4-33,0 4 8,-3-3-6,3 3-8,0-3 9,-4 3-9,8 0 14,-4 0-18,0 0 12,-4 0-16,4 0 18,0 0-16,0 0 11,0 0-14,0 0 19,-3 0-7,-1 0 6,4 0-6,-3 0 2,-1 0-1,1 0 1,0 0-1,-4 0 0,3 3 1,1 0 0,-4 1 1,4-4-1,-1 3 1,-2-3-7,2 3 4,1-3-5,0 4 6,-4-4 4,3 3-3,1 1 3,-4-1-4,1-3 0,2 3 1,-3 1-1,4-1 1,-4 0 0,4 1 0,-1 2 2,1-2-30,0-1 23,-1 0-24,1 4-2,3 0 22,3-4-28,-3 0 31,3 4-14,1-4 10,-1 4-12,4-3 29,-4 2-16,4-2 15,-1 2-19,1 1 13,-4 0-9,4-1 10,0-2-10,-1 2 32,1 4-18,0-3 21,-4 0-21,3 0-12,-2 3 10,2-4-10,-2 1-45,-1 3 37,0 0-40,1 0 51,-1-3-76,-3 3-19,7 0-12,-4 0-355,0 0 141,0 0-245,4 0 321,-4 0 117,4 0 131,-4 0 0,4 4 0</inkml:trace>
  <inkml:trace contextRef="#ctx0" brushRef="#br0" timeOffset="131">18130 2886 9502,'6'3'530,"-2"1"-420,-1-4 58,0 6 7,1-6 83,-1 4-64,4-1 14,-4 0-54,4 1 12,-1-1-35,1 4-25,3-4 34,0 4-30,0-4 36,0 4-85,4 0-16,-1-1-3,0 4 32,1-3-13,-1 0-7,4 3-42,-4 0-26,4 0 80,0-3-24,0 3-22,-4 0-16,4-4-24,3 4 24,-3-3 52,-1 3 7,1-3-2,3 3-6,0 0-68,0-3 49,0 3-45,1 0 59,-1 0-31,3-4 19,0 4-29,1 1-27,-1-1 41,-3-4-45,4 1 31,-4 3 18,0-3-29,-3-1 32,0 4-64,-4-3-17,0 0-1,1 3 1,-1 0-34,-3 3 16,-3-3-97,3 0-105,-7 4 42,4-4-87,-4-3-197,1 3 114,-4-4-189,3 1 215,-3-4-113,0-3 260,0 4-129,0-8 264,-3 1 0,-1-4 0</inkml:trace>
  <inkml:trace contextRef="#ctx0" brushRef="#br0" timeOffset="132">17959 2943 9502,'7'-3'-141,"-7"3"11,3-4 189,-3 4-3,3-3 132,-3 3-74,0-3 46,0 3-32,4-4 16,-4 4-19,0-3 87,0 3-23,3-4 124,-3 4-119,3-3 65,4 3-116,0-3 53,-1 3-46,8 0-15,-1 0 16,7 0-108,0 0 23,7 6-76,3 1 101,0 3-129,7 0 78,0 4-130,3-1 94,-3 0-72,-4 1 57,4-1-82,-7 1 50,-3-4-223,0 0 58,-7-4-129,-3 1-312,-7-4 456,0 1-303,-3-1 496,-4-3 0,4 3 0</inkml:trace>
  <inkml:trace contextRef="#ctx0" brushRef="#br0" timeOffset="133">18615 3134 9509,'0'0'230,"3"0"-56,1 0 26,-4 0-11,3 0 68,0 0-108,1 0 51,-4 0-69,3 0 66,0 0 2,1 0 11,3 0-27,-4 3-28,4-3-4,-1 7 8,1-1-13,0-2-57,3 3 31,0 3-30,0 0 9,0-4 25,3 4-24,1 0-10,-1 0-9,-3 0-18,7 1 33,-4-5-78,1 4 42,-1 0-113,0-3 21,1 0-1,-1-1-4,1 1 40,2 0-20,1 0 4,0-1 11,-1 1-42,1 0 82,3-1-53,-3 1 54,3 0-71,0-1 48,0 1-56,0 0 61,-3-4-14,3 4 13,-3 0-5,0-1 1,-1 1-32,1 0 24,0-1-25,-4-2-11,1 6-15,-1-4-1,-3 1-125,4 3 67,-4-3-118,0 0 124,-4-1-99,4-2 89,-3 2-124,0-6 80,-1 4-293,-2-1 89,-1 0-171,1-3-101,-1 0 178,-3 0-139,0 0 329,0 0 106,0-3 152,0-4 0,-3 1 0</inkml:trace>
  <inkml:trace contextRef="#ctx0" brushRef="#br0" timeOffset="134">8273 5424 8847,'3'-7'-245,"1"7"493,-4 0-67,3-3-108,-3 3-87,3-4-10,-3 4 10,4 0 80,-4-3-10,3 3 42,-3-3-30,3 3 39,-3-4-46,4 4 45,-1-3-35,0 3 30,-3 0-37,4-3 8,-4 3-5,3-4 17,1 1-14,-1 3-36,-3 0 24,3-3-69,1 3 68,2 0-28,-2 0 34,-1 0-25,0-4 16,4 4-18,0 0 21,-1 0-44,-2 0 29,6 0-39,-4 0 44,1 0-21,0 0 16,0-3-56,-1 3 5,1 0-6,0-3 11,-1 3-33,-2 0 48,2-4-54,-2 4 66,2-3-30,-2 0 21,2-1-30,-2 1 22,3-1-27,-4 1 10,0 0-10,4-4 12,0 0 30,-4 4-25,0-4 25,1 1 6,2-1-17,-2 0 24,-1 4-24,0-4 0,1-3 3,-4 7-3,3-4 4,0-3-2,-3 3 4,4 1-3,-1-1-3,-3 0 3,3-3-4,-3 0 3,0 4-6,4-5 1,-4 5-3,0-4-2,0 0 6,3 3-5,-3-3 6,0 0-8,0 3 6,0-3-7,0 3 4,0 1 1,4-4 0,-4 3 2,0 0-3,0 1 1,0-1-2,0-3 3,0 3-6,0 1 4,0-1-4,0 0 0,0 0-1,0 1-1,3-1 20,-3 0-10,0 1 16,0-1-20,0 4-8,3-4 7,-3 0-6,0 1 8,0-1-9,0 3 6,0-2-6,4-1 9,-4 4-10,0-4 8,0 0-8,0 4 9,0-4-5,3 1 2,-3 2-6,3-2 3,-3-1-3,0 4 3,4-4 1,-4 0 1,0 4 0,3-4 0,-3 4-28,0-4 21,0 4-22,0-1 27,3-2-20,-3 2 14,0 1-17,0 0 29,0 3-9,0-4 8,0 1-12,0 0 8,0 3-8,0-4 8,0 4 3,0-3-7,0 3 9,0-3-10,0-1-6,0 4 5,0 0-2,0-3 4,0 3 11,0-4-8,0 1 12,0 3-12,0-3 5,0 3-7,0-4 0,0 4 10,0-3-6,0 3 8,0-3-14,0-1 3,0 4-1,0 0 3,0-3-5,0 3 4,0 0-8,0 0 8,-3 0-4,3 0 10,0 0-5,-3 0 4,3 0-5,0 0 10,-4 0-7,4 3 9,0-3-11,0 4 1,-3-1 1,3-3 0,-3 3 0,3 1 18,-4 2-10,4 1 11,-3 0-14,0 3-6,-1-3 5,4 3-3,-3 3 3,-1 0 1,1 4-1,-4-3-8,4 6 5,0-4-6,-1 4 8,1-3-33,0 7 23,-1-4-25,1 0 30,0 0-12,3 3 5,-4 1-7,1-4 9,3 0 6,0 0-7,-3 3 15,3-2-14,0-1 10,0 0-10,-4 0 3,4 0-2,0-3 2,-3 3-1,3-4-9,-3 5 8,3-5-8,-4-2 11,4-1-5,-3 1 5,3-4-5,-3 0-29,3-4 22,0-2-27,0-1 33,-4 0-115,4-3 82,0 0-91,0-3 109,0 0 38,0-1-27,0 1 24,0-4-36,0 1 41,0 2-27,0 1 37,0-4-45,0 4 27,0-4-19,0 7 49,0-7-42,0 4 29,0 0-30,0-1 16,0 1-12,0-4 9,0 4-10,0-4 1,0 1 0,0 2 1,0-2 15,0-5-12,0 5 12,0-4-3,0 0-8,0 0 9,4 0-11,-4-4 8,3 1-6,0-1 7,1 1-7,-1-4 7,0 4-5,1-4 6,-4 4-6,3-4-6,0 0 4,1 1-3,-4-1-2,3 0-1,-3 4-2,3-4-6,1 0 13,-4 0-7,3 4 7,0 0 22,1-1-17,-4 1 17,3 0-22,0 2 25,-3 1-18,7 0 20,-7 0-25,3 4 1,-3-4 4,4 3-2,-4 4-18,3-4 13,-3 0-15,0 4-17,0-4 29,0 0-30,0 4 34,0-4-16,0 1 8,0 2-10,0-2 9,0-1 11,0 4-12,0-4 12,0 0-13,0 4 22,0-4-16,0 4 17,0-4-19,4 4 14,-4-4-6,0 4 8,0-1 7,3 1-14,-3 0 18,0-1-23,3 4 7,-3-3-6,0 3 6,0-3 3,4 3-2,-4-4 2,0 1-6,0 3 24,3-3-16,0-1 16,-3 4-19,4-3 21,-1 0-14,0-1 15,1 1 10,-1 3-22,0-3 26,-3-1-47,4 4 17,-1-3-16,0 3 23,1-4-42,-1 4 31,0 0-32,-3-3 34,4 3-31,-1 0 20,-3-3-27,3 3 32,1-4-22,-1 4 13,1-3-4,-1 0 7,4-1 7,-4 4-10,0-3 36,4-4-24,-4 4 29,1 0-36,-1-1 9,4 1-6,-1 0 9,-2-1-9,-1 1-12,0 0 11,1-1-11,-1 1-11,0-1 18,1 4-20,-1-6 2,-3 6 16,4-7-19,-1 4 22,0-1-8,1 1 5,-4-4-8,3 4 6,-3 0-3,3-4 3,1 0 0,-1 4-2,0-4 5,1 1-3,-1-1 3,0 0 27,1 0-21,-1 4 23,0-4-30,1 1 0,-1 2 1,-3-2 2,3 2-22,1-2 16,-1 2-16,-3 1 22,3 0-58,-3-1 42,4 1-48,-4 0 58,0-1-20,3 1 14,-3-1-19,4 1 11,-4-4-2,0 7 0,3-6-2,-3 2 32,0 1-24,0 0 25,3-4-1,-3 7-18,4-7 21,-4 4-20,0 0 6,3-1-1,-3 1 3,0 3-5,3-3 8,1-1-4,-4 1 5,3 0-4,0-1-2,1 4 3,-4-3-3,6 3 0,-6-4-1,7 4 0,-4-3 0,4 0 0,-4 3 0,4-4 0,0 1 0,-4 3 0,4-3 0,3-1 0,-3 1 3,-4 0-2,4 3 3,3-7-3,-4 7 19,1-3-13,0-1 16,-1 1-19,1 0 16,3-4-9,-3 4 22,0-1-22,3 1 7,-4-4-8,4 0 7,-3 4-4,3-4 4,0 1-6,-3-1-3,0 4 3,3-4-4,-4 0 4,4-3-3,-3 7 2,0-7-1,-1 3-16,5-3 14,-5 3-15,1-3-1,0 4 12,-1-4-14,1 3 17,3-3-13,-3 0 8,-1 0-9,4 0 9,-3 3 6,0-3-5,0 0 3,-1 3-3,1 1-4,-4-1 3,4 0-3,-4 1 7,1-1-3,2 0 4,-2 4-8,-1-4 3,4 0-2,-7 1 3,6 2-3,-6-2 2,7-1-4,-3 0 4,-1 1-3,0 2 2,1-2-2,-1-1 3,4 0-2,-4 0 1,0 4-2,4-4 2,-4 4 0,1 0 0,-1-1 0,0-2 0,1 6 0,-1-4 0,0 1 0,-3 0 0,4 3 0,-1 0 0,0-4 0,1 4 0,-1 0 0,1 0 0,-4 0 0,3 0 1,0 0 24,1 0-17,-1 0 19,0 0-25,1 0-3,-1 0 3,0 0-2,1 0 4,-4 0-3,3 0 2,4 0-1,-7 0 4,3 0-10,0 0 7,1 0-8,2 0 21,-2 0-8,-1 0 8,0 0-12,1 0 3,-1 0-3,4 0 4,-4 0-5,4 0-4,-4 0 3,1 0-3,2 0 5,-2 0 1,2 0-1,-2 0 3,2-3 16,1 3-12,0 0 12,-4 0-17,4 0 0,0-3 0,-4 3 3,4 0-1,-1 0 2,1 0-2,-4 0-3,4 0 5,0 0-4,-1 0 4,1 0-2,0 0 0,-1 0 0,1 0-2,0 0 18,0 0-13,-1 0 13,-2 0-16,6 0 13,-4 0-6,-2 0 8,2 0 6,1 0-14,0 0 15,-1 0-11,-2 0 0,3 0 2,-1 0-3,1 0 24,-4 0-17,4 0 17,-4 0-21,1 3 11,2-3-8,-2 0 9,-1 0-11,4 3-21,-4-3 21,-3 4-18,3-4 22,1 0-43,-1 3 27,0-3-29,1 3 20,-4 1 9,3-4-12,-3 3 22,4 0-4,-1 1 5,0-4-10,1 3-4,-1 0 3,0 1-2,1-4 2,-1 3 18,0-3-12,1 3 14,-1 1-16,4-4 9,-4 3-7,4-3 16,-4 3-14,0 1 8,1-4-9,3 3-22,-4-3 15,0 4-13,4-4 18,-4 3-29,1-3 20,-1 3-25,0 1 31,1-4-28,-1 3 19,0 0-23,1-3 13,-1 4 5,0-4-7,1 3 7,-1 0 2,0 1-3,1-4 1,-1 3-1,0 0 3,4-3-1,-3 0 1,2 4-8,-2-4 5,2 3-5,1-3 7,3 3-14,-3-3 10,-1 0-10,4 4 3,-3-4 7,3 0-7,-3 3 10,0-3-3,3 0 2,0 0-4,-4 3 12,1-3-9,3 0 10,-3 4-11,-1-4 10,-2 0-5,3 3 7,-4-3-8,4 3-15,-1-3 14,-2 4-14,-1-1-5,0 1 13,1-1-18,-1 0 20,0 1 3,-3 2-3,4-2 2,-1 2 10,0-2-11,1 2 11,-1 1-13,0 0 14,1-4-10,2 4 12,-2-4-12,-1 4 10,4 0-3,-4-4 6,1 4-4,2-4-6,-2 4 5,-1-4 2,4 0-3,-4 1 4,0 2-7,1-2 0,2-1 0,-2 0 1,-1 1-1,0-1-2,1 0 1,-1 1-1,4-4 2,-4 3-1,1 0 2,-1-3-2,0 4-2,1-1 3,2-3-3,-2 0 2,-1 0-1,0 0-1,4 0 1,0 0 1,-4 0 0,0 0 1,4 0-1,0 4 0,-4-4 0,0 0 0,1 0 0,3 0 0,-4 0 0,4 3 0,-4-3 0,0 3 0,1-3 0,-1 4-10,0-1 7,1 0-6,-1-3 8,0 4-5,1 2 3,-1-2-3,0-1 4,1 0 3,-1 1-3,0-1 3,1 0-3,-1 1 4,0-1-3,1 0 3,-1 1-1,1-1-2,-1 0 2,0 1 0,1-1 0,-1 1 0,4-1 1,-4 0-50,0 1 35,1-1-37,2 4 46,-2-4-22,-1 4 16,4-4-19,-4 4 19,0-4 4,1 0-3,-1 4 0,4-4 21,-4 4-21,1-4 20,2 1-11,-2-1-8,2-3 11,-2 4-11,2-4 21,1 3-11,0-3 14,-1 0-13,1 0 6,0 0-5,3 0 7,-3 0-10,-1 0 15,1-3-9,3 3 8,-3 0-16,-1 0 3,4-4-2,-3 4-2,0 0 4,0 0-4,-1 0 5,1 0-4,0 0 3,-4 0-2,4 0 2,-4 0-11,4 0 6,-4 0-7,4 0 8,-4 4 1,0-4-2,1 3 4,2 0-2,-2-3 2,-1 4-3,1-4 3,-1 3-2,4-3 2,-4 3-1,0-3-3,4 4 2,-4-4-1,1 3 2,-1-3 0,4 3 0,-4 1 1,0-1-47,1-3 33,-1 3-36,0 1 44,1-1-8,-1 0 5,0 1-9,1-1 23,-1 0-13,1 1 13,-1-1-16,0 0 18,1-3-13,-1 4 14,0-1-16,1-3 5,2 4-2,-2-4 5,2 3 0,-2-3 1,-1 0 0,4 0-10,-4 0 4,4 0-7,-4 0 9,4 0 3,0 0-2,-4 0 1,0 0-3,4 0 5,-4 0-3,1 0 4,2 0-5,-2 0-16,-1 0 12,0 0-13,1 0 15,-1 0-12,0 0 9,1 0-11,-1 3 11,-3-3 0,3 4 0,-3-4 9,4 0-4,-4 3 4,3 0-8,0-3 15,1 4-10,-4-1 13,3-3-17,1 0 20,-1 3-14,0-3 17,1 4-17,-1-4 2,0 3 0,1 0 0,-1-3-3,0 4 3,4-4-3,-4 3 2,1 0-2,-1-3 1,0 4-1,1-1-2,-1-3 3,0 3-4,1-3 4,-1 4 4,0-4-3,4 3 4,-3-3-5,-1 3 0,0-3 2,4 0-4,-4 4 1,1-4 0,-1 0 2,4 0-2,-4 0 1,4 0-1,-4 0 2,4 0-4,-4 0 3,0 0-3,4 0 2,0 0-1,-4 0 0,1 0 0,-1 0 0,4 0 1,-4 0 0,0 0-19,1 0-1,-1 0-3,0 0 5,1 0 12,-1 0 0,0 0-1,1-4 0,-1 1 7,0 0-7,1-4 5,-1 0-7,0 1 14,1-1-12,-1-3 13,4 0 0,-7 0-8,7 0 11,-4 0 1,0 0-7,1 0 8,2 0-9,-2 0-1,-1 0 1,0 0 0,4-1 0,-4 1 5,1 4-3,-1-4 5,0 0-7,4 3-2,-4-3 3,1 3-2,-1-3 2,0 3-1,4 1 0,-3-4 0,-1 3 9,0 0-7,4 1 6,-4-1-7,1 0 1,2 1-1,-2-1 1,2 0-7,1 0 5,-4 1-5,4-1 6,-4 0-6,8 4 5,-8-4-6,4 1 7,-4-1-4,4 0 2,-1 1-4,1-1 7,0 4-3,-1-4 3,-2 0-5,2 0 1,1 1 0,-4-1 1,4-3-2,-3 3 1,-1 4 0,4-4 1,-4 1-2,0 2 1,-3 1-1,4-4 1,-1 4-3,0-1 2,-3 1-14,4 0 12,-1-1-9,0 1 11,1 0-1,-1-1 2,0 1-2,4 0 1,-4-1 30,4 1-22,-4-4 24,4 4-31,0 0 34,0-1-23,-1 1 27,-2 0-30,6-1 2,-4 4 0,1-3-15,0 0 11,-1-1-10,1 4 14,0-3-8,3-1 4,-3 1-5,-1 3 8,1-3-7,0-1 4,-1 4-9,-2-3 9,2 3-16,1-3 10,-4-1-9,4 4 5,-4 0 4,1-3-3,3 3 11,-4-3-5,0 3 6,4-4-8,-4 4 13,1 0-9,-1 0 9,4 0-13,-4 0-1,0-3 1,1 3 0,2 0 3,-2 0-21,-1 0 16,4-3-17,-4 3 2,4 0 12,0-4-15,-1 4 18,-2-3-1,2 3 0,1-3-3,0 3 21,-1-7-17,1 7 17,0-3-20,-4 3 17,4-4-11,-1 4 13,1-3-13,-3 3-1,2-3 5,1 3-3,0 0 6,-4-4-7,4 4 5,-1 0-5,-2 0 2,-1 0 0,4 0 0,-4 0 6,4 0-5,-4 0 6,0 0-8,1 0 7,-1 0-6,4 0 6,-4 0-6,1 0 2,-1 0 0,4 0 0,-4 0 1,4 0-1,-4 0 1,0 0 1,1 0-12,2 0 9,-2 0-10,-1 0 0,0 0 6,1 4-8,2-4 10,-2 0-3,-1 0 2,1 0-2,-1 0 1,0 3 25,4-3-19,-7 0 20,7 0-24,-4 0-2,0 3 2,1-3 2,-1 0-4,0 0 6,-3 4-5,4-4-6,-1 0 7,0 3-7,1-3 9,-4 0-5,3 3 3,0-3-5,1 4 5,-1-4-7,-3 0 5,3 3-7,1-3 5,-1 3 0,1-3 0,-1 4 2,-3-4 0,7 3-2,-4 0 2,-3-3-3,3 4 2,1-1-1,-1-3 2,0 3-11,1-3 7,-1 4-7,-3-1 9,3-3-12,1 3 9,-1-3-10,0 4 15,-3-1-3,4-3 4,-1 3-6,0-3 7,1 4-6,-1-4 7,-3 3-4,4 1-3,-1-4 4,0 0-3,1 3 1,2-3 0,-6 0 1,4 3 1,-1-3-8,0 4 6,1-4-8,2 0 8,-2 3 1,-1-3-2,0 3 4,1-3-4,-1 0 2,0 4-2,1-4 3,-1 0-2,0 3 4,-3-3-4,4 3 1,-1-3 0,1 4 0,-1-4 1,-3 0-1,3 3 1,-3-3 0,4 0-1,-4 0 0,3 3 0,0-3 1,-3 0-7,4 0 5,-1 0-5,0 0-30,1 0 24,-4 0-27,3 0 34,0 0-8,1 0 4,-1 0-5,0 0 4,1 0 9,-1 0-10,0-3 10,1 0-5,2-1 0,-2 1 1,-4 0-4,3-1-13,1 1 10,2 0-9,-2-4 20,-1 4 1,0-4 0,1 0-1,-1 0-1,-3 1-4,3-1 4,4-3-6,-7 3 1,3-3-1,1 0 2,-4 0-1,3-3-7,-3 3 7,3 0-3,1-4-3,-4 4 8,3-7-10,-3 7 17,3-3-8,1 3 8,-4-3-10,3 3 15,-3-4-10,3 4 10,-3 0-14,4 0 11,-4 0-7,3 0 10,1 3-7,-4-3-5,3 4 4,-3-1-5,0-3 2,3 0 4,-3 3-4,0 0-2,0-3 2,4 0-3,-4 4 4,0-4-1,0 3 1,0-3-2,3 3 1,-3-3 2,0 0-1,3 0 2,-3 0 3,0 3-4,4-3 5,-4 0-6,3 0 3,-3 0 0,3-3 0,-3 6 3,0-3-3,4 0 3,-4 3-4,3-6 2,-3 6-1,0 0 3,0 1-4,0-1 1,3 0 0,-3 1 1,0-1-2,0 0 0,4 1 0,-4-1-2,3 0 2,-3-3-2,0 3 3,3-3-1,1 4 0,-4-4 1,3 3-1,-3-3 2,3 0-1,-3 3 0,4 0-1,-1 1 2,-3-1-2,0 0 3,3 4-2,1-4-18,-4 4 14,3-4-14,1 1 10,-4-1 5,3 4-7,-3-4 8,3 3-2,1-6 1,-1 4-2,0-1 5,1 0-4,-1 1 3,-3-1-5,7 0 35,-4 4-23,0-4 25,1 0-30,-1 4 22,0 0-11,1-1 13,-1 4-22,0-3-1,1 0 0,2-1 4,-2 1-13,-1 3 10,1-3-11,2-1-3,-2 4 11,-1-3-12,0 3 13,4-3-2,-4-1-2,1 1 0,2 3-1,-2-3 3,-1 3-2,4 0 16,-4-4-12,4 4 12,-4-3-13,0 3 9,4 0-5,-3-3 5,-1 3-6,4 0-4,-4 0 4,4 0-3,-4 0 12,0 0-6,1-4 7,2 4-9,-2 0-3,2 0 2,-2 0-2,-1 0-3,0 0 4,4 0-4,-4 0 5,1 0-6,-1 0 4,4 0-4,-4 0 5,4 0-5,-4 0 3,1 0-3,2 0 4,-2 0 10,2 0-8,-2 0 9,-1 0-13,0 4 2,1-4-1,2 0 0,-2 3 1,-1-3 0,0 3 1,1 1-3,-1-1 2,1 0-3,-1 1 4,0-1-4,1 0 2,-1 1-3,0-1 2,1-3 0,-1 3 0,0 4 0,1-4 1,-1-3 3,0 7-3,1-4 4,2 1-4,-2-1 0,-1 1 0,0-1 1,1 4-1,-1-4 0,4 4 1,-4-1-2,1-2 2,-1 2-2,0 1 2,1-4 8,-1 4-5,0 0 6,1-4-10,-1 4 1,0-4-1,1 4 2,-1-4 2,0 1-2,1-1 3,-1 0 2,0 1-2,1-1 3,-1 0-5,0-3-4,1 4 3,-1-1-3,1 0 3,-1-3-5,0 4 3,1-1-2,-1 0 0,-3 1 3,7-4-4,-4 3 4,-3 0-3,3 1 3,1-4-4,2 3-4,-6 1 4,4-1-4,-1 0 6,0 1 1,1-1-1,-1 0 1,0 1-1,1-1 1,-1 0 0,0 1-1,1-1 1,-1 0 0,4 1 1,-4-1-1,1 0 0,-1 1 1,4-1-1,-4 0 12,0 1-8,4-1 9,-4 0-11,1 1-3,2-4 4,-2 7-4,-1-4 2,0 0 0,4 1 0,-4-4-3,1 3 3,3 0-2,-4 1 2,0 2-3,1-2 3,-1-1-4,0-3 4,1 3-3,-1 1 2,0-1-1,1-3 1,-1 3-13,0 1 9,1-4-9,-1 0-8,0 3 13,1-3-14,-1 0 20,0 0-1,4 0-1,-4 0-1,4 0 8,-3 0-5,2 0 4,-2 0-8,2 0-4,1 0 3,0 0-2,-1 0 4,-2 0 10,2 0-7,-2 0 10,2 0-12,1 0 11,-4 0-9,4 0 7,-3 0-3,2 0-3,-2 0 3,2 0-6,-2 0 2,-1 0-2,0 0 3,1 3-34,-1-3 24,0 0-26,1 0 34,-1 0-13,0 0 9,1 0-13,-4 0 17,3 0-6,0 0 5,-3-3-8,4 3 2,-1 0-3,0-3 3,-3 3 17,4-4-12,-1 4 13,1-3-15,-4 3 7,3-3-4,-3 3 8,3 0-9,-3 0 14,4 0-10,-4 0 8,3 0 6,0 0-12,-3 0 13,4 0-14,-1 0 3,-3 0-3,3 0 4,1 0-5,-4 0 2,3 3-1,-3-3 1,3 3-2,1 1 1,-1-1-1,-3 0 2,3 1-1,-3-1 0,4 0-1,-1 4 0,0-3 1,1-1-1,-1 0 1,0 1 0,1 2 0,-1-2 0,1-1-8,2 4 6,-2-4-6,-1 0 8,0 1-49,4-1 34,-4-3-37,4 3 44,-4-3-7,4 4 2,-4-4-5,4 0 5,0 0 31,-4 0-28,4 0 27,-4 0-34,4 0 42,0 0-29,-4 0 53,4 0-48,-4 0 16,0 0-15,1 0 1,-1 3 4,4-3-3,-4 0 5,0 3-12,1-3 8,-4 0-8,3 4 5,0-4-6,1 3 3,-4-3-4,3 3 5,0-3-1,1 0 1,-1 0-2,1 0 2,-1 0 0,-3 0 0,3 0 0,4 0 0,-4 0 0,1 0 0,-1 0 11,0 0-9,1 0 10,2 0-11,-2 0-1,-1 0 1,0 0 0,1 0-1,-1 0 1,4 0 0,-7 0-95,7 0 22,-4 0-89,0 0 92,1 0-434,-1 0 145,0-3-152,4 0 270,-4-4 240,7-3 0,-3-3 0</inkml:trace>
  <inkml:trace contextRef="#ctx0" brushRef="#br0" timeOffset="135">11062 4583 9058,'0'-3'-201,"0"0"432,0 3-94,0-4 52,3 4-19,1-6 2,-4 2 46,3 1-51,-3 0 8,3-4 9,1 4-42,-1-7 4,0 3-5,4-3-78,0-4 45,3 1-47,0-4 75,0 4-84,0-7-7,3 0-23,1 0 20,-1 0 19,0 3-13,1 0-24,-4 0-39,3 1 0,1-1 20,-4 3-44,-4 4 59,4 0-24,1 4 21,-8-4-42,4 3 54,-1 0-58,1 1 69,-4-1-41,1 0 30,2 4-28,-2-4 29,-1 4-54,0-4 41,1 4-46,-1-7 29,4 3 7,-4 0-13,4 1-15,0-4 30,-4 3-35,0 4 38,4-8 23,-4 8-17,4-4 20,-4 1-28,1 2-12,-1 1 10,4 0-10,-4-1-9,0 1 14,4 0-14,-4-1 8,1 1 9,2 0-10,-2-1 12,3 1-2,-1 0 2,1-1-4,3-2 2,-3 2 19,3 1-15,-4-4 15,1 4-21,3-1 71,-3 1-49,3-4 59,0 4-9,-3 0-35,3-4 47,-4 4-59,1-1 12,0 1-11,-4 3 16,4-3-57,-4 3 37,0-4-38,4 1 46,-7 3-36,4 0 23,-1 0-22,0 0 22,-3-3-13,4 3-1,-4 0-7,3 0 1,0 0 15,-3 0-18,4 0 79,-1 0-52,0 0 51,1 0-60,-1 0 65,0 0-43,4 0 48,-4 0-53,1 3 4,-1-3 4,4 0 4,-4 0-3,4 0-30,-4 3 25,4 1-27,-4-4-45,4 0 55,-4 3-61,4-3 40,-4 3 16,1 1-24,2-4 21,-2 0 4,-1 3-10,4 0 7,-4-3-8,0 4 7,1-1-6,-1-3 7,0 3-3,4-3-6,-3 4 6,-1-4-7,0 3-2,1-3 10,-1 3-9,4 1-28,-4-1 25,4-3-29,-4 3 34,0 1-35,1-1 23,2 1-30,-2-4 38,-1 3-6,0 0 4,4 1-6,-4-4 3,1 3 6,-1 0-4,1 1 6,-1-4 2,4 3-7,-4 0 8,0 1-9,1-1 0,-1-3 3,0 3-2,4-3-25,-4 4 17,1-4-21,-1 3 28,0-3-28,1 3 20,-1-3-25,4 0 28,-4 4 11,0-4-8,4 3 7,-3-3-11,-1 0 15,4 0-10,-4 0 14,0 0-2,4 3-10,-4-3 13,1 0-13,2 0-33,-2 0 27,-1 0-27,0 0 33,4 0-2,-4-3 0,1 3-2,-1-3 9,1-1-6,2 1 4,-2-4 27,-1 4-27,4-7 28,-4 7 11,0-7-31,4 3 36,-4 0-40,4 0 0,-4-3 8,4 4-7,-4-4 6,4 0-1,0 0 0,0 0 1,-1 3 4,-2-7-10,2 4 7,1 0-6,0 0 4,-1-3 0,1 3-3,0 0 70,-4-4-52,4 4 54,-1-3-62,1 3-10,-3 0 12,2 0-9,1 0 13,-4 0-20,4 0 19,-4 3-17,1-3 23,2 3-53,-2-3 36,-1 4-40,4-4-3,-4 3 34,4-3-42,-4 3 0,0 0 25,1-3-29,3 4 34,-4-1-7,0-3 1,4 0-4,-4 0 9,1 3 16,-1-3-13,4 3 12,-4-3-16,0 0 12,1 4-9,-1-4 9,0 3-10,1 0 19,-1 0-11,0 1-25,-3-1 14,4 0-32,-1 1 41,-3 2-59,0-2 42,3 2-45,-3-2 51,4 2-14,-4-2 3,0-1-12,3 4 41,-3-4-21,4 0 22,-4 4-25,0-4 8,3 4-7,-3-4 9,0 4 17,0-4-19,3 4 27,-3-1-30,0-2 14,0 2-11,0 1 12,4 0-9,-4-1-19,0 1 12,0 0-16,3-1 21,-3 1-52,0-1 37,3 1-43,-3-4 25,4 4 15,-4-4-17,0 1 5,3 2 14,-3-2-21,0-1 21,0 4 3,0-4-1,3 4 1,-3-4-6,0 4-9,0-1 7,4 1-3,-4-1 60,0 1-37,0 0 39,0-1-51,0 1 4,0 0-1,0 3 5,0-4-1,0 4 36,3-3-25,-3 0 27,0 3-19,0-4-12,0 4 169,0 0-146,0 0 142,0 0-163,0 7-5,0-4 21,-3 7-25,3-3 15,0 3 8,-4 4-13,1-4 9,3 3 22,-3 0-25,-1 1 21,-2-1-30,6 4 30,-7 0-18,7-4 21,-7 4-9,4 3-7,-4 0 9,4-3-23,-1 3 14,-2 3-14,2-3 16,-2 0-1,2 0-1,-2 4 0,2-1-3,-2-3 17,2 1-15,-2 2 14,2-3 17,-2 3-21,-1-2 27,0-1-32,0-4-2,1 4 3,-4-3-2,3 3-32,-3-3 27,-3-4-27,3 4 36,-1-3-41,-2 2 27,3-2-31,0-1 33,-3 1-22,-1-4 10,1 0-13,-1 3-7,1-3 22,0 0-26,-1-3 27,-2-1-50,5 1 36,-5 0-38,2-4-6,1 1 33,0-1-43,-4 0 53,3 1-19,-2-4 14,-1 0-17,4 0 13,-4 0-24,3 0 17,-2 0-16,-1 0 22,4 0 14,-1 0-13,4 0 14,0 0-18,0 0 27,3 0-17,4 0 22,0 0 66,3 0-56,0 0 65,3 0-51,4 0-24,3 0 34,0 0-33,0 0 39,0-4-29,3 4 30,-3 0-42,4-3 11,-4 3-10,0-3 9,3 3 1,-3 0 0,0-4 0,0 4 25,0-3-19,0 3 22,-3-3-27,3-1 24,0 1-17,0 3 19,0-4-23,0 1 73,4 0-51,-4-1 59,0 1-52,3 0-12,-3-4 13,4 4-15,-4-4-6,3 0 9,-3 1-10,0 2 10,0-2-20,0-4 16,0 3-14,0 0-21,0 0 26,-3-3-31,0 0 26,-1 4 0,4-4-5,-3 0 2,0-4 2,0 4 6,3-3-5,-4-1 6,1-2 15,0-1-12,3 0 13,-4 0 21,4-3-27,1 0 29,-5 3-32,1-3-2,0 0 5,-1 4-5,1-5 7,0 5-34,-4-1 28,4 4-28,-4-4-19,0 3-15,1-2-7,-1 2 14,0 1-4,1-4-10,3 4-14,-4-4-27,0 0 60,1 4-23,-4-4 22,3 4 26,0-4-25,-3 4 23,4-4-22,-4 4 8,3-1-8,-3 1 8,0 3 9,0 0-8,0 0 17,0 0-19,0 3 10,0-3-7,0 3 8,0 0-31,3-3 21,-3 4-24,4-1 26,-1 0-51,-3 1 34,0-4-35,3 3 32,-3 0 5,4 0-7,-4 1 4,3-1 12,-3 0-9,0 4 8,3 0 18,-3-1-17,0 1 21,0 3-27,0-3 61,0 3-39,0 0 52,0 3-46,0 4-2,-3-1 4,3 4-4,-3 0-3,-4-3 7,4 7-6,-1-4 14,1 0-11,-4 3 8,4 0-11,0 1 21,-4-4-14,4 7 15,-1-4-21,-3 0 31,4 4-22,0-3 29,-4 2-36,4 1 8,-4 3-6,0 0 8,1-3 34,-1 3-23,0 0 25,1 0-40,2 0 2,-2-3-2,-1 3 6,0 0-21,0-3 15,-3 0-15,7-1 20,-4 1-19,1 0 12,-1 0-17,4-1 21,-4-2-17,0-1 10,1 4-11,2-7 18,-3 7-5,1-7 6,-1 3-10,4-6 34,-4 3-23,4-3 26,-4 3-33,4-4 4,-1-2-1,1 2 4,0-2-13,-1-1 11,1 4-12,-4-4 14,7 0-22,-6 1 16,2-4-18,1 3 8,-1 0 8,-2-3-12,2 4 13,1-1-6,-4-3 5,4 4-4,0-4 26,-4 0-18,4 3 20,-4-3-23,0 0 27,4 0-17,-4 3 19,1-3-21,-1 0 42,3 4-26,-2-4 30,-1 3-26,0-3-13,1 3 18,2 1-16,-6-4 20,7 3-16,-4 0 15,1 1-16,2-4-21,-3 3 14,4 0-16,-4 1 22,4-1-2,-4-3 1,4 3-2,0-3-11,-1 4 8,-2-1-7,2-3 6,1 3 2,0-3-2,-1 4 0,1-4-6,-4 3 3,1-3-5,2 0-9,1 3 14,-4-3-14,0 0 18,1 4 1,-1-4-2,0 0 2,1 0-4,-1 3 3,0-3-3,1 0 3,-1 0-4,0 0 23,0 0-15,1 0 74,2 0-64,-2 0 48,-1 0-58,0 0 20,-3 0-11,7 0 14,-4 0-14,1 0-18,-1 0 11,0 0-12,0 0-33,1-3 38,-1 3-40,0 0 47,1 0-50,-4 0 31,3 0-34,0 0 18,-3 0 21,4 0-29,-5 0 28,5 0-22,-4 0 16,3 0-18,0 0 18,1 0-6,-4 0 5,3 3-2,0 1 5,-3-4-3,3 3 3,1-3-3,-1 3-2,0 1 2,1-1-1,-4-3 2,3 3 0,0 1 0,1-1 0,-1 0-28,0 1 20,0-1-22,1 0 26,-1 1-6,4-1 5,-4 4-7,4-4 2,-1 0 2,4 1-2,-3-4 2,3 3-10,0-3 6,-3 3-7,3-3-24,0 0 25,3 0-26,-3 0 41,7 0-8,3 0 7,0-3-13,0 0 42,3-1-31,1-2 31,2-1 4,-2 0 11,2 1 9,1-4-13,-3 3 9,2 0-32,-2 1 42,2-1-62,-2 0 24,3-3-21,-1 3 22,1 1-33,0-1 23,-4 4-24,4-4 28,0 4-22,-7-1 11,6 1-13,-2 3-30,-1 0 35,1 0-41,-1-3 47,-3 3-31,3 3 23,-2-3-26,2 0 40,-3 3-13,3 1 13,-6 2-15,6-2 12,-6-1-9,3 4 10,-3-4-11,0 4 6,-1-4-2,1 4 3,0-1-26,-4 1 15,0-3-16,1 2 23,-4 1-47,3-4 31,-3 4-36,3 0-13,-3-4 42,0 0-44,0 4 49,0-4-35,0 1 21,0-1-30,0 4 38,-3-7 25,3 3-18,-3 0 18,3 1 24,0-4-39,-4 3 44,1-3-22,3 0-20,-3 4 22,3-4-25,-4 0 69,4 0-48,-3 0 59,0 0-68,-1 0 60,4-4 8,-6 1 12,2-1-16,-2-2-4,-1-1-31,0 0 39,0 1-52,1 2 19,-4-2-17,0-1 19,0 0-31,-4 4 27,1 0-27,-1-4 9,1 4 10,0-1-18,-4 1 19,0-1-34,4 4 25,-4-3-31,0 3 32,1-3-16,-1 3 13,3-4-11,-2 4 12,2 0-18,-2 0 13,2 0-14,1 0 6,3 0 5,-4 0-6,4 0 7,-3 0 7,3 0-5,0 0 4,0 0-1,-4 0-4,8 4 4,-8-1-4,4-3-4,-3 7 3,3-4-2,0 4 0,-4 0 2,4-4-3,0 4 4,0 3-48,4-4 35,-4 1-39,3 0 0,0 3 31,4-7-35,-1 4 41,1 0-29,3-4 16,0 0-20,0 1 25,0-4-33,0 0 15,0 0-20,3 0 31,4 0 5,3 0-4,0 0-1,4-4 46,-1-2-33,4-1 39,-1 0 1,5-3-33,-5 0 38,4 3-46,0-3 56,1 0-35,-1 4 42,0-4-45,-4 3 1,1 0 10,3 0-6,-3 1 7,0-1-11,3 4 7,-3-1-29,-4 1-2,4 0-4,-4 3 6,4 0-16,-4 0 23,1 0-27,-1 0 29,-3 0 10,0 0-12,0 3 10,0 0-11,0 4 8,0-4-8,-3 4 7,3-4 1,-3 1-4,3-1 6,-4 4 5,1-4-6,0 1 10,3-1-12,-7 0 9,7-3-7,-6 4 5,-1-4-6,4 3-30,-4-3 22,0 0-25,1 0 31,2 0 12,-2 0-11,-4-3 10,3 3-2,1-4-8,2 1 9,-2 0-10,2-4 4,-2-3-2,2 3 3,1-3 0,0 0-4,-1-3 5,1 3-4,0-4 45,3 1 8,0-4 6,-3 0-11,-1 1 42,4-1 15,0-3 16,-3 0-7,3 0-71,0 3 6,-3-3 4,0 3-67,-1 0 2,1 4-17,0-4-29,-4 10 83,0-3-32,4 0 42,-7 4-72,3-1 47,1 4-72,-1-4 77,0 4-71,-3-4 51,7 3-58,-7-2 67,7-1-17,-7 0 15,3 1 18,0-1-16,1 0 19,3 1-20,-4-1 17,0 0-11,1 1 13,-1-1-18,0 0 13,1 0-7,-1 1 8,0-1-5,1 0-9,-1 1 10,0-1-10,4 0-32,-4-3 27,1 4-31,-1-1 39,0-3-13,4 3 8,-4 0-13,1 1 15,3-1-2,-4 0 1,0 1-1,1-1 7,2 0-8,-2 1 10,-1-1-11,4 0 5,-4 4-2,4-7 3,-4 6 0,4-6-25,-4 4 21,0-1-21,4 0-5,-4 1 18,1-1-23,-1 0 28,1 4 1,-1-4-2,0 4-1,-3-4 15,4 4-14,-1-1 15,-3-2-18,3 2 16,-3 1-11,4 3 12,-1-3-12,-3-1-8,0 4 11,3-3-9,-3 0 5,0 3 0,4-4-2,-4 1-22,3 3 18,-3-3-24,0 3 28,3-4 11,-3 4-8,0-3 10,4 3-16,-1 0 20,-3-3-15,3 3 16,-3-4-9,4 4-4,-1 0 4,0-3 8,1 3-11,-1-4 14,0 4-14,4-3 22,-3 0-16,-1 3 15,0-4-18,4 4 35,-4-3-26,1 3 29,-1-3-34,0 3 8,1-4-5,-1 4 8,4 0-23,-4 0 14,0 0-14,1 0 18,-1 0-13,4 0 9,-4 0-11,0 0-15,1 0 19,3 0-25,-4 0 29,4 0-11,-4 0 7,0 0-10,4 0 9,-4 0 16,4 0-12,-4 0 16,4 0-18,-4 0 1,1 0 0,2 0 0,-2 0-3,-1 4 3,4-4-1,-4 3-17,4-3 14,-4 3-15,1-3 19,-1 4-23,0-1 17,4 0-20,-4-3 19,1 4 5,-1-1-8,4-3 8,-4 4-9,0-1 24,4-3-16,-4 3 16,1 1 17,-1-4-25,4 3 30,-4 0-36,1 1 12,2-1-9,-6 0 12,7 1-5,-4-1 1,1 0 1,-1 1-1,0 2-17,1-2 12,-1 2-12,0-2 13,4 2-17,-7-2 11,7 3-11,-4-4 2,0 4 8,1-1-11,3-2 7,-4 2 2,0-2-2,4 2 3,-4 1 16,4-4-13,0 4 13,-1 0-15,-2-4 28,2 4-20,1-4 22,0 4-19,-1 0-5,1-4 10,0 4-10,0-1-10,-1-2 7,1 2-7,0-2 15,-1 2-21,1-2 15,-4-1-18,7 0-8,-6 1 17,2-4-23,5 3 27,-5-3-19,1 0 14,3 0-13,-3 0 12,3 0 4,0 0-4,-4 0 2,4 0 7,-3 0-7,0 0 7,3-3-54,-3 3 33,-1 0-34,1-4 44,0 4-46,-1-3 33,4 3-39,-3-3 46,3 3-44,-3-4 31,3 4-37,-3-3 43,-1 0-22,1 3 15,3-4-18,0 1 46,-3 3-28,-1-3 28,5-1 23,-5 4-35,-2-3 44,6 3-54,-7 0 50,7 0-35,-7 0 39,4 0-45,-4 0 38,1 0-26,2 0 33,-2 0-35,-1 3 37,0-3-27,1 7 27,-1-4-35,1 1 5,-1 2-4,-3-2 5,3 2-6,1-2 6,-4 2-6,0 1-4,3-3 6,-3 2-7,0-2 9,0 2-24,0 1 17,0-4-20,0 4 23,0-4-5,0 4 3,0-4 21,0 1-16,0-1 20,0 0-23,0 1-1,0-1 5,0 0-3,0 1 5,0-4 9,0 3-6,0-3 9,3 0-8,-3 4-41,4-4 30,-1 0-32,0 0 5,1 0 22,-1 0-27,4 0 32,-4-4-15,4 1 10,-1 3-14,1-4-8,-4 1 12,4 0-14,0-1 16,-4 1 13,4 0-11,-4 3 10,4-4-10,-4 4 23,1-3-14,-1 3 17,0-3-22,1 3 18,-1 0-10,0 0 13,1 0-4,-1 0-10,0 0 10,-3 0 6,4 0-11,-1 0 13,0 0-15,-3 0 20,4 3-14,-4-3 15,3 3-19,-3 1 5,4 2-2,-4-2 2,3-1 0,-3 0 42,0 4-26,0-3 29,3 2-47,-3-2 2,0-1 1,4 0-7,-4 4 11,3-7-10,-3 3 9,0 1-32,3-1 23,-3-3-27,0 0 34,4 0-29,-4 3 20,3-3-25,0-3 23,1 3-4,2-3 1,-2-4-1,2 0 3,1-3-4,0-3 4,0 3 2,3-4-1,-4 1 3,4-4-4,4 4 26,-4-4-19,0 4 22,3-4-26,-3 0 10,0 4-7,4-4 9,-4 4-12,0-1 5,-4 1-4,4 0-2,-3-1 3,-3 4-2,-1 0 5,0 3-20,1-3 14,-1 4-17,-3-1 20,3 0-38,-3 4 27,0 0-33,0-1 38,0 1-29,0 3 20,0 0-20,0 0 11,4 0 10,-4 0-11,3 0 11,0-3 5,1 3-4,2-4 4,1 4-4,-4-3-17,4 3 9,0-4-11,-1 1 29,1 0-9,3-1 10,-3 4-14,0-3 40,3 3-28,0-3 33,-4 3-39,4-4 47,-3 4-34,0 0 38,0 0-44,-1 0 4,1 0-2,0-3 6,-1 3-8,1 0 9,0 0-8,-1 0 9,1-3-20,0 3 13,-1-4-14,1 4-9,0-3 17,3 3-20,-3-3 23,-1 3-13,1-4 10,0 4-12,-1 0 8,1-3 0,0 3-1,-1 0 3,1 0 7,0 0-6,-4 0 6,4 0-7,-4 0 5,1 0-4,2 0 4,-2 0 2,-1 0-4,0 0 6,1 0-7,-1 0-7,-3 0 6,7 0-5,-4 0 10,-3 0-1,3 0 2,1 0-5,-1 0 37,0 0-27,1 0 29,-1 0-36,1 0 1,-1 0 1,0 0 3,-3 0-1,4 3-22,-1-3 14,0 4-13,-3-1-12,4 0 25,-4-3-26,3 4-3,-3-1 23,3-3-28,-3 3 32,4-3 3,-4 4-3,0-1 0,3-3-4,-3 3 22,0-3-14,3 4 18,-3-1-15,4 0-4,-4-3 5,0 4 6,3-1-10,-3-3 12,3 4-12,-3-1 4,4-3-3,-4 3 3,3 1-2,-3-4-12,3 3 8,1 0-10,-4-3-29,3 4 29,-3-1-32,3 0 37,-3-3 4,0 0-5,0 4 3,4-1-23,-4-3 15,0 3-20,0-3 23,3 0-44,-3 0-28,0 4 42,0-4-42,0 0 133,0 0-71,0-4 44,0 1-45,0 0 43,0-1-31,0-2 34,0-4-10,0 3-16,0 0 22,0-3-18,0 3-2,-3 1 8,-1-1-5,-2 0 1,-1 1-4,0-1 0,-3 4 0,4-4 0,-4 4 0,-4-1 0,8 1 0,-8-1 0,4 4 0,-3-3 0,3 3 0,-4-3 6,8-1-4,-8 4 5,4 0 18,0-3-18,0 3 19,3 0-22,-3-3 15,4 3-9,-4 0 11,3 0-13,-3 0-11,0 3 12,3-3-11,-3 3-2,0 4 7,-3 0-9,3 0 13,0-1-20,-4 1 14,4 3-19,0-3-3,-3 3 14,-1 0-17,4 0 19,-3 0 18,3 0-15,0 3 14,0-3-16,0 0 5,0 0-4,0 4 4,0-4-3,3 3 24,-3-3-15,0 4 17,0-4-13,3 0-5,0 0 7,1 0-53,-1-3 33,0-1-35,4 1 46,0-4-71,-1 1 50,4-1-59,-3-3 5,3 3 34,0-6-43,0 3 119,0-7-45,3 1 49,-3-1-64,7 0 73,0-6-50,-1 3 62,4 0-73,0-4 49,0 1-34,0 0 42,4-1-43,-1 1 70,1-4-50,-4 4 53,3-1-30,0 1-18,1-1 19,-1 1-38,1 3 9,-4 0-5,3 0 10,-3 3-3,3 1 0,-2-1 1,-1 3 1,0 1-27,0 3 19,0-3-23,-4 3-15,4 0 31,-3 0-33,3 3 35,-3 0-26,0 1 13,3 3-16,-4-1 14,1-2 10,-4 2-13,4 1 13,0-4-26,-1 4 19,-2-4-23,-1 1 21,4-1 16,-4 0-11,4 4 16,0-4 4,-4-3-15,0 4 18,4-1-21,0 1 0,-4-1 0,4-3 3,-4 3-2,4-3 7,-1 4-4,-2-4 4,2 3 11,1-3-11,0 3 13,-4-3-17,4 4 41,0-4-31,-1 0 32,-2 3-39,2-3 1,1 3 5,-4-3-3,4 4 9,-4-1-41,4 0 32,-4-3-31,1 4-7,-1 2 29,1-2-36,-1-1 41,0 4-39,1-4 27,-4 0-34,3 1 26,-3-1-3,3 4-1,1-7 3,-4 7 9,3-4-7,-3 0 6,0 1-4,0-1 13,3-3-10,1 3 10,-4 1-2,3-1-6,-3 0 8,7 1-34,-4-1 20,0 0-20,4 1 25,-4-4-25,4 3 16,0 0-17,0-3 20,3 4 5,-4-4-5,4 0 5,-3 0 66,3 0-51,0 0 54,-3 0-27,0 0 11,3 0 10,-4 0-14,1 0-18,0 0-12,-1 0 22,-2 0-18,2 0-26,1 0 17,-4 0-22,4 0 32,-4 3-38,1-3 25,-1 0-34,1 3 40,-1-3-37,0 0 27,1 4-37,2-4 15,-2 0 2,-1 0-6,4 0-1,-1 0 17,-2 0-16,2 0 18,1 0-46,0 0 34,-1 0-38,1-4 71,3 4-23,-3-3 22,0 0-28,-1-4 24,1 4-16,0-1 16,-1 1-1,-2 0-15,2-1 17,-2 1-19,-1 3 8,4-3-6,-7 3 13,3-4-10,1 4-25,-1 0 17,-3 0-19,3 0 25,-3 0 2,0 0-3,0 0-4,4 0 54,-4 0-40,0 0 41,0 0-11,3 4-27,-3-1 31,3 0-37,-3 1 46,4 2-25,-4-2 30,3 2-26,0 1-23,-3-4 22,4 4-20,-4 0-15,6 0 18,-6-1-21,7 4 29,-7-3-28,3 0 18,1 3-24,-1-4 33,4-2-9,-4 6 8,0-3-11,8-4 31,-8 0-26,4 1 25,3-1-27,-4 0 37,4-3-21,0 4 26,4-4-25,-1 0-65,1 0 51,2-4-52,-2 4-262,-1-6 70,0 2-221,1 1 268,-1 0 88,-3-1 99,4 1 0,2-1 0</inkml:trace>
  <inkml:trace contextRef="#ctx0" brushRef="#br0" timeOffset="136">19124 3388 9502,'0'-6'-14,"0"2"-4,0 1 59,0-1 18,0 4 67,0-3 4,0 3 97,0-3-71,3 3 90,-3 0-111,0 0 66,4 0 0,-1 0-1,0 3-13,1 4 0,2-4-41,1 4 42,3 0-57,-3-1 2,3 1-1,0 3-48,-3-3 35,6 3-37,-3 0 49,0-4 0,0 5 0,4-1 14,-4-4-10,0 1-131,0 3 14,0-3-103,0 3 70,0-4-7,-4 1-17,1 0 23,0 0-34,3-1 36,-3 1 11,-4 0 1,4-1 4,-1-2 22,-2 6-31,2-7-20,1 4 48,-4-1-53,4-2 59,-4 2-50,1-2 34,-1-1-43,1 1-3,-1-4-22,0 3 5,-3-3 7,0 0-99,0 0 94,0 0-110,0 0 190,0-3-39,-3-4 31,-4 0-50,0 0 49,1 1 25,-1-1 11,-3-3 23,0 0-67,0 3 37,-3-3-38,-1 0-14,1 0 13,-1 3-21,1-3 3,-4 4 11,4-4-20,-4 0 20,0 3-5,1-3-5,-1 0 2,-3 3-6,3-3 9,-3 0-9,7 3 8,-8-3 1,8 4 0,-4-1 2,1 0-2,-1 1 3,3-1-2,-2 3 2,2-2-2,-2 2 0,2 1 0,-3 0 0,1-1-39,2-2 27,1 2-28,0 1 35,-1 0-14,4-1 8,0 1-9,0 0-53,3-4 46,1 4-52,-1-1 63,4 1-9,-1 0-31,1-1 13,3 4-17,0-3 61,0 3-17,0 0 20,0-4 12,3 4-35,4 0 38,0 0-42,3 4 45,0-4-28,3 3 31,4 1-33,-4-1 28,7 4-12,-3-1 16,3 4 32,0-6 9,-3 2 14,3 1-11,0 0-21,-3-1-21,0 1 21,-1 0-48,1-4 24,0 4-16,0 0 21,-1-1-47,1 1 29,0-4-35,0 4 46,-1 0-24,1 3 16,0-4-26,3 4 20,-3-3-9,-1 3 7,-2 0 31,3-3-20,-4 3 25,0 0-33,-3 0 19,0-3-12,-3-1 18,3 5-19,-3-5 41,0-2-30,-4 2 33,4 1-46,-7 0-7,6-4 4,-2 4-5,-1-1-10,0-2 20,1 2-19,-1-2 18,0 2 4,1 1-9,2 0 7,-2 0-6,-1-4 7,0 4-5,1-4 4,-1 4-6,0-4 3,4 4-6,-3-1 50,2-2-34,1 2 37,0-2-41,-1 2 64,1-2-43,0 3 49,-1-4-78,1 0 12,3 4-10,-3-4 15,-4 4-12,4-4 15,0 1-14,-1 2 23,1-2-44,0 2 28,-1-2-32,-2 2 5,-1-2 20,4 2-28,-1-2 16,-2 3-14,2-4 4,-2 4-1,3-1-2,-4-2 12,4 2-15,-4-2 20,0-1-42,4 4 29,-4-4-32,4 0 37,0 1-2,-1-4-4,1 6 2,0-2-23,3-4 19,-3 3-22,3 0 24,-4 1-11,4-4 7,0 3-8,0 1 1,0-1 4,0-3-4,-3 3 7,3 1 8,0-4-7,0 3 8,0-3-8,0 0 7,4 3-6,-4-3 5,0 0-7,3 0 10,-3 0-5,7 0 7,-7 0-8,4 0 15,-1 0-10,0 0 11,-3 0-86,4 0-19,-4-3-6,0 3-160,0 0 104,0 0-114,-3 0 76,-1 0-242,1 0 57,-4 0-198,1 0 217,-1 0-295,-3 0 336,0 0-354,-3 0 432,-4 0 31,-3 0 115,0 0 96,-3 0 0,-1 0 0,-3 0 0,1 0 0,2 0 0,-2 0 0,-1 0 0,3 0 0,1 0 0,0 0 5,-1 0 15,4 0 13,0 0-23,0-3 57,3 3-22,1 0 46,-1-4-28,0 1-6,4 0-35,0-1 6,3 1-8,-4-4-5,4 4 10,0-4 60,0 4 14,4-4 1,-4 4-15,6-1 44,-2 1-22,2 0 98,1-1 3,0 4-12,-1 0 33,1 0-8,0-3-69,0 3 32,-1 3-81,1-3 105,3 0-77,-3 4 84,-1-1-89,4 4-2,0-4 0,-3 4 4,0-4 7,3 7-36,0-7-28,0 4-10,-3 0-34,6 0 15,-3-1 1,0 1 5,0 0-17,0-1-17,-3 4-4,3-3-26,0 0 74,-3-1-19,3 5 3,-4-1-21,4-4 13,-6 4-17,3-3 27,-1 3-27,1 0 10,-4-3-12,1 3-31,-1-3 46,0-1-50,1 1 28,2 0 16,-6-1-19,4 1 27,-1 0 17,0-4-16,1 4 13,2-4-23,-2 4 16,-1 0-10,4-4 10,-4 4-10,4-1 38,-4 1-25,4 0 29,0-1-92,-4-2 39,4 2-39,-4 1 54,4 0-67,-4-1 47,0-2-55,1 3 30,-1-4 22,4 0-27,-4 1 21,-3-1-5,3 0-1,1 1-3,-1-4 3,1 3 29,2 0-24,-2-3 24,-1 4-29,-3-1 7,3 0-3,1 1-19,-1-1 19,0 4-20,-3-4 25,4 0-27,-1 4 18,0 0-21,-3-4 24,4 4-55,-1-4 37,0 4-47,1 0 57,2-4 0,-2 4 0,-1-4-1,4 4 8,-4-4-12,4 0 11,-4 1-13,4 2 29,0-2-20,-4-1 21,4 0-5,-4 4-14,4-3 18,-4-1-19,4 4-8,-4-4 7,0 0-7,4 4 11,-4 0-43,1-4 30,-1 4-35,1-1 24,2 1 8,-6-4-11,4 4-25,-1 0 31,0 0-37,1-1 40,-1-2-11,-3 6 8,3-7-9,1 4 9,-4-4 1,3 4 0,-3-4 3,3 4 16,-3-4-14,4 0 16,-4 4-28,0-4 6,0 1-4,0-4 7,0 3 20,0 1-15,0 2 16,0-2-19,0-1 35,0-3-24,0 3 27,0 1-33,0-4 28,0 3-19,0-3 20,0 3-76,0-3 38,0 0-143,0 4 119,0-4-52,0 0 71,-4 0 27,4-4-35,0 1 57,-3 0 13,3-4 6,0-3 69,-3-4-102,-1 4 73,-2-6-80,2 2 17,-2-6-13,-4 0 9,-1-3-5,-2 3-17,0-4 13,-4 1-17,-3-4-107,0 0 27,-4 4-115,-2-4 111,-1 4-126,0-1 78,0 1-88,0 3-267,-3-4 345,7 4-238,-1-3 391,1 3 0,0-4 0</inkml:trace>
  <inkml:trace contextRef="#ctx0" brushRef="#br0" timeOffset="137">2541 3616 9066,'0'3'209,"0"-3"278,0 0-258,0 0 215,0 0-451,-3 0-21,3 0-17,-4 0-28,1 0 38,0 0 10,3 0-56,-4 0 87,1 0-53,0 0 57,3 0-22,-4 0 14,1 0-18,0 0 16,-1 0 19,1 0-13,0-3 17,-1 3-22,4 0 8,-6-3-5,6 3 7,-4 0-16,1 0 8,0 0-7,-1 0-13,4 0 17,-3 0-18,-1 0 20,4-4-5,-3 4 2,0 0-3,3 0 1,-4 0 3,4 0-6,-3 0 5,0 0-6,3 0 26,-4 0-18,1 0 19,3 0 3,-3 0-16,-1 0 20,4 0-19,-3 0-2,3 0 3,-3 0-1,-1 0-11,4 0 9,0 0-8,-3 0 9,0 0-13,-1 0 10,4 0-11,-3 0 11,3 0 12,-3 0-10,3 0 10,-4 0 12,1 0-16,3 0 18,0 0-18,-3 0-3,3 0 4,-4 0-2,1 0 7,3 0-2,-4 0 2,4 0-3,-3 0-11,0 0 8,3 0-7,-4 0 9,4 0-26,-3 0 18,0 4-22,-1-4 15,4 0 4,-3 0-4,0 0 2,-1 0 5,4 0-6,-3 0 4,0 0 26,-1 0-17,4 3 17,-3-3-25,0 0 59,3 0-42,-4 0 48,1 0-57,3 0 9,-3 0-5,3 0 9,-4 0-31,1 0 22,3 0-20,-3 0 6,3 0 12,-4 3-15,1-3 17,3 0-38,-4 0 27,4 0-33,0 0 39,-3 0-48,3 0 33,-3 0-39,-1 0 44,4 4-12,0-4 10,-3 0-9,0 0 10,3 0-4,-4 0 3,4 0 2,-3 3-4,3-3 5,-3 0-5,-1 0 3,1 0-2,3 0 2,-3 0 1,-1 3-1,4-3 1,-3 0-1,3 0-1,-3 4 31,3-4-22,-4 0 23,1 0-9,3 3-15,-3-3 18,3 0-10,0 0-5,-4 0 6,4 0-5,-3 3-20,3-3 16,-3 0-15,3 0 18,0 4-11,-4-4 7,4 0-8,0 0 8,-3 3-18,-1-3 7,4 0-10,-3 3 4,3-3 12,0 0-13,-3 4 11,3-4-4,-4 0 2,4 0 2,-3 3 36,3-3-27,-3 3 29,3-3-35,-4 0 1,4 0 2,-3 0 1,0 4-5,3-4 3,-4 0-1,4 0 2,-3 3-10,3-3 8,-3 0-10,-1 3 1,1-3 7,0 0-10,3 0 11,-4 4 11,1-4-9,3 0 6,-3 0-9,-1 3-4,4-3 3,-3 0 0,0 3 2,3-3 6,-4 0-4,4 0 4,0 0-7,-3 0 3,3 0-4,-4 0-3,4 4 3,0-4-5,0 0 7,-3 0-5,3 0 4,0 0-7,-3 0 7,3 0-5,0 3 4,-4-3-4,4 0 4,0 0 14,0 0-11,-3 4 12,3-4 0,-3 0-8,3 0 9,0 0-16,0 3 2,-4-3-2,4 0 4,0 0 8,0 0-6,-3 0 7,3 0-8,0 3 11,0-3-8,0 0 10,-3 0-11,3 0-8,0 0 4,0 4-5,-4-4-5,4 0 9,0 0-11,0 0 3,-3 3 6,3-3-7,0 0 9,0 0-3,0 0-1,0 0-1,-3 0-1,3 3 2,0-3-2,0 0 2,0 0 5,-4 4-3,4-4 3,0 0-4,0 3 32,0-3-23,-3 0 24,3 0-15,0 3-9,0-3 10,0 0-10,0 4-14,-3-4 11,3 0-10,0 0 13,0 3-14,0-3 11,0 0-11,0 3 5,0-3 5,0 0-8,0 0 8,0 0-5,0 0 3,0 4-4,0-4-2,0 0 2,0 3-2,0-3 3,0 0 0,0 3 0,0-3 0,0 0 2,0 0-4,0 0 3,0 4-3,0-4 3,0 0-11,0 3 8,0-3-8,0 0 8,0 3 0,0-3 0,0 0 1,0 0 1,0 4-1,0-4 0,0 0 2,0 0-3,0 3 4,0-3-4,0 3-23,0-3 16,0 0-17,0 4-20,0-4 30,0 0-32,0 0 39,3 3 12,-3-3-11,0 0 8,0 4-2,0-4-6,0 0 4,0 3-9,0-3 55,0 0-40,0 0 46,0 3-55,0-3 48,0 0-34,0 0 44,0 4-46,0-4 8,3 0-5,-3 3 7,0-3-23,0 0 17,0 0-17,0 3-12,0-3 20,0 0-22,0 0 28,0 4-22,0-4 15,0 0-22,0 0 23,0 3-10,4-3 8,-4 0-7,0 3 26,0-3-17,0 0 17,0 0-21,0 0 13,0 4-9,0-4 11,0 0-11,0 3 0,0-3 3,0 3 0,0-3-29,3 0 22,-3 0-23,0 4 26,0-4-6,0 0 2,0 3-3,0-3 1,0 0-17,0 3 9,0-3-12,0 0 30,0 0-8,0 4 8,0-4 29,0 0-30,0 3 31,0-3-37,0 0 18,0 3-9,3-3 12,-3 0-12,0 4-45,0-4 35,0 0-34,0 0 2,0 3 28,0-3-31,0 0 39,0 0-41,0 0 28,0 0-37,0 3 61,0-3-23,0 0 19,0 0-28,0 0 74,0 0-55,0 0 59,0 4-18,0-4-32,0 0 276,0 0-211,0 0 192,0 0-230,0 0-20,-3 0 14,3 0-16,0 0 25,-3 0-62,3 0 44,0 0-50,-4 0 0,1-4 44,3 4-50,-3 0 53,3 0-34,-4-3 14,1 3-20,3 0 15,-3 0 13,-1-3-15,1 3 15,3 0 3,-3-4-2,-1 4 4,1-3-7,-1 3 14,1-3-9,0 3 12,-1 0 23,1 0-26,0-4 29,-1 4-33,1 0-6,0 0 7,3 0-7,-4 0-29,1-3 27,0 3-28,-1 0 36,4 0-29,-3 0 20,0 0-24,3 0 24,-4 0-19,4 0 7,-3 0-8,3 0-11,-3 0 19,3 0-22,-4 0 25,4 0 9,0 0-6,-3 0 8,3 0 4,-3 0-12,3 0 13,0 0-13,-4 3 9,1-3-4,3 0 5,0 0-8,-4 0 3,4 0-1,-3 0 2,3 0 2,-3 0-4,3 0 4,0 0-4,-4 0 0,4 0 0,-3 0 0,3 0-9,-3 0 6,3 0-6,-4 0 7,1 0-9,3 0 7,-3 0-7,3 0 8,-4 0-10,4 0 6,-3 0-6,3 4 11,-3-4-1,3 0 0,-4 0-2,4 0-5,-3 0 3,0 0-3,-1 3-15,4-3 12,-3 0-13,0 0 16,-1 3 8,1-3-7,3 0 7,-3 0-8,-1 4 8,4-4-5,-3 0 6,3 0 8,-4 0-11,4 0 12,-3 0-14,3 3 6,0-3-1,-3 0 3,3 0-45,-4 0 27,4 0-29,0 0 38,-3 0-18,3 0 13,0 0-17,0 0 18,-3 0 7,3 0-5,0 3 2,-4-3 5,4 0-11,0 0 8,0 0-9,-3 0 26,3 0-18,0 4 21,-3-4-12,3 0-9,0 0 15,-4 0-15,4 0 18,0 0-13,0 0 9,-3 3-10,3-3-5,0 0 3,0 0-2,-3 0-10,3 0 11,0 0-11,0 4 6,0-4 3,0 0-5,-4 0-72,4 0 83,0 0-81,4 0 95,-4 0-14,0 0-10,3 0 11,0 0-14,-3 0 52,4-4-36,-1 4 45,0 0-11,1 0-20,-1 0 25,4 0-29,-4 0-15,0 0 13,1 0-11,3 0 11,-4 0-17,4 0 13,-1 0-14,-2 0 16,2 0 1,-2 0-1,2 0 0,-2 0 8,2 0-7,-2 0 4,2 0 41,-2 0-38,2 0 42,-2 0-48,-1 0 12,1 0-9,2 0 15,-2 0-13,-1 0 13,0 0-10,1 0 9,-1 0-26,0 0 18,-3 4-18,4-4 19,-1 0-19,0 3 10,1-3-11,-1 0 27,0 0-10,-3 0 9,4 3-13,-1-3-3,0 0 3,1 0-1,-4 0 2,3 4-26,0-4 18,1 0-20,-1 0 4,-3 3 15,4-3-16,-1 0 3,0 3 11,-3-3-14,4 0 18,-1 0-33,0 4 23,-3-4-28,4 0 32,-4 0-22,3 3 12,0-3-14,1 0 18,-4 3 2,3-3-1,-3 0-2,3 0 20,1 4-16,-4-4 16,3 0-19,-3 0 11,3 0-8,-3 3 10,4-3-18,-4 0 6,0 0-5,3 0 10,-3 3-5,3-3 4,-3 0-5,0 0 4,4 0-16,-4 0 10,3 0-11,-3 0 17,0 0-2,0 4 1,0-4 23,0 0 2,3 0 6,-3 0 8,0 0-30,0 0 13,0 0-12,0 0-3,0 3 5,0-3-3,0 0-3,0 0 2,0 3-3,0-3 5,0 0-9,0 4 6,0-4-7,0 3 9,-3-3 8,3 0-7,0 3 4,0-3-8,0 4-1,0-4 1,0 3-10,0-3 9,0 0-8,0 3 10,0-3-28,0 4 21,0-4-23,0 3 28,0-3-50,0 0 36,0 4-43,0-4 50,0 3-27,0-3 19,0 3-25,0-3 30,0 4-10,0-4 9,0 3 8,0-3-9,0 0 10,0 3-14,0-3 9,0 4-6,0-4 12,0 0-13,0 0 5,0 3-1,0-3 0,0 0 2,0 0-17,0 0 11,0 0-32,0 3 29,0-3-10,0 0 14,0 0 3,0 0-6,0 0 27,0 0-19,0 0 22,0 4 22,0-4-32,0 0 37,0 0 6,0 0-34,0 0 38,0 0 4,-3 0 8,3 0 14,0 0-52,-4 0-7,4 0-31,0 0 41,-3 0-53,3 0 39,-3 0-42,3 0 47,0 0-42,-4 0 25,1 0-30,3 0 32,-3 0-21,-1 0 9,1 0-13,0 3 8,3-3 11,-4 0-11,1 0 10,0 0-2,-1 3 2,1-3 0,3 0 39,-3 0-28,-1 4 30,1-4-37,3 0 24,-3 0-15,-1 3 20,4-3-25,-3 0-11,-1 0 8,4 0-6,-3 3-17,0-3 23,3 0-23,-4 0 3,4 0 16,-3 0-18,3 4 22,-3-4-56,3 0 38,0 3-48,-4-3 57,4 0-12,-3 3 8,3-3-8,-3 0 7,3 4 14,0-4-10,0 3 12,0-3 5,-4 0-17,4 0 19,0 4 16,0-4-27,-3 3 31,3-3-36,0 0 7,0 0-4,0 3 8,0-3-7,0 0 0,0 4 0,0-4 0,-3 0 1,3 0-5,0 0 4,0 3-6,0-3 1,0 0 3,0 0-4,0 3 1,0-3 3,0 0-4,0 4 3,0-4 1,0 0 0,0 0 0,0 3 0,0-3 3,0 0-2,0 0 3,0 3-4,0-3 6,0 0-3,0 0 4,0 0 9,0 0-11,0 4 12,0-4-15,0 0 30,0 0-21,0 0 24,0 0-23,3 0-2,-3 0 3,0 0-1,0 0-20,3 0 15,-3 0-15,0 3 18,4-3-11,-4 0 10,0 0-10,0 0 54,3 0-34,-3 0 31,3 0-40,-3 0-10,0 0 9,4 0-7,-4 0-7,0 0 11,0 3-10,3-3 17,-3 0-23,3 0 18,-3 0-20,4 0 22,-4 0-5,0 0 3,3 0-7,0 0 5,-3 0-8,4 0 7,-1 0-11,-3 0 9,4 0-5,-4 0 6,3 0-7,0 0 5,-3 0-6,4 0 7,-1 0-37,-3 0 27,3 0-30,-3 0 36,4 0-8,-1 0 5,-3 0-8,3 0 3,-3 0 1,4 0-2,-1 0-40,-3 0 30,3 0-33,1 0 43,-4 0-12,3 0 9,-3 0-12,3 0 12,-3 4-34,4-4 23,-4 0-26,3 0 33,0 0 31,-3 0-23,4 0 24,-1 3 4,-3-3-29,0 0 32,3 0-9,-3 0-19,0 0 26,0 0-29,0 0 21,0 0-14,0 0 16,0 3-13,0-3 13,0 0-8,0 0 10,0 0-14,0 0 14,0 4-10,-3-4 9,3 0-11,-3 0 0,3 3 1,-4-3 1,4 0 0,-3 0 0,0 3 0,3-3-4,-4 4 3,4-4-3,-3 0 3,3 3-6,-3-3 3,3 3-4,-4-3 5,4 4 0,-3-4 0,3 3 0,0-3 10,-3 4-7,3-4 8,0 0-3,0 3-5,-4-3 7,4 3-8,0-3-1,0 4 2,-3-4-1,3 0 2,0 3-12,0-3 8,0 0-9,0 3 11,0-3 0,0 4-1,0-4 1,0 0-4,0 0 2,0 3-2,0-3-6,0 3 4,0-3-5,0 4 8,0-4-5,0 0 4,0 3-4,0-3 5,3 3-6,-3-3 3,0 0-2,4 4 3,-4-4-15,0 0 11,0 3-14,3-3 11,-3 0 2,0 3-2,3-3 5,-3 0 0,4 0 0,-4 4-2,0-4 7,3 0-5,-3 3 5,0-3-7,3 0 19,-3 3-13,4-3 16,-4 0-19,0 0 5,3 4-4,0-4 5,-3 0 12,4 0-10,-1 0 12,-3 0-20,3 0 3,-3 0-2,0 0 3,4 0-3,-4 0 4,3 0-4,-3 0 4,4 0-13,-4 0 9,3 0-10,-3 0 12,3 0-47,1 0 34,-4 0-38,3 0 24,-3 0 12,3 0-19,1 0 0,-4 0 12,3 0-14,-3 0 22,3 0 20,1 0-17,-4 0 16,3 0-24,-3 0 18,0 0-12,3 0 13,-3 0-12,4 0 24,-4 0-14,0 0 16,0 0-33,0 0 6,3 0-6,-3 0-25,0 0 29,0 0-31,0 0 36,0 0 0,0 0-9,3 0 4,-3 0 12,0 0-6,0 0 19,0 0-7,0 3-2,0-3 5,0 0-8,0 0-23,0 0 17,0 3-18,0-3 20,0 0-12,0 0 7,-3 0-9,3 0 10,0 0 11,0 0-9,0 4 7,0-4-14,0 0 3,0 0-6,0 0 17,0 0-8,0 3 8,0-3-8,0 0 36,0 0-26,0 4 30,0-4-36,0 0 35,0 3-25,0-3 27,0 0-32,0 0 8,0 0-5,0 0 8,0 3-21,0-3 14,0 0-13,0 0-2,0 4 12,0-4-14,0 0 17,0 0-31,0 0 21,0 3-27,0-3 31,0 0-33,0 0 24,0 3-28,0-3 31,0 0 4,0 0-3,0 4 5,0-4-10,0 0-1,0 0 1,0 3 8,-3-3-4,3 0 6,0 0-7,0 3 0,0-3-1,0 0 2,0 0 0,0 0 5,0 0-3,0 4 3,0-4-6,0 0-15,0 0 11,0 0-12,0 3 22,0-3-6,0 0 6,0 0-22,0 0 11,0 0-11,-4 0 13,4 3-6,0-3 4,0 0-5,0 0 6,0 0-3,0 4 2,0-4-3,0 0 2,0 0-17,0 0 14,0 0 23,0 0 80,0 3-36,-3-3 110,3 0-135,0 0 57,0 0-60,0 0-27,0 0 28,0 0-22,0 0 30,-3-3-31,3 3 27,0 0-28,-4-4-23,4 4 33,-3 0-44,3-3 66,-3 3-21,3 0 16,0 0-24,-4-3 16,1 3-13,3 0 14,-3-4-11,-1 4-10,4 0 9,-3 0-4,0-3-9,-1 3 15,4-3-15,-3 3 17,-1-4-2,4 4 1,-3 0-2,0-3 34,-1 3-24,1-3 22,0 3-31,-1 0 7,4 0-3,-3-4 7,0 4-8,-1 0-7,1-3 6,3 3-3,-3 0 6,3 0-26,-4 0 18,1 0-23,0 0 3,3-3 17,-4 3-19,4 0 12,-3 0 7,3-4-13,-3 4 14,-1 0-14,4 0 10,0-3-11,-3 3 11,0 0-3,3 0 2,-4 0-2,4-4 4,-3 4-2,3 0 2,-4 0-2,4 0 16,-3 0-11,3 0 11,-3 0-16,3 0 1,-4 0-1,4 0 3,0-3-3,-3 3 4,3 0-4,0 0 4,-3 0-7,3 0 5,0 0-6,0 0 12,-4-3-5,4 3 5,0 0-6,-3 0-1,3 0 1,-3 0-1,3 0 25,0 0-17,-4 0 19,4 0-22,-3-4 20,3 4-12,-3 0 14,3 0-18,-4 0 3,4 0 2,0 0 0,-3 0 11,3 0-18,-3 0 17,3 0-19,-4 0-6,4 0 9,-3 0-10,3 0-12,0 0 18,-3 0-20,-1 0 23,4 0-27,0 0 17,-3 0-21,3 0 24,-3 0-7,3 0 2,-4 0-6,4 0 7,-3 0-2,3 0 0,-4 0-1,4 0 5,0 0-1,-3 0 0,0 0 4,3 0-3,0 0 3,-4 0-4,4 0 4,-3 0-2,3 4 3,-3-4-4,3 0 9,-4 0-6,4 0 6,-3 0 5,3 0-8,0 0 10,-3 3-13,3-3-3,-4 0 4,4 0-4,0 0-3,0 3 6,0-3-5,-3 0 6,3 0-17,0 0 13,0 4-15,-3-4 17,3 0-28,0 3 20,0-3-23,0 0 27,0 4 1,0-4-1,0 0 0,0 3 8,0-3-10,0 0 11,0 0-2,0 3-6,0-3 7,0 0-9,0 4 5,0-4-3,0 0 4,0 0-3,0 3 5,0-3-3,3 0 4,-3 0-5,0 3 2,0-3-2,0 0 0,3 0 14,-3 4-10,0-4 12,0 0-12,0 0-2,4 0 4,-4 0-3,0 3 4,3-3-3,-3 0 3,0 3-3,3-3-3,-3 0 3,4 0-3,-4 0 10,0 0-5,3 0 6,-3 0-7,3 0 15,1 4-10,-4-4 10,0 0 5,3 0-13,0 0 16,-3 0-18,4 0-16,-1 0 12,-3 0-12,4 0 16,-1 0-18,0 3 14,1-3-15,-1 0 8,-3 0 6,3 0-8,1 0 9,-1 0-15,0 0 11,1 0-16,-4 0-22,3 0 22,0 0-25,1 0 33,-1 0-11,0 0 6,-3 0-8,4 3 11,-4-3-20,3 0 12,0 0-14,-3 0-16,4 0 26,-4 0-29,0 4 10,3-4 15,-3 0-21,3 0 27,-3 0 16,0 0-12,0 0 100,0 0-73,0 0 65,0 0-70,0 3 11,0-3-3,-3 0 7,0 0-18,3 0 2,0 0 0,-4 0 3,4 0-17,-3 3 11,0-3-15,3 0 20,0 0-19,-4 4 14,1-4-18,3 0 19,-3 0-11,3 0 7,-4 0-11,1 3 9,3-3-2,-3 0 1,3 0-14,-4 3 13,4-3-13,-3 0 16,3 0-1,-3 0 0,-1 0-1,4 4 0,0-4-4,-3 0 2,3 0-1,0 0-9,0 3 8,-3-3-10,3 0 11,0 0 3,0 0-1,0 0 2,-4 0 5,4 0-6,0 3 7,0-3-9,0 0 8,0 0-6,0 0 7,0 0-8,0 4 3,4-4 0,-4 0 2,0 0 9,3 0-9,-3 0 9,0 0-11,3 0 46,-3 0-33,4 0 36,-1 3-52,-3-3 9,0 0-7,3 0 10,-3 0-11,4 0 9,-4 0-10,3 0 13,-3 0-18,3 0 13,-3 0-14,4 0 7,-4 0 6,3 0-8,0 0 19,-3 0 5,4 0-1,-4 0 0,3 0 9,0 0-16,1 0 19,-4 0-20,3 0-19,0 0 15,-3 0-13,4 0 19,-1 0-36,1 0 26,-4 0-27,3 0 6,0 0 18,1 0-20,-1 0 19,0 4-1,-3-4-5,4 0 4,-1 0-15,0 0 12,1 0-10,-4 0 11,3 0-13,0 0 10,1 0-10,-1 0 12,0 0-4,1 0 2,-4 0-4,6 0 4,-6 0-2,4 0 1,-1 0 0,0 0 6,-3 0-4,4 0 5,-4 0-23,3 0 13,-3 0-13,4 0 17,-4 0-27,3 0 19,-3 0-22,0 0 28,3 0-39,-3 0 28,4 0-32,-4 0 54,0 0-20,0 0 19,0 0-23,3 0 34,-3 0-51,0 0 44,0 0-42,0 0 29,0 0-3,0 0 7,-3 0-8,3 0 11,0 0 0,0 0-3,0 3 1,0-3 5,0 0-4,-4 0 5,4 0 3,0 3-7,0-3 7,-3 0-7,3 0 5,0 0-1,-3 4 2,3-4-3,0 0 0,0 0 1,-4 3-1,4-3 0,0 0-1,-3 3 0,3-3 0,-4 0 0,4 0 0,0 0 0,-3 4 0,3-4 0,0 0 0,-3 0 0,-1 0 18,4 3-12,-3-3 14,0 0-19,3 0 19,-4 0-14,4 0 16,-3 3-5,0-3-6,3 0 7,-4 0-9,1 0-1,0 0 2,3 0-1,-4 0 2,1 0-2,0 0 1,3 4-1,-4-4 8,4 0-5,-3 0 3,0 0-4,-1 0-6,4 0 4,-3 0-2,0 0 24,3 0-16,-4 0 18,1 0-22,3 0 17,-4 0-12,1 0 14,0 0-10,3 0-3,-4 0 5,1 0-7,3 0 1,-3 0 1,-1 0 1,4 0 1,-3 0-21,0 0 14,3 0-17,-4 0-11,1 0 22,3 0-26,-3 0 31,3 0-15,0 0 11,-4 0-12,4 0 16,0 0-6,-3 0 5,3 0-6,0 0 15,-3-4-11,3 4 12,-4 0-13,4 0 28,-3 0-17,3 0 21,-3 0-32,3 0 2,-4 0 0,4-3 3,-3 3-22,0 0 16,3 0-19,-4 0 3,1 0 14,3 0-17,-4 0 19,4-3-3,-3 3 0,3 0-1,-3 0-2,3 0 17,0 0-16,-4-4 15,4 4 7,-3 0-14,3 0 18,-3 0-21,-1-3-7,4 3 4,-3-3-2,0 3-9,-1 0 15,4 0-15,-3-4 16,0 4-31,-1 0 21,1-3-22,0 3 25,-1 0-5,4 0 0,-6 0-3,2-3 23,1 3-13,3 0 14,-3 0-18,-1 0 7,1 0-5,3-4 6,-4 4 8,1 0-10,0 0 13,3-3-15,-4 3-2,1 0 1,3 0 1,-3 0 3,3-4-9,-4 4 5,4 0-8,-3-3 2,0 3 5,-1 0-7,4 0 6,-3 0-1,3-3-1,-3 3 0,-1 0 1,4 0 1,0 0-2,-3-4 2,0 4 0,3 0 0,-4 0 0,4 0 0,-3 0 0,0-3 0,3 3 0,-4 0-11,4 0 8,-3 0-7,0-3 9,-1 3-5,1 0 3,3 0-4,-7 0 6,7 0-1,-3 0 1,-1 0-2,1 0 4,0 0-2,3-4 2,-4 4-4,1 0 6,0 0-4,3-3 5,-4 3-2,1 0-2,3 0 4,-3 0-5,-1 0 3,4 0-2,-3-3 1,0 3-1,3 0 1,0 0-1,-4 0 0,1 0 0,3 0 0,-3 0 0,3 0 0,-4 0 20,1 0-13,-4 0 15,7 0-92,-3 0 52,-1 0-56,1 0 74,0 0-6,3 0 5,-4 0-9,1 0 16,0 0-12,3-4 13,-4 4-16,4 0 16,-3 0-11,0 0 12,3 0-14,-4 0 12,4 0-6,-3 0 8,3 0-4,-3 0-4,3 0 3,-4 0-4,4 0-15,0 0 11,-3 0-10,3 0 11,0 0 1,-3 0-1,3 0 0,0 0-12,-4 0 9,4 0-10,-3 0 13,3 0 7,-3 0-7,-1 0 6,4 0 2,0 0-7,-3 0 8,3 0-9,-4 0 5,4 0-3,-3 0 3,3 0 18,-3 0-16,3 0 18,-4 0-21,1 0 3,3 4-2,0-4 4,-3 0-3,3 0 3,-4 0-2,1 0 0,3 0-6,0 0 4,-3 3-3,3-3 0,-4 0 3,4 0-4,-3 0 5,3 0-4,-3 3 3,3-3-2,0 0 1,-4 0 0,4 4-1,0-4 1,-3 0 0,3 0-1,0 0 1,0 0 0,-3 0 0,3 3 0,0-3 0,0 0 0,-4 0-2,4 0 2,0 3-1,-3-3-8,3 0 7,0 0-7,-3 0 8,3 4-26,-4-4 17,4 0-19,0 3 23,-3-3-3,3 0-1,0 0 1,-3 3 2,3-3 1,0 0-1,-4 4 0,4-4 6,0 0-5,0 0 7,-3 3 5,3-3-7,0 0 8,-4 0-10,4 4 7,-3-4-4,3 0 5,0 3-6,0-3 1,-3 0 0,3 0 1,0 3-1,0-3-1,-4 4 2,4-4-41,-3 0-12,3 3-1,-3-3 6,3 3 89,-4-3 9,4 0 3,-3 4-12,3-4-47,-3 3 1,3-3 1,-4 0 2,4 3 3,-3-3 0,3 4 1,0-4-1,-3 0 0,3 3 4,-4-3-3,4 3-1,0-3 1,-3 4-3,3-4-4,-3 0 1,3 3-5,0-3 2,-4 0 4,4 3-1,0-3 2,-3 0 1,3 0-8,0 4 5,0-4-6,-3 0 8,3 3-1,0-3 0,0 0 1,-4 3 0,4-3 0,0 4-1,0-4 3,-3 0-2,3 3 3,0-3-4,0 0-25,-3 3 18,3-3-19,0 4 25,-4-4-20,4 3 15,0-3-17,-3 0 11,3 4 3,0-4-4,0 0 3,-4 3 10,4-3-9,-3 3 8,3-3-10,0 0 2,-3 4-3,3-4 4,0 3 1,0-3-1,-4 3 6,4-3-5,-3 0-5,3 4 3,0-4-5,-3 3-64,-1-3-20,4 3-3,0-3 3,-3 4 119,3-4 4,-3 0 10,3 3 14,0-3-63,-4 0 18,4 3-24,-3-3 22,3 0-10,-3 0 16,3 4-7,0-4-38,-4 0 38,4 3-35,0-3 40,-3 0-10,3 0-4,0 3 8,0-3-6,-3 4 6,3-4-3,0 0 13,-4 3-14,4-3 15,0 3-17,0-3 16,0 0-10,-3 4 13,3-1-11,0-3 1,0 3 3,-3-3-2,3 4 28,0-1-23,0-3 22,0 4-10,0-4-10,-4 3 11,4-3-13,0 3-11,0 1 9,0-4-7,0 3 10,-3-3-26,3 3 19,0 1-21,0-4 24,0 3-9,0-3 6,0 3-8,0-3 4,0 4 4,-3-4-9,3 3 3,0-3 4,0 3-3,-4 1 7,4-1-17,0-3 10,0 3-10,-3 1 12,3-1-18,0-3 13,0 3-14,0 4 16,-4-4 41,4 1 11,0-1 1,0 1 33,-3 2-26,3-2 2,0-1-2,0 0-41,0 1 10,-3-1-7,3 0-23,0 1 19,0-1-15,-4-3 27,4 3-63,0-3 42,0 4-52,0-4 68,0 0-48,0 3-8,-3-3-21,3 0 7,0 3 30,0-3 4,-3 0 3,3 4 5,0-4-4,-4 0 2,4 3 8,0 0-7,0-3 7,0 4-9,-3-4 23,3 3-15,0-3 21,-3 3-21,3 1 25,0-1-14,0 1 13,-4-1 27,4-3-35,0 3 39,0 1-48,0-1-1,-3 0 1,3-3-1,0 4-27,0-1 26,0-3-26,-3 3 32,3 1-13,0-1 7,-4-3-9,4 0 9,0 3-43,0 1 24,-3-4-28,3 3 33,0-3 7,0 0-9,0 3 6,0-3 12,-3 0-9,3 4 12,0-4-1,0 3-10,0-3 12,0 3-12,0-3 9,0 4-4,0-1 6,0 0-7,0 1 0,0-4 3,0 3-1,0 1 27,0-1-22,0-3 23,0 3-19,0 1-5,0-1 6,0-3-6,0 3-9,0-3 7,0 4-5,0-1 7,-4-3-10,4 3 6,0-3-7,0 0 10,0 4-23,-3-4 16,3 3-21,0-3 6,0 3 9,0-3-12,0 0 14,0 4-14,0-1 8,0-3-10,-3 3-12,3-3 20,0 4-22,0-1 26,0-3 4,0 3-3,0 1 1,-4-1-4,4-3-41,0 3 31,-3 1-30,3-1 67,0-3-24,-3 4 24,3-1-30,0 0 29,0-3-20,-4 4 22,4-1-20,0-3-4,-3 3 7,3-3-8,0 4 1,-4-4-1,4 0 4,0 3-2,0 0 6,0-3-3,-3 0 2,3 4-34,0-4 22,0 0-24,0 3 27,0-3 7,0 3-6,0-3 5,0 0 5,0 4-7,0-1 8,-3-3-10,3 3-9,0 1 6,0-4-8,0 3 10,0 0-5,0 1 4,0-4-2,0 3 3,0 1-1,0-1 3,0 0-2,0 1-9,0-1 7,0 0-9,-4 1-7,4-4 10,0 3-12,0 0 16,0 1 12,0-1-9,0 0 9,0-3-12,-3 4 9,3-1-8,0 0 9,0 1-8,0-1-2,-3 0 5,3-3 6,0 4-3,0-1 5,0 0-7,0 1-7,0-1 6,0-3-5,0 4 6,0-1 16,0 0-12,0 1 11,0-1-15,0-3 53,0 3-36,0 1 40,0-1-45,0 0-4,0-3 8,0 4-7,0-1 4,0 0-2,0 1 5,0-1-1,0 0 2,0-3 0,0 4-3,0-1-5,0-3 3,0 3-4,0 1 5,0-4-1,0 3 0,0 0 1,0-3-2,0 4 1,0-1 1,0-3-1,0 4-3,0-4 3,0 3-3,0 0-6,0-3 7,0 4-8,3-1 9,-3-3-7,0 3 5,0 1-5,0-4 6,3 3-5,-3 0 3,0 1-5,0-1 7,0-3-2,0 3 2,4-3 16,-4 4 0,0-1 5,0-3-7,0 0-14,3 3 2,-3-3-1,0 0 5,3 4-6,-3-4 6,0 3-5,4-3 7,-4 0 13,3 0-9,-3 3 10,4-3-28,-4 4 8,3-4-10,-3 3-1,3-3 9,-3 3-10,4-3 14,-1 4 23,-3-4-17,3 3 18,-3-3-23,4 4 3,-1-4-2,-3 0 3,3 3-4,-3-3-13,4 3 9,-1-3-8,-3 0 15,3 4-17,1-4 14,-1 0-15,0 3 3,-3-3 8,4 0-10,-1 0 3,0 3 3,-3-3-5,4 0 4,-1 0 9,0 4-7,1-4 6,-4 0-5,3 0 10,1 0-7,-1 0 8,-3 0-10,3 0 24,1 0-15,-4 0 16,3 0-28,0 0 4,-3 0-4,4 0 7,-1 0 5,0 0-4,1 0 4,-1 0-10,0 0 6,1 0-10,-4 0 8,3 0 1,0 0 0,1 0 2,-1 0-5,0 0 20,-3 0-15,4 0 18,-1 0 40,0-4-35,-3 4 40,4 0-59,-4-3 1,3 3 0,-3 0 4,4-3 11,-1 3-8,-3 0 9,0 0-9,3-4 10,-3 4-7,4 0 7,-4 0-9,0-3-11,3 3 6,-3 0-12,3-3 20,-3 3-3,4 0 4,-1 0 16,-3 0-17,3-4 17,-3 4-20,4-3-12,-4 3 8,0 0-10,3 0 14,-3-4-42,0 4 30,3 0-31,-3 0 5,0-3 24,4 3-27,-4 0 6,3-3 19,-3 3-23,3 0 25,-3-4 12,4 4-9,-4-3 6,0 3-13,3 0 17,-3 0-12,0-3 16,3 3-16,1 0 6,-4-4-4,0 4 8,0 0-9,3-3 3,-3 3-1,3 0-14,-3 0 11,4-3-11,-4 3 13,0 0-18,3 0 10,-3-4-13,0 4 15,4 0-4,-4 0 2,0 0-3,3-3 3,-3 3-8,0 0 4,3 0-5,-3 0-12,0-3 16,4 3-16,-4 0-2,0 0 14,3-4-16,-3 4 19,0 0-15,3 0 9,-3 0-10,0-3 12,4 3-4,-4 0 1,0 0-2,0 0 9,3-3-3,-3 3 2,3 0-6,-3 0 11,0 0-7,4 0 10,-4 0-23,0 0 10,3 0-11,-3 0 13,3 0-31,-3 0 23,4 0-23,-4 0 27,0 0 5,3 0-4,-3 0 2,0 0 9,3 0 1,-3 0 1,4 0-4,-4 0 2,3 0-8,-3 0 11,0 0 11,3 0-18,-3 0 22,4 0-25,-4 0 4,0 0-1,0 0 2,3 0 0,-3 0-17,0 0 12,0 0-16,3 0 19,-3 0 5,0 0-5,0 0 5,0 0 13,4 0-15,-4 0 16,0 0-15,0 3-3,0-3 5,0 0-6,0 0 18,3 0-11,-3 0 15,0 3-17,0-3 3,0 0-2,0 0 1,0 0 0,0 4 0,0-4-1,0 0 1,0 0 10,0 0-8,0 3 8,0-3-8,0 0 0,0 0 1,0 0-2,0 3-3,0-3 2,0 0-2,0 0 4,0 4-9,0-4 7,0 0-7,0 3 0,0-3 5,0 0-5,0 0 6,0 3-31,0-3 22,0 4-27,-3-4 23,3 0 3,0 3-5,0-3 6,0 0 7,0 3-6,-4-3 4,4 4-6,0-4 9,0 0-9,0 3 9,0-3 4,0 3-7,0-3 9,-3 0-12,3 4 12,0-4-8,0 0 11,0 3-8,0-3 0,0 4 0,0-4-2,0 0 13,-3 0-9,3 3 8,0-3-11,0 0 4,0 3-3,0-3 4,0 0-4,0 0-2,0 4 3,-4-4-2,4 0-7,0 0 6,0 3-6,0-3-8,0 0 12,-3 0-14,3 3 16,0-3-32,0 0 21,0 0-26,0 4 31,-3-4-6,3 0 5,0 0-5,0 0 12,0 0-29,-4 3 23,4-3-25,0 0 22,0 0-56,0 0-13,-3 3 5,3-3 14,0 0 59,0 0 0,0 4 0</inkml:trace>
  <inkml:trace contextRef="#ctx0" brushRef="#br0" timeOffset="138">2541 3646 9202,'0'-3'396,"0"3"-332,0 0-8,0 0 19,-3 0-27,3-4-1,0 4-7,0 0-5,0 0 30,-4 0 1,4 0-2,0 0-5,-3-3 2,3 3-13,0 0 11,-3 0-5,3 0 1,0-3 3,-4 3-5,4 0-12,0 0 10,-3-4-1,3 4-40,-3 0 40,3 0-45,-4 0 47,4 0-60,-3 0 44,3 0-54,-3 0 62,3-3-40,-4 3 27,4 0-31,-3 0 15,3 0 1,-3 0-5,3-3 47,-4 3-21,1 0 25,3-4-32,-3 4 22,3 0-14,-4 0 16,4-3-22,-3 3-12,3 0 12,0 0-7,-3 0 12,3 0-71,-4 0 48,4 0-55,0 0 74,-3 0-76,3 0 55,-4 0-70,4 0 4,-3 0 30,3 0-38,0 0 55,-3 0 8,3 0-11,0 0 5,0 0 47,0 0-33,-4-3 40,4 3-52,0 0 54,0 0-36,-3 0 47,3 0-66,0 0 19,-3 0-17,3 0 23,0 0-19,0 0 15,-4 0-14,4 0 3,-3 0 6,3 0-11,-3 0 10,3 0-25,-4 0 16,4 0-16,-3 0 19,3 0-13,-3 0 11,3 0-12,-4 0 8,4 0 2,0 0-2,-3 0 4,3 0 29,-3 0-21,3 0 22,-4 0-5,4 0-18,-3 0 19,3 0-19,-3 0 41,3 0-25,-4 0 29,4 0-32,-3 0-24,3 0 21,-3 0-17,3 0-34,-4 0 36,1 3-41,3-3 51,0 0-55,-4 0 40,1 3-49,3-3 55,-3 0-29,3 0 19,-4 0-28,4 0 80,-3 0-50,3 0 49,-3 0-54,3 0 53,-4 0 15,4 0 4,0 0 31,-3 4-75,3-4 40,-3 0-42,3 0-25,-4 0 21,4 0-21,-3 0-15,3 0 36,-3 0-41,-1 3 43,4-3-18,-3 0 1,3 0-6,-3 0-2,3 0-4,-4 0-3,4 0 0,-3 0 37,3 0-13,-3 0 16,3 0-24,0 3 54,-4-3-33,1 0 38,3 0-39,0 0-7,-3 0 6,3 0-2,-4 0 11,4 0-7,-3 0 12,3 0-17,0 0 23,-4 0-16,4 0 17,0 0-14,0 0-3,-3 0 4,3 0-9,0 0-30,-3 0 26,3 0-26,0 0 42,-4 0-10,4 0 6,0 0-8,0 0-13,-3 0 10,3 0-13,0 0 14,-3 0-14,3 0 9,0 0-8,-4 0 10,4 0-14,0 0 11,-3 0-12,3 0-15,-3 0 22,3 0-24,-4 0 5,4 0 15,-3 0-21,3 0 23,0 0 20,-3 0-14,3 0 17,-4 0-23,4 0 15,0 0-9,-3 0 11,3 0-20,0 0 6,-3 0-5,3 0 0,0 0 5,-4 0-4,4 0 7,-3 0-14,3 0 8,0 0-10,-3 0 8,3 0 13,0 0-10,-4 0 10,4 0-1,-3 0-7,3 0 8,0 0-9,-3 0-2,3 4 1,0-4 0,-4 0 3,4 0-6,-3 0 5,3 3-4,-4-3-12,4 0 12,-3 0-14,3 0 15,0 3-11,-3-3 5,3 0-6,-4 4 7,4-4-1,-3 0-1,3 3-1,0-3 3,-3 0 25,-1 0-18,4 0 33,-3 3-23,3-3 4,-3 0-4,3 4-15,0-4 7,-4 0-6,4 0 10,0 3-20,-3-3 17,3 0-17,0 3 18,-3-3-22,3 0 15,0 0-16,-4 0 15,4 0-8,-3 4 1,3-4-6,0 0 7,-3 3 2,3-3-1,0 0 3,-4 0-1,4 3 2,-3-3-2,3 0-1,0 0 1,0 0-1,-3 4 2,3-4 0,0 0 0,-4 0 0,4 3-10,0-3 7,0 0-7,-3 0 9,3 0-1,-3 3 0,3-3-1,0 0-3,-4 0 2,4 0-2,0 0 3,0 4 4,-3-4-3,3 0 4,0 0-5,-4 3-4,4-3 3,0 4-4,0-4-5,-3 0 8,3 3-8,-3-3 9,3 0-48,0 0 31,-4 3-35,4-3 19,-3 0 20,3 4-24,-3-4 26,3 0 22,0 0-15,-4 3 15,4-3-22,0 0 27,-3 0-19,3 3 24,-3-3-21,3 0-2,0 4 4,-4-4-62,4 3 40,-3-3-41,3 0 55,0 0-31,-3 3 21,3-3-32,0 0 36,0 4 1,-4-4 0,4 0-2,-3 3-5,3-3 28,0 3-19,0-3 23,0 0-23,0 4-3,-3-4 5,3 0 5,0 3-8,0-3 12,0 3-10,0-3-19,0 0 13,0 0-17,0 4 22,0-4 17,0 0-13,0 3 10,0-3-15,0 0 34,0 3-24,0-3 28,0 0-9,0 0-16,0 4 19,0-4-21,0 0 1,0 3 0,0-3 8,0 3-48,0-3-4,0 4-9,0-4 6,0 0 42,0 0-8,0 3 5,0-3-12,0 4 24,0-4-21,0 3 19,0-3 12,0 0-18,0 3 22,0-3-29,0 0 29,0 4-20,0-4 28,0 3-23,0-3 6,0 0-5,0 0 2,0 3-3,0-3 1,0 0 1,0 0-2,0 4-1,0-4 2,0 0-2,0 0 1,0 3-1,0-3 0,0 0 0,0 3 0,0-3 0,0 0 0,0 0-4,0 0 3,0 4-3,0-4 4,0 0-19,0 0 13,0 3-13,0-3 16,0 0-7,0 3 3,0-3-4,0 0-10,0 0 12,0 0-16,0 4-17,0-4 22,0 0-24,0 0 31,0 0-14,0 3 7,0-3-12,0 0 15,0 0-19,0 0 13,0 0-14,0 3 31,0-3-11,3 0 10,-3 0 25,0 0-27,0 4 31,0-4-39,0 0 37,0 0-27,0 3 33,0-3-35,0 3-6,0-3 4,0 0-2,0 0 7,0 4-33,0-4 24,0 0-28,0 0 27,0 0 3,3 0-5,-3 3 15,0-3-7,0 0 6,0 0-12,0 0 27,0 0-19,0 3 22,0-3-26,4 0 27,-4 0-20,0 0 27,0 0-29,0 0 20,0 4-14,0-4-47,0 0 30,0 0-45,0 0 44,0 0 7,0 0-11,0 0 22,3 0-14,-3 0 13,0 0-1,0 0-6,0 3 13,0-3 7,0 0 0,0 0 9,0 0 175,0 0-134,0 0 137,0 0-170,0 0 1,0-3-26,0 3 21,-3 0-21,3-4 20,0 4-17,0 0 11,-4 0-12,4-3 14,0 3-37,-3 0 23,3 0-25,0 0 0,-3 0 26,3-3-32,0 3 17,0 0 7,-4 0-9,4 0 11,0 0 15,0 0-13,-3-4 13,3 4-13,0 0-2,0 0 3,-3 0-3,3 0 3,0-3-6,-4 3 6,4 0-5,0 0-14,0 0 14,-3-3-15,3 3 19,0 0-6,0 0 4,-3 0-6,3 0 6,0 0-2,-4 0 1,4 0-2,0 0 3,-3 0-2,3 0 2,-4 0-2,4 0 2,0 0-1,0-4 1,-3 4 0,3 0 1,-3 0 2,3 0-1,0 0-1,0 0-1,-4 0 0,4 0 0,0 0 0,0 0 1,-3 0-1,3 0-16,0 0 12,-3 0-13,3 0 16,0 0 1,0 0-1,0 0 0,-4 0 12,4 0-10,0 0 11,-3 0-14,3 0 42,0 0-28,-3 0 31,3 0-36,0 0-6,-4 0 7,4 0-5,0 0-12,-3 0 11,3 0-11,0 0 16,-3 0-15,3 0 10,0 0-13,-4 0 7,4 0 3,0 0-5,-3 0 3,3 0 3,0 0-4,0 0 3,-3 0 41,3 0-30,-4 0 34,4 0-42,0 0 15,0 0-10,-3 0 14,3 0-15,0 0-1,-3 0 1,3 0 0,-4 0-14,4 0 14,0 0-14,0 0 7,-3 0 0,3 0-3,-3 0 4,3 0-3,0 0 5,-4 4-9,4-4 9,0 0-4,-3 0 3,3 0-2,0 0 1,0 0 15,-4 0-11,4 0 12,0 0 11,-3 0-17,3 0 18,0 0-30,-3 0 6,3 0-5,0 0 10,0 0-21,-4 0 15,4 3-14,0-3 19,-3 0-28,3 0 18,0 0-22,-3 0 22,3 0-1,0 0-4,0 0 2,-4 0 38,4 0-24,-3 0 28,3 3-35,0-3-1,0 0 2,-3 0 2,3 0-7,0 0 7,0 0-7,-4 0 10,4 0-8,0 0 6,0 0-7,-3 0 6,3 4-11,0-4 5,-3 0-6,3 0 2,-4 0 4,4 0-6,0 0 6,0 0 0,-3 0 1,3 3 0,-3-3 0,3 0 0,0 0 0,-4 0 1,4 0 14,0 0-10,-3 0 11,3 0-14,-3 0 20,3 0-14,-4 0 15,4 0-16,-3 0 11,3 0-6,0 0 8,-3 3-22,3-3 7,-4 0-6,4 0-7,-3 0 13,3 0-14,0 0 16,-4 0 28,4 4-21,-3-4 20,3 0-29,-3 0-10,3 0 8,0 0-7,-4 0 11,1 0-6,3 3 4,0-3-3,-3 0-13,3 0 13,0 0-13,-4 0-2,4 0 13,0 0-16,0 0 19,-3 0-13,3 0 9,0 0-12,-3 0 12,3 4-15,0-4 10,0 0-9,0 0 12,-4 0 24,4 0-17,0 0 20,0 0-24,0 0 15,0 0 6,0 0-1,0 3 0,0-3-20,0 0 6,0 0-7,0 0 0,0 0 3,0 0-4,0 0 6,4 0 0,-4 0-1,0 0-1,3 3 1,-3-3 1,0 0 0,3 0-1,-3 0 51,0 0-38,0 0 40,0 0-33,4 4-12,-4-4 18,3 0-14,-3 0-7,0 0 9,0 0-11,3 3 11,-3-3-17,4 0 11,-4 0-10,3 0 42,-3 0-21,3 0 20,1 0-26,-4 0 38,0 3-27,3-3 29,-3 0-18,4 0-12,-1 0 17,-3 0-15,3 0-8,-3 0 11,4 0-12,-4 0 17,3 4-6,0-4 5,-3 0-5,0 0 58,4 0-43,-4 0 44,3 0-54,-3 0 46,3 0-32,-3 0 39,4 3 21,-4-3-43,3 0 55,-3 0-62,3 0-63,-3 0 50,4 0-54,-4 0 68,3 0-53,-3 0 38,3 0-39,-3 0-27,4 0-18,-4 0-12,3 0 19,-3 0 1,3 0-10,-3 0-23,4 0 0,-4 0 45,3 0-2,-3 0 3,3 0 60,-3 0 1,4 0 12,-1 0 34,-3 0-73,4 3 34,-1-3-43,0 0 57,-3 0-40,4 0 60,-4 0-80,3 0 26,0 0-18,-3 0 15,4 4-51,-4-4 39,3 0-45,-3 0 56,3 0-75,-3 0 51,4 0-65,-4 0 23,0 0 24,3 0-29,-3 0 37,3 0 4,-3 3-9,4-3 5,-4 0 6,0 0-2,3 0 3,-3 0-7,3 0 25,-3 0-18,0 0 21,4 0-26,-4 0 44,0 0-31,3 0 37,-3 0-40,3 0 4,-3 3 0,4-3 0,-4 0-27,3 0 21,-3 0-21,3 0 13,-3 0 8,4 0-9,-4 0 10,3 0-35,-3 0 26,0 0-30,4 0 35,-4 0-22,3 0 15,-3 4-20,0-4 33,3 0-14,-3 0 12,0 0-12,4 0 17,-4 0-12,3 0 13,-3 0-36,3 0 15,-3 0-14,0 0 20,4 0-24,-4 0 18,0 0-18,3 0 24,-3 3-41,3-3 29,1 0-34,-4 0 32,0 0 5,3 0-10,-3 0 11,3 0-14,-3 0 50,4 0-39,-4 0 40,0 0-6,3 3-23,-3-3 33,3 0-17,-3 0-9,0 0 13,4 0-15,-4 4-32,0-4 29,0 0-27,3 0 34,-3 0-58,3 3-14,-3-3-4,0 0-29,4 0 75,-4 0-35,0 0 48,3 0-16,-3 3 16,0-3-21,3 0-1,-3 0-1,0 0 1,0 0 3,0 4 34,4-4-21,-4 0 21,0 0 12,0 0-30,0 3 36,0-3-38,0 0 44,3 0-33,-3 0 35,0 0-17,0 0-13,0 3 31,0-3-29,0 0 9,0 0-6,0 0-13,0 0 9,0 0-9,0 4 11,0-4-2,0 0 4,0 3-3,-3-3 5,3 0-5,0 0 3,0 4 0,0-4-3,0 0 3,-4 3-4,4 0-31,0-3 23,0 4-22,-3-4 29,3 3-27,0-3 19,0 3-21,-3 1 36,3-1-11,0-3 10,0 3-14,-4 1-8,4-4 2,0 3-3,0 0-39,0-3 35,0 4-36,0-1 45,0-3-65,0 3 46,0-3-49,0 4 62,-3-4 0,3 3-2,0-3-9,0 0 3,0 3 26,0-3-16,0 0 22,0 4-20,0-4 120,0 0-77,0 0 157,0 0-103,0-4 17,0 4-20,0 0-54,0-3-4,-3 3 11,3-3-55,0 3 55,0 0-53,-4-4 62,4 4-62,0 0-13,-3 0-4,3-3-42,-3 3 88,3 0-57,-4 0 56,4 0-55,-3 0 31,3 0-28,-3 0 46,3 0-5,-4 0 11,1 0-19,3 0 59,-3 0-42,3 0 46,-4 0-55,4 0 41,-3 0-29,3 0 39,-3 0-41,-1 0 10,4 0-7,0 0 10,-3 0-8,3 0 13,-3 0-11,3 0 13,-4 0-66,4 3 42,-3-3-47,3 0 38,-4 0 10,4 0-14,0 4 15,-3-4 26,3 0-19,-3 3 21,3-3-12,0 0-12,0 0 14,-4 3-14,4-3-5,0 0 9,0 4-8,-3-4 12,3 0-2,0 3 3,0-3-3,0 0-18,0 0 10,0 4-13,-3-4 18,3 3-49,0-3 34,0 0-41,0 3 34,0-3 5,0 0-7,0 0 9,0 4 8,0-4-7,0 0 5,-4 3-9,4-3 10,0 0-9,0 3 9,0-3-9,0 0 20,0 4-13,0-4 14,0 0 17,-3 0-23,3 0 29,0 3-33,0-3 3,0 0-2,0 0 0,0 3-7,0-3 6,0 0-6,0 4 8,0-4-9,0 0 6,0 0-7,0 3 7,0-3-1,0 3 1,0-3-4,0 0 17,0 0-13,0 0 13,0 4 0,0-4 104,0 0-70,0 0 78,0 0-111,0 0 33,0 0-23,3 3 31,-3-3-43,4 0 21,-4 0-20,0 0 22,0 0-68,3 0 50,-3 0-52,0 0 6,3 0 35,-3 0-49,4 0 55,-4 0-38,0 0 27,3 0-31,0 0 34,-3 0 3,4 0-3,-1 0 5,-3 0 7,4 0-13,-1 0 15,0 3-15,-3-3-4,4 0 7,-1 0-6,0 0-10,-3 0 10,4 0-10,-1 0 14,-3 0-70,3 0 50,1 0-57,-4 0 29,3 0 23,0 0-28,1 0 27,-4 0 7,3 0-8,-3 0 3,3 0 2,-3 0-37,4 0 25,-4 0-26,3 4-8,-3-4 27,3 0-26,-3 0 37,4 0-15,-4 3 9,3-3-12,-3 0 9,0 0 16,3 0-17,-3 0 11,0 0 49,0 3-44,4-3 50,-4 0-59,0 0 48,0 0-6,0 0 26,0 0-25,0 0-37,0 0 13,0 0-8,0 4 12,0-4 6,0 0-8,0 0 47,0 0-35,-4 3 37,4-3-45,0 0 6,-3 0-2,3 3 4,0-3-1,-3 4 13,-1-4-4,4 3 8,-3-3 10,0 0-19,3 4 20,-4-4-25,4 3 6,0-3-3,-3 3 2,3-3-23,-3 4 14,3-4-15,-4 3 21,1-3-20,3 3 14,-3-3-16,3 4 19,0-4-11,0 0 8,-4 3-13,4-3 5,0 3-1,0-3-1,-3 0 3,3 4 40,0-4-28,0 3 30,0-3-36,0 0 2,0 3 1,0-3 0,0 0-9,0 0 7,0 0-8,0 0 11,0 0-13,0 4 9,3-4-10,-3 0 6,0 0 2,0 0-3,4 0 21,-4 0-11,0 3 11,3-3-16,-3 0-5,0 0 4,3 0-1,-3 0 3,4 0-13,-4 3 9,0-3-10,3 0 14,-3 4-19,3-4 13,-3 0-15,0 0 15,4 3-1,-4-3-1,3 0 0,-3 3 8,3-3-8,1 0 8,-4 0 36,3 0-30,0 0 34,-3 4-41,4-4 32,-1 0-23,-3 0 28,4 0-33,-4 0-10,3 0 11,0 0-12,-3 0-26,4 0-13,-1 0-4,-3 0 9,3 0 4,1 0 24,-4 0-38,3 0 24,0 3-3,-3-3 0,4 0-2,-1 0 45,-3 0-37,3 0 38,1 0-31,-4 0 1,0 0 4,3 0-5,-3 0-11,3 0 10,1 0-5,-4 0-8,3 0 14,-3 0-14,0 0 14,3 0-4,-3 0-1,0 0-1,0 0-5,0 0-35,0 0 22,0 0-24,4 0 66,-4 0-21,0 3 21,0-3-28,0 0 45,0 0-30,0 0 36,0 4 1,0-4-29,0 3 32,-4-3-38,4 4 15,0-4-7,0 3 11,0-3-8,0 0-4,0 3 10,-3 1-6,3-4-6,0 0 1,0 3-6,0 0 6,0-3 1,0 4-1,0-1 0,0-3 1,-3 3-1,3 1 0,0-4-2,0 3 21,0-3-15,0 3 16,0 1-18,-4-4 0,4 3 0,0-3 0,0 3-9,0-3 8,0 4-7,0-4-36,0 0 33,0 0-37,-3 3 45,3-3-37,0 0 26,0 3-32,0-3 36,0 0 5,0 0-4,0 0-5,0 0-41,0 0 22,0 4-54,0-4 134,0 0-74,0 0 91,0 0-70,0 0 28,-3 0-19,3 0 27,0-4-35,0 4 15,0 0-13,0 0 30,-4 0-15,4 0 15,0 0-19,-3 0 1,3 0-2,0-3 0,-3 3 1,3 0 14,-4 0-10,4 0 9,-3-3-13,3 3-2,-3 0 2,-1 0 2,1-4-22,3 4 19,-3-3-19,3 3 12,-4 0 4,1 0-7,0-3 9,3 3-18,-4-4 12,4 4-14,-3 0 13,3-3-5,-4 3 1,4 0-1,0-3 16,-3 3-7,3 0 8,-3-4-11,3 4-2,-4 0 2,4-3 0,-3 3-15,0-3 13,3 3-13,0 0 15,-4-4-1,4 4 0,-3 0-1,3-3 0,-3 3 11,3 0-9,-4 0 9,4-3 35,-3 3-32,3 0 37,-3 0-33,3 0-7,0 0 10,-4 0-8,1 0-19,3 0 17,-3 0-17,3 0 21,-4 0-31,4 0 24,0 0-25,-3 0 12,3 0 10,-3-4-16,3 4 17,-4 0-21,4 0 15,0 0-18,-3 0 18,3 0-3,0 0 3,-3 0-2,3-3 0,-4 3-1,4 0 2,0 0 0,-3 0-4,3 0 2,-4 0-2,4 0 4,-3 0-17,3 0 12,-3 0-13,3-3 18,-4 3-2,4 0 1,0 0 6,-3 0-5,3 0 6,-3 0-10,3-4 11,0 4-8,-4 0 9,4 0-9,-3 0 1,3 0-1,0 0 6,-3 0 3,3 0 4,0 0-1,-4-3-3,4 3-7,-3 0 1,3 0-1,0 0-6,-3 0 5,3 0-5,-4 0 7,4 0-24,0-4 17,-3 4-20,3 0 25,-3 0-33,3 0 22,-4 0-26,4 0 31,0 0-15,-3 0 11,3 0-15,-3 0 37,3 0-20,-4-3 19,4 3-9,0 0-8,0 0 8,-3 0-11,3 0 23,-3 0-14,3 0 18,0 0-21,-4 0 2,4 0-1,-3 0 3,3 0-1,0 0-7,0 0 5,-4 0-6,4 0 6,0 0 0,-3 0-1,3 0 7,-3 0-4,3 0 4,0 0-6,0 0 11,-4 0-8,4 0 10,-3 3-11,3-3 6,0 0-1,-3 0 3,3 0-3,0 0-3,0 0 3,-4 4-2,4-4 1,0 0-3,-3 0 3,3 0-3,0 3-9,0-3 8,0 0-10,0 4 12,-3-4-6,3 0 4,0 3-4,0-3 5,0 0-1,0 0 1,0 3-2,0 1 6,0-4-5,0 0 4,0 3-5,0-3 28,0 3-19,0-3 21,0 4-24,0-4-2,0 0 5,0 3-6,3-3 5,-3 3-5,0-3 4,3 0-7,-3 0 6,4 4-6,-4-4 7,3 0-36,-3 3 24,3-3-25,-3 0 29,4 0-42,-4 0 24,3 0-28,-3 0 49,3 0-5,1 0 5,-4 0-22,3 0 6,1 0-6,-4 0 9,3 0-13,0 0 9,-3 0-9,4 0 14,-1 3-3,-3-3 5,3 0-5,-3 0 6,4 0-31,-1 0 20,0 0-27,-3 0 60,4 0-29,-4 0 29,3 0 2,0 0-21,-3 0 29,4 0-37,-4 0 32,3 0-22,-3 0 26,0 0-28,3 0-25,-3 0 17,0 0-18,4 0 27,-4 0 8,0 0-6,0 0-15,0 0 9,0 0-24,0 0 61,3 0-33,-3 4 35,0-4-35,-3 0 57,3 0 13,0 3 10,0-3 26,-4 0-72,4 0 25,-3 0-27,3 0-16,-3 3 20,3-3-15,-4 0-2,4 4 7,-3-4-8,3 0 16,-3 0-52,3 0 36,-4 0-45,4 3 51,-3-3-63,3 3 46,0-3-54,-3 0 44,3 4 3,-4-4-6,4 0 8,0 3 33,-3-3-25,3 3 25,0-3 1,0 4-20,0-4 21,-3 0-24,3 0 12,0 0-4,0 3 7,0-3-3,0 0-30,0 0 26,0 0-26,0 4 2,0-4 14,3 0-19,-3 0 23,0 0 16,0 0-12,3 0 9,-3 0-16,4 0-4,-4 3 2,3-3 0,-3 0 1,3 0 3,-3 0-3,4 0 6,-4 0 9,3 0-4,0 0 5,1 0-10,-4 0-2,3 0 0,0 0 0,1 0 13,-1 0-10,0 0 10,1 0-31,-1 0 15,0 0-14,4 0 19,-3 0-11,-1 0 7,0 0-9,4 0 7,-4 0-15,4 0 10,-4 0-10,1 0 5,2 0-8,-2 0 0,-1 0 0,4 0-44,-4 0 43,0 0-47,4-3-5,-4 3-21,1 0 0,-1 0 6,1 0-147,2 0 37,-2 0-131,-1 0 86,0 0-137,1-4 210,-1 4-113,0 0 276,1 0 0,-1 0 0</inkml:trace>
  <inkml:trace contextRef="#ctx0" brushRef="#br0" timeOffset="139">2548 3659 9502,'0'0'-972,"0"0"938,0 0 141,3-3-72,-3 3 40,0 0-27,0 0 30,0 0 13,0 0 11,4-3 6,-4 3-5,0 0 0,0 0-27,3 0 29,-3 0-43,0 0 45,0 0-15,0 0 26,3 0-28,-3 0-69,0-4 43,0 4-44,0 0 40,0 0 2,0 0-40,0 0 24,0 0-17,0 0 25,0 0-29,0-3 17,0 3-22,0 0 18,0 0-55,0 0 37,0-3-42,0 3-7,0 0 47,0 0-55,0-4 46,-3 4 10,3 0-14,0-3 15,-3 3-28,3 0 14,-4 0-17,4 0 23,-3-3-12,3 3 4,-3 0-6,3 0 9,-4 0-47,4 0-18,-3 0 1,3 0 4,-4 0-17,4 0 38,-3 0-46,3 0 71,-3 0-5,3 0 2,0 0-1,-4 0-11,4-4 9,0 4-10,-3 0-11,3 0 10,0 0-7,0 0-11,-3 0 17,3 0-27,0 0 24,0 0 40,0 0-29,0 0 41,0-3 6,0 3 14,0 0 6,3 0-12,-3 0 21,0 0 13,3 0 15,-3 0-19,4 0-17,-4 0-27,0 0 33,3 0-32,-3 0 8,3 0-6,-3 0 13,4 0-63,-4 0 52,3 0-55,-3 0 52,0 0-17,4 0 5,-4 3-9,3-3-8,-3 0 16,3 4-21,-3-4 22,0 3-32,4-3 23,-4 3-23,3-3 29,-3 4-15,3-4 12,-3 3-12,0-3-8,0 0 12,4 3-14,-4-3 2,0 0 13,0 0-15,0 4 108,0-4-68,0 0 72,0 0-80,-4-4-6,4 1 12,-3 3-22,0-3 18,-1-1-17,1 1-39,0 0 37,-1 3-41,1-4 54,-1 1-112,-2 3 24,6-3-110,-7 3 112,4-4-143,-1 4 93,1 0-48,0 0 89,-1-3 81,1 3 0,0-3 0</inkml:trace>
  <inkml:trace contextRef="#ctx0" brushRef="#br0" timeOffset="140">2685 3887 8519,'0'3'12,"0"-3"39,0 0 105,0 0-89,0 0 49,0 0-36,0 0-28,0 4 50,0-4 40,0 0-50,0 0 95,0 0-117,0 0 37,0 0-20,3 0-8,-3 0 10,0 0-12,0 0-51,0 0 48,4 0-46,-4 0 56,0 0-57,0 0-11,3-4-5,-3 4-32,4 0 27,-4 0-9,0 0 10,3 0-11,-3 0-5,3-3-12,-3 3 9,4 0 30,-4 0 4,0-3-6,3 3 33,0 0-23,-3 0 24,4 0-26,-4-4-1,3 4 0,-3 0 3,3 0 2,-3 0-27,4 0 22,-4 0-25,3 0-18,-3-3 34,3 3-37,-3 0 4,4 0 23,-1 0-30,-3 0 33,0 0-18,3 0 8,-3-3-12,4 3 14,-4 0 0,3 0-4,-3 0 3,0 0-2,3 0 16,-3 0-12,4 0 11,-4 0-13,0 0 4,3 0-2,-3 0-6,3 0 6,-3 0-6,0-4 8,4 4-48,-4 0 35,0 0-38,3 0 46,-3 0-2,4 0 1,-4 0-5,0-3 2,3 3 1,-3 0 0,3 0 0,-3 0 31,0 0-27,4 0 27,-4 0-29,3-3 12,-3 3-5,0 0 7,0 0-26,3 0 11,-3 0-10,0 0 16,4 0-31,-4 0 21,0-4-26,3 4 31,-3 0 3,0 0-3,0 0-1,3 0 5,-3 0-10,0-3 10,4 3-3,-4 0-2,0 0 5,0 0-7,0-3-6,3 3 5,-3 0-16,0 0 13,0 0-2,0 0 19,0 0-3,0-4 12,0 4-18,-3 0 7,3 0-7,0 0 26,0 0-18,0 0 23,0 0-27,-4 0 33,4 0-23,0 0 23,0 0-26,0 0 19,-3 0-13,3 0 15,0-3 26,0 3-27,0 0 34,0 0-11,0 0-20,-3 0 20,3 0-22,0 0-12,0 0 13,0 0-12,-4 0 13,4 0-58,0-3 46,-3 3-48,3 0 56,0 0-55,0 0 33,-3 0-37,3-4 9,-4 4 27,4 0-34,0 0 23,-3 0 1,3 0-3,0 0 6,-3-3 2,3 3-2,0 0 1,0 0 2,-4 0 8,4-4-5,-3 4 5,3 0-7,0 0 2,-4 0 0,4 0 0,0-3-3,-3 3 0,0 0 0,3 0-1,-4 0 2,4 0-3,-3 0 4,3 0 24,0 0-18,-3-3 18,3 3-23,-4 0 58,4 0-40,-3 0 43,3 0-52,-3 0 11,3 0-3,-4 0 6,4 0-14,-3 0 4,3 0-5,-3 0-24,-1 0 22,4 0-26,-3 0 36,0 0-21,3-4 14,-4 4-20,4 0 19,-3 0-14,0 0 10,3 0-12,-4 0 12,4 0-2,-3 0 1,3 0 3,-3 0-8,3 0 5,-4 0-4,4-3-7,-3 3 8,3 0-9,-4 0 12,4 0-13,-3 0 10,3 0-13,0 0 13,-3-3-9,3 3 7,-4 0-7,4 0 5,0 0-1,-3 0 1,3 0 0,0 0 1,-3 0 0,3-4 0,-4 4 0,4 0 0,-3 0 0,3 0 0,0 0 0,-3 0 0,3 0 0,0 0 0,-4 0 0,4 0 0,0 0 0,-3 0 0,3 0 41,0 0-29,-3 0 33,3-3-32,0 3-3,0 0 5,-4 0-12,4 0 2,0-3 1,-3 3 5,3 0-17,-3 0 12,3 0-15,0 0 17,-4-4-27,4 4 18,0 0-21,-3 0 20,3 0-5,0-3-1,-3 3 0,3 0 9,0 0-1,0 0 1,-4-3 8,4 3-10,0 0 11,0 0-11,-3 0 2,3-4 0,0 4 1,-3 0 0,3 0-2,0 0 4,-4-3-3,4 3 6,0 0-4,0 0 3,0 0-3,-3-3 25,3 3-18,0 0 19,0 0-32,-4-4 6,4 4-4,0 0 7,0 0 4,0-3-2,-3 3 2,3 0-4,0-3-2,0 3 3,0-4-2,0 4 6,0 0-4,0-3 4,0 3-5,-3-3-12,3 3 9,0 0-11,0-4 13,0 4-11,0-3 9,0 3-9,-4 0 2,4 0 5,0-4-7,0 4 7,0-3-4,-3 3 3,3-3-5,0 3 5,0-4-3,0 4 3,0 0-2,0-3 2,-3 3-1,3 0 1,0-3 0,0-1 0,0 4 0,0 0 0,0-3 1,0 3-1,0 0 2,-4-3-2,4 3 0,0-4 0,0 4 1,0 0-1,0-3-5,0 3 3,-3 0-2,3-3-7,0 3 7,0 0-7,0-4 10,0 4 0,-3 0 0,3-3-2,0 3 4,0 0-2,0 0 2,0 0 7,0-3-8,0 3 8,0 0-9,0-4 14,0 4-10,-4 0 12,4 0-14,0-3 1,0 3 2,0 0-2,0 0-17,0 0 12,0-3-13,-3 3 18,3-4-9,0 4 6,0 0-8,0-3 7,0 3 16,-3 0-12,3 0 11,0-3 50,0 3-48,0-4 54,0 4 9,0-3-48,0 3 53,0-4-68,0 4 35,0-3-15,0 0 23,0 3-16,-4-4-16,4 1 17,0 0-13,0-1-208,0 4 43,0-3-143,0 0 115,0-1 98,0 1 13,0 3 52,0-3 0,0-1 0</inkml:trace>
  <inkml:trace contextRef="#ctx0" brushRef="#br0" timeOffset="141">2545 3653 8555,'0'0'-187,"0"0"163,0 0 0,0 0 0</inkml:trace>
  <inkml:trace contextRef="#ctx0" brushRef="#br0" timeOffset="142">2561 3669 9502,'0'-3'-778,"0"3"575,4 0 124,-4 0 16,0 0 63,-4 0 1,4 0-2,0 0 34,0 0-23,0 0 24,0 0-30,-3 0 121,3 0-86,0 0 225,0 0-118,0 0 108,0 0-3,-3 0 39,3 0 581,0 0-543,0 0 420,0 0-714,0 0 13,0 0-16,0 0-4,3 3 4,-3-3 12,0 0 11,3 0-18,-3 4 26,0-4-51,0 0-32,4 3 7,-4-3-25,0 0 86,0 3-28,0-3 27,3 0-38,-3 4 26,0-4-33,0 0-25,3 3 41,-3-3-44,0 4 57,0-1-33,4-3 18,-4 0-21,0 3 30,0-3-23,0 4 16,3-1-19,-3-3 28,0 0-5,0 3-1,3 1 64,-3-4-55,0 3 60,0-3-70,0 3-14,0-3 15,0 4-9,0-4 18,4 3-40,-4-3-16,0 3-1,0-3 12,0 0-8,0 4 35,0-4-46,0 0 12,0 3 9,0-3-17,0 3 14,0-3 14,3 0-17,-3 0 14,0 4 28,0-4-19,0 3 28,0-3-36,0 3 37,3-3-24,-3 0 31,0 4-24,0-4-1,0 3 3,0-3-6,0 3-1,0-3 4,0 4-2,0-4 9,0 0-8,4 3 7,-4-3-9,0 0-21,0 0 17,0 4-21,0-4 6,0 0 9,0 0-11,0 0 16,0 0 1,3 3-44,-3-3 31,0 0-37,0 0 40,0 0-2,0 3 0,0-3-2,3 0 6,-3 0-6,0 4 5,0-4 13,0 3-11,0-3 13,0 0-17,0 0 56,0 0-40,0 0 46,0 3-49,0-3 53,0 0-24,4 0 23,-4 0-35,0 0-16,0 0-22,0 0-22,0 0 7,0 0-12,0 4-6,0-4 24,0 0-30,0 0 32,0 0 32,0 3-29,0-3 29,3 0 44,-3 3-46,0-3 53,0 0-68,0 0 30,0 0-11,0 0 56,0 0-40,0 0 18,0 0-21,0 0 40,0 0-23,0 0 29,3 0-39,-3 0-43,0 4 30,0-4-32,0 0-7,0 0 31,0 0-33,0 0 27,4 0 9,-4 0-13,0 0 12,0 0-1,0 0-6,0 0 4,0 0-9,0 0 1,3 0 0,-3 0 2,0 0 7,0 0-25,0 0 18,0 0-46,0 0 41,0 0-20,0 0 25,4 0-45,-4 0 31,0 0-33,0 0 37,0 0-18,3 0 10,-3 0-15,0 0 20,0 0 13,0 0-9,3 0 9,-3 0-14,0 0 40,0 0-28,0 0 33,4 0 17,-4 0-36,0 3 41,0-3-34,0 0-15,3 0 20,-3 0-19,0 0-14,0 0 9,0 0-12,3 0 19,-3 0-28,0 3 19,0-3-24,4 0-13,-4 0 25,0 0-30,3 0 34,-3 0-6,0 0 0,3 0-2,-3 0-3,0 4 9,4-4-10,-4 0 9,0 0 38,3 0-28,-3 0 31,3 3-39,-3-3 39,0 0-27,4 0 32,-4 0-38,0 0 21,3 3-14,-3-3 18,0 0-26,3 0 14,-3 0-12,4 0-9,-4 4 10,3-4-14,-3 0 20,0 0-19,3 0 12,-3 0-18,0 0 19,4 0 28,-1 3-21,-3-3 24,0 0-34,3 0 3,-3 0-1,4 0 4,-4 0-37,3 3 28,-3-3-29,4 0 37,-4 0-16,0 4 11,3-4-15,-3 0 4,3 0 4,-3 0-7,0 3 1,4-3 15,-4 0-15,0 0 15,3 0-13,-3 0 31,3 0-19,-3 0 20,4 0 5,-4 3-20,0-3 25,3 0-39,0 0 10,-3 0-10,4 0 13,-4 0-36,0 4 28,3-4-29,-3 0 34,3 0-37,-3 3 22,0-3-26,4 0 28,-4 0-5,3 0-2,-3 4-1,0-4 2,0 0 6,3 0-6,-3 0 35,0 3-24,4-3 25,-4 0-29,3 0 48,-3 0-32,0 0 35,0 0-42,3 0 7,-3 0-1,4 0 3,-4 0-4,0 0-2,3 0 5,-3 0-21,3 0 17,-3 0-16,0 0 18,0 0-30,0 0 21,4 3-23,-4-3 25,0 0-14,0 0 8,3 0-10,-3 0 10,0 0-9,4 0 4,-4 0-5,0 0 7,0 0 17,3 0-14,-3 0 13,3 0-23,-3 0 8,0 0-6,4 0 8,-4 0-27,3 0 19,-3 0-20,0 0-27,3 0 38,-3 4-41,0-4 50,0 0 9,4 0-7,-4 0 4,0 0-10,3 0 12,-3 0-9,0 0 9,0 0 28,0 0-31,3 0 36,-3 0-30,0 3-6,0-3 10,4 0-9,-4 0-2,0 0 1,0 0 0,3 0 3,-3 0-57,0 0 41,0 3-49,3-3 54,-3 0 11,0 0-12,0 0 9,0 0 10,0 0-21,0 0 20,0 0 4,0 0-22,4 0-1,-4 0-8,0 0-9,0 0 7,0 4 14,0-4-13,0 0-16,0 0 21,0 0-24,0 0 24,0 0 18,0 0-17,0 3 16,0-3-2,-4 0-8,4 0 7,0 0-11,0 0 43,-3 3-30,3-3 37,-3 0-43,-1 4 34,4-4-25,-3 0 29,3 0-32,-3 0 25,-1 3-18,1-3 23,3 0-21,-3 0 5,-1 3-5,1-3 0,0 0-1,3 0 1,-4 4-1,1-4 1,3 0-1,-4 3 0,1-3 0,0 0 0,3 3 0,-4-3 0,1 0 0,3 0 20,-3 0-15,3 0 16,-4 4-5,4-4-10,-3 0 12,3 0-20,-3 0 6,3 0-7,-4 0 10,4 0-22,0 0 17,-3 0-17,3 0 20,0 0-35,-3 0 23,3 0-27,0 0 8,-4 0 18,4 0-24,0 0 26,-3 0 5,3 0-4,-3 0 7,3 3 20,0-3-23,-4 0 24,4 0-28,0 0 24,-3 0-14,3 0 16,0 0-17,-3 0-3,3 0 5,0 0-3,0 0-1,-4 0 1,4 0 0,0 0 2,0 0 0,0 0-2,-3 0 0,3 0-6,0 0 4,0 0-5,-3 0 5,3 0-13,0 3 8,0-3-8,0 0 12,-4 0-23,4 0 16,0 0-17,-3 0 21,3 0 1,0 0-3,0 0-1,-4 4-9,4-4 4,0 0-4,0 0 1,-3 0 5,3 0-6,0 0 6,0 0-7,0 0 5,0 0-10,0 0 26,-3 0-47,3 0 42,0 0-40,0 3 47,0-3-10,0 0 8,0 0-11,0 0 4,0 0-3,0 0 63,0 0-46,0 0 95,0 3-65,0-3 21,0 0-16,0 0-57,0 0 29,0 0-27,0 0 26,0 4-46,0-4-14,0 0-8,0 0-24,0 3 65,0-3-24,0 0 19,0 4 16,0-4-20,0 3 18,0-3-16,0 3 4,0-3-2,0 4 3,0-4 6,0 3-4,0-3 5,0 3 0,0 1 9,0-4-2,0 0 2,0 3-8,0-3 8,0 3-6,0-3 15,0 4-15,0-4 6,0 3-8,0-3-23,0 0 18,0 3-19,0-3 25,0 4-15,0-4 9,0 3-11,0-3 12,0 3-3,0-3-1,0 0 0,0 4 28,0-4-18,0 0 19,0 3-27,0-3 18,0 0-11,0 3 14,0-3-7,0 0-4,0 0 6,0 4-3,0-4-26,0 0 21,0 3-20,0-3 18,0 0 3,0 0-5,0 4 4,0-4-1,0 3 0,0-3-2,0 0 10,0 3-9,0-3 9,0 0-9,0 0 24,0 4-17,0-4 18,0 0-21,0 0 11,0 0-6,0 3 8,0-3-11,0 0 0,0 0 2,3 3 0,-3-3-8,0 0 6,0 0-7,0 4-4,0-4 9,0 0-10,0 0 10,0 0-4,0 0 2,0 3-6,0-3 8,0 0-4,0 0 3,0 0-1,0 3 1,0-3 0,0 0 0,0 0 0,0 0-13,0 4 10,3-4-10,-3 0 0,0 0 9,0 0-9,0 3 10,0-3 4,0 0-3,0 3 2,0-3-4,0 0 7,0 0-5,0 0 6,0 4-1,0-4-5,4 0 7,-4 0-7,0 0 3,0 3 0,0-3 1,0 0-1,0 0-1,0 0 0,0 0 0,0 0 0,0 0 0,0 3 0,0-3 12,0 0-9,0 0 9,0 0-11,0 0 15,0 0-9,0 4 5,0-4-8,0 0-6,0 0-25,0 0 21,0 0-25,0 0 30,0 3-1,0-3-1,0 0-2,0 0 0,-4 0-5,4 0 12,0 0-9,0 0 9,0 0-6,-3 0 1,3 0 1,0 0 0,0 0 1,0 0-1,0 0 0,0 3 2,0-3-2,-3 0 2,3 0-3,0 0 36,0 0-25,0 0 27,0 0-18,0 0-10,-4 0 10,4 0-11,0 0 0,0 4 0,0-4-7,0 0 5,0 0-15,0 0 28,0 0-17,0 0 29,0 0 1,0 3-2,0-3-7,0 0-13,0 0-8,0 0-50,0 0 43,4 0-45,-4 0 53,0 0-14,0 0 6,0 0-10,3 0 10,-3 0 6,0 3-10,0-3 1,0 0 14,0 0-13,3 0 17,-3 4-16,0-4 16,0 0-10,4 0 13,-4 0-4,0 3-7,0-3 11,3 0-12,-3 0-13,0 4 9,0-4-12,4 0 16,-4 0-11,0 0 8,0 3-10,0-3 10,0 0-1,0 0 0,0 0 3,3 3 3,-3-3-2,0 0 0,0 0 15,0 4-14,0-4 16,0 0-19,0 0 17,0 0-11,0 3 15,0-3-17,3 0-2,-3 0 2,0 0-2,0 3 3,0-3-40,0 0 29,0 0-45,0 4 50,0-4-13,0 0 13,0 0 2,0 0-2,4 3 0,-4-3-3,0 0 10,0 3-7,0-3 8,0 0-12,0 0-19,0 4 15,0-4-15,0 0-15,0 0 26,0 0-26,0 3 20,0-3 8,0 0-13,0 0 14,0 3 18,0-3-13,0 0 12,0 0-19,0 0 46,0 0-32,0 0 37,0 4-47,3-4 26,-3 0-12,0 0 28,0 0-22,0 3-52,0-3 32,0 0-59,0 0 54,0 0 4,0 0-2,0 0 20,0 0-12,0 0 4,-3 0 0,3 0-1,0 0 0,0 0-1,0 0 7,0 0-6,-4 0 5,4-3-6,0 3-10,0 0 7,-3 0-8,3-4 12,0 4 0,0 0 2,-3 0-3,3 0 8,0 0-6,0 0 5,-4-3-6,4 3 15,-3 0-11,3 0 11,0 0-9,0 0-3,-4 0 4,4 0-3,0-3 0,-3 3 1,3 0 1,0 0-1,0 0-2,0 0 1,0 0 0,-3 0-3,3 0 3,0 0-3,0 0 2,-4 0-1,4 0-1,0 0 1,0 0-7,0 0 7,-3 0-7,3 0 8,0 0-22,0 0 13,0 0-15,0 0 22,0 0-2,0 0 4,-3 0 55,3 0-20,0 0-22,0 0-7,0 0-56,0 0 43,0 0 6,0 0-12,0 0 26,0 3-19,0-3 15,0 0 40,0 0-40,0 0 46,0 0-31,0 3-12,0-3 18,0 0-36,0 0 15,0 0-15,0 0 8,0 0 6,0 0-6,0 0 8,0 0-22,0 4 13,0-4-14,0 0 11,0 0-12,0 3 5,0-3-7,0 0-13,0 0 21,0 0-22,0 0 13,0 3 8,0-3-9,0 0 10,0 0 18,0 0-15,3 4 14,-3-4-18,0 0 10,0 0-7,0 0 6,0 3-7,0-3 15,0 0-8,0 0 11,0 0 14,0 3-21,0-3 25,0 0-14,0 0-6,0 0 8,0 0-12,0 4-31,0-4 23,0 0-22,0 0 1,0 0 20,0 0-30,0 0 27,0 0-11,0 0-7,0 3 11,0-3-5,0 0 16,0 0-1,0 0-3,0 0 2,0 0-1,0 0 1,-3 0 5,3 0-4,0 0 4,0 0-4,0 0 0,-4 0 2,4 0-3,0 0 40,-3 0-29,3 0 30,0 0-29,0 0-4,0 0 6,0 0-6,0 0-1,0 0 2,-3 0-8,3 0 10,0 0 1,0 0 2,0 0 26,0 0-24,0 0 16,0 0-23,0 3 0,0-3 1,0 0-9,0 0 6,0 0-6,3 0 9,-3 0-5,0 4 5,0-4-5,0 0-49,0 3 39,0-3-44,3 4 54,-3-4-34,0 3 24,0-3-31,0 0 32,0 0 8,4 3-5,-4-3 7,0 4 39,0-4-39,0 0 40,0 3-39,0-3-7,0 0 12,0 3-11,0-3 6,0 0 1,0 0 1,0 0-24,0 4 14,0-4-17,0 0-12,0 0 26,0 0-31,-4 0 36,4 0-23,0 0 15,-3 0-21,3 0 14,0 0 0,0 0-2,0 0 6,-3 0 15,3 0-14,0 0 14,0 0-15,0 0 114,0 0-14,-4 0 28,4 3-61,0-3-59,0 0 3,0 0-28,0 0 29,0 0-34,0 3 31,0-3 4,0 0-16,0 0 13,0 0-9,0 0-28,4 0 23,-4 0-25,0 4 30,0-4 4,0 0-6,0 0 1,0 0 0,0 0-1,0 3 3,0-3 8,0 0-7,0 0 8,0 0-10,0 3 26,0-3-19,0 0 21,0 4-13,0-4-7,0 3 11,0-3-12,0 3 44,0-3-30,0 4 32,0-4 4,0 0-31,0 0 34,0 0-38,0 3-1,0-3 3,0 0 3,0 3-4,0-3-15,0 0 11,0 0-12,0 0 17,0 4-10,0-4 6,0 0-12,0 3-16,0-3 14,0 0-17,0 0 37,0 3-7,0-3 7,0 4-12,0-4 14,0 0-10,0 0 13,0 0-14,0 3-3,0-3 2,0 0-1,0 0 3,0 0 8,0 4-6,0-4 7,-4 0-6,4 0 2,0 0-2,0 0-13,0 3 9,0-3-13,-3 0 14,3 0-10,0 0 7,0 0-5,-3 0 7,3 3-6,0-3 4,0 0-6,-4 0 7,4 0 29,0 0-22,0 4 23,0-4-33,-3 0 4,3 0-3,0 0 6,0 0 16,-3 0-10,3 0 12,0 0-19,0 0 1,0 0 0,-4 0 3,4 0-10,0 0 7,0 0-8,0 0 10,-3 0-1,3 0 0,0 0-4,0 0 39,-3 0-27,3 0 29,0 0-28,0 0-4,-4 0 5,4 0-4,0 0-11,-3 0 11,3 3-11,-3-3 16,3 0-33,-4 0 23,4 0-24,0 0 27,-3 0-15,3 0 6,-4 3-10,4-3 26,-3 0-7,3 0 6,0 0-1,-3 0-11,3 0 11,-4 0-8,1 0-6,3 0 8,-3 4-7,3-4 10,-4 0 3,4 0 1,-3 0-1,3 0-2,-3 0-26,3 0 17,-4 0-18,4 0 3,0 0 12,-3 0-15,3 0 9,-3 0 3,3 0-5,-4 0 8,4 0 7,0 0-6,0 0 6,-3 0-9,3 0 11,0 0-9,-3 0 9,3 0-8,0 0 11,-4 0-6,4 0 8,-3 0-13,3 3 2,-3-3-2,3 0 6,-4 0-3,4 0 4,-3 0-4,3 0 11,0 0-7,-3 0 8,3 0-12,-4 0-3,4 0 4,0 0-4,-3 0 22,3 0-12,-4 0 12,4 0-17,-3 0-7,3 0 5,-3 0-5,3 0 1,0 0-1,-4 3-3,4-3 5,0 0-2,-3 0 5,3 0-7,-3 0 7,3 0-8,0 0 7,-4 0-9,4 0 9,0 0-11,-3 0 7,3 0-7,0 0 9,-3 4 0,3-4 0,0 0 0,-4 0-1,4 0 0,0 0 0,0 0 2,-3 0-1,3 3 1,0-3-2,-3 0-4,3 0 3,0 0-3,0 3 5,0-3 0,-4 0-1,4 0 2,0 4-4,0-4 1,0 0-1,-3 0-2,3 0 2,0 0-2,0 3 3,-3-3-3,3 0 3,0 0-4,0 0 4,-4 3-13,4-3 9,0 0-11,-3 0 13,3 0 1,0 4-1,0-4 0,0 0 5,-3 0-4,3 0 4,0 0-5,0 3 28,0-3-21,-4 0 24,4 0-15,0 0-6,0 3 8,0-3-7,0 0-14,-3 4 12,3-4-11,0 0 12,0 0-12,0 3 9,0-3-10,-4 0 22,4 3-8,0-3 6,0 0 18,0 4-21,-3-4 22,3 0-27,0 3-6,0-3 8,0 0-8,0 4 13,0-4-21,0 0 16,0 3-16,0-3 20,0 0-27,0 3 17,0-3-18,0 0 20,0 4 2,0-4-6,0 0 13,0 3-11,0-3 11,0 0-11,0 3 52,0-3-37,0 0 40,0 4-47,0-4 18,0 0-9,0 3 12,0-3-11,3 3-17,-3-3 17,0 0-14,0 4-22,0-4 24,0 0-29,4 0 2,-4 0 23,0 3-24,0-3 26,0 0-18,3 0 7,-3 3-11,0-3 11,0 0 0,0 0-3,4 4 1,-4-4 3,0 0 2,0 0-1,0 0 1,0 3-24,3-3 16,-3 0-17,0 0 51,0 3-21,0-3 22,0 0-29,0 0 51,0 4-35,3-4 39,-3 0-49,0 0 42,4 0-29,-4 3 37,0-3-43,0 0 26,3 0-17,-3 0 28,3 0 2,-3 3-7,0-3 9,4 0-59,-4 0 22,0 0-21,0 0 30,3 4-43,-3-4 29,3 0-38,-3 3 46,0-3-34,0 0 24,4 0-26,-4 0 29,0 0-28,3 3 20,-3-3-26,0 0 23,3 0-6,-3 0 3,0 0 14,4 0-5,-4 4 10,3-4-14,-3 0 39,3 0-28,-3 0 31,4 3-38,-4-3 14,3 0-10,-3 0 13,3 0-14,1 0-4,-4 0 5,0 4-4,3-4-15,-3 0 17,0 0-19,4 0 10,-4 3 8,0-3-12,3 0 14,-3 0-23,0 0 15,0 0-17,3 3 16,-3-3-4,0 0 1,4 0 2,-4 0 10,3 0-4,-3 4 7,0-4-9,3 0-2,-3 0 0,0 3-1,4-3-2,-4 3 4,0-3-4,3 4 5,-3-4-3,0 0 2,3 3-2,-3-3 1,0 3-9,4-3 6,-4 0-7,0 4 7,3-4-38,-3 3 25,3-3-28,-3 0 26,0 3 8,4 1-10,-4-4 18,3 3-9,-3-3 9,3 3-12,-3-3 14,4 4-12,-4-1 12,3-3-14,-3 3 53,3 1-35,-3-4 38,4 3-39,-4-3 3,0 3 3,3-3-1,-3 4-5,3-4-2,-3 0 2,0 3 2,4-3 1,-4 4 0,0-4-2,3 3-9,-3-3 5,4 3-6,-4-3 6,3 4-9,-3-4 4,3 3-5,-3-3-2,0 3 9,4-3-8,-4 4 9,0-4 0,3 3 0,-3 0-2,3-3 4,-3 4-3,4-1 3,-4 0-3,0 1 4,3-1-3,-3-3 4,3 3-4,-3 1 4,0-4-4,4 3 4,-4 0-3,0-3 1,0 4-1,0-4 1,0 0-1,3 3 0,-3-3 0,0 0 0,0 0 0,0 0 0,3 0 0,-3 0 1,0 3 0,0-3 1,0 0-1,4 4-1,-4-4 0,0 0 0,0 3-20,0 1 14,3-4-14,-3 3 18,0-3-3,0 3 1,3 1-1,-3-1 12,4 0-7,-4 1 6,0-1-9,3-3 36,-3 3-25,3 1 27,-3-1-35,0 0 18,4-3-12,-4 4 16,0-4-18,0 3-34,3 0-13,-3-3 0,0 0-15,0 0 51,0 0-17,0 4-11,0-4 22,0 0-30,0 0 32,0 0 3,0 3-2,0-3-1,0 0-10,0 3 33,0-3-23,0 0 34,3 4-14,-3-4-11,0 3 19,0-3-11,4 3-4,-4 1 5,3-4-9,-3 3 3,4 1-2,-4-1 4,0-3-3,0 3-9,3 1 6,-3-1-6,0-3 6,3 0 1,-3 3-1,0 1 0,0-4-19,0 3 13,4-3-15,-4 3 3,0-3 11,0 0-11,0 4 13,0-4-7,0 0 3,0 3-6,0-3 7,0 3 11,3-3-9,-3 4 7,0-1 11,0-3-15,3 3 17,-3 1-20,0-4 8,0 3-6,4 0 8,-4 1-7,0-1 14,0-3-9,3 3 11,-3 1-15,3-4 3,-3 3-2,0 1 2,0-4 4,4 3-4,-4-3 4,0 3-2,0-3-2,0 4 2,0-4-2,3 3-9,-3-3 7,0 0-7,0 0-15,0 0 17,0 3-18,0-3 21,0 0-27,0 0 19,0 4-20,0-4 24,0 0 5,3 3-7,-3 0 4,0-3 4,0 4-7,0-4 8,0 3-9,4-3 18,-4 3-11,0-3 14,0 4 2,0-4-15,3 3 18,-3 0-21,0-3-1,0 4 1,0-4-2,0 3 6,3-3-17,-3 3 11,0-3-15,0 0-1,0 4 12,0-4-12,0 3 15,0-3-7,0 0 3,0 4-4,0-1 14,0-3-5,0 0 5,0 3-8,0-3 22,0 0-16,0 4 20,0-1-23,0-3 21,0 3-16,0-3 17,0 0-20,0 4 16,0-4-10,0 3 14,0-3-12,0 3-5,0-3 3,0 4-4,0-4 0,0 3 4,0-3-5,0 0-5,0 3 7,0-3-10,0 0 12,0 4 3,0-4-2,0 0 2,0 0-5,0 3 7,0-3-5,0 0 7,0 3-23,0-3 12,0 0-11,0 4 14,0-4 5,0 3-2,0-3 1,0 3-1,0-3-3,0 4 2,0-4-2,0 0 15,0 3-11,0-3 12,0 3-15,0-3 5,0 4-2,0-4 3,0 0-2,0 3-1,0-3 3,0 0-145,0 0 31,0 0-129,0 4-577,0-4 558,0 0-463,0 0 721,-3 0 0,3 3 0</inkml:trace>
  <inkml:trace contextRef="#ctx0" brushRef="#br0" timeOffset="143">2678 3890 8573,'0'-3'443,"0"3"-296,0 0 48,0 0 193,0-3-301,0 6 288,0-3-377,0 0 2,0 0 25,0 3-35,0-3 40,0 4-55,0-4 39,0 3-47,0-3 53,0 0-45,0 3 33,0 1-35,0-4 68,0 3-28,0 0 27,0-3-33,0 4-4,0-1 4,0-3-4,0 4 25,0-4-13,0 3 15,0-3-17,0 3 22,0-3-14,0 4 16,0-4-17,0 0 6,0 3-2,0-3 5,4 0-41,-4 3 25,0-3-28,0 0 32,0 4-35,0-4 27,0 0-29,0 3 8,0-3 15,0 0-20,0 3 21,0-3-11,0 0 4,0 4-7,0-4 7,0 0 3,0 0-3,0 3 2,0-3 50,0 0-35,0 0 37,0 0-47,0 3 20,3-3-13,-3 0 17,0 0-35,0 4 15,0-4-15,0 0 22,0 0-35,0 3 26,0-3-27,0 0 30,0 0-21,0 0 13,0 3-15,0-3 9,0 0 6,0 0-13,0 4 11,0-4-5,0 0 5,0 0-1,0 0 4,0 0-3,0 3 6,0-3-5,0 0 3,0 0-3,0 0-4,0 0 3,0 0-2,3 0-39,-3 0 30,0 0-31,0 3 39,0-3-22,0 0 14,0 0-16,0 0-4,0 4 17,0-4-22,0 0 22,0 3 42,0-3-30,0 0 31,0 0-42,0 0 49,0 4-35,0-4 42,0 0-15,0 0-18,0 0 22,0 0-22,0 3-2,0-3 9,0 0-5,4 0-2,-4 0-2,0 0-2,0 0 5,0 3-12,0-3 8,0 0-13,0 0 13,0 0-5,0 4 4,0-4-4,0 0-14,0 0 12,0 0-14,0 0 11,0 3 6,0-3-7,0 0 7,0 0-4,0 0 3,0 0-3,0 0 2,0 3-2,0-3 1,0 0-2,0 0 16,0 0-9,0 0 12,0 4-15,0-4 5,0 0-2,0 0 3,0 0-3,0 0-5,0 0 4,0 3-9,0-3 9,0 0-3,0 0 3,0 0-7,0 3 5,0-3-5,0 0 3,0 0 25,-4 0-19,4 4 21,0-4-12,0 0-7,0 0 10,0 0-25,0 0 12,0 0-12,0 3 15,0-3-13,0 0 10,-3 0-10,3 0 11,0 3-8,0-3 5,0 0-7,0 0 5,0 0 0,0 0-3,0 0 1,0 4-13,0-4 11,0 0-9,0 0 13,0 3-1,0-3 1,0 0-1,0 0 2,0 0-2,0 0 2,0 3-3,0-3 27,0 0-20,0 0 22,0 0-27,0 0 48,0 4 14,0-4 2,0 0 0,0 0-52,0 0 14,0 3-2,0-3-33,0 0 30,3 0-35,-3 0-32,0 0 47,0 0-52,0 0 67,0 3-63,0-3 41,4 0-54,-4 0 62,0 4-1,0-4-1,0 0-5,0 3 48,0-3-43,0 0 44,0 0-48,3 3 22,-3-3-11,0 0 14,0 4-6,0-4-9,4 0 15,-4 0-12,0 3-5,0-3 3,0 0-5,0 0 8,0 0-19,0 4 14,3-4-20,-3 0 4,0 0 9,0 0-11,0 3 12,0-3 9,0 0-9,0 3 8,3-3-7,-3 0 23,0 4-17,0-4 18,0 0 2,0 3-17,0-3 22,4 0-25,-4 3 9,0-3-6,0 0 7,0 4-7,0-4 7,0 0-4,0 0 4,0 0-3,0 3-8,0-3 5,0 0-7,3 3-5,-3-3 9,0 0-9,0 0-9,0 0 14,0 4-16,0-4 19,0 0-58,0 0 39,0 0-46,0 3-146,0-3 121,0 0-155,0 0 173,0 3 0,0-3 0</inkml:trace>
  <inkml:trace contextRef="#ctx0" brushRef="#br0" timeOffset="144">8718 4563 9502,'7'0'-882,"-4"-3"976,1 3-53,2 0 61,-6-3 24,4-1 3,-1 1 36,0 3-47,4-7 5,-4 4-9,4-4-41,0 1 3,-4-1-1,7-3 3,-3 3-31,0-3 23,3 0-15,0-3 27,0 3-8,0-4 8,0 1-14,0 3-40,3-4 36,-3 4-46,0-3 44,0 3 3,4-4-21,-8 4 17,8 0-60,-7 0-7,3 4-4,0-8 9,0 8 6,0-4-9,-4 3-5,4 0 10,-3-3-5,0 3-10,3 1-12,-3-4-5,-1 3 40,1 0-7,0 1 4,-1-1-12,1 4 0,0-4-4,0 3 7,-4-2 10,4 2-10,-4 1 9,7 0-11,-7-4 8,4 4-5,0-1 8,3 1 4,-4 0-4,4-1 3,-3-2-8,0 2 3,3 1-4,-3 0 5,-1-1-10,4 1 5,-3-4-6,0 4 2,-1-1 5,1-2-7,0 2 8,0-2-5,-1-1 4,1 0-5,-4 4 5,4-7-50,0 3 36,-4 1-40,4-4 25,-1 3 12,-2 0-14,-1-3 17,0 7-6,1-4 2,-1 0-4,0 1-20,1 2 18,-1 1-19,-3 0 20,4-1 14,-1 1-10,-3 3 7,3-3-6,-3 3 20,4 0-11,-1-4 15,0 4 18,1-3-30,2 0 34,-2 3-41,-1-4 43,4 1-29,-4 3 36,4-4-16,-1 1-10,1 0 14,0 3-15,-4-4 42,4 1-26,0 3 32,-1-3-38,-2 3 18,2-4-9,1 4 10,-4 0-29,4-3 5,0 3-5,-1 0 9,1 0 19,0 0-14,0 0 16,3 0-65,-4 0-11,4 0-5,0 0 8,4 0-59,-4 0 17,3 0-37,1-3 58,-1-1 53,4-2 0,-1-4 0</inkml:trace>
  <inkml:trace contextRef="#ctx0" brushRef="#br0" timeOffset="145">9294 4024 9502,'-7'0'-528,"4"0"442,0 4 53,-1-4 51,-2 3-1,2 0 60,-2 1 16,2-1 9,-2 0-12,-1 4-6,0-4-26,1 4 31,-5 0-48,5 0 2,-1-1-6,-3 4 11,3-3-11,-3 3 8,0-3 0,0 3-38,4-4 36,-5 5-40,1-1 39,0 0-42,0 0 26,4 0-32,-4 3 33,0-3 27,3 0-26,-3 0 24,3 0 0,0 0-14,-3 4 21,4-8-15,-1 1 0,4 3 2,-4-3-2,0 0-74,1-1 53,2 1-55,-3-4 73,1 4 12,2 0-11,1-1 9,-4-2-24,4 2 0,-4 1-3,4 0 1,-4-1 59,1 1-40,-1 3 41,0-3-46,1 3 0,-1-3 4,0 3 2,0-4-8,1 1 8,2 3-6,-2-7 13,-1 4-52,0 0 36,1-4-39,2 4-3,-2-4-9,-1 1-6,4-1-33,-1-3 29,1 3-15,-1 1 16,-2-4-14,6 0 33,-4 3-39,1-3 42,-4 0 6,4 0-2,-4 0 3,4 3-10,0-3 38,-1 0-26,-2 4 31,2-4-21,1 3-8,0-3 11,-4 3-8,4 1 9,-1-4-1,1 3 3,-4 0-25,4-3 8,-1 4-11,-2-1 16,2-3-23,-2 3 17,2 1-20,1-1 23,-4 1-14,4-1 10,0 0-13,-1 1 43,1-4-25,0 3 25,-1 0-12,1 4-12,0-4 15,-1 1-18,4 2 49,-3-2-34,-1 2 41,1 1-49,0-4 11,-1 4-8,1 3 12,0-3-10,-4 0 58,4-1-43,-4 4 43,4 0-61,-1-3 12,-2 3-11,2 0 15,-2-3-43,-1 3 28,4 3-30,-4-6 39,0 3-27,4 0 19,-4 0-23,0-3-21,1 3 32,2-3-39,1-1 36,-4 1-24,4-4 9,0 4-8,-4-4 15,4 1-34,-1-1 22,-2-3-25,2 3-27,1 1 47,-1-4-51,1 3 72,-4-3-13,4 3 10,0-3-14,-1 0-6,1 0 1,0 0-4,3 0 2,-4 0-24,4 0 34,0 0 18,-3 0 5,6-3 84,1 0-88,-1-1 52,4-2-19,3-1 18,0 0-3,3 1 1,1-1-3,-4-3-17,3 3 26,0-3-26,-3 3-19,4-3 22,-1 4-21,1-4 33,-4 3-13,3 0 8,-3-3-12,0 3-54,4 1 37,-4-4-37,0 3-22,3-3 46,-3 0-50,3 0 58,1-3-58,-4 2 37,3-2-43,1 0 51,-1-1-1,0 1-4,1 3 0,-1-7-7,-3 7 13,7-3-11,-10-1 11,6 1 14,-3 3-14,0 0 15,-3-4-23,3 4 4,0 0 2,-3-3 2,-1 3-8,4 0 6,-3 0-9,0-4 11,0 4-18,-1-3 13,1 0-16,3 3 17,-7-4 10,4 1-9,3 3 9,-3-4-20,-1 1 5,5 0-5,-1-1 3,-4 1 4,4 3-1,0-7 3,-3 7-7,3-3 3,0 3-5,-3-1 6,0 5-10,3-8 8,-4 8-10,1-4 10,3 0-34,-7 3 24,4 0-16,0 1 26,-4-1 5,0 0-9,1 4 14,2-1 6,-2 1 0,-1 0-1,4-1 14,-4 4-22,1-3 25,2 0-31,1-1 15,3 1-10,-3 0 14,3-1-14,-4 4 19,4-3-14,-3 0 16,3 3 2,0-4-10,0 1 10,0 3 8,0 0-18,0 0 20,0-3-24,1 3 41,-1 0-26,0 0 30,0 0-30,0 0-6,3 0 8,-3 0-6,0 0 16,0 0-18,4 0 17,-4 0-17,0 0 26,0 0-15,0 0 17,-4 3-42,5-3 15,-1 0-16,0 0 19,-4 0-8,4 3 8,-3-3-8,3 4 12,0-4 21,-3 0-18,3 3 18,-3-3 47,-1 0-52,4 0 58,-6 3-71,2-3 39,1 4-27,0-4 38,-1 3-61,-2-3 25,2 3-24,-2 1 28,3-1-18,-4-3 14,4 3-14,-4-3 5,0 0 5,4 4-9,-4-4 11,1 3 30,2-3-21,-2 0 20,2 3 1,-2-3-25,-1 4 31,4-1-30,-4-3-10,1 3 9,2 1-11,-2-4 17,-1 3-66,0 1 48,4-1-49,-4-3 58,4 3-73,0 1 50,-1-1-59,-2-3 42,2 3 9,1 1-14,3-4 18,-3 3 5,0 0-5,-1-3 1,4 4 46,-3-4 15,0 3 4,3 0-13,-4-3-14,1 4-22,0-1 32,0 0-51,-1 1 10,-2-1-12,2 0 21,1 1-34,-4-1 35,4 0-38,-4 1 27,4-1 6,-4 1-12,1-1 13,2 0-49,-2 1 33,2-1-40,-2 4 45,-1-4 55,1 0-40,2 1 46,-2-1-59,2 0-16,-2 1 12,-1-1-8,0 4-18,1-4 27,-1 0-27,0 4 31,1-4-41,-1 4 30,0 0-32,-3-4 26,4 7 8,-1-6-14,0 2 14,-3 4 4,0-3-8,4 0 6,-1-1-11,-3-2 63,3 2-41,-3 1 46,4-3-52,-4 2 30,3-6-16,1 4 19,-1-1-16,0 0-9,1 1 13,-1-4-33,0 3 21,1 0-22,-1 1 25,0-4-50,4 3 31,-4 0-36,1 1 36,2-1-28,-2 0 15,2 1-17,-2-1 9,2 0 17,1 1-21,-3-1 20,2 0 8,1 1-6,0-1 8,-1 1 1,1-4-8,0 3 10,-1-3-11,4 0 22,-3 0-13,0 3 14,0-3-16,3 0 8,-4 0-1,1 0 3,0 0-34,3 0 16,-4 0-19,1 0 26,3 0-40,-3 0 29,0 0-36,3 0 18,-4 0 13,4 0-16,-3 0 16,3 0 27,-3 0-23,3 0 23,0 4-27,-3-4 8,3 0-6,-4 3 9,4 0-8,-3 1 13,0-4-8,-1 3 7,1 0-50,0-3 31,-1 4-31,1-1 23,0 0 11,-4 1-19,1-4 20,2 3-31,-2-3 21,2 3-25,-2 1 29,-1-4 13,0 3-11,4-3 11,0 3-1,-1-3-11,-2 4 14,3-4-14,-1 3 27,-2-3-13,2 3 17,1-3-6,0 4-15,-1-4 15,-2 3-17,6-3 1,-7 4 0,4-1 3,-1 4-1,-2-4-35,3 0 24,-1 1-29,-2-1 13,2 0 15,-2 1-17,-1-1 18,0 0-3,1 1-2,2-1 1,-2 0 22,-1 1-12,0-1 13,1 0-21,-1-3 26,0 4-18,1-1 24,-1-3-27,4 3 23,-4 1-12,1-4 14,2 3-9,-2 1-7,-1-1 6,0 0-5,1 1 0,2-4 1,-2 3 0,-1 0 6,4 1-5,-4-1 7,0 0-9,4 1 9,-4-1-6,4 0 7,-4 1-8,1 2 1,-1-6 0,4 4 0,-4-1-9,1 0 5,2 1-5,-2-1-5,2 0 10,-2 1-11,2-4 12,1 3-11,0 1 7,-1-4-8,1 0 8,0 0-65,0 3 44,6-3-47,-3-3 59,0 3-184,3-4 34,1-3-118,3-3-497,-1 0 552,1 0-427,0-3 652,-1 0 0,5-4 0</inkml:trace>
  <inkml:trace contextRef="#ctx0" brushRef="#br0" timeOffset="146">2648 4004 8973,'0'-3'122,"0"3"-60,0 0-74,0 0 31,0 0-35,-3 0 31,3 0 4,0 0-2,0 0-3,-3 0-21,3 0 11,0 0-15,0 0 25,0 0-14,-4 0 11,4 0-12,0 0-14,0 0 19,0 3-23,0-3 29,0 0 37,0 0-27,0 4 29,0-4 27,0 0-47,0 0 53,0 0-64,0 0 18,0 0 24,0 3-13,0-3 19,0 0-46,0 0 16,4 0-14,-4 0 18,0 0 5,3 0 1,-3 0 5,3 0-79,-3 0 46,0 0-54,4 0 64,-4 0-106,0-3 21,0 3-98,3 0-124,-3 0 176,0-4-117,0 1 220,0 3 0,0-3 0</inkml:trace>
  <inkml:trace contextRef="#ctx0" brushRef="#br0" timeOffset="147">2498 4349 9502,'0'0'-1147,"0"-3"1147,0 3 0,0 0 0,3 0 4,-3 0 3,0 0 6,0 0 47,0 0-32,0 0 34,0 0-71,0 0 19,0 0-15,0 0 23,0 3-28,0-3 83,0 0-74,3 0 78,-3 0-67,0 0 73,0 0-48,0 0 79,0 0-66,0 0 17,0 0-1,0 0-20,0 0 13,0 0-36,4 3 19,-4-3-21,0 0 25,0 0 219,0 0-161,-4 0 163,4 0-276,0 0-13,0 0-4,0 0 2,0 0 35,0 0 3,0 0-5,0 0 6,-3-3-11,3 3 4,0 0-5,0 0 11,0 0 5,0-3-4,-3 3 4,3 0-17,0 0 9,0 0-8,0-4 11,0 4-10,0 0 6,0-3-9,-4 3 10,4 0 0,0-3-1,0 3 0,0 0 6,0-4-5,-3 4 5,3 0-5,0 0-6,0-3 4,0 3-3,-3 0 0,3-3 4,0 3-2,0 0 5,0 0 5,0-4-5,-4 4 3,4 0-3,0-3 0,0 3 0,0-3-1,-3 3-5,3-4 3,0 4-3,0 0-12,0-3 11,0 3-11,0 0 15,0-3-8,0 3 5,0 0-6,-3 0 6,3-4-5,0 4 0,0 0-2,0 0-4,0 0 7,0 0-8,0-3 10,0 3-7,-4 0 5,4 0-5,0 0 5,0 0 22,0-3-15,0 3 16,0 0-26,0 0 4,0 0-2,0 0 4,0 0 12,0 0-8,0 0 10,0 0-17,-3-4 4,3 4-2,0 0 3,0 0-11,0 0 8,0 0-9,0 0 11,-4 0-11,4 0 7,0 0-10,0 0 12,0 0-8,0-3 5,0 3-4,-3 0 1,3 0 4,0 0-6,0-4 1,0 4 1,0 0-2,0 0 4,0 0-18,0 0 12,0-3-13,0 3 16,0 0-8,0 0 5,0 0-5,0 0 14,0 0-5,0 0 5,0-3-8,0 3 29,0 0-19,0 0 21,0 0-15,0 0-7,0 0 9,0 0-8,0 0-4,0-4 6,0 4-4,0 0 6,0 0-11,0 0 10,0-3 5,0 3 0,0 0 2,0 0-10,0 0-8,0 0 36,0 0-21,0 0 23,0 0-26,3 0 4,-3 0 0,0 0 3,4-3-3,-4 3-4,0 0 5,3 0-6,-3 0 6,4 0-25,-4 0 17,3 0-35,-3 0 33,3-4-12,-3 4 14,4 0-14,-1 0 8,-3-3-12,3 3 15,1 0-12,-4-3 8,3 3-7,0 0 9,-3-4-1,4 1 0,-1 3 1,0-3-1,-3 3 0,4-4 1,-4 4-1,3-3 9,0 3-6,-3-3 8,4 3 18,-4 0-19,0 0 22,0-4-27,3 4 3,-3 0-3,0 0 5,0 0-3,3 0-26,-3 0 19,0 0-21,0 0-9,4 0 24,-4 0-27,0 0 23,0 0 8,0 0-13,0-3 12,3 3-11,-3 0 7,0 0-10,0 0 9,0 0 14,0 0-10,4 0 12,-4 0-16,0 0 20,0 0-13,3 0 18,-3 0-39,0 0 18,0 0-17,0 0-17,0 0 25,3 0-27,-3 0 32,0 0-11,0 0 7,4 0-12,-4 0 15,0 0 9,0 0-10,3 0 11,-3 0-21,0 0 36,3 0-25,-3 0 27,0 0-4,0 0-17,0 0 23,0 0-25,4 0 19,-4 0-14,0 0 14,0 0-35,0 0 17,0 0-41,0 0 37,0 0-20,0-3-11,3 3 20,-3 0-23,0 0 25,0 0 11,0 0-12,0 0 10,0 0 61,0 0-54,0 0 105,0-4-99,0 4 81,3 0-58,-3 0 41,0 0-50,0 0 20,0 0-54,0 0 31,0 0-29,0 0 32,0 0-10,0 4 9,4-4-10,-4 0 12,0 0-9,0 0 9,0 0-9,0 0-9,3 0 6,-3 0-5,0 0 11,3 0-7,-3 0 6,0 0-19,0 0 12,4 3-8,-4-3 12,0 0-19,0 0 13,0 0-16,3 0 18,-3 0-13,0 3 10,3-3-11,-3 0 12,0 0-8,0 0 6,0 0-6,0 0 5,4 0-1,-4 0 0,0 0 0,0 0 0,0 0 1,0 0 0,3 0-1,-3 4 1,0-4 0,0 0 0,0 0-16,0 0 12,3 0-12,-3 0 15,0 0-4,0 0 3,4 0-5,-4 0 10,0 0-6,0 0 5,0 0-5,3 0 4,-3 0-3,0 0 3,0 0 3,0 0-4,3 0 5,-3 0-6,0 0 5,4 0-3,-4 0 4,0 0-4,3 0 3,-3 0-3,0 0 4,4 0-6,-4 0 2,3 0-1,0 0 1,-3 0-12,0-4 9,4 4-9,-4 0 4,3 0 4,-3 0-4,0 0 5,3 0 2,-3 0-3,0 0 2,4 0-3,-4-3 7,0 3-6,0 0 6,0 0-7,0 0 2,3 0-1,-3 0 2,0 0-27,3-3 19,-3 3-19,0 0 7,0 0 12,4 0-13,-4 0 14,0-4-11,0 4 5,0 0-6,0 0 5,3 0 24,-3-3-19,0 3 17,0 0 6,0 0-17,3 0 20,-3 0-24,0 0 17,0-3-9,0 3 15,0 0-13,0 0 0,0 0 0,0 0-4,0 0 4,0 0-4,0-4 2,0 4-1,0 0 0,0 0-1,0 0 1,0 0 1,0-3 0,0 3-1,0 0 2,0 0-1,0 0 0,0 0 1,0 0-2,0-4 3,0 4-2,0 0 0,0 0 1,0-3 0,0 3-1,0 0 0,0 0 0,0-3 0,0 3 0,0 0 0,0 0 0,0 0 0,0-4-4,0 4 3,0 0-3,0 0-7,0 0 7,0 0-7,0-3 9,0 3 2,0 0-1,0 0 1,0 0-2,0 0-8,0-3 6,0 3-6,0 0 3,0 0 2,0 0-2,0 0 3,0 0 4,0 0-3,0 0 2,0-4-6,0 4 2,0 0-4,0 0 5,0-3 4,0 3-3,0 0 5,0 0-6,0 0 8,0 0-6,0-3 7,0 3-3,0 0-2,0 0 4,0 0-4,0 0-1,0-4 2,0 4-2,0 0 3,0 0-2,0 0 4,0 0-11,0-3-2,0 3-1,0 0-1,0 0 13,0 0-14,0 0 13,0 0-14,0 0 9,-3 0 21,3 0-16,0 0-23,0 0 3,0-3-35,0 3 35,0 0 0,0 0 10,0 0 4,0 0 45,0 0-24,0-4 31,0 4-45,0 0 8,0 0-6,0 0-7,0 0 3,0 0 13,0 0-14,0 0 19,0 0-22,3 0 9,-3 0-4,0 0 7,0 0-4,0 0-3,0 0 5,0 0-25,4 0 17,-4-3-18,0 3 19,0 0-20,0 0 12,0 0-14,0 0 17,3 0-4,-3 0 0,0 0-2,0 0 2,0-3 5,0 3-4,0 0 16,0 0-11,0 0 11,0 0-13,0 0-6,0 0 4,0 0-2,3 0 5,-3-4 0,0 4 4,0 0-4,0 0 4,0 0-4,0 0-1,0 0 0,0-3 6,0 3-3,0 0 4,0 0-4,0 0 0,0 0 4,0-3-5,0 3 6,0 0-18,0 0 11,0 0-11,0 0 19,0 0-5,-3 0 5,3 0-7,0 0 4,0-4-3,0 4 3,0 0-7,0 0 3,0 0-3,0 0-7,0-3 8,0 3-8,0 0 11,0 0 6,0 0-5,0 0 4,0 0-7,0 0 7,0-3-4,0 3 4,0 0-6,-3 0 14,3 0-10,0 0 12,0 0-9,0-4-2,0 4 6,0 0-5,0 0 0,0 0-1,0 0-1,0 0 0,0-3 0,0 3 0,0 0 11,0 0-7,0 0 15,0 0-15,0 0 14,0-4-11,0 4 1,0 0-4,0 0-4,3 0 5,-3 0-9,0 0 6,0 0-6,0 0-9,0 0 9,0 0-12,0 0 13,0 0-2,3 0 3,-3 0-5,0 0 9,0 0-5,0 0 4,4-3-4,-4 3 3,0 0-2,0 0 3,0 0-3,3 0 4,-3 0-2,0 0 3,0 0-1,0 0 8,0 0-5,3-3 7,-3 3-5,0 0-4,0 0 5,0 0-33,0 0 21,0 0-44,4 0 41,-4 0-18,0 0 19,0 0 0,0 0-6,0 0-4,0 0 12,0 0-9,0 0 43,0 0-29,0-4 23,0 4-22,0 0 0,0 0 1,0 0-4,0 0 1,0-3 0,0 3 0,0 0-4,0 0 3,0 0-4,0 0 5,0 0-1,0 0 1,-4 0 0,4-3 0,0 3 0,0 0-26,0 0 17,0 0-18,0 0 24,0 0-1,0-4 0,0 4-2,0 0 2,0 0-5,0 0 4,0 0-4,0 0 2,0-3-2,0 3 1,0 0 9,0 0-6,-3 0 7,3 0-8,0 0 5,0 0-3,0 0 4,0-3-3,0 3-37,0 0 26,0 0-30,0 0 37,0 0-1,0 0 0,0-4 8,0 4-12,0 0 28,0 0-28,0 0 20,0 0 14,0 0-20,0 0 64,0 0-51,0 0 77,0-3-66,0 3 36,0 0-47,0 0-18,0 0 9,3 0-7,-3 0-13,0 0 20,0 0-25,0 0 19,0-3 11,0 3-10,0 0 10,4 0-9,-4 0 30,0 0-20,0 0 22,0 0-27,0 0 24,0 0-15,3 0 16,-3 0-17,0 0-20,0 0 18,0 0-16,0 0-1,0 0 11,0 0-35,0 0 33,0 0-16,3 0 5,-3 0 8,0 0-11,0 0 8,0 0 12,0 0-11,4 0 11,-4 0-11,0 0 13,0 0-8,0 0 9,0 0-10,0 0-5,0 0 5,3 0-3,-3 0 1,0 0 2,0 0-2,4 0 3,-4 0-9,0 0 5,0 0-5,0 0-39,0 0 33,0 0-35,0 0 41,3 0-77,-3 0 11,0-4-71,0 4 75,0 0 14,0 0 45,0 0 7,3 0 0,-3 0 0</inkml:trace>
  <inkml:trace contextRef="#ctx0" brushRef="#br0" timeOffset="148">2163 4235 10343,'-4'4'191,"4"-4"-117,0 0-39,-3 3-24,3-3-5,-3 0-46,-1 3 28,4-3-5,-3 0-2,0 0 5,-1 4 19,1-4-26,0 0 31,-1 0 14,1 0-23,0 0 19,-4 3 18,4-3-12,-1 0 21,1 0-28,-4 0-13,4 0 10,0 3-11,-1-3 9,4 0 7,-7 0-4,4 0 6,0 0-1,3 0-2,-4 0 0,1 0-4,0 0 2,-1 0-2,1 0 0,0 0 2,-1 0-2,1 0 4,0 0 0,-1 0-3,1 0 4,0-3-6,-1 3 4,1 0 28,0 0-21,-1 0 23,1 0 11,0 0-28,-1 0 33,1 0-39,3 0 19,-4-3-12,1 3 16,0 0-43,3 0 24,0 0-19,-4 0 27,1 0-35,3 0 23,-3-4-29,3 4 8,0 0 19,-4 0-25,1 0 26,3 0 7,-3 0-6,3-3 7,-4 3-15,4 0-1,0 0 1,-3-3 3,0 3-33,-1 0 26,4 0-24,-3-4 32,0 4-22,-1 0 12,4 0-16,-3 0-21,0 0 31,-1-3-36,1 3 41,0 0-31,3 0 22,-4 0-26,1 0 9,3 0 9,-4 0-12,4-3 18,-3 3-2,0 0 1,3 0 0,0 0-1,-4 0 33,4 0-23,-3-4 25,3 4-32,0 0 7,-3 0-5,3-3 8,0 3 29,-4 0-23,4 0 27,0 0-22,-3 0-8,3 0 12,-3-3-13,-1 3-5,4 0 5,-3 0-6,3 0 16,-3 0-6,3 0 4,-4 0-8,4-4-14,-3 4 10,3 0-11,-3 0 14,3 0 1,-4 0-3,4-3 2,-3 3 50,3 0-36,-3 0 41,3 0-52,-4 0 9,4-4-4,-3 4 6,3 0-14,-3 0 7,-1-3-7,4 3 10,-3 0-40,-1 0 29,1 0-29,0 0 0,-1 0 26,4-3-30,-3 3 37,0 0-22,-1 0 16,1 0-22,3 0 19,-3 0-19,-1-4 11,4 4-10,-3 0 20,3 0-6,-3 0 7,3 0-9,-4 0 36,4 0-25,-3 0 28,0 0-37,3 0 4,0-3-3,-4 3 7,4 0-6,-3 0 7,3 0-6,-3 0 6,3 0-21,0-3 17,-4 3-18,4 0 15,-3 0 2,-1 0-7,4 0 5,-3 0 61,3 0-44,0 0 48,-3-4-46,3 4-6,0 0 9,-4 0-7,4 0-12,-3 0 12,3 0-11,0 0 13,-3 0-22,3 0 21,-4 0-20,4 0 23,-3 0-51,3 0 30,-3 0-32,3 0 9,0 0 25,-4 0-32,4 0 27,-3 0-6,0 0 4,3 0-1,0 0 3,-4 0-1,4 0 1,-3 0 0,0 0 1,3 0 0,0 0 0,-4 0 0,4 0 3,-3 0-2,3 0 3,-3 0-4,3 0 0,0 0 1,-4 0-1,4 0 0,-3 0 0,0 0 0,3 0-1,-4 0 2,4 0-2,-3 0 2,3 0-2,-4 4 1,4-4 0,-3 0 0,3 0 22,-3 0-15,3 0 17,-4 0-23,4 0 2,-3 3-2,3-3 4,-3 0-8,-1 3 8,1-3-8,0 0 2,3 0 3,-4 4-4,1-4 5,3 3-6,-3-3 4,3 0-6,-4 0 7,1 3-11,3-3 7,-3 0-7,3 4 8,0-4 0,-4 0 1,4 0-1,-3 0 1,3 0 0,0 3 0,-3-3 31,3 0-23,0 0 25,-4 0-31,4 0-1,0 4 1,0-4 1,0 0 1,-3 0-30,3 3 21,0-3-23,-3 0 24,3 3 4,0-3-6,-4 0 5,4 4 0,0-4-3,-3 3 1,3-3 20,0 3-14,-4-3 13,4 0-18,-3 4 11,3-4-6,-3 0 11,3 3-13,0-3 22,-4 0-15,4 0 18,0 3 11,-3-3-20,3 0 22,0 4-29,-3-4-10,3 0 11,-4 3-7,4-3-3,0 3 8,-3-3-9,3 4 10,-3-4-20,3 3 15,-4-3-16,1 0 18,3 3-48,-3 1 30,3-4-34,-4 0 40,1 3 4,0 0-6,3-3 4,-4 4-6,1-4 5,3 0-2,0 3-6,-3-3 6,3 3-6,0-3 8,-4 0-21,4 4 16,0-4-16,0 3 25,-3-3 1,3 0-4,0 0 1,0 4-7,0-4 2,0 3-1,0-3 1,-3 3 12,3-3-9,0 4 11,0-4-14,0 3 1,-4-3 1,4 3 2,0 1 2,0-4 2,-3 3-1,3 0-3,0 1 7,0-1-7,0-3 6,-4 3 1,4 1-6,-3-4 8,3 3-25,0 0 13,0 1-13,-3-4 16,3 3-15,0 0 10,0-3-11,0 4 14,-4-1-59,4-3 41,0 3-47,0 1 58,0-4-2,-3 3-4,3-3-3,0 4 25,0-4-21,-3 3 26,3-3-30,0 3 14,0-3-9,-4 0 11,4 4-2,0-4-5,0 3 9,0-3-11,0 3-21,-3-3 15,3 4-16,0-4 25,-3 3-3,3-3-1,0 3-3,0-3 16,0 4-12,0-4 13,-4 3-15,4-3 53,0 3-39,0-3 42,-3 4-10,3-4-28,0 3 37,-3-3-42,3 3 26,0-3-19,0 4 22,-4-4-22,4 3-3,0-3 3,-3 0-4,3 3-43,0-3 36,0 0-39,0 4 43,0-4 2,-3 3-7,3 0 5,0-3-25,-4 4 19,4-4-21,0 3 24,0-3-28,0 4 20,-3-1-23,3 0 26,0 1 31,-3-1-21,3-3 24,0 3 2,0 1-23,-4-4 25,4 3-24,0 0-5,0-3 5,-3 4-1,3-1-69,0-3 54,0 3-56,0 1 70,-3-1-79,3-3 52,0 3-58,-4-3 50,4 4 12,-3-1-22,3 0 19,0-3 4,0 4 0,-4-4 0,4 3 40,0 0-36,-3 1 38,3-4-39,0 7 40,-3-4-22,3-3 24,-4 3-27,4 1 32,0-1-14,0 0 20,0 1-21,-3-1-13,3-3 14,0 3-14,0 1-6,-3-1 4,3 0-5,0-3-40,0 4 36,-4-4-38,4 3 43,0 0-13,0-3 5,0 0-9,-3 4 8,3-4 10,0 3-10,0-3 8,-3 0-19,3 3 10,0-3-11,0 4 36,-4-4-17,4 3 19,-3 0-22,3 1-18,0-4 16,0 3-15,-3 1 19,3-1-19,0-3 12,0 3-17,-4 1 19,4-1 54,0-3-40,0 3 44,0 1-35,0-4-13,-3 3 17,3 0-20,0-3 17,0 4-9,0-4 13,0 3-17,0-3 1,0 3 4,0-3 1,0 0-34,0 4 23,-3-4-29,3 3 37,0-3-52,0 3 37,0-3-46,0 0 52,0 4-49,0-1 35,-4-3-37,4 3 44,0 1-8,0-1 3,0 0-19,-3 1 1,3-1-5,0 1 8,0-1 45,0 0-27,0 4 29,-3-4-37,3 1 27,0 2-16,0-2 22,-4-1-27,4 0 31,0 1-23,0-1 25,0 0-17,-3 1-3,3-1 3,0 0-10,0 1 1,0-4 0,-3 3 3,3 1-13,0-4 7,0 3-11,0 0 14,-4-3-26,4 4 19,0-1-22,0-3 25,0 3-54,0-3 38,0 4-44,0-1 76,0 0-21,0 1 15,0-1-19,0 0 21,0 1-12,0 2 17,0-2 39,0-1 13,0 0 11,0 1-19,0 2-8,-3-2 6,3-1 15,0 1 3,0-1-59,0-3 20,0 3-20,0 1-26,-4-4 38,4 3-37,0-3 39,0 3-46,0 1 29,0-4-41,0 0 40,0 3-6,0-3 3,0 3-7,0-3-3,0 4 0,0-4 0,0 3 16,0 0-3,0 1 5,0-1 9,0-3-11,0 3 13,0 1-17,0-1 42,0 0-28,0 1 30,0-1-38,0-3 71,0 7-48,4-7 52,-4 3-61,0 1 3,0-1 5,0 0-1,3-3-15,-3 4 5,0-1-4,0-3-4,0 3-6,0 1 3,0-4-3,0 3-24,0 0 27,0-3-33,0 4 37,4-1-24,-4-3 11,0 3-15,0-3 11,0 4 10,0-4-11,0 3 8,0-3 2,0 3-2,0-3 2,3 4 2,-3-1-3,0-3 4,0 3-4,0 1 8,0-4-6,0 3 7,0-3-7,3 3 13,-3-3-8,0 4 9,0-1-13,0-3-1,0 4 1,0-4 0,0 3-1,0-3 4,0 3-4,0-3-2,0 0 3,4 4-3,-4-4 4,0 0 4,0 0-3,0 3 2,0-3-3,0 0 8,0 0-6,3 3 5,-3-3-7,0 0 4,0 0-2,3 4 5,1-4-12,-4 0 6,3 0-5,-3 0 2,3 0 3,-3 0-3,4 0 4,-1 0-13,-3 0 9,3 0-11,1 0 13,-4 0-30,3 0 22,0 0-26,-3 0 30,4 0-21,-1 0 15,-3 0-18,3 0 31,-3 0-12,4 0 11,-1 0 14,-3 0-17,3 0 17,1 0-23,-4 0 12,3 0-8,-3 0 12,4 0-14,-1 0 36,-3 0-25,3 0 31,1 0-36,-4-4 1,3 4-1,0 0 1,-3 0-10,4-3 11,-1 3-11,-3 0-32,3 0 32,1 0-34,-4-3 41,3 3-10,0 0 3,-3 0-4,4 0 3,-4 0 6,3 0-8,0 0 6,-3 0-7,4 0 51,-4 0-37,3 0 38,0 0 17,-3-4-44,4 4 53,-4 0-63,3 0 8,-3-3-4,3 3 9,1 0-52,-4-3 40,3 3-41,-3 0 50,4 0-36,-1 0 25,-3-4-28,3 4 6,-3 0 17,4-3-27,-4 3 27,3 0-16,-3-4 2,3 4-6,-3 0 5,4 0 17,-1 0-5,-3-3 8,3 3-11,-3 0 10,4 0-8,-4 0 12,3 0-3,-3-3-3,3 3 5,-3 0-8,4 0 11,-1 0-8,-3 0 9,3-4 26,1 4-27,-4 0 32,3 0-32,-3-3-1,3 3 3,1 0-3,-4 0-13,0 0 11,3-3-11,-3 3 16,3 0-69,1 0 50,-4-4-51,3 4 59,-3 0-18,0 0 8,4 0-17,-4-3 19,3 3-1,-3 0 2,3 0-5,-3 0 21,4 0-19,-1 0 19,0 0-1,-3 0-12,4-3 16,-4 3-19,3 0 17,0 0-11,-3 0 14,4 0-15,-1-4-9,-3 4 7,3 0-9,1 0 10,-4 0 0,0 0 0,3-3 0,-3 3-12,3 0 8,1 0-9,-4 0 5,0 0 5,3 0-5,-3 0 5,0-3-16,3 3 11,-3 0-11,4 0 14,-4 0-38,0 0 28,3 0-32,-3 0 38,0 0 17,3 0-12,-3 0 12,0 0-12,4 0-5,-4 0 5,0 0 7,3 0-9,-3 0 7,4 0-10,-4 0 29,3 0-20,-3 0 27,3 0-31,-3 0 46,0 0-33,0 3 37,4-3-43,-4 0 6,0 0-4,0 0 4,0 0 8,0 3-6,0-3 8,0 0-8,0 0-2,0 4 4,0-4-3,0 0 11,0 0-9,0 3 9,0-3-12,0 0 37,0 0-25,0 3 28,0-3-21,0 0-19,0 4 19,0-4-18,0 3-19,0-3 21,0 0-23,0 0 1,0 3 18,0-3-18,0 4 21,0-4-8,-4 3 1,4 0-4,0-3 0,-3 0-3,3 4-2,-3-1 1,3-3 2,-4 4 5,4-4-4,0 0 4,0 3 16,0-3-11,0 3 13,-3-3-2,3 0-10,0 4 12,0-4-14,0 0 1,0 3 1,0-3-1,0 3 2,-4-3-6,4 0 5,0 4-4,0-4-7,0 0 7,0 0-8,0 0 11,0 3-12,0-3 9,0 0-14,-3 3 15,3-3-35,0 0 25,0 4-28,0-4 14,0 0 10,0 0-13,0 3 17,0-3-8,0 0 5,0 0-8,0 3 7,-3-3 0,3 0-3,0 0 1,0 4 12,0-4-9,0 3 12,0-3 8,0 0-14,-4 0 16,4 0-18,0 3 27,0-3-20,0 0 23,0 4-27,-3-4 23,3 0-16,0 0 19,0 0-10,0 0-4,0 0 6,0 0-6,0 0-5,0 3 9,-3-3-7,3 0 5,0 0-4,0 0 3,0 0-1,0 0 26,-4 0-21,4 0 20,0 0-22,0 0-11,-3 0 7,3 0-7,0 0-11,0 0 14,0 0-14,-3 0 18,3 0-10,0 0 6,0 0-9,0 0-10,-4 0 15,4 0-21,0 0 23,0 0-11,-3 0 8,3 0-6,0 0 6,0 0 0,-3 0 1,3 0-1,0 0 3,0 0-3,0 0 2,0 0-2,-4 0 2,4 0-1,0 0 2,0 0-2,0 0 0,-3 0 1,3 0-1,0 0-16,0 3 12,0-3-12,-3 0 14,3 0 1,0 0-2,0 0 2,0 4-1,-4-4 3,4 0-3,0 0 3,0 3 4,0-3-6,0 0 7,0 3 2,0-3-7,0 0 9,0 4-10,0-4 1,-3 3 2,3-3-2,0 0 2,0 4-46,0-4 32,0 3-35,-3-3 45,3 3-2,0 1-1,0-4-1,0 3-7,-4 0 5,4 1-6,0-4-9,0 3 7,0 0-9,-3-3 13,3 4-1,0-1 2,0 0-2,-3 1 3,3-1 18,0-3-12,0 3 11,-4 1-16,4-4 0,0 3-1,0 0 0,0-3-17,0 4 13,0-4-12,-3 3 14,3-3 3,0 3-3,0 1 2,0-4 7,0 0-5,0 3 4,0-3-9,0 0 11,0 4-9,0-4 11,0 3 19,0-3-22,0 0 28,0 3-2,0-3-15,0 0 19,0 0-23,0 4-3,0-4 2,0 0 1,0 3-2,0-3-4,0 0 3,0 3-4,0-3 6,0 0-7,0 4 4,0-4-7,0 0 20,0 3-11,3-3 11,-3 3 27,0-3 13,0 0 3,0 4-10,0-4 20,4 0-41,-4 0 49,0 3-56,3-3 15,-3 0-10,3 0 18,1 0-14,-1 0-5,0 0 2,4 0-5,-4 0-85,1 0 25,2 0-88,1 0 83,0 0-183,-1-3 180,1 3-141,0 0 189,0-4 0,3 4 0</inkml:trace>
  <inkml:trace contextRef="#ctx0" brushRef="#br0" timeOffset="149">10754 4570 9502,'7'0'-89,"-4"0"7,0 0 48,1 0-86,-1 0 130,0-3 75,-3 3 80,4 0 5,-1 0 75,-3 0-51,7-4 19,-7 4-30,3 0-36,0-3-21,1 3 36,-1 0-83,4 0 45,-4-3-47,4 3 46,-4 0-66,4 0 64,0-4-57,-4 4 77,4 0-125,-1 0 20,1 0-105,3 0 104,-3 0-93,3 0 74,0-3-112,3 3 53,-3 0-22,4 0 56,-1-3-10,-3-1 47,7 1-23,-7 0 17,3-1 15,1 1-6,-4-4 10,3 4-19,-3-4 31,0 0-20,0 1 34,0-1-39,0 0 26,-3 1-19,3-1 20,-3 0-74,-1 1 49,1-4-49,0 3 57,3-3-44,-3 3 27,-1-3-29,1 0-25,0 3 36,3-3-44,-4 0 45,1 4-23,0-5 9,0 5-13,-1-1 16,-2 0 30,2 1-25,-2 2 23,-1-2-14,0 2-2,1 1 7,-1 0-6,-3-1-29,3 1 20,1 0-21,-1 3 3,-3-4 19,3 4-21,1-3 24,-1 0-63,0-1 40,1 1-45,-1-1 49,0 1-33,1 0 15,-1 3-21,1-4-8,-1 1-7,-3 3-8,3-3 11,-3 3 52,4-4-9,-4 4-17,3 0 11,-6 0-15,3 4 36,-7-1-1,4 4 18,-4-1-20,0 5 23,0-5-40,-3 4 16,4 0-16,-4 0 11,3 0 30,-3 0-22,3 0 23,1 1-27,-5 2 32,5-3-21,-1 0 25,0 3-29,1-3 37,-1 0-27,0 4 32,1-4 7,-1 0-23,0 0 29,0 0-29,1 0-21,-1 0 19,0-3-17,4 0-2,-4 3 9,1-7-12,-1 7 15,0-7-12,4 4 8,-4 0-13,1-1 14,-1-2 37,0-1-29,0 0 30,4 4-20,-4-4-12,4 1 14,-4-4-12,1 3 34,2-3-20,-2 4 25,-1-4-8,0 0-19,4 3 23,-7-3-26,3 0-18,0 0 14,1 0-15,-1 0 17,-3 0 1,3 0-4,-3 0 1,4 0 27,-1 0-21,-3 0 21,3 0-26,-3 0 5,3 0-4,-3 0 7,4-3 13,-1-1-11,-3 1 15,3 3-19,-3-7-23,3 4 21,1-1-21,-1 1 27,0 0-55,1-1 36,-4-2-41,6 2 16,-2 1 21,-1-4-29,0 4 33,1 0-8,2-4 1,-3 4-6,1-4-6,2 4 6,-2-4-6,-1 3 13,0 1-11,4 0 8,-4-1-7,1 4 8,-1-3 7,4 0-5,-1 3 6,-2-4 4,2 4-9,-3 0 11,4 0-12,0 0-14,-4 0 11,4 0-10,-4 0-2,4 0 12,-4 0-13,4 0 15,-4 0-16,4 0 10,-1 0-13,-2 0 12,2 0 4,1 0-7,-4 0 5,4 0 1,-1 0 0,-2 0 3,2 0-6,-2-3 16,2 3-12,-2 0 14,-1 0-12,4-3 1,-1 3 0,-2 0-1,-1 0 17,4-4-11,-4 4 12,0 0-16,0-3 4,4 3 0,-4 0 2,1 0 32,-1-3-27,0 3 29,-3-4-35,4 4-1,-1 0 2,0-3-1,0 3-18,1-3 16,-4 3-17,3 0 21,-3-4-13,3 4 8,-3-3-10,4 3 11,-4-3-8,-1-1 4,-2 1-10,3 0 30,-3-4-18,3 3 18,-4-2-19,-3 2 44,4-6-29,-4 4 32,1-1-24,-1-3-12,0 0 15,-3 0-15,3 0-85,1 3 17,-1-6-79,0 6 85,4-3-368,-1 0 125,4 3-265,0 4 325,4-4 99,-1 4 131,3 0 0,1-1 0</inkml:trace>
  <inkml:trace contextRef="#ctx0" brushRef="#br0" timeOffset="150">2454 4302 8847,'-3'-3'-295,"3"3"576,0 0-118,0 0 29,0 0-162,0 3 3,0-3-6,0 0 10,0 0-10,0 0 18,0 4-13,0-4 16,0 0 17,0 3-22,0-3 23,0 0-33,0 3 21,0-3-7,0 4 10,0-4-10,0 3 22,3-3-14,-3 3 18,0 1-41,0-4 10,0 3-11,0-3-26,0 3-12,0 1-3,0-4 11,0 3-34,0-3 52,0 3-67,0 1 73,0-4-24,0 3 14,0-3-20,0 3 16,0-3-19,0 4 16,0-1-18,0 0 3,0-3 5,0 4-5,0-1 17,0-3-2,0 4 3,0-1-3,0 0 48,0-3-36,0 4 38,0-1-48,0 0 43,0 1-30,0-4 32,0 3-40,0 0 22,0 1-15,0-1 25,0 0-17,0 1 6,0-1-4,0 0-34,0 1 20,0-1-19,0 0 28,0 1-23,0-1 14,0 0-24,0-3 27,-3 4-28,3-1 20,0-3-25,0 4 26,0-1 1,0 0 1,0-3 3,0 4-2,0-1-4,0-3 3,0 3-3,0-3 22,0 4-12,0-1 13,0-3-3,0 3-13,0 1 13,0-1-14,0-3-26,0 3 20,0 1-20,0-4 27,0 3-39,-4 0 27,4-3-29,0 4 4,0-1 21,0 0-28,-3 1 23,3-1-3,0-3 1,0 3-3,0 1 42,-3-4-31,3 3 31,0 1-33,-4-1 11,4-3-5,0 3 7,0 1-5,0-4 1,0 3 1,-3 0 1,3-3 0,0 4-3,0-1 5,0-3-29,-3 3 19,3-3-20,0 4 16,0-1 23,-4 0-20,4 1 19,0-4-18,0 6 2,0-6 0,-3 4 1,3-1 11,0 0-5,-3-3 6,3 4-5,0-1-22,-4 0 12,4 1-10,-3-1 7,3 1 7,-3-4-6,3 3 5,0 0 3,-4 1-5,1-1 2,3-3-3,0 3 15,-3 1-11,3-1 11,-4 0-14,4 1 44,-3-4-29,3 3 37,0 0-34,-4 1-2,4-1 1,-3-3-15,3 3 8,-3 1-7,3-1 11,-4 0 15,4 1-14,0-4 13,-3 3-14,3 0-16,-3 1 12,-1-4-15,4 3-1,0 1 10,-3-1-10,0 0-10,3-3 20,-4 4-23,4-1 25,-3 0-28,3 1 22,-3-4-26,-1 6 28,4-6-6,-3 4 4,3-1-5,-3 0 3,-1-3 11,4 4-7,-3-1 9,0 0-13,3 1 18,-4-1-11,1 0 14,3 1-6,-3-1-6,-1-3 6,4 4-14,-3-1 4,-1 0-3,4-3 6,-3 4-16,3-1 10,-3-3-12,-1 3 17,4-3-24,0 4 16,-3-1-19,0-3 23,3 3-19,-4 1 13,4-4-17,-3 3 12,3-3-1,-3 3 0,-1-3 4,1 4 1,3-4-1,0 3 0,-3 0 7,-1-3-5,4 4 6,-3-1-7,3-3-1,-3 3 2,3-3-3,-4 4 3,1-4 9,3 3-6,-3-3 7,3 3 27,-4-3-27,4 4 29,-3-4-28,3 3-1,0-3 3,-3 4-4,3-4-10,-4 3 10,4-3-9,-3 3 14,3-3-28,-4 4 21,1-4-22,3 3 23,-3-3-23,3 3 14,-4-3 3,4 4 4,-3-4 15,3 3-22,-3 0 38,-1-3-27,1 4 30,3-4-34,-3 3 18,-1 0-10,4 1 13,-3-1-12,3-3 2,-3 3 2,-1-3-2,4 4-26,-3-1 18,0-3-20,3 3 26,-4-3-34,1 4 23,0-1-30,3-3-17,-4 3 32,1 1-36,0-1 43,-1 1-5,4-4 1,-3 3-8,-1 0 10,1-3 0,0 4-2,-1-1 3,1-3 8,0 3-7,-1 1 10,4-1 4,-3-3-11,0 3 14,-1 1-17,1-1 7,3-3-5,-3 3 9,-1 1-8,1-4 0,3 3 0,-3-3-2,-1 3 3,4 1-4,0-4 3,-3 3-4,3-3 3,-3 0-1,-1 3 1,4-3-1,-3 4 0,3-4 1,-3 3 0,3-3 0,-4 3 0,4 1 0,-3-4 0,-1 3-4,1 1 3,0-1-3,-1-3-2,1 3 3,0 1-3,-1-1 4,1-3-13,0 3 8,-1 1-9,4-4 13,-3 3 1,0 0-2,-1-3 0,4 4 5,-3-4-3,3 3 4,-3 0-6,-1-3 8,4 4-6,0-1 7,-3-3-8,0 3 7,3-3-5,-4 4 7,4-1 13,-3-3-13,3 3 15,-3-3-20,3 4 0,0-4 1,-4 0 0,1 3-7,3-3 6,0 3-4,-4-3 6,4 0-15,0 4 11,-3-4-11,3 3-2,-3-3 12,3 0-14,0 4 15,-4-4-1,4 3 1,-3-3-3,0 3 7,3-3-6,-4 4 7,1-4-7,3 3 2,-3 0-1,-1-3 2,4 4-1,-3-1-6,0-3 5,-1 3-5,4-3 7,-3 4-19,0-4 13,3 3-15,-4 0 6,4-3 9,-3 4-11,0-4 7,3 0 2,-4 3-3,1-3 1,3 3 9,-3-3-8,3 0 8,-4 4-7,1-4 9,3 3-7,0-3 7,-4 3-7,1-3-7,0 4 8,3-4-7,-4 3-9,1-3 11,3 3-11,0-3 7,-3 4 5,3-4-5,-4 0 3,4 3 18,0-3-14,0 0 14,-3 0-17,3 4 2,0-4-2,0 0 3,-3 0-1,3 0-6,-4 3 5,4-3-5,0 0 8,-3 0-2,3 3 1,0-3 0,0 0-8,-3 0 4,3 0-6,0 4 3,-4-4 2,4 0-3,0 0 5,-3 0 0,3 3-1,0-3 2,-3 0-2,3 0 4,-4 0-2,4 0 3,0 3-8,-3-3 4,3 0-4,-3 0 4,3 0 9,0 0-5,-4 0 5,4 0 2,0 0-8,0 0 9,-3 4-10,3-4 12,0 0-9,0 0 10,-3 0-12,3 0 15,0 0-10,-4 0 12,4 0-6,-3 0-4,3 0 5,0 0-10,0 0 3,-4 0-2,4 0 2,0 3 4,-3-3-3,3 0 3,0 0-3,-3 0-23,3 0 17,0 3-20,0-3-12,-4 0 25,4 0-29,0 4 35,0-4-48,-3 0 34,3 0-38,0 0 31,0 0 6,-3 3-10,3-3 9,0 0-5,-4 0-1,4 3 0,0-3 1,-3 0-27,3 0 18,0 0-19,0 4 15,-3-4 11,3 0-12,0 3 10,0-3 24,0 0-18,-4 0 20,4 3 35,0-3-41,0 0 40,0 0-51,0 4 25,0-4-18,0 0 50,0 0-34,0 0 21,0 0-18,0 0 42,4 0-36,-4 0 37,3 0-45,-3 0 66,3 0-46,1 0 52,-1-4-32,0 4-15,1-3 18,-1 0-20,0 3-36,1-4 29,-1 4-28,1-3 36,-1 3-26,0-3 20,1 3-18,-1-4 19,0 4-65,1-3-27,-1 3-112,-3-3 28,3 3-48,-3 0 113,4-4-92,-4 4-35,0 0-35,3 0-36,-3-3 164,0 3 45,3 0 81,-3-3 0,7-1 0</inkml:trace>
  <inkml:trace contextRef="#ctx0" brushRef="#br0" timeOffset="151">2166 4312 8618,'0'-3'478,"0"3"-395,0 0 59,0 0 2,0 0 50,0 0 108,0 0-113,0 0 100,0-3-86,0 3-20,0 0 118,0 0-140,0 0 57,0 0-150,0 3 23,0-3-23,0 0 21,0 0-57,4 3 37,-4-3-34,0 4 12,0-4-10,0 3-2,0-3 4,0 3-29,3 1-21,-3-1 6,0-3-5,3 3 2,-3 1 26,0-1-42,0 0 49,0 1 19,0-1-25,4 0 21,-4 4-2,0-4-5,0 1 7,0-1-10,0 1 37,0-1-24,0 0 31,0 1-76,0-1 30,0 0-21,0 1 32,0-1-62,0 0 41,0 1-50,3-4 59,-3 3-62,0 0 42,0 1-53,0-4 31,3 3 9,-3 0-15,0 1 12,0-1-9,4 0 1,-4 1-5,0-1 14,0 0 5,0 4-4,0-7 3,0 7 7,0-4-4,0 1 5,0-1-7,0 0 15,0 1-11,0-1 14,0 0-16,0 1 9,0-1-7,3 0 9,-3-3 8,0 4-9,0-1 11,0 0-17,0 1 1,0-4-1,0 3 3,0 0-10,0 1 6,3-4-6,-3 3 9,0 0-10,0-3 7,0 4-9,4-1 4,-4 1 2,0-1-2,0 0 2,0 1 1,0-1-2,0 0 2,0 4 4,0-7-3,0 7 3,0-4-4,0 0 10,0 1-7,0-1 9,0 0-10,0 1-2,0-1 1,0 0-1,0-3-2,0 4 4,0-1-4,0 0 4,0 1-52,0-4 37,0 3-40,0-3 42,0 4 3,0-1-6,0-3 2,0 3-27,0 1 16,0-1-19,0 0 21,0 1 26,-4-1-22,4 0 20,-3 1-4,3-1-11,0 0 13,0 1-14,-3-1 12,3-3-6,0 3 12,0-3 4,0 4-11,0-4 19,0 0-20,0 0 5,0 0-2,0-4 3,0 4-1,0-3 2,0 0 49,0-1-40,0 1 42,0 0-47,0-1 1,0 1 0,0-4 2,0 4-11,0 0 9,0-4-8,0 4 2,0-4 4,3 3-4,-3-2 6,0-1-16,0 0 11,0 1-14,0 2 16,0-2-5,0-1 3,3 0-6,-3 1-16,0-1 14,0 0-15,0 0 21,0 1-59,4 2 41,-4-2-46,0-1 57,0 0-68,0 4 49,-4-4-58,4 1 69,0 2-86,0 1 61,-3 0-52,3-4 66,0 4-1,0-1-8,0-3 29,-3 4-19,3 0 24,0-1-32,0 1 14,0-4-9,0 4 14,0 0-13,-4-4 11,4 4-7,0-1 11,0 1-10,0-4 6,0 4-5,0-4-21,0 4 14,0 0-20,0-1 24,0-3-43,-3 4 30,3 3-33,0-3 41,0-1 20,0 1-15,-3 3 12,3-3-20,0 3 0,0 0 2,0 0 2,-4 0 33,4-4-29,0 4 30,0 0-35,0 0 28,0 0-11,0-3 15,0 3 22,0 0-33,0 0 152,0 0-134,0 0 107,0 0-120,0 3 14,0 1-21,0-4 13,0 3-17,0 0 11,0 1 5,0-1-6,0 0-1,0 1-3,0 3-4,0-4 2,0 0 3,0 4 4,0 0 1,0-1 0,0-2 0,4 6 0,-4-4 0,0 1 0,0 3 18,0 0-13,3-3 15,-3 3-7,0 0-8,0 0 9,3 0-10,-3-3-3,0 3 4,0-4-3,4 1 4,-4 0-10,0 0 9,0-1-10,0 1 1,0-4 5,0 4-7,0-4 9,0 1-39,0 2 29,0-6-33,0 4 15,3-1 13,-3 0-15,0 1 19,0-1-23,0 0 13,0 1-15,0-1 18,0 1 14,0-1-14,0 0 13,0 4 10,0-7-15,0 7 18,0-4-23,0 0 43,0 1-30,0-4 36,0 3-26,0 0-9,0-3 16,0 0-19,0 4 13,0-4-44,0 0-11,0 0-42,0 0 26,0 3 13,0-3 27,0 0-22,0 3 8,0-3-14,0 0 40,0 4-10,0-4 11,0 3-17,0-3 26,0 3-20,0-3 26,0 4-32,0-4 73,0 0 29,0 0 46,0 0-32,0 0-40,0 0-5,0-4-26,0 4 32,0-3-34,0 3 7,0-3-2,0 3 2,0 0 1,0-4-43,0 4 28,0 0-33,0 0 5,3 0 15,-3 0-23,0 0 29,0 0 4,0 0-1,0 0-3,4 0-6,-4 0 5,0 0-4,0 0 46,0 0-31,3 0 32,-3 0-36,0 0 3,3 0 0,-3 0 5,4 0-20,-4 0 13,3 0-13,0 0 17,1 0-32,-1 0 23,0 0-25,1 0 28,-1 4-44,0-4 27,1 0-31,-1 3-22,1-3 45,2 3-51,-2-3 14,-1 4 26,4-4-30,-4 0 38,4 3-28,-4-3 17,4 3-22,-1-3 23,-2 0 16,2 0-14,-2 0 14,-1 0-17,4 0 27,-4 0-20,1 0 20,-1 0 27,-3 0-35,3 0 43,-3 0-18,4 0-16,-4 0 19,0-3-21,0 3-19,0 0 19,0 0 25,0 0-12,-4 0 28,4 0-39,-3 0 9,3 0-6,-3-3 6,-4 3-8,3 0 59,1 0-39,0 0 48,-1 0-51,-2 0 2,2-4-1,-2 4-3,-1 0-26,4-3 23,-1 3-20,-2-3-6,2 3 19,-2 0-29,2 0 33,1 0-24,0-4 17,-1 4-21,1 0 21,-1 0-7,4 0 5,-3 0 80,3 0-52,0 0 46,3 0-62,1 0-16,-1 4-3,1-4 11,-1 0-13,4 0 19,-1 0-57,1 0 41,-4 0-48,4 0 58,0 0-18,-1 0 11,-2 0-21,-1 0 28,0 0-16,4 0 15,-7 0-76,3 0 49,1 0-52,-4 0-41,0 0 71,0 0-78,-4 0-163,4 0 64,-3 0-86,-4 0 163,4 0 145,-4 0 0,4 3 0</inkml:trace>
  <inkml:trace contextRef="#ctx0" brushRef="#br0" timeOffset="152">1791 4352 9214,'0'4'-198,"-3"-4"184,3 0-13,0 0 61,0 0-19,0 0 8,-4 0 10,4 0-11,-3 0 16,3 0 16,0 3-12,-3-3-9,3 0-7,-4 0 10,4 0 6,-3 0 15,3 3-6,-3-3-13,3 0 10,-4 0-11,1 0-14,3 4 10,-3-4-12,-1 0-31,4 0 34,-3 0-36,0 3 44,3-3-34,-4 0 21,1 0-25,3 0 24,-3 0-50,-1 0 31,4 4-36,-3-4 3,0 0 36,3 0-43,-4 0 47,4 3 19,-3-3-14,0 0 15,-1 3-6,4-3-14,-3 0 15,3 0-14,-4 4-2,4-4 4,-3 0-3,3 0 6,-3 0-4,3 3 7,0-3-5,-4 0 24,4 3-19,-3-3 17,3 0-20,-3 4-17,3-4 12,-4 0-14,4 0-3,-3 0 14,3 3-16,-3-3 20,3 0-16,-4 0 10,1 3-12,3-3 14,-3 0-9,3 4 4,-4-4-9,4 0 21,-3 0-10,3 3 10,0-3-10,-3 0 52,3 0-35,0 0 38,-4 0-23,4 3-19,0-3 25,-3 0-26,3 0-18,-3 4 12,3-4-13,-4 0 21,4 0-26,0 0 17,-3 3-21,3-3-12,-3 0 25,3 0-29,-4 3 31,4-3-3,0 0-5,-3 0 1,3 0-1,-4 4 7,4-4-5,-3 0 3,3 3 5,0-3-3,-3 0 3,3 0-4,0 0 11,0 3-9,0-3 11,-4 0 4,4 0-10,0 0 12,-3 4-13,3-4-8,0 0 6,0 0-6,-3 3 0,3-3 5,0 0-5,0 0 7,0 3-32,-4-3 22,4 0-25,0 0 31,0 0-3,0 0-1,0 0-1,0 0 3,-3 0-3,3 0 2,0 4-7,0-4 4,0 0-1,0 0 12,0 0-6,0 0 7,-3 0-8,3 3 14,0-3-8,0 0 10,0 0-14,0 0 34,0 4-25,0-4 27,0 0 22,0 3-39,0-3 47,0 0-55,0 3 31,0-3-21,0 0 25,0 4-52,0-4 24,0 3-22,0-3 28,0 0-28,0 3 19,0-3-23,0 4 23,0-4 24,0 3-21,0-3 19,0 3-4,0 1-14,0-1 15,0-3-18,0 3 31,0 1-21,0-1 26,0-3-21,0 3-1,0 1 7,0-1-4,0 0-28,0-3 21,0 4-23,0-1 25,0-3 0,0 3-1,0 1-2,0-4 1,0 3-4,0 1 6,0-1-6,0-3-13,0 3 8,0 1-11,0-4 4,0 3 11,0 0-10,0 1 12,0-4-37,3 3 25,-3-3-29,0 3 37,0 1-42,0-4 29,0 3-34,0 0 34,0-3-2,0 4 0,0-4-1,0 3 13,0 0-10,0-3 10,0 0-9,0 4 0,0-4 1,0 3-1,0-3-10,0 3 7,0-3-5,0 4 9,0-4-11,0 3 7,0 0-9,0 1 0,0-4 7,0 3-8,0-3 7,0 4 29,0-1-23,0-3 22,0 3-26,0-3 2,0 4-1,0-1 1,0-3-6,0 3 4,0 1-2,0-1 7,0 0-32,0-3 23,0 4-25,0-1 7,0 0 16,0-3-20,-3 4 23,3-4-3,0 3 2,0 0-4,0-3 5,0 0-6,0 4 6,0-1-5,0-3 11,0 3-7,0 1 8,0-4-8,0 0 2,0 3 1,0-3 0,0 3-8,0-3 3,0 4-5,0-4 7,0 0-3,0 3 3,0-3-3,0 0 4,0 4-1,0-4 1,0 0-3,0 3 5,0-3-3,3 0 4,-3 0-5,0 3 6,0-3-5,0 0 6,0 0-9,0 0 3,0 0-2,0 0 3,0 4-21,3-4 15,-3 0-15,0 3 14,0-3 2,0 0-3,0 0 3,0 0 10,0 3-8,0-3 7,0 0-9,0 0 12,0 0-7,0 0 16,0 4-16,0-4 5,0 0-2,0 0-2,0 0-9,0 0 6,0 0-9,0 0-17,0 3 20,0-3-24,0 0 29,0 0-4,0 0 4,0 3-6,0-3 22,0 0-17,0 0 17,0 0 13,0 0-22,0 0 25,0 0-31,0 0 5,0 0-3,0 4 9,0-4-8,0 0 6,0 0-4,0 0 5,0 0-4,0 3-3,0-3 1,0 0-4,0 0 4,0 0 1,0 0-1,0 0-1,0 3-38,0-3 25,0 0-27,0 0-29,0 0 47,0 0-49,0 0 58,0 4-99,0-4 13,0 0-93,0 0 82,0 0-150,0 3 185,0-3-109,0 3 184,0-3 0,0 0 0</inkml:trace>
  <inkml:trace contextRef="#ctx0" brushRef="#br0" timeOffset="153">2504 4359 9502,'0'3'-911,"0"-3"747,0 0 92,0 0 72,0 0 0,0 0 0,0 0 0,0 0 0,4 0 0,-4 0 0,0 0 0,0 0 0,0 0 0,0 0 124,0 0-93,0 0 152,0 0-165,0 0 44,0 0 7,0 0 21,0 0 10,-4 0 47,4 0-27,0 0 71,0 0 123,0 4-93,0-4 325,0 0-357,0 0 182,0 0-289,0 0-20,0 0 25,0 0-26,4 0 30,-4 3-18,0-3 6,3 0-1,0 0 14,-3 0-74,4 0 55,-4 0-67,3 0 14,-3 0 34,3 4-32,1-4 13,-4 0 29,3 0-40,-3 3 35,3-3-14,1 0 15,-4 3-14,3-3 13,-3 0-27,4 0 15,-4 4-18,3-4 24,-3 0-27,3 3 23,1-3-22,-1 3-41,-3-3 48,3 4-50,-3-4 59,4 0-55,-4 0 32,3 3-38,0-3 42,-3 0 6,0 3-13,4-3 9,-1 0-8,-3 4 6,3-4-5,1 0 3,-4 0 12,0 3-9,3-3 13,-3 0-46,3 3 27,-3-3-27,4 0 12,-4 4 3,0-4-11,0 0 15,3 0 45,-3 3-28,0-3 28,0 0-40,3 0 31,-3 0-25,0 3 27,0-3-32,4 0 59,-4 0-37,0 4 40,0-4-40,3 3-7,-3-3 13,0 0-9,0 0-30,3 3 20,-3-3-24,0 0 15,0 4 11,4-4-14,-4 3 13,0-3-16,3 3 8,-3-3-8,0 0 10,0 4 19,4-4-18,-4 0 13,3 3-14,-3-3-8,0 0 7,3 0-7,-3 4-8,0-4 13,0 0-14,4 3 19,-4-3-44,0 0 32,0 3-36,3-3 43,-3 0-4,0 4 5,0-4-8,3 3-11,-3-3 5,0 0-7,4 3 10,-4-3-7,0 4 6,0-4-6,3 0-9,-3 3-19,3-3 6,-3 3-5,0 1 16,0-1 7,4-3-8,-4 3 5,0-3 5,0 4-8,3-1 6,-3-3 3,3 0-2,-3 3 6,0 1-7,4-4 4,-4 3-3,0 0 6,3-3-4,-3 0 2,0 4-1,3-1 1,-3-3-2,4 3 0,-4-3 0,0 4-12,0-4 8,3 3-9,-3 1 12,0-1-24,0-3 16,0 3-17,0-3 28,3 4-6,-3-4 6,0 3-8,0 0 6,0-3-6,4 4 6,-4-4 15,0 3-15,0-3 18,3 0-21,-3 3 9,0-3-6,0 4 10,3-4-11,-3 3 5,4-3-3,-4 3 2,0-3-1,3 0-16,-3 4 11,0-4-14,4 3 9,-4-3 5,0 3-8,0-3 8,3 0-2,-3 4 1,0-4-1,0 3 6,0-3-3,3 3 3,-3-3-6,0 0-8,0 4 6,0-4-6,4 3 9,-4-3-3,0 3 3,0-3-3,0 4 11,0-4-6,3 0 5,-3 3 2,0-3-6,3 0 6,-3 4-8,0-4 3,0 0-2,4 3 3,-4-3-1,0 0-28,0 3 22,0-3-22,0 4 28,0-4-25,0 3 15,3-3-17,-3 0 28,0 0-5,0 3 4,0-3 39,3 0-36,-3 4 38,0-4-46,0 3 11,0-3-5,0 0 7,4 3-4,-4-3-6,0 4 11,0-4-8,0 0 12,0 3-26,3 0 19,-3-3-21,0 0-2,0 4 14,0-4-19,0 3 23,0-3-27,3 3 19,-3-3-23,0 4-13,0-4 23,0 3-27,0-3 35,4 3-25,-4 1 16,0-4-20,0 0 22,0 3-5,0-3 2,0 3-7,0-3 58,0 4-41,0-4 42,0 3 1,0-3-33,0 0 41,0 4-50,0-4 32,0 3-22,0-3 29,0 0-30,3 0 12,-3 3-9,0-3 10,0 0-14,0 0 8,0 4-8,0-4 3,0 0 2,0 3-5,0-3 5,0 0-23,0 3 17,3-3-18,-3 4 21,0-4-4,0 3 2,0 0-4,0-3 5,0 4 3,0-4-2,0 3 1,0-3-61,0 3 40,0-3-42,0 4-215,4-4 62,-4 3-183,0-3 146,0 3-254,0-3 323,3 4-211,-3-4 395,7 3 0,-4-3 0</inkml:trace>
  <inkml:trace contextRef="#ctx0" brushRef="#br0" timeOffset="154">2478 4396 8355,'0'-3'0,"0"3"0,0 0 0,0 0 0,0-4-11,0 4 12,0-3-7,0 3 14,0 0 46,0-3-31,0 3 35,0-4-43,0 4 1,0 0 3,0 0-2,0-3 19,0 3-13,0 0 17,3-3-34,-3 3 18,0 0-17,0 0 16,0-4 22,0 4-23,0 0 22,0 0 37,0 0 15,3 0 13,-3-3 109,0 3-138,0 0 27,0 0-67,0 3-58,0-3 64,0 4 27,0-1-28,0 0 25,0-3 2,0 4-24,0-1 22,-3 0-33,3 1 37,0-1-25,0 0 41,0 1-37,0-1-58,0 0 46,0 4-54,0-4 4,-3 1 44,3-1-52,0 0 23,0 4-22,0-4 1,-4 1-2,4-1 17,0 4 2,-3-4-8,3 4 4,0-4 16,0 4-16,-4 0 15,4-4-10,0 4 80,-3-1-53,3 1 57,0 0-29,0-1 13,-3-2 5,3 6-10,0-7-12,0 4-19,-4 0 28,4-4-67,-3 4 39,3-4-38,-3 0 44,3 4-52,-4-4 36,1 1-35,0-1 38,-1 0-25,4 1 7,-3-1-15,0 4-1,-1-4 23,-2 4-26,2-4 27,1 4-10,0 0 6,-1-1-3,1-2 35,3 2-24,-3 1 26,-1 0-32,1-1 33,3 1-20,-4-4 22,4 4-24,-3 0-6,3-4 7,-3 4-5,3-4 8,-4 4 0,4-4 0,-3 1 2,0 2-7,-1-2-33,4 2 27,-3-2-33,0-1 33,3 0-4,-4 4 0,1-3-26,0-1 23,-1 0-25,1 4 30,0-4-7,-1 1 3,1-1-3,3 0 4,-3 1 38,-4-1-27,7 0 31,-3 4-43,-1-4 6,1 4-3,-1-4-16,1 1 14,0-1-16,-1 0 19,1 4-35,0-3 28,-1-1-29,4 0 36,-3 1-30,0-1 19,-4 0-27,7 1 31,-3-1-19,-1 0 14,1 1-18,0 2 20,-4-2-7,4-1 6,-1 0-4,1 1 16,0-1-12,-1 0 13,1 1-12,-1-1-1,1-3 2,0 7-2,-1-7 2,1 7-2,3-7 1,-3 3 1,-1 0-11,1 1 7,0-4-8,-1 3 8,4 0 0,-3-3 0,0 4 0,3-1 11,-4 0-8,1 1 8,0-1 24,-1-3-21,1 3 24,0 1-29,3-1 36,-4 0-24,1 1 27,0-1-27,-1-3-23,1 3 21,-1 1-19,1-1-9,0-3 16,-1 3-16,1 1 22,0-4-36,-1 3 24,1 1-33,0-4 26,-1 3 2,1 0-4,0-3 2,-1 4-8,-2-1 2,2-3-3,1 3 7,0 1 1,-1-1-1,1 0-1,0 1 2,-1-4 1,1 3 0,-1 0 25,1-3-18,0 4 20,3-1-24,-4-3 14,1 0-8,0 3 8,3-3-10,-4 4-5,4-4 5,-3 3-3,0-3 6,3 0-15,-4 3 12,4-3-13,-3 0 14,3 4-18,-3-4 11,3 0-13,0 0 0,-4 3 12,4-3-14,0 0-4,0 3 12,-3-3-13,3 0 16,-3 4-17,3-4 10,-4 3-13,4-3 18,-3 4 3,3-4-2,-3 0 1,3 3 10,-4-3-12,4 0 12,0 3-13,-3-3 12,0 4-7,3-4 9,-4 0-24,4 3 9,-3-3-8,3 0 13,-4 3 0,4-3-1,-3 4-1,3-4 1,-3 3 1,3-3-1,-4 3 0,1-3-10,3 0 4,-3 4-5,-1-4 10,4 3-4,-3 0 5,0-3-7,-1 4-15,4-4 14,-3 3-14,0-3 18,-1 3-10,4-3 7,-3 0-12,3 4 12,-3-4 9,-1 0-6,4 3 8,0-3-4,-3 3-7,0-3 7,3 4-6,-4-4 2,4 0 1,-3 3 0,3-3-7,-3 3 4,3-3-4,0 4 6,-4-4-16,4 0 10,-3 3-15,3-3 19,0 0-2,-4 0 1,4 4-2,-3-4 12,3 3-10,-3-3 10,3 0-12,0 3 10,-4-3-5,4 0 5,-3 0 6,3 4-11,0-4 13,-3 0-13,3 3-4,0-3 4,-4 0-4,4 0 6,0 0 2,0 0-2,0 3 1,0-3-18,0 0 12,-3 0-13,3 0 15,0 0 4,0 0-3,0 0 1,-3 4 2,3-4-5,0 0 6,0 0-5,-4 0 9,4 0-7,0 0 7,0 0-7,-3 3 8,3-3-5,0 0 6,0 3-38,-3-3 21,3 0-21,0 0-22,0 0-15,-4 4-1,4-4 3,0 0-86,0 0 21,-3 0-119,3 0 115,0 3-98,-3-3 63,3 0-95,-4 0 139,4 0 32,-3 0 99,3 3 0,-3-3 0</inkml:trace>
  <inkml:trace contextRef="#ctx0" brushRef="#br0" timeOffset="155">8628 4744 9502,'3'-7'-430,"1"4"92,-4 3 262,3-3 93,0 3 83,1-4 66,-1 4-30,0-3 18,1 0-21,2 3-23,-2-4-22,2 4 34,-2-3-35,2 0-10,1-1 3,0-2-12,0-1-5,-1 0 16,4 4-17,-3-7 26,0 3-63,3-3-14,-4 0 0,4 0-55,0-3 49,1-1-25,-1 1 20,0-1-5,-4-2 0,4 2-23,0-2 21,0 2-29,-3-3 50,0 4-52,0-4-9,-1 4 37,1 0-42,-4 2 56,1-2-68,-1 3 44,0 0-49,-3 3-38,0 4 26,4-4-106,-4 4 102,0 0-145,0-1-57,0 4 68,0 0-17,-4 4 236,4-1 0,-6 4 0</inkml:trace>
  <inkml:trace contextRef="#ctx0" brushRef="#br0" timeOffset="156">1848 4607 8199,'0'0'116,"0"0"-15,0 0 102,0 0-37,0-3 23,0 3 644,0 0-572,0 0 485,0 0-800,0 0 23,-3 0 12,3 0-10,0 3 32,0-3-34,-4 0 9,4 0-7,0 0 7,-3 0 16,3 3-22,-3-3 19,3 0 16,-4 4-22,1-4 21,3 3-17,-3-3 12,-1 0-10,1 3-58,0-3 47,-1 0-50,4 4 64,-3-4-49,0 3 32,-1-3-35,4 0 41,-3 3 0,0-3-3,3 0-4,0 0 21,-4 0-18,4 0 17,0 0-23,-3 4 29,3-4-21,0 0 23,-4 0 5,4 0-19,0 0 27,0 0-30,0 0 15,0 0-10,0 3 12,0-3-12,0 0 7,0 0-5,0 3 3,0-3-2,0 0 0,0 0 0,0 0-3,0 0 30,0 0-21,0 0 22,0 4-10,0-4-9,0 0 11,0 0-7,0 0-7,0 0 7,0 3-6,0-3 40,0 0-29,0 0 34,0 0-23,0 3-7,0-3 11,0 0-13,0 0 25,0 0-17,0 0 19,4 4 12,-4-4-29,0 0 35,0 0-41,0 3 12,3-3-8,-3 3 10,0-3-2,0 4 10,0-4-5,0 0 3,0 3-17,4 0 5,-4-3 1,0 4 2,0-1-15,0-3 8,0 7-17,0-7 2,0 3 13,3 1-14,-3-1 16,0 0-25,0 1 15,0-1-17,0 0 23,3 1 1,-3-1-3,0 0 2,0-3 18,4 4-14,-4-1 18,0 0-22,0 4 41,3-4-31,-3 1 33,0-1-2,0 1-21,0-1 25,3 0-29,-3 4 19,0-4-12,0 1 15,0-1-13,0 0-28,0 1 24,4-1-25,-4 0 16,0 1 4,3-4 0,-3 3 2,0 0-56,3-3 38,-3 4-48,0-1 0,0-3 38,4 3-42,-4-3 48,0 4-36,0-4 19,0 3-24,0 0 31,0-3-31,0 4 21,0-1-28,0-3 31,0 4-1,0-1-3,0-3 4,0 3 0,0-3-2,0 4 4,0-4-1,0 3-1,0-3 2,0 3-2,0-3-22,0 4 16,0-4-16,3 3 21,-3-3 5,0 0-5,0 3 5,0-3-21,0 4 10,0-4-11,0 0 12,0 3 13,0 0-10,0-3 11,3 4-7,-3-4-3,0 3 4,0-3-5,0 0 12,0 3-9,0-3 10,0 0-11,0 0-10,0 4 7,0-4-6,0 0-15,0 3 17,0-3-18,0 0 23,0 0 0,0 3-2,0-3 1,0 4-5,0-4 22,0 0-17,0 3 17,0-3 9,0 0-20,0 0 22,0 3-26,0-3 18,0 4-7,0-4 11,0 3-9,0-3 4,0 4 1,0-4 0,0 3 3,0-3-9,0 3 7,0-3-6,0 4-15,0-4 10,0 3-11,0-3 0,0 3 9,0-3-10,0 4 13,0-4-6,0 0 4,0 3-5,0-3 3,0 3 10,0-3-10,0 4 9,0-4-6,0 3-2,0-3 4,0 0-7,0 3 4,0-3-4,0 4 4,0-4-6,0 3 5,0-3-4,0 0 5,0 3-14,0-3 9,0 4-9,0-1 9,0-3 3,0 0-4,0 3 2,0 1 0,0-4 0,0 3-1,0-3 2,4 0-1,-4 3 2,0-3-2,0 4 2,0-4-2,0 3 3,0-3-3,0 4 2,0-4-1,0 3 1,0-3 0,0 3-1,0-3 1,0 4-1,0-4 0,0 3 0,0-3 0,0 3 0,0-3 0,0 4 0,0-4 0,0 0-14,0 3 10,0-3-10,0 3 13,0-3-13,0 0 9,0 4-11,0-4 13,0 3-2,0-3 2,0 0-3,0 3 10,0-3-7,0 4 7,3-4-5,-3 3-2,0-3 3,0 0-4,0 3 8,0-3-5,0 4 9,0-4-10,0 3 7,0-3-5,0 0 3,0 3-17,0-3 11,0 0-11,0 4 2,3-4 8,-3 0-9,0 3 10,0-3 4,0 0-3,0 3 3,0-3-4,0 0 2,0 4-3,0-4 2,0 0-3,0 3 10,0-3-7,0 0 8,0 4-13,0-4 3,0 0-1,0 3 4,0-3-3,0 0 2,0 3-4,0-3-17,0 0 13,0 4-15,0-4 19,0 0-12,0 0 7,0 3-9,0-3 10,0 0 0,0 0-2,0 3 1,0-3 11,0 0-6,0 0 7,0 0 5,0 4-12,0-4 14,0 0-16,0 0 12,0 0-7,0 3 9,0-3-9,0 0-11,0 0 8,0 3-8,0-3 10,0 0 0,0 4 1,-3-4-1,3 0-9,0 0 7,0 0-8,0 3 8,0-3 6,0 0-5,0 0 2,0 3 0,0-6 0,0 3 3,0 0 3,3 0-4,-3 0 1,0 0 2,0-3-4,0 3 55,0 0-38,0 0 41,0 0-51,0 0 5,4 0-3,-4 0 8,0 0-15,0 0 12,0 0-11,0 0 13,0 0-29,3 0 21,-3 0-23,0 0 10,0 0 8,0 0-10,0-4 6,0 4-31,3 0 16,-3 0-20,0 0 26,4 0 6,-4 0-5,0 0 5,0 0-20,0 0 13,3-3-15,-3 3 20,0 0-3,4 0 3,-4 0-3,0 0 3,0 0-2,3 0 3,-3 0 6,0 0-5,0 0 5,0-3-8,3 3-22,-3 0 15,0 0-14,0 0 34,0 0-9,4 0 8,-4 0-12,0 0-33,0 0 25,0-4-26,0 4 30,3 0 3,-3 0-5,0 0 4,0 0-4,0 0 5,0 0-4,0 0 2,3-3 11,-3 3-12,0 0 15,0 0 11,0 0-17,0 0 19,0 0-26,0 0 20,4 0-12,-4 0 24,0 0-42,0 0 20,0-3-20,0 3 1,0 0 12,0 0-11,0 0 14,0 0 1,0 0 6,0 0-6,0-4 23,0 4-21,0 0 14,0 0 11,0 0-15,0 0 18,0-3-23,0 3 27,0 0-17,0 0 20,0 0-15,0 0-8,0 0 10,0-3-10,0 3 8,0 0-6,0 0 8,0 0-9,0-4 13,0 4-8,0 0 9,0-3-2,0 3-5,0 0 5,0-4 9,0 4-11,0 0 13,0-3-16,0 3-14,0 0 8,0-3-8,-4 3 16,4 0-17,0-4 13,0 4-14,0-3-20,0 3 24,0 0-26,0-3 33,0 3-25,0-4 16,0 4-22,0-3 58,-3 3-28,3 0 28,0-3-36,0-1 37,0 4-26,0-3 28,0 3-30,0 0 18,0-3-9,0 3 12,0-4-17,0 1-2,0 3 8,0-3-4,0 3-29,0-4 20,-3 4-26,3-3-2,0 3 25,0-3-27,0 3 30,0-4-13,0 4 5,0-3-7,0 3 7,0-3 1,0 3-2,0-4 1,0 4-1,0-3 0,0 3 0,0-4 1,0 4-2,0-3 3,0 3-2,-4-3-1,4 3 4,0-4-4,0 1 4,0 3 4,0 0-3,0-3 4,0-1-7,0 4 22,0-3-16,0 3 19,0-3-22,0-1-3,0 4 4,0-3-3,0 3 1,0-3 2,0 3-3,0-4 2,0 4 1,0-3-1,-3 0 2,3 3-11,0 0 8,0-4-8,0 4 9,0-3-11,0 3 8,0-3-10,0 3-4,0-4 10,0 4-9,0-3 12,-3 0-5,3 3 3,0 0-4,0-4 4,0 1 1,0 3-2,0-4 1,0 4 0,0-3 0,0 3 1,0-3-2,0 3 3,-4 0-2,4-4 4,0 4-4,0-3 2,0 3-1,0-3 3,0 3-2,0 0-1,-3-4 1,3 4 3,0 0-3,0-3 4,0 3-5,0-3 0,0 3 0,0-4 1,0 4 0,0-3-1,-4 3 0,4-3 0,0 3 1,0-4-2,0 4 2,0-3-2,0 3 6,0-3-2,0 3 2,0-4-4,0 4 14,0-3-10,0 3 12,0-3-17,0-1 3,0 4-3,0 0 4,0-3 11,0 3-8,0-3 9,0 3-15,0-4 3,-3 4-2,3 0 3,0-3-10,0 3 8,0-4-9,0 4-20,0-3 21,0 3-23,0-3 28,0 3-2,0 0 0,0-4-1,0 4-1,-3-3 6,3 3-6,0 0 4,0-3-5,0 3 8,0-4-6,0 4 7,0 0-4,0-3-1,0 3 2,0-3 2,0 3-2,0-4 3,-4 4-3,4 0 21,0-3-16,0 3 17,0 0-21,0-3 6,0 3-5,0 0 7,-3 0-9,3-4 2,0 1-2,0 3 3,0 0-8,0-3 7,0 3-7,0 0 4,-3-4 3,3 4-4,0-3 4,0 3-8,0 0 6,0-3-8,0 3 7,0-4-14,0 4 11,0 0-11,0-3 14,0 3-15,0-3 10,0 3-12,0 0 19,0-4-5,0 4 5,0 0 0,0-3-4,0 3 5,0 0-7,0 0 5,0-4-4,0 4 3,0 0-3,0-3 16,0 3-12,0-3 15,0 3-16,0 0 10,0-4-8,0 4 6,0-3-1,0 3-3,0-3 3,0 3-9,0-4 5,-4 4-5,4 0 4,0-3-4,0 3 3,0-3-3,0 3 3,0 0-1,0-4 0,0 4 0,0 0-38,0-3 29,0 3-32,0-3 39,0 3-8,0 0 5,0-4-7,0 4 17,-3 0-10,3-3 10,0 3-13,0 0 10,0-3-7,0 3 7,0-4-8,0 4-36,0-3 27,0 3-28,0 0 37,0-3 0,0 3 1,0-4-1,0 4 10,0-3-8,0 3 5,0-4 7,0 4-15,0-3 15,0 3-16,0-3 14,0 3-10,0-4 12,0 4-12,0-3-17,0 0 16,0 3-14,0-4 18,0 4 0,0 0-1,0-3 1,0 3-15,0 0 7,-3-3-7,3 3 7,0 0 3,0-4-3,0 4 2,0 0-10,0 0 7,0-3-6,0 3 9,0-3-13,0 3 8,0 0-10,0-4 29,0 4-14,0 0 15,0-3-18,0 3 12,0 0-8,0-3 9,0 3 23,0-4-24,0 4 27,0 0-32,0-3-90,3 3 21,-3 0-80,0 0 88,0-3-355,3 3 322,-3 0-271,4-4 368,-1 4 0,0-3 0</inkml:trace>
  <inkml:trace contextRef="#ctx0" brushRef="#br0" timeOffset="157">8504 4992 9502,'0'-7'-985,"0"1"927,3 2 58,1 1 54,-1-4 12,4 4 11,-4-4-12,0-3 14,4 3 16,-4 1 13,1-4-16,3 0 0,-4 0 5,4-1 6,-1-2 36,-2 3-63,6 0 30,-7-3-37,4 3 22,3-4-12,-4 1 19,1 3-38,3 0 9,-3 0-11,0 0 16,3 0-48,-4 3-13,4-3 0,-3 3 8,3 0-26,-3 1-23,3-1-16,0 0 22,0 1-12,0-1-14,0 0-21,0-3-122,0 3 78,0 1-116,0-1 112,-3 0-220,0 4 109,-4-4-63,4 7 150,-4-3 141,0 0 0,-3-1 0</inkml:trace>
  <inkml:trace contextRef="#ctx0" brushRef="#br0" timeOffset="158">1828 4627 9175,'3'0'-220,"-3"0"213,0 0 77,0 3-77,0-3 38,0 0-37,0 0 47,-3 0-81,3 4 13,-3-4-75,-1 3-31,1-3 31,0 3-72,-1-3 109,4 0 1,-6 4 64,6-1 0,-4-3 0</inkml:trace>
  <inkml:trace contextRef="#ctx0" brushRef="#br0" timeOffset="159">1811 4634 9502,'0'0'-879,"-3"0"768,3 0 54,0 0 16,0 0 62,-3 0-2,3 0 1,0 0 30,0 0-22,-4 0 24,4 0-27,0 0 41,0 0-27,-3 0 29,3 0-40,0 0 4,-3 0 2,3 3 3,0-3-3,0 3-34,0-3 21,-4 0-22,4 4 8,0-4 16,0 3-17,0-3-3,-3 3 17,3-3-23,0 4 27,-4-4-11,4 3 8,0 0-10,-3-3 6,3 4-21,0-4 17,0 3-15,0-3 12,0 3 3,0-3-4,0 4 6,0-4 30,0 3-22,0 1 23,0-4-30,0 3 7,0 0-6,0 1 9,0-1-16,0-3 9,0 3-8,0 1 13,0-1-6,0 0 8,0 1-8,0-1 13,0 0 6,0 1-4,0-1 3,0 0 2,0 1-13,3-1 13,-3 0-26,0 1 8,4-1-5,-4 1 11,0-1-2,0 0 3,3-3-5,-3 4 5,0-1-42,0 0 28,0 1-31,0-1 33,4 0-27,-4 1 14,0-1-17,0 0 13,0-3 12,0 4-15,0 2 16,0-2-4,0-1 5,3 0-7,-3 1 41,0-1-30,0 0 30,0 1-34,0-1 15,0 1-7,0-1 8,0 0-7,3 1 8,-3-1-2,0 0 6,0 1-32,0-1 14,0 0-18,0-3-16,0 4 28,4 2-30,-4-6 36,0 7-12,0-4 7,0 1-10,0-1 7,3 0 21,-3 1-18,0-1 14,0 0 25,3 4-31,-3-3 35,0-1-35,0 0-27,0 1 26,0-1-25,4 0-24,-4 1 33,0-1-35,0 4 47,0-4-36,3 0 24,-3 1-34,0-1 37,0 0 2,0 1-1,3-1-2,-3 0-4,0 1-4,0-1 3,0 0 2,0-3 4,0 4-2,0-1 3,0 1 4,4-1-7,-4 0 11,0 1-11,0-4 26,0 6-20,0-6 18,0 4-22,0-1 34,0 0-23,0-3 26,0 4-11,0-1-12,0-3 14,0 3-14,0 1-7,3-4 9,-3 3-9,0-3-15,0 3 13,0 1-14,0-4 21,0 3-18,0 0 11,0-3-18,3 4 21,-3-4-48,0 3 31,0-3-32,0 3 34,0-3-22,0 4 13,0-1-17,0-3-9,0 4 26,0-4-30,0 3 36,0-3-14,0 3 9,0-3-13,0 4 24,0-1-16,0-3 16,0 3-17,0-3 32,0 4-21,0-4 24,0 3-15,0-3-5,0 0 7,0 3-47,0-3 27,0 0-31,0 4 40,0-4-11,0 0 6,0 0-8,4 3 6,-4-3-74,0 0 44,0 0-51,0 0 2,0 0-8,0-3-5,0 3-159,0-4 88,0 1-41,0 0 101,0-1 116,-4-2 0,4 2 0</inkml:trace>
  <inkml:trace contextRef="#ctx0" brushRef="#br0" timeOffset="160">1835 4650 8916,'3'4'89,"-3"-1"-122,0 0 0,-3 1 49,3-1-53,0 0 54,0 4-51,-4 0 29,4 3-31,0-3 44,0 3-9,-3 0-4,3 0-3,3 0 75,-3 0 23,0 0 0,4-3-16,-1-1-48,-3 1-8,3 0 19,-3-1-91,0-2 23,4-1-71,-4 0 75,0 1-132,0-4 23,0 0-24,0 3 47,0-3 113,0 0 0,-4 0 0</inkml:trace>
  <inkml:trace contextRef="#ctx0" brushRef="#br0" timeOffset="161">2159 4751 9233,'4'0'-137,"-4"0"227,3 0 175,-3 0-145,0 0 129,0 0-160,0 0-41,0 3 8,0-3-16,-3 4 20,3-1 45,-4 0-33,4 4 34,-3-4-39,0 4-39,-1 0 31,1-1-23,0 1 25,-1 0-33,1 3 20,0 0-29,-1 0-18,1 0-9,0 0-14,-4 3 21,4-3-19,-1 0-10,1 1-18,0-5-47,-1 1 19,1 0 10,0-1-11,-1-2 12,4-1-38,0 0-147,0-3 119,0 0-45,0 0 125,0-3 14,0 3-36,0-3 21,0-1-15,0 1 7,0 0 67,0 3-49,4-4 58,-4 1-65,0 0 53,3-1 6,-3 1 14,0 0-17,3 3 38,-3-7-56,4 3 64,-4 1-62,3 0 4,-3-1-1,3 1 8,-3 0 13,4-1 0,-4 1 2,3-4 0,-3 4-17,3 0 14,-3-1-16,4 1 24,-4 0-16,0 3 19,0-4-25,0 4 65,0-3-41,0 3 86,0 0-83,0 0 25,0 3-32,-4 1-3,1-1 8,0 0-3,-1 4-12,1 0 9,0-1-8,-1 1 10,1 0-13,0-1 11,-1 1-17,1 0 20,-1 0-7,-2 3 3,6-4-6,-4-2-26,4 2 18,-3-2-19,3-1 2,0-3 18,0 3-14,-3-3 9,6 0 9,-3-3-12,0 0 9,3-1-14,-3 1 7,4-4-11,-1 1 71,0-1-41,4-3 45,-3 3-58,-1-3 58,0 0 13,4-3 11,-4-1 47,4 1-26,0 0 0,-4-4 3,4 3-93,-1-2 35,-2-1-30,2 4 38,-2 2-65,-1 1 3,-3 4-17,3 2-60,-3 1 57,0 6-66,0-3 62,0 0-2,0 4 35,0-1-72,-3 0 53,3 1-57,0-4 62,0 3-13,0-3 12,0 3 1,0-3 12,0 4-3,3-4 5,-3 0-8,0 3 0,0-3-6,0 0 4,0 0-19,0 0 12,4 0-8,-4 0 22,0 0-4,0 0 4,3 0-7,-3 0 22,0 0-16,0 0 18,4 0-23,-4 0 30,0 0-22,3 0 25,-3 0-30,3 0 37,-3 0-24,4 0 32,-4 0 21,3 0-20,-3 0 25,3 0-32,1 4-24,-1-4 16,-3 0-13,7 0-34,-4 0 26,-3 0-33,3 3 44,1-3-45,-1 0 31,4 3-39,-4-3 45,0 0-46,1 4 33,-1-1-40,0-3 43,4 3-31,-7 1 23,4-4-24,-1 3-21,0-3 26,1 0-30,-4 0-6,3 0-9,-3 0-51,0 0 43,0 0 0,0 0 47,-3 0 0,3 0 1,-7-3-5,4 3 0,-1-4-13,1 4 12,-4-3-6,4 3 25,-1-3-15,1 3 16,0-4-12,-4 4 40,7 0 23,-3 0-7,-1 0 76,4 0-63,-3 0 78,3 0-79,0 0 46,0 0-31,0 4 22,3-1-19,1 0 32,-1 1-54,4-1 61,-1 0-121,1 1 0,0-4-15,0 3-65,-4-3 69,4 3-79,-1-3 81,-2 0-4,-1 0 43,0 4-9,-3-4 0,4 3 0</inkml:trace>
  <inkml:trace contextRef="#ctx0" brushRef="#br0" timeOffset="162">3552 4979 9502,'-3'3'-967,"3"-3"1001,-3 0 165,3 0-66,0 0-79,0 0-53,0 0 20,0 0-7,0 3 126,0-3 194,0 0-153,0 0 85,0 0-272,0-3-12,0 3 13,0-3 5,0 3-5,0-4-19,0 4 19,0-3-34,0-1 49,0 4-55,0-3 45,0 0-6,3-1 1,-3 1-7,0 3 16,0-3-13,0-1 14,0 1 12,0 3-8,0-3 10,0-1-14,3 1-10,-3 3 8,0-3-7,0-1 10,0 4-18,0-3 13,0 0-13,0 3 1,0 0 11,0-4-13,0 4 14,0-3-2,0 3 0,0 0-5,0 0 26,0-3-20,0 3 22,0 0-23,0 0 3,0 0 0,0 0 1,0-4-5,0 4 4,0 0-2,0 0 3,0 0 1,0 0-5,-3 0 19,3 0-15,0 0 15,0 0-6,0 4 0,0-4 6,0 0-7,-3 0 9,3 0-11,0 0 13,0 3-28,0-3 13,0 0-14,0 0 23,0 0-7,0 0 7,0 0-9,0 0 32,0 0-25,-4 0 24,4 3-30,0-3 8,0 0-5,0 0 5,0 0 11,0 0-12,-3 0 18,3 0-44,0 0 23,0 0-21,-3 0 24,3 0-29,0 0 19,-4 0-22,4 0 27,-3 0-8,3 0 4,-4 0-9,4 0 15,-3 0-8,0 0 7,-1 0-10,4 0 28,-3 4-20,3-4 22,-3 0-20,-1 0-2,1 0 6,3 0-5,-3 0-17,3 0 12,0 0-12,-4 0 17,4 0-16,0 0 11,0 0-17,-3 0 6,3 0 6,0 0-8,0 0 8,0 0-3,0 0-1,0 0-1,-3 0-14,3 0 15,0 0-15,0 0 18,0 0-7,-4 0 5,4 0-6,0 0 2,0 0-2,0 0-36,0 0 61,0 0-50,0 0 58,-3 0 18,3 0-36,0 0 44,0 0-49,0 0 9,0 0-4,0 3 10,0-3-18,0 0 16,0 0-15,0 0 4,0 3 2,0-3-6,0 0 7,0 0 21,0 0-15,0 0 15,0 4-20,3-4 54,-3 0-39,0 0 44,0 0-65,0 3 14,0-3-12,0 0 18,0 0-21,0 0 17,0 0-17,0 0-37,0 0 37,0 3-44,0-3 55,0 0-30,0 0 21,0 0-30,4 4 56,-4-4-27,0 0 25,0 3-32,0-3 47,0 0-31,0 0 34,3 0-37,-3 0 3,0 3 2,0-3-1,0 0-4,0 4 1,0-4 2,3 0 2,-3 3-21,0-3 14,0 0-19,0 0 2,0 3 16,0-3-23,4 4 23,-4-4 27,0 0-20,0 3 23,0-3-31,0 0 8,0 3-5,0-3 9,0 0-20,3 0 11,-3 0-11,0 0 14,0 4-10,0-4 9,0 0-8,0 3 12,3-3-3,-3 0 0,0 4-4,0-4 17,0 0-11,4 0 11,-4 0-16,0 3-11,0-3 9,0 0-7,0 3 11,0-3-13,0 0 8,0 0-9,0 4-1,0-4 10,0 0-11,0 0 11,0 0-3,0 0-3,0 3 1,0-3 16,0 0-9,0 0 12,0 0-15,0 0 43,0 3-28,0-3 31,0 0-33,0 0-5,0 0 7,0 0-5,-4 0 3,4 0-1,0 0 1,0 0 20,0 0-13,-3 4 13,3-4-11,0 0-7,0 0 6,0 0-8,-3 0-17,3 0 13,0 0-10,-4 0 17,4 0-33,0 0 24,-3 0-29,3 0 6,-3 0 18,3 0-23,-4 0 12,4 3 4,-3-3-7,0 0 9,3 0 22,-4 0-18,4 0 16,-3 0-18,3 0 13,-3 3-9,3-3 11,-4 0-10,1 0 33,0 0-22,3 0 24,-4 0-10,1 0-15,3 0 19,-4 0-10,1 0-5,3 0 5,-3 0-5,3 0-12,-4 0 10,1 0-10,3 0 10,-3 0-7,3 0 4,-4 0-2,4 0 4,-3 0-18,3 0 9,-3 0-13,3 4 13,-4-4 5,4 0-5,-3 0 6,3 0-15,-3 0 10,3 0-10,-4 0 0,4 0 7,-3 0-7,3 0 9,-3 0-3,3 0 1,-4 0-1,4 0 11,-3 0-5,3 0 6,-3 3-10,3-3-2,-4 0 2,1 0-1,3 0 3,0 0-14,-3 0 10,3 0-10,-4 0 19,4 0-4,-3 0 4,3 0-6,0 0-15,-4 0 10,4 0-11,-3 0 13,3 0-12,-3 0 9,3 3-9,0-3 11,-4 0-2,4 0 2,-3 0-2,3 0-6,-3 0 4,3 0-5,-4 0 1,4 0 4,-3 0-5,3 0 6,-3 4-3,3-4 3,-4 0-2,4 0 2,0 3 16,-3-3-12,3 0 14,-3 0-16,3 0 0,-4 0 1,4 0 0,-3 0-4,3 3 4,-3-3-3,3 0-10,-4 0 9,4 0-9,-3 0 11,3 0-6,-3 4 5,3-4-7,0 0 7,-4 0-4,4 0 3,-3 0-5,3 0 18,0 0-12,0 0 13,-3 0-14,3 0 2,0 0-1,-4 0 3,4 0-3,0 0 2,0 0-2,0 0 2,0 0-9,-3 0 7,3 0-6,0 0 8,0 0-42,0 0 29,0 0-41,0 0 46,-4 0-11,4 0 5,0 0 0,0 0-1,0 0 2,0 0 3,-3 0-4,3 0 4,0 0-2,0 0 1,0 0-1,-3 0 2,3 0 1,0 0 3,0 3 0,-4-3 1,4 0-28,0 0 16,0 0-18,0 0 35,0 0-14,0 0 45,0 0-31,0 0 23,-3 0-20,3 0-3,0 0-1,0 0 7,0 0-19,0 0 13,0 0-19,-3 0 15,3 0-5,0 0 33,0 0-19,0 0 32,0 0-53,0 0 21,0 0-25,-4-3 21,4 3-18,0 0 12,0 0-16,0 0 18,0 0-24,0 0 17,0 0-19,0-4 21,0 4-8,0 0 6,0 0-8,0 0 4,0 0 0,0-3-5,0 3 7,0 0-3,0 0 4,0 0 15,0 0-11,0 0 13,0 0-16,0 0 15,0 0-11,0-3 13,0 3-23,0 0 7,0 0-6,0 0 10,0 0-19,0-4 14,0 4-14,0 0 9,0 0 5,0 0-7,0 0 8,0 0 5,0-3-4,0 3 2,0 0-4,0 0 12,-3 0-9,3 0 11,0 0 0,0-3-9,0 3 11,0 0-11,0 0 0,0 0 1,0 0 1,-3 0-3,3 0 3,0 0-3,0-4 2,0 4-7,0 0 4,0 0-3,-4 0 4,4 0-1,0 0-1,0 0 0,0 0 7,0 0-3,0-3 3,0 3-5,-3 0 6,3 0-5,0 0 8,0 0-4,-3 0-2,3 0 3,0 0-4,0 0 2,0 0 0,-4 0 0,4-3 0,0 3-1,0 0 1,-3 0-1,3 0 0,0 0 0,0 0 0,0 0 0,0 0-12,0 0 9,0 0-8,-3 0 10,3 0-12,0 0 9,0 0-10,0 0-31,0 0 29,-4 0-35,4 0 50,0 0-11,0 0 12,0 0-15,0 0-6,0 0 21,-3 0 72,3 0-72,0 0 60,0 0-104,0 0 24,0 0 15,0 0-1,0 0 5,0-4-7,0 4 5,0 0-3,3 0 7,-3 0-11,0 0 7,0 0-6,0 0 5,0-3-2,0 3 0,4 0 0,-4 0 2,0-3-2,0 3 2,0 0-3,0 0-4,0 0 4,0 0-3,3-4 3,-3 4-7,0 0 5,0 0-5,0 0 9,0 0-2,0 0 1,0-3-2,0 3 14,0 0-9,0 0 10,0 0-9,0 0-3,0-3 16,0 3-11,0 0 22,0 0-19,0 0 11,0 0-13,0 0 2,0 0 16,0 0-12,-3 0 13,3 0-17,0 0 3,0 0-2,-4 0 4,4 0-3,0 0 4,-3 0-1,3 0 1,0 0 0,0 0 12,-3 0-5,3 0 7,0 0-28,-4 0 10,4 0-12,0 0 6,-3 3 6,3-3-6,0 0 6,-4 0 0,4 0-1,0 0 1,0 0 0,-3 0-3,3 0 1,0 3-2,0-3 1,-3 0 5,3 0-4,-4 0 5,4 0 13,0 0-12,0 0 13,0 0-21,0 0 4,-3 0-3,3 0 4,0 4 1,0-4-1,-3 0 3,3 0-2,0 0-7,0 0 4,-4 0-6,4 0 7,0 0 2,0 0-1,-3 0-1,3 0 5,0 0-6,0 0 5,0 0 20,0 0-16,-3 3 19,3-3-25,0 0 39,0 0-28,0 0 33,-4 0-40,4 0 25,0 0-17,0 0 18,0 0-20,-3 0 3,3 0-3,0 0 3,0 0-20,0 0 17,0 0-18,-3 0-27,3 0 33,0 0-40,-4 0 49,4 0-35,0 0 24,0 0-31,-3 0 34,3 0-19,0 0 13,0 0-14,-3 0 13,3 0-3,0 0 2,0 0 21,0 0-14,-4 0 16,4 0-20,0 0 12,-3 0-8,3 0 11,0 0-13,0 0 47,-3 0-33,3 0 39,0 0-48,0 0-9,-4 0 7,4 0-6,0 0-11,-3 0 20,3 0-20,0 0 2,0 0 12,-3 0-15,3 0 19,0 0-22,0 0 13,-4 0-16,4 0 15,0 0 3,0 0-6,0 0 4,-3 0 0,3 0 2,0 0-1,0 0 2,-4 0 12,4 0-11,0 0 11,0 0 4,0 0-11,0 0 12,0 3-14,-3-3 6,3 0-3,0 0 5,0 0-6,-3 4-3,3-4 4,0 0-4,-4 0 12,4 0-6,0 0 7,0 3-9,-3-3-12,3 0 9,0 3-11,0-3 8,-3 0 3,3 0-3,0 4 3,0-4 7,-4 0-6,4 0 7,0 0-8,0 3-7,-3-3 5,3 0-6,0 0 9,-3 3 11,3-3-8,-4 0 9,4 0-2,-3 4-6,3-4 8,0 0 2,-3 0-10,3 3 11,0-3-11,0 0-3,-4 0 3,4 0-3,0 0 4,0 0 35,0 0-24,-3 0 27,3 3-34,0-3-7,0 0 5,0 0-5,0 0-17,-3 0 18,3 0-19,0 0 11,0 4 9,-4-4-11,4 0 14,0 0-13,-3 0 10,3 0-14,0 0 13,0 0-6,-3 0 4,3 0-5,0 0 4,0 0 18,0 0-13,-4 0 16,4 0 10,0 0-19,0 0 21,-3 0-26,3 0-1,0 0 3,-3 0 0,3 0-5,0 0 5,-4 0-5,4 0 6,0 0-29,-3 0 21,3 0-23,-4 0 29,4 0-26,-3 0 17,3 0-22,0 0 21,-3 0-2,3 0 0,-4 0 30,4 0-20,-3 0 22,3 0-28,0-4 1,-3 4 2,3 0 0,-4 0-1,4 0 18,0 0-11,-3 0 12,3 0-10,-3 0-6,3-3 7,-4 3-4,4 0-14,-3 0 11,3 0-12,0 0 1,-3 0-3,3 0-1,-4 0 1,1-3 2,3 3 4,-3 0-6,3 0 8,-4-4 4,4 4-7,-3 0 5,3 0-13,-3 0 8,3 0-5,-4 0 6,4-3 1,-3 3-1,3 0 1,0 0 3,-3 0-3,3 0 4,-4 0-4,4 0-6,0-3 4,0 3-3,-3 0 4,3 0-32,0 0 22,0 0-24,-4-4 31,4 4-15,0 0 9,0 0-12,-3 0-2,3-3 12,0 3-17,-3 0 33,3-3-15,-4 3 13,4 0-16,-3 0 14,3 0-9,-3 0 11,3-4-13,-4 4 0,4 0 1,-3 0 2,0-3-2,3 3 4,0 0-3,-4-3 2,4 3 5,-3 0-6,3 0 5,-3 0 3,3 0-5,0-4 6,-4 4-8,4 0 8,0 0-5,-3-3 7,3 3-8,-3 0 3,3-3-2,0 3 2,-4 0-2,4 0-18,0 0 13,-3 0-15,3-4 5,-3 4 9,3 0-10,-4-3 13,4 3 0,0 0-2,-3 0 0,3 0 9,-3-4-6,3 4 7,-4 0-11,4 0 6,0 0-3,-3 0 5,3 0-6,0 0 2,-4 0-1,4-3 1,-3 3 6,3 0-3,0 0 4,-3 0-2,3 0-3,-4 0 3,4 0-4,0-3 1,-3 3 0,3 0 1,-3 0-2,3 0-29,0 0 21,-4 0-21,4-4 28,-3 4-29,3 0 17,-3-3-20,3 3 37,-4 0-8,4 0 10,0 0-8,-3-3-4,3 3 4,0 0-8,-3-4 13,3 4-7,0 0 8,0 0-8,-4-3-5,4 3 8,0 0-6,0 0 11,0 0 1,0-3-3,-3 3 2,3 0-14,0-4 10,0 4-10,-3 0 12,3-3-17,-4 3 9,4 0-9,0-3-17,-3 3 19,3-4-20,0 4 25,0-3 12,-3 3-11,3-3 11,-4 3-13,4-4 7,0 4-8,0-3 7,0 3-5,-3-3 0,3 3 3,0-4-37,0 1 25,0 3-26,0-3 32,0 3 7,0-4-5,0 4 5,-3-3-8,3 3 15,0-4-13,0 1 14,0 3-4,0 0 5,0-3-1,0 3-2,-4-4 4,4 4-11,0 0 18,0-3 17,-3 3-18,3-3 24,0 3-33,-4 0 51,4-4-37,0 4 38,-3-3-42,3 3-2,-3-3 4,3-1 0,0 4-23,-4-3 19,4 3-18,-3-3 22,3 3-13,-3-4 7,3 4-9,-4-3-10,4 3 16,-3 0-21,3-3 22,0 3-16,0 0 11,0 0-12,-3 0 12,3 0-21,0-4 16,0 4-18,0 0 24,-4 0-5,4 0 4,0 0-3,0 0-19,0 0 12,-3 0-13,3 0 21,0 0-2,-3 0 0,3 0-2,-4 0-2,4 0 1,0 0-2,-3 0 3,3 0 11,0 0-7,-3 0 9,3-3-12,-4 3 11,4 0-8,-3 0 8,3 0-43,0 0 26,-3 0-27,3 0 18,-4-3 11,4 3-13,-3 0 14,3 0-6,-3 0 5,3 0-9,0 0 4,0 0 21,-4 0-16,4-4 18,0 4 3,-3 0-20,3 0 22,0 0-24,-4 0 22,4 0-15,0 0 21,0 0-46,-3 0 23,3 0-22,0 0 25,-3 0-35,3 0 25,0 0-27,-4 0 30,4 0-24,0 0 14,0-3-16,-3 3-1,3 0 6,0 0-14,0 0 16,0 0-32,0 0 30,0 0-33,-3 0 84,3 0-39,0 0 29,0 0 9,0 0-50,0-3 57,0 3-2,0 0-21,0 0 36,0 0-32,0-4-12,0 4 19,0 0-18,0 0 7,0 0-4,0 0 4,0 0-33,0 0 25,0-3-26,0 3 28,0 0 9,0 0-8,0 0 7,0-4-11,0 4 28,0 0-22,0 0 23,0-3 1,0 3-18,0 0 21,0 0-23,0 0-4,0-3 4,0 3 1,3 0-9,-3 0 11,0 0-10,0 0 10,0 0-41,0-4 28,0 4-33,0 0 41,0 0-30,0 0 20,0 0-25,0-3 23,0 3-2,0 0 0,0 0 0,0 0-10,0-3 6,3 3-9,-3 0 3,0-4 8,0 4-9,0 0 11,0 0 19,0 0-16,4 0 19,-4-3-23,0 3 11,0 0-7,0 0 6,0 0-8,0-3-6,0 3 5,3 0-4,-3 0-17,0 0 18,0 0-24,0 0 14,0 0 4,0-4-4,0 4 12,0 0-2,0 0-1,3 0-1,-3 0 25,0 0-16,0 0 20,0 0-28,0-3 17,0 3-12,0 0 16,0 0-17,0 0 5,0 0-2,0-3 1,0 3 5,0 0-4,0 0 4,0 0 2,4 0-6,-4 0 6,0 0-10,0-4 36,0 4-25,0 0 27,0 0-8,0 0-17,0 0 22,0-3-25,0 3 5,0 0-3,0 0 5,0 0-11,0 0 9,0 0-8,0-3 8,0 3-9,0 0 5,0 0-5,0-4 5,0 4-1,0 0-1,0 0-1,0 0-1,0-3 4,0 3-5,0 0 4,0 0 26,0-3-19,0 3 21,0 0 14,0-4-27,0 4 30,0 0-36,0 0 16,0 0-7,0 0 10,-4-3-10,4 3-19,0 0 15,0 0-12,0 0 1,0-3 9,0 3-10,-3 0 13,3 0-59,0-4 39,-3 4-44,3 0-114,0 0 35,0-3-60,-4 3 99,4 0 89,0-4 0,-3 4 0</inkml:trace>
  <inkml:trace contextRef="#ctx0" brushRef="#br0" timeOffset="163">2344 4808 9502,'3'-4'-791,"-3"4"829,0 0-35,0 0 113,0 0-7,0 0-41,0 0 56,3 0-18,-3 0 20,0 0 0,0 0-13,0 0-40,0 0 33,0 0-30,0 4 39,0-4-37,0 0-28,0 3 22,0-3-33,0 3 31,0-3-52,0 4 37,0-1-40,0 1 0,0 2 29,-3-2-32,3-1-2,0 4-16,-3-1-4,3 4 9,0-3-2,-4 3 34,4-3-43,-3 3 46,3 0-79,0 0 55,-3 3-63,3-3 58,0-3 0,-4 3-10,4 0 14,-3 0 6,3 0-3,0-3 6,0 0 4,0 3-9,-3-7 11,3 4-11,0-1-45,-4-2-8,1 2-4,3-2 10,-4-1-10,4 0 33,-3 1-39,3-1 42,-3 1-52,3-1-28,-4-3 6,4 3-22,0 1 90,0-4-69,0 0 57,0 0 8,0 0-1,0 0 35,4-4-39,-1 1 12,-3 0 0,3-1 6,-3 1-6,0 3-8,4-4 11,-4 1-9,0 0 7,3-1-32,-3 4 19,0-3-23,0 3 42,4-3-12,-4-1 14,0 4 18,0-3-23,0 3 23,0 0-34,3-3 60,-3 3 19,0-4 3,0 4 52,0 0-106,0 0 64,0 0-57,0 4 16,0-1 0,0 0-6,0 1-3,0-1-3,0 0 4,-3 4-4,3-4-30,0 4 20,0-3-27,-4-1 31,4 4-31,0-4 22,-3 0-20,3 1 26,0-1-42,0-3 30,0 3-38,0-3-56,0 0 63,0 0-78,0 0 96,0-3-15,0 0 11,0-1-12,0 1 11,0 0 31,3-1-22,-3 1 27,4 0-32,-4-1 52,0 4-37,0-3 45,3 3 8,-3-4-36,0 4 40,0 0-35,0-3 20,0 3-6,0 0 13,0 3-33,0 1-4,0-4 3,0 3-6,0 1 17,0 2-6,0-2 7,0-1-14,0 0 30,0 1-25,-3-1 24,3 0 2,0 1-14,0 2 19,0-2-24,0-4-10,0 0 5,0 3-62,0-3-36,0 0-65,0 0-152,0 0 170,3-3-75,-3 3 199,0-7 0,3 4 0</inkml:trace>
  <inkml:trace contextRef="#ctx0" brushRef="#br0" timeOffset="164">1845 4804 9502,'0'7'-882,"0"-4"866,3 1 26,-3-1 148,0 1-60,0-1 22,0 0-64,0 1-23,3 2 17,-3-2-19,0 2 17,0-2-46,0 2-7,0-2-9,0 2 15,0-2-39,0-1 54,0 4-58,0-4 16,0 4 35,0-4-41,0 1 37,0-1 11,0 4-18,0-4 15,0 0 4,0 1-3,0-1 7,4 4-14,-4-4-14,0 0 12,0 1-9,3-1 14,-3-3-36,0 3 25,4 1-28,-4-1 45,3-3-8,-3 3 5,0-3-4,3 4-5,-3-4 1,0 0-7,0 0 0,4 3-1,-4-3 5,0 3 3,0-3-8,0 0 8,0 4-6,0-4 8,0 3-12,0-3 9,0 4-9,0-4 1,0 0 4,3 3-9,-3-3 10,0 3-5,0-3 4,0 4-2,0-4-2,0 3 4,0 0-4,0 1 4,0-4 0,0 3-1,0 0 1,0 1-1,0-4 1,0 3-1,0-3 2,0 3-11,0 1-6,0-4 1,0 3-46,0-3 44,0 3-34,0-3 41,0 4-22,0-4 12,0 3-15,0-3 18,0 3-25,0-3 14,0 0-17,0 4 21,0-4 6,0 3-8,0-3 4,0 0 27,0 3-21,0-3 26,0 4-7,0-4-14,3 3 17,-3-3-21,0 0 15,0 0-9,0 4 12,4-4-12,-4 0-29,0 0 22,0 0-20,3 0 7,-3 0 14,0 0-15,0 0 21,3-4-4,-3 4 1,0 0-3,0-3 29,4-1-22,-4 4 22,0-3-29,3 0 39,-3 3 13,0-4 7,0 4-12,0-3 38,0 3-53,3 0 63,-3 0 23,0-3-51,0 3 92,-3 3-98,3-3 13,-3 3-15,3 1 26,-4-1-7,1 0 13,0 1-47,-1 3 6,-2-4-10,6 0 19,-4 4-67,1-4-25,0 1-17,3-4 11,-4 3 54,1-3 0,3 3 0</inkml:trace>
  <inkml:trace contextRef="#ctx0" brushRef="#br0" timeOffset="165">2745 4821 10949,'4'0'379,"-4"0"-329,0 0 30,0 0-35,3 0 49,-3 0-42,0 0 23,3 0-43,-3 0 21,4 0 17,-4 4-17,3-4 20,0 0-53,1 0 29,-4 3-33,3-3 21,1 0 20,-1 0-21,0 3 25,1-3-29,-4 0 19,3 0-18,0 4 23,1-4-64,-4 0 44,3 3-59,-3-3 30,3 0 21,1 0-24,-4 3 42,3-3 20,0 0-18,-3 4 15,0-4-27,4 0-3,-4 0 4,3 0-6,-3 3-2,0-3 6,0 0-2,3 0 10,-3 3-62,0-3 45,4 0-50,-4 0 59,0 0 4,3 4-9,-3-4 7,0 0-46,3 3 28,-3-3-33,0 0 47,4 3-13,-4-3 12,0 0-10,0 4-11,0-4 9,3 0-7,-3 3 13,0-3-23,3 0 15,-3 0-19,0 3 16,0-3-34,0 0 21,0 0-23,4 4 3,-4-4 23,0 0-28,0 0 14,0 0 7,3 3-11,-3-3 13,0 0 8,4 0-6,-4 0 5,0 3-7,0-3 0,3 0-1,-3 0 1,0 4-1,0-4 2,3 0-1,-3 0-6,0 3 6,0-3-5,0 0 6,4 3-6,-4-3 4,0 0-4,3 4 4,-3-4 4,0 0-4,0 3 2,3-3-3,-3 4 45,0-4-31,4 0 34,-4 3-23,3-3-12,-3 3 14,3-3-25,-3 4 5,0-4-3,4 0 8,-4 0-27,0 3 20,3-3-22,0 3 28,-3-3-23,0 4 17,0-4-22,4 0 24,-4 3-15,3-3 10,0 3-13,-3 1 18,0-4-9,4 3 9,-4-3 4,3 0-8,-3 3 10,3-3-11,-3 4 25,0-4-18,4 3 22,-4-3-26,3 0 7,0 3-4,-3-3 4,4 4-3,-4-4 3,3 3-3,-3-3 6,4 0-9,-4 0 5,3 0-5,-3 3-4,0-3 5,3 0-6,-3 0 7,0 4-14,4-4 11,-4 0-12,3 0 13,-3 3-6,0-3 5,3 0-5,-3 3 5,0-3 8,4 0-6,-4 0 5,3 0 7,-3 0-11,3 4 13,-3-4-22,4 3 5,-4-3-4,3 0 9,-3 4-7,3-4 6,-3 0-6,4 0 6,-4 3-35,0-3 23,3 0-25,-3 3 28,0-3-9,3 0 5,-3 4-9,4-4 3,-4 0 4,0 0-6,3 0 9,-3 3 11,3-3-9,-3 3 9,0-3 0,4 0-8,-4 4 10,3-4-10,-3 0 3,3 0 1,-3 3 0,0-3-1,4 3 1,-4-3 0,3 0 0,-3 4-12,0-4 7,4 0-7,-4 3 10,3-3-8,-3 0 5,0 0-6,3 0 11,-3 3-3,0-3 3,4 0-5,-4 0-3,3 0 2,-3 0-1,3 0 2,-3 4 2,4-4-1,-4 0 0,3 0-17,-3 0 12,0 0-12,3 3 14,1-3 1,-4 0-1,0 0-1,3 0 10,-3 0-9,3 0 9,-3 0-10,0 3 13,4-3-9,-4 0 10,0 0-12,3 0 10,-3 0-5,3 0 5,-3 0-3,0 0-3,4 0 5,-4 0-3,3 0 1,-3 0 0,0 0-2,3 0-14,-3 0 10,4 0-11,-4 0 15,0 0-32,3 0 23,-3 0-25,0 0 30,3 0 3,-3 0-2,4 0 0,-4 0 3,3 0-8,-3 0 7,0 0 7,4 0-9,-4-3 10,3 3-13,-3 0 13,3 0-9,-3 0 13,0 0-13,4 0-22,-4 0 17,3 0-18,-3 0 23,0 0-6,3 0 4,-3 0-8,4 0 10,-4 0-6,3-3 5,-3 3 2,0 0-4,3 0 3,-3 0-5,0 0 13,4 0-8,-4 0 10,0 0-12,0 0 11,3-4-8,-3 4 11,0 0-12,0 0 7,3 0-6,-3 0 4,4 0-34,-4 0 23,0 0-23,3 0 10,-3 0 12,0 0-15,3 0 18,-3 0 3,0 0-2,0-3-1,4 3-6,-4 0 19,0 0-14,3 0 15,-3 0-16,0 0 16,3 0-11,-3 0 13,0 0-28,0 0 10,4 0-5,-4 0-15,0 0 20,3-3-21,-3 3 22,0 0-10,3 0 5,-3 0-7,0 0 4,0 0 19,4 0-17,-4 0 17,0 0-20,3-4 16,-3 4-12,0 0 13,4 0 7,-4 0-13,0 0 18,3 0-18,-3 0 2,0 0 0,0 0-1,3 0 1,-3 0 1,0 0-1,4-3-1,-4 3-22,0 0 15,0 0-16,3 0 21,-3 0-12,0 0 7,0 0-8,0 0 24,0 0-10,0 0 10,0 0-11,3 0-4,-3 0 4,0 0-2,0 0 12,0 0-8,0-3 10,4 3-12,-4 0 4,0 0 0,0 0 1,0 0-2,0 0-15,3 0 11,-3 0-12,0 0 15,0 0 0,3 0-2,-3 0 9,0 0-8,0 0 8,0 0-9,0 0 10,4 0-7,-4 0 6,0 0-9,0 0 0,0 0 1,0 0 1,3 0 1,-3 0 8,0 0-7,0 0 6,0 0-9,0 0 2,0 0-1,3 0 0,-3 0-11,0 0 8,0 0-9,0 0 12,0 0 1,0 0-2,4 0 1,-4 0-12,0 0 8,0-4-7,0 4 9,3 0 14,-3 0-9,0 0 9,0 0-13,0 0 11,3 0-7,-3 0 9,0 0-7,0 0-2,0 0 3,4 0 2,-4 0-4,0 0 5,0 0-5,3 0-13,-3 0 9,0 0-12,0 0 15,0 0-17,0 0 12,3 0-15,-3 0 18,0 0-1,0 0 0,0 0-1,0 0-9,0 0 5,0 0-6,0 0 7,0 0 1,4 0-34,-4 0-5,0 0-34,0 0 27,0 0 13,0 0 19,3 0 35,-3 0-25,0 0 23,0 0-30,0 0 10,0 0-7,0 0 9,0 0 4,3-3-2,-3 3-10,0 0 5,0 0-10,0 0 12,0 0-12,0-3 7,0 3-8,0 0 8,4 0-7,-4 0 5,0 0-5,0 0 17,0-4-9,0 4 10,0 0-12,0 0 11,3 0-7,-3 0 5,0 0-12,0 0 4,0-3-4,4 3 7,-4 0 3,0 0-3,0 0 4,0 0-4,0 0 0,0-3 1,0 3-1,3 0-2,-3 0 7,0 0-6,0 0 6,0 0-21,0 0 12,0 0-13,0 0-2,0 0 11,0 0-12,0 0 18,3 0 34,-3 0-28,0-4 29,0 4-37,0 0 3,0 0-1,4 0 0,-4 0 62,0 0-40,0 0 46,0 0-46,0 0 66,3 0-45,-3 0 57,0 0-68,0 0-30,0 0 27,0 0-34,0 0 1,0 4 22,3-4-29,-3 0 34,0 0-34,0 0 22,0 0-26,0 0 32,0 0-31,0 0 22,4 3-30,-4-3 33,0 0-9,0 0 8,0 0-5,0 0 10,0 3-7,0-3 8,0 0-1,0 0-6,0 0 6,0 0-6,0 0 5,0 4-3,0-4 5,0 0-6,0 0 4,0 0-3,0 0 3,0 0-3,0 0 0,3 0 0,-3 0 0,0 3 0,0-3 0,0 0 0,0 0-6,0 0 4,0 3-3,0-3 4,0 0 1,0 0 0,0 0 0,0 4-1,0-4 1,0 0 0,0 0 1,3 0 7,-3 0-6,0 0 8,0 0 0,0 0-7,0 3 9,0-3-10,0 0 16,0 0-11,0 0 14,0 3-17,4-3-7,-4 0 5,0 0-5,0 0-17,0 0 10,0 0-15,0 4 18,3-4 3,-3 0 3,0 0-5,0 0 35,0 0-24,0 3 25,0-3-32,0 0 20,3 0-13,-3 0 15,0 0-16,0 0-3,0 3 7,0-3-4,0 0-16,0 0 13,0 0-15,4 0 21,-4 0-46,0 4-12,0-4-7,0 0-16,0 0 56,0 0-19,0 0 17,0 3 50,0-3-41,0 0 40,0 0-48,3 0 39,-3 0-29,0 3 29,0-3-2,0 0-5,0 0 20,0 0-20,0 4 27,0-4-30,0 0 36,0 0 1,0 0-19,0 3 21,0-3-31,0 0-7,0 0 5,0 0 3,0 0-73,0 3-9,0-3-204,3 0-340,-3 0 53,0 0-7,0 0 318,0 0 243,0 0 0,4 0 0</inkml:trace>
  <inkml:trace contextRef="#ctx0" brushRef="#br0" timeOffset="166">8397 5330 9502,'0'3'-120,"0"1"55,0-1 71,0 0-45,0 1 38,0-1-78,0-3 63,0 3 34,0-3 16,0 4 98,0-4-46,0 0 52,0 0-67,3 0 7,1 0-1,-1-4-7,0-2 7,4-4-17,0 0 7,3-7-38,-4 4 35,4-4-26,0-3-30,1-4 41,-1 1-49,3-1 60,-3-2-45,3-1-16,-3-3-8,4 0 9,-4-1-22,0 1 49,-3 4-59,-1 2-51,-2 4 10,-1 0-96,0 3 86,-3 4-134,0 3 64,0 3-85,0 4-82,0-1 94,0 4-11,0-3 118,-3 3 119,0 0 0,-4 0 0</inkml:trace>
  <inkml:trace contextRef="#ctx0" brushRef="#br0" timeOffset="167">2417 5149 8355,'0'0'81,"0"-3"28,0 3 84,0 0-59,0 0-25,0 0-56,0 0-10,0 0-20,0 0 34,0 0 40,0-3-15,0 3 39,0 0-34,0 0 4,0 0 6,4 0 2,-4 0-38,0 0 16,0 0-12,3 0 6,-3-4-52,3 4 47,-3 0-42,0 0-11,4 0 38,-4 0-49,3 0-2,-3-3 6,0 3-31,3-3 34,-3 3-37,4 0 49,-4-4-59,3 4 66,-3-3-24,3 3 17,1-4-17,-4 4 13,0-3-10,3 3 10,0-3-8,-3 3 4,4-4 2,-4 4-3,3-3 4,-3 3 2,0 0-2,3-3 2,-3 3-21,4 0 14,-4-4-14,3 4 19,-3 0-32,0-3 23,0 3-27,4-3 31,-4 3-31,0 0 23,3-4-25,-3 1 3,0 3 13,0-3-16,0 3 20,3-4 3,-3 4-6,4-3 4,-4 3 52,0-3-38,0 3 43,3 0-55,-3-4 24,0 4-17,3-3 21,-3 3-22,0 0-7,0 0 5,0-3-3,4 3-12,-4 0 18,0-4-18,0 4 20,0-3-34,3 3 23,-3 0-26,0-3 10,0 3 15,3-4-21,-3 4 18,0 0 1,4-3-1,-4-1 4,0 4-3,3 0-2,-3-3 0,0 3 0,0 0 9,3-3-5,-3 3 7,0 0 17,0-4-18,0 4 21,0 0-24,0 0 18,0-3-10,0 3 12,0 0-15,0-3 16,0 3-9,0 0 12,0-4-12,0 1-20,4 3 17,-4 0-15,0-3-3,0-1 12,0 4-15,0 0 18,0-3-3,0 3 0,0 0-2,0-3 20,0 3-17,0 0 18,0-4-21,0 4 27,0 0-18,0 0 20,0-3-20,0 3 34,0 0-19,0 0 22,0-3-20,0 3-11,0 0 14,0-4-11,0 4 18,0-3-13,0 3 13,0-3-37,0 3 17,0-4-15,0 4 18,0-3-38,0 3 24,0-3-29,0 3 35,0-4-13,0 4 6,0-3-8,0 3-28,0-4 31,0 4-34,0 0 9,0 0 18,0-3-20,0 3 23,0-3-9,0 3 1,0 0-5,0-4 10,0 4 8,0-3-5,0 3 6,0 0-9,0 0 11,0-3-8,0 3 9,0-4-5,0 4-2,0 0 2,3-3-19,-3 3 11,0 0-11,0 0 16,0 0-22,0-3 15,0 3-19,0 0 23,3 0 6,-3 0-5,0-4 4,0 4-8,0 0 14,0 0-10,0-3 11,4 3 36,-4 0-34,0 0 37,0 0-30,3-3-12,-3 3 17,0 0-18,0 0 17,3 0-11,-3 0 15,4-4-14,-4 4-14,0 0 8,0 0-10,3 0 16,-3 0-19,0 0 13,0 0-18,0 0 1,0 0 10,0 0-12,0 0-13,4 0 24,-4 0-27,0 0 30,0 0-22,0 0 15,0 0-16,3 0 18,-3 0-16,0 0 12,0 0-14,0 0 11,0 0 14,3 0-13,-3 0 14,0 0-29,0 0 13,0 0-12,0 0-4,0 0 14,4-3-14,-4 3 18,0 0 5,0 0-7,3 0 6,-3 0-11,0 0 32,0-3-22,3 3 23,-3 0-30,0 0 33,0 0-23,0 0 26,4 0 0,-4 0-21,0 0 27,0 0-12,0 0-7,0 0 9,3 0-13,-3 0 2,0 0 0,0 0 1,0 0-2,0 0 7,0 0-4,3 0 16,-3 0-12,0 0 11,0 0-10,0 0 0,0 0-3,0 0-3,0 0 21,0 0-14,0 0 15,0 0-20,0 3 15,4-3-11,-4 0 13,0 3-13,0-3 18,0 0-12,0 4 13,0-4 35,0 0-36,0 3 43,0-3-11,0 0-24,3 3 26,-3-3-32,0 0-1,0 4 3,0-4-2,3 0 4,-3 3-50,0-3 37,0 0-35,0 3 43,4-3 8,-4 4-9,0-4 5,0 3-3,0-3-3,3 3 2,-3-3-22,0 4 11,3-4-16,-3 3 19,0-3-1,0 3 1,4-3 3,-4 0-3,0 4-19,0-4 14,3 3-15,-3-3-7,0 4 18,0-4-22,3 0 23,-3 0-15,0 3 9,4-3-10,-4 3-16,0-3 22,3 4-27,-3-4 31,0 0 53,3 3-38,-3-3 41,4 3-55,-4-3 8,3 4-4,-3-4 10,0 0 3,4 0 18,-1 0-11,0 3 11,-3-3-33,4 0 14,-4 0-12,3 0 5,-3 0 2,0 3-4,3-3 6,-3 0 1,4 0-2,-4 0-2,3 4 1,-3-4-38,0 0 28,3 0-25,-3 0 19,0 0-8,4 3 1,-4-3-7,0 0-8,0 0 17,3 0-18,-3 3-17,0-3 30,0 0-35,3 0 42,-3 4-8,0-4 5,0 0-8,4 0 6,-4 3 7,0-3-6,3 0 7,-3 0-13,0 0 38,3 3-25,-3-3 27,4 4-26,-4-4-5,3 0 9,-3 3 10,0-3-9,0 0 11,3 3-13,-3-3-8,0 0 7,4 0-7,-4 4 7,0-4-15,3 0 10,-3 0-11,0 0 12,0 3-10,3-3 5,-3 0-6,4 0 11,-4 0-1,0 0 1,3 3-2,-3-3 0,4 0 0,-4 0-1,0 0 5,3 4-2,-3-4 2,3 0-3,-3 0 20,4 3-13,-4-3 13,0 0-15,3 0-7,0 4 7,-3-4-6,4 0-6,-4 0 7,0 0-8,3 0-9,0 0 13,-3 3-15,0-3 20,4 0-21,-4 0 13,3 0-15,-3 0 16,0 3-3,3-3-1,-3 0-2,4 0 0,-4 0 4,3 4-4,-3-4 4,3 0-28,-3 0 21,4 3-23,-4-3 42,3 0-14,-3 0 14,3 3-16,1-3 48,-4 4-33,0-4 36,3 3-45,0-3 9,-3 0-4,0 3 8,4-3-41,-4 0-48,3 4-46,-3-4 30,0 0 17,4 3-120,-4-3 146,0 3-141,3-3 193,-3 4 0,0-4 0</inkml:trace>
  <inkml:trace contextRef="#ctx0" brushRef="#br0" timeOffset="168">2846 5240 8355,'0'-4'567,"0"4"-361,0 0-143,-4 4-5,4-4 18,0 0-15,0 0-75,0 0 56,0 0-70,0 0 26,0 0-9,-3 0-13,3 0 16,0 0-26,0 3 46,-3-3-53,3 0 46,0 0-6,0 0 1,0 0-8,-4 0 13,4 0-14,0 0 14,0 0-7,0 0 57,0 0-33,-3 0 67,3 0-64,0 0 27,0 0-48,0 0 18,0 0-17,-3 0-20,3 0 27,0 0-27,0 0 30,0 0-16,0 0 8,0 0-10,-4 0-16,4 0 23,0 0-30,0 0 31,0 0 18,-3 0-13,3 0 16,0 0 28,0 0 11,0 0 7,0 0 26,0 0-67,0 0 26,0 0-26,0 0 21,-3 0-9,3 0 23,0 0-28,-4 0-25,4 0 14,0 0-17,-3-3-30,3 3 41,-3 0-46,-1 0 64,4-4-9,-3 4 1,0-3-9,-1 3 18,1-3-12,0 3 18,-4-4-23,4 1 1,-1 0 0,1-1 6,-4 4-4,4-3-28,-4 0 19,4-1-23,-4 4 9,4-3 19,-4-1-21,4 4 18,-1-3-35,-2 3 15,2-3-19,1 3 35,0-4-1,-1 4 1,1-3-5,0 3 38,-4-3-27,3 3 33,1 0-41,0 0 16,-1-4-11,1 4 14,0 0-14,-4-3 11,7 3-7,-3 0 9,-1 0-31,1 0 19,0 0-19,-1 0-12,1-3 23,0 3-30,3 0 35,-4 0-16,1 0 9,3-4-10,-3 4 11,3 0 36,-4 0-27,1 0 28,0-3-14,-1 3-14,4 0 17,-3 0 2,-1 0-11,1-3 13,0 3-9,-1 0-9,1 0 10,0 0-9,-1 0 8,1 0-35,0 0 27,-1 0-28,1-4 28,0 4-48,-1 0 29,4 0-34,-3 0 21,0 0 17,-1 0-22,1 0 25,0 0-28,-1 0 19,1-3-20,0 3 43,3 0-17,-4 0 18,1 0-22,-1 0 21,1 0-14,3 0 16,-3 0-23,-1 0 3,1 0-1,0 0 3,-1 0-15,1 0 10,0 0-11,-1 0-25,4 0 28,-3-3-30,0 3 38,-1 0-11,4 0 5,-3 0-8,0 0 4,-1 0 7,1 0-8,3 0 6,-3 0-1,3 0-1,-4 0 3,1 0-4,3 0 8,-4 0-4,1 0 5,3 0-31,-3 0 18,-1 0-19,4 0 26,-3 0-65,0 0 46,3 0-52,-4 0 63,1 0-21,3 0 12,-3 0-18,-1 0 48,4 0-25,0 0 26,-3 0-15,3 0-13,-3 0 13,3 0-17,-4 3 25,4-3-15,0 0 22,-3 0-24,3 0 7,-3 0-5,3 0 8,0 0-4,-4 3-30,4-3 19,0 0-26,0 0 48,-3 0-14,3 0 14,0 0-20,0 0-4,-3 0 0,3 0 0,0 0-15,-4 0 15,4 0-15,0 0 19,0 0 11,-3 0-25,3 0 26,0 0-23,0 0 23,3 0-3,-3 0 1,4 0-5,-4 0 15,0 0-11,0 0 10,0 0 1,3-3-9,-3 3 11,0 0-8,0 0-8,3-3 7,-3 3-5,4 0 7,-4-4 0,3 4 2,-3 0-4,3-3 0,-3 3 0,0 0 1,4 0-3,-1-3 15,-3 3-11,0 0 12,3 0-12,-3-4-1,4 4 3,-4 0-2,3-3 8,-3 3-6,3-3 7,-3 3-11,4 0 3,-4-4-3,0 4 4,3-3-5,0 3 3,-3-4-4,4 4 5,-4-3-3,3 3 1,-3-3 0,3 3-2,-3 0 3,4-4-3,-4 4 3,3-3-5,-3 3 3,4-3-4,-4 3 4,3-4-1,-3 4 1,3 0 1,-3-3-17,4 3 13,-4-3-14,3 3 16,0-4 2,-3 4-2,4-3 2,-4 0 0,0 3-4,3-4 4,-3 4 26,3-3-20,-3 3 22,0-3-28,4 3-11,-4-4 8,0 4-7,3-3 11,-3 3-44,3-3 32,-3 3-35,0-4 44,4 4-4,-4 0 2,0-3-5,0 3 12,3-3-10,-3 3 8,0 0-4,0-4-3,3 4 3,-3 0-5,0-3 16,0 3-11,0-4 18,4 1-20,-4 3 52,0-3-37,0 3 40,0-4-48,3 1 26,-3 0-18,0 3 19,0-4-34,0 1 12,0 3-11,0-3-26,0-1 29,0 4-30,0-3 38,0 3-27,0-3 19,0 3-23,0 0 27,0-4-35,0 4 23,0-3-31,0 3 25,0-3 41,0 3-30,0 0 36,0-4 5,0 4-33,0 0 37,0-3-43,0 3 31,0 0-21,0-3 29,0 3-37,0 0 13,-3 0-11,3 0 13,0 0-15,0 0 11,0 0-12,-4-4 11,4 4-22,0 0 11,0 0-14,0 0 9,0 0 9,0 0-9,0 0 11,0 0-4,0-3 1,0 3-2,0 0 0,0 0 1,0 0 6,-3 0-3,3 0 3,0-3 39,0 3-33,0 0 36,0 0-6,0 0-24,0 0 28,0-4-32,0 4-8,0-3 12,0 3-10,0-4 13,3 4-56,-3-3 41,0 3-42,0-3 52,0 3-45,0-4-12,0 1-4,0 3-10,0 0 53,4-3-25,-4-1 7,0 4 1,0-3-8,0 3 15,0 0 15,0-3-11,3 3 14,-3-4-20,0 4 48,0 0-33,0-3 41,3 3-48,-3 0 36,4-3-26,-4 3 31,0 0-25,0-4-1,3 4 4,-3 0-5,0-3-8,0 3 8,0 0-8,0 0-28,4 0 24,-4-3-29,0 3 36,0 0-37,0 0 26,0 0-32,0 0 37,3 0-2,-3 0 1,0 0-3,0 0 16,0 0-15,0 0 15,3 0-5,-3 0-8,0 0 10,0 0-10,4 0 3,-4 0-2,0 0 6,0 0-5,0 0-16,3 0 12,-3 0-14,0 0 18,0 0-37,3 0 26,-3 0-30,0 0 16,0 0 10,0 0-15,0 0 19,4 0 0,-4 0-3,0 0 3,0 0 28,0 0-20,0 0 24,0 0-32,3 0 41,-3 0-26,0 0 29,0 0-31,0 0 4,0 0 2,0 0 0,0 0-2,3 0-5,-3 0 5,0 0 49,0 0-36,0 0 37,0 0-50,0 3 17,0-3-11,4 3 14,-4-3-12,0 4-8,0-4 11,0 3-8,0-3 12,0 3-5,3-3 5,-3 4-6,0-1 43,3-3-30,-3 0 32,0 3-17,0 1-17,4-1 17,-4-3-22,0 3 47,3 1-30,-3-4 33,3 3-37,-3 0 0,0-3 4,4 4 1,-4-4 1,0 3-17,3 1 13,-3-4-17,3 3 12,-3-3 2,4 3-4,-4-3 34,3 4-22,-3-4 23,0 0-29,3 3-17,-3-3 13,4 3-14,-4 1 16,0-4-9,3 0 11,-3 3-8,0 0 11,4-3-57,-4 4 37,3-4-43,-3 3 57,3-3-25,-3 0 18,4 0-27,-4 3 97,3-3-63,0 0 66,-3 0-48,4 4-15,-4-4 21,3 0-27,0 0 4,1 3 2,-4-3 5,3 0-1,-3 0-29,3 3 18,-3-3-20,4 4 32,-4-4-35,3 3 25,-3-3-37,3 0 36,-3 3-30,4-3 24,-4 0-21,3 0 24,-3 0-3,3 4-2,-3-4-21,4 0 18,-4 0-19,3 3 23,-3-3-40,3 0 27,-3 0-30,4 3 4,-4-3 20,3 4-22,1-4-21,-4 3 37,0-3-43,3 0 51,-3 4-16,3-4 10,1 0-15,-4 3 14,0-3-5,3 3 1,0-3 1,-3 0-5,4 0 30,-1 4-21,-3-4 23,3 0 30,1 0-40,-4 3 46,3-3-57,0 0 7,1 3-4,-4-3 8,3 0-18,0 4 16,-3-4-16,4 0 17,-1 3-11,-3-3 9,3 0-9,1 0-9,-4 3 12,3-3-17,0 4 19,-3-4-48,4 0 33,-4 0-36,3 3 11,-3-3 20,4 0-23,-4 0 28,3 3 24,-3-3-18,3 0 18,1 0-25,-1 0 29,-3 0-22,3 0 24,1 4-27,-1-4 16,-3 0-9,3 0 10,1 0 3,-4 0-13,3 0 18,0 0-17,-3 3-26,4-3 20,-4 0-23,3 0-26,-3 0 37,3 0-42,-3 3 50,4-3-10,-4 0 4,3 0-9,-3 0 11,3 0-3,-3 0 2,4 0-5,-4 0 9,3 0-9,-3 0 9,3 0-6,-3 0 19,0 0-11,4 0 13,-1 0-14,-3 0-2,4 0 5,-1 0-3,-3 0-23,3 0 16,-3 0-21,0 0 25,4 0-42,-4 0 31,0 0-36,3 0 32,-3 0 2,0 0-5,0 0-10,3 0 15,-3 0-22,0 0 23,4 0-12,-4 0 10,0 0-5,3 0 5,-3-3 21,0 3-15,0 0 15,0 0-21,3 0 56,-3 0-39,0 0 43,0 0-5,0 0-32,4 0 35,-4-3-24,0 3-15,0 0 21,0 0-11,0 0-62,0 0 13,3 0-32,-3 0 31,0 0 63,0 0-24,0 0 23,0 0-26,0 0 12,0 0-5,3-4 8,-3 4 10,0 0-11,0 0 14,0 0-9,0 0-5,0 0-11,0 0-29,0 0-40,0 0 4,4 0-11,-4 0 53,0 0 7,0 0 2,0 0 10,0 0 7,3 0-5,-3 0 39,0 0-41,0 0 24,0 0-21,0 0 5,3 0 0,-3 0 0,0 0-8,0 0 7,0 0-5,0 0 6,0 0 1,0 0-2,0 0 10,4 0-6,-4 0 6,0 0-1,0 0-6,0 0 9,0 4-1,0-4-4,0 0 5,0 0 7,0 0-8,0 0 8,0 0-9,0 0-4,0 0 3,0 3-7,0-3 4,0 0-5,0 0-3,0 0 6,0 0 26,0 0-16,0 0 25,0 3-32,0-3 24,0 0-12,0 0 6,0 0-11,0 0-5,0 0-16,0 0 26,0 0-24,0 4 1,0-4-2,0 0-16,0 0-5,0 0 43,0 0-21,0 0 32,0 0-17,0 0-4,0 3 1,0-3 0,-4 0 0,4 0 0,-3 0 0,3 0 2,-3 0-1,-1 0-3,4 0 3,-3 0-4,0 0 0,-1 0 1,1 0-1,0 0 1,-1 0 1,1 0 0,0 0 0,-1 0 0,1 0 0,0 0 0,-1 0-1,1 0 1,-1 0 0,4 0 0,-3 0 0,0 0 6,-1-3-5,1 3 6,0 0 35,-1 0-30,1 0 33,0 0-41,-1 0-4,1-4 5,0 4-3,-1 0 6,1 0-12,3 0 7,-3 0-8,-1 0 3,1 0 8,3 0-9,-3 0 9,3 0 6,-4 0-7,4 0 6,-3 0-6,3 0 0,0 0 1,-3 0-3,3 0 22,0 0-14,0 0 18,0 0-23,0 0 14,0 4-11,-4-4 12,4 0-12,-3 0-15,3 0 11,0 0-12,-4 0-26,4 3 30,-3-3-32,0 0 29,3 0 8,-4 0-12,4 0 13,-3 0-12,3 3 8,0-3-12,0 0 10,0 0 13,-3 0-8,3 0 15,0 0-15,0 0-20,0 4 13,0-4-17,0 0 16,0 0 6,3 0-5,-3 0 1,0 0 46,0 0-38,0 3 39,0-3-45,3 0 25,-3 0-18,4 0 26,-4 0-22,0 3 4,0-3-1,3 0 0,-3 4-28,0-4 23,3 0-24,-3 0 28,0 3-22,0-3 11,0 4-14,4-4 0,-4 0 13,0 3-16,0 0 17,0-3-4,0 4 3,0-1-4,0-3 7,0 3-6,0 1 6,0-4-4,0 3 17,0 0-11,0 1 11,0-4-14,0 3 6,-4-3-4,4 3 6,0-3-8,0 0 0,0 4 2,0-4 0,0 0-66,0 0 48,0 3-52,0-3 92,0 0-24,0 3 22,0-3-30,0 0 5,0 4-6,0-4 5,0 0-6,0 0 31,0 3-22,0-3 25,0 0-23,0 0-41,-3 0 31,6 0 33,-3 3-11,0-6 50,0 3-64,4 0 45,-4 0-31,0 0 40,3 0-59,-3-3 17,4 3-14,-4 0 21,0 0-19,3 0 19,-3 0-17,3 0-15,-3 0 20,4 0-29,-1 0 32,-3-4-27,3 4 18,1 0-21,-1 0 23,-3 0-9,3 0 7,1 0-6,-1 0 5,0-3 27,1 3-18,-1 0 21,0 0-14,4 0-7,-4 0 9,1 0-9,-1 0-9,0 0 9,-3 0-7,4 0-7,3 0 9,-7-3-10,3 3 14,0 0-19,1 0 12,-4 0-15,3 0 15,-3 0-7,3 0 4,1-4-7,-1 4 8,-3 0-2,3 0 1,1 0 1,-4 0 1,6 0-1,-6 0 1,4-3 0,-1 3 0,0 0 0,1 0 0,-1 0 0,0 0 1,-3-3-1,4 3 0,-1 0 22,0 0-16,1 0 17,-1 0-5,-3 0-11,4 0 14,-1 0-24,0 0 8,-3-4-8,4 4 10,-1 0-12,-3 0 9,3 0-9,-3 0 11,4 0-7,-1 0 5,0 0-5,-3 0 3,4-3-7,-4 3 1,3 0-2,0 0 3,1 0 2,-4 0-2,3 0 1,0 0 2,-3 0 0,4-3 0,-1 3-8,0 0 5,1 0-5,-1 0 7,-3 0-4,3 0 2,1 0-3,-4 0 3,3-4 1,1 4-1,-1 0 1,-3 0 3,3 0-2,-3 0 2,4 0 0,-1-3-2,0 3 4,1 0-5,-4 0 4,3 0-2,-3-3 3,3 3-3,1 0 1,-4 0 0,3-4 0,-3 4-1,3 0 0,-3 0 1,4 0-1,-4 0-2,0-3 2,0 3-1,3 0-27,-3 0 20,0 0-22,3 0 28,-3 0-26,0 0 18,0 0-21,4 0 24,-4 0-7,3 0 4,-3 0-6,3 0 21,-3 0-13,4 0 14,-4 0-17,3 0 53,-3 0-38,0 0 39,3 0-26,-3 0-15,4 0 21,-4-3-23,0 3 17,3 0-12,-3 0 15,0 0-15,0 0-5,4 0 5,-4 0-6,0 0-16,0 0 18,3-4-20,-3 4 23,0 0-20,0 0 11,3 0-13,-3 0 14,0 0 2,4 0-5,-4 0 4,0 0 2,0 0-1,3-3 4,-3 3-5,0 0 6,0 0-4,3 0 5,-3 0-18,4 0 8,-4 0-9,0 0 13,0 0-24,3 0 17,-3 0-19,0 0 22,0-4-2,0 4 0,0 0-2,0 0-40,3 0 28,-6 0-29,3 0 39,0 0 21,0 0 9,0 0 6,0 0-38,0 0-5,0 4-33,0-4 29,-3 0 30,3 0-12,0 0 44,0 0-38,0 0 20,0 0-19,0 0 30,0 3-21,0-3 22,0 0 13,0 0-29,0 0 31,0 0-39,0 0 0,0 4 1,0-4 4,0 0-3,0 0-10,0 0 7,0 0-7,3 3 13,-3-3-25,0 0 18,0 3-20,3-3 1,-3 0 14,0 0-16,0 4 5,4-4 9,-4 0-11,0 0 9,3 3 2,-3-3-2,3 0 1,-3 0 1,4 3-1,-4-3 0,3 0 0,-3 0 1,3 4 0,-3-4 0,4 0 0,-1 3 14,-3-3-10,3 3 12,-3-3-15,4 4 2,-4-4-1,3 0 3,0 3 13,-3-3-11,0 0 12,4 3-15,-4-3 13,3 0-7,-3 0 8,4 0-10,-4 4 8,0-4-3,3 0 4,0 0-12,-3 0 2,4 0-3,-4 0-11,3 0 12,-3 0-13,3 3 17,1-3-18,-4 0 13,0 0-14,3 0 12,-3 0-28,3 0 17,-3 0-20,4 3 27,-4-3 1,3 0-4,-3 0 2,3 0 1,-3 0-1,0 0 1,4 0 1,-4 0 1,3 0 1,-3 0 0,3 0 2,-3 0-4,4-3 5,-1 3-5,0 0 4,-3 0-3,4-3 4,-1 3-4,-3 0 1,3 0-1,1 0 0,-4-4-19,3 4 14,1 0-14,-1 0 17,-3 0 0,3 0-1,-3 0 0,4 0 4,-1-3-3,-3 3 2,3 0-3,-3 0 16,4 0-11,-4-3 13,3 3-18,0 0 29,-3 0-21,4-4 23,-1 4-10,-3-3-10,3 3 13,-3-3-23,4 3 6,-4-4-6,3 4 9,-3 0-20,3-3 16,-3 3-16,0 0 20,0-3-16,4 3 10,-4 0-13,0-4 16,3 4-18,-3 0 12,0-3-16,0 3-6,0-3 11,3 3-13,-3 0 19,0-4-14,0 4 10,0 0-11,0-3-2,4 3 11,-4-4-12,0 4 11,0-3-23,0 3 17,0 0-21,0-3 22,0 3-35,0 0 23,0 0-23,0 0 11,0-4 17,0 4-23,0 0 36,0-3-14,0 3 14,-4 0-15,4 0 38,0 0-30,0-3 30,0 3-36,-3 0 27,3 0-13,0 0 14,0 0-14,0 0 34,-3-4-19,3 4 25,0 0-40,0 0 1,0 0-365,0 0 281,0 0-271,-4 0 366,4 0 0,0 0 0</inkml:trace>
  <inkml:trace contextRef="#ctx0" brushRef="#br0" timeOffset="169">3495 4989 9024,'4'0'-200,"-4"0"314,0 0 162,0 0-62,0 0 75,3 0-172,-6 3-27,3-3-8,0 0 18,0 0-19,-4 0 26,4 0-3,-3 0-11,0 0 12,-1 0-12,1 0-10,0 0 9,-1 0-1,1 0-57,-4 0-8,4 0-11,-4 0 11,4 0-11,-4 0-8,4 0-15,-4 0-26,0 0 28,1 0 1,2 0-8,-2 0 1,2 0 19,-2 3-27,2-3 11,-2 0 26,2 0-31,1 0 34,0 0-38,-1 0 28,1 4-27,-1-4 30,1 0 11,0 0-7,-1 0 6,4 0-27,-3 0 8,0 0-9,-1 0 13,4 3-16,-3-3 11,0 0-12,3 0 4,-4 0 9,4 0-9,-3 3 12,3-3-7,-3 0 4,3 0-6,-4 0 6,4 0 46,0 0-35,-3 0 35,0 0-73,3 0 22,-4 0-21,1 0 31,3 0-42,-3 0-8,-1 0-6,1 4-14,3-4 54,-3 0-21,-1 0 18,1 0-15,3 0 3,0 0-5,-4 0-2,4 0 35,-3 0-32,3 0 32,0 0 9,-3 0-22,3 0 32,-4 0-14,4 0-12,0 0 15,-3 0-15,3 0-16,-3 0 13,3 0-13,-4 0 15,4 0-45,0 0 33,0 3-33,-3-3 40,3 0-36,0 0 22,0 0-25,-3 0-44,3 0 51,0 0-47,0 0 112,0 0 27,3 0-2,-3 0-2,0 0 19,0 0-37,3 0 43,-3 3-27,0-3-27,4 0 33,-4 0-34,3 0-4,-3 0 6,3 0-1,-3 0-20,4 0 26,-1 0-30,-3 0 28,3 0-48,1 0 32,-4 0-43,3 0 49,4 0 10,-7 0-11,7 0 12,-4 0-18,4 0-6,-4 0 7,4 0 15,-4 0-7,4 0 19,-4 0-23,4 0-36,-4-3 26,4 3-29,-4 0 38,4 0-42,-4 0-10,4 0-7,-4 0 11,4 0-33,-4-3 49,4 3-75,0-4 79,-4 4-24,4-3 24,-1 3 15,-2-3-14,-1 3 12,4 0-20,-4 0-31,0-4 24,1 4-21,-4 0 26,3 0-33,-3 0 24,4 0-23,-4 0 33,0 0-42,3 0 26,-3 0-35,0 0-3,0 0-16,0 0 2,3 0-1,-3 0 57,0 0-21,0 0 18,4 0 28,-4 0-26,0 0 29,3 0-46,-3 0 65,3 0-46,-3 0 58,0 0-63,4 0 26,-4 0-22,3 0 29,-3 0-15,3 0 5,-3 0 2,4 0-4,-4 0-10,3 0 7,-3 0-7,0 0 30,0 0-20,0 0 21,3 0-30,-3 0 73,0 0-49,0 0 54,0 4-56,0-4 67,0 0-41,4 0 47,-4 0-39,0 0-23,0 0 27,0 0 27,0 0-31,0 0 34,0 0-41,3 0 5,-3 0-1,0 0 3,0 0-4,0 0 55,0 0 22,0 0-2,3 0-4,-3 0 3,0 0-43,0 0 42,0 0-126,0 0 40,0-4-44,0 4 54,0-3-21,0 3 5,0-3-12,0 3-17,0-4 30,0 1-26,-3 3 34,3-3-35,0 3 24,0-4-35,0 1 17,-3-1 5,3 4-7,0-3 13,0 0-27,-4-1 18,4 4-21,0-3 28,0 3-33,0-3 22,-3-1-24,3 1 19,0 3 5,0 0-7,0-3 14,0 3-3,-3-4 5,3 4-10,0 0 49,0-3-36,0 3 39,0 0-46,0-3 47,0 3 11,0 0 8,0 0 96,0 0-107,0-4 84,0 4-100,0 0-11,0 0 5,0 0-3,3 0 9,-3 0-46,0 0 32,3 0-39,-3 0 48,0 0-49,4 0 33,-4 0-40,3 0 47,0 0-27,-3 0 19,4 0-25,-1 0 23,0 0-10,1 0 8,-4 0-4,6 0 3,-2 0 1,-1 0-1,1 0 18,-1 0-11,0 0 12,1-3-16,-1 3-15,0 0 11,-3 0-10,4 0 14,-1 0-41,-3-3 29,3 3-33,-3 0 41,4 0-50,-4 0-11,0 0-8,0 0 4,0 0 35,0 0 150,3 0-98,-3 0 123,-3 0-127,3 0-12,0 3 12,0-3-12,-4 3-1,4-3 4,0 0-4,0 4 9,-3-4-21,3 3 17,0-3-19,0 0 18,0 3 18,0-3-17,-3 4 16,3-4-20,0 3 12,0-3-7,-4 3 8,4 1 0,0-4-5,0 3 7,0-3-27,0 3 16,-3 1-16,3-1 21,0-3-8,0 3 4,0-3-4,0 0 3,0 4-14,0-4 7,0 3-10,0-3 1,0 0 11,0 4-29,0-4 24,0 0-58,0 0-2,0 0-21,0 0 21,0 0 22,3 0 48,-3 0-22,0 0 56,0 0-49,0 0 28,0 0-34,0 0 49,0 0-30,0 0 33,4 0-23,-4 0-6,0 0 3,0 0-20,0 0 2,3 0-13,-3 0 19,0 0-2,0 0 0,0 0 4,0 0 31,0 0-25,0 0 27,0 0-5,0 3-18,3-3 21,-3 0-22,0 0 16,0 0-6,0 0 9,4 0 18,-4 0-24,0 0 28,0 0-32,3 0-7,-3 0 4,0 0-4,0 0 10,0 3-38,3-3 26,-3 0-32,0 0 21,4 0 8,-4 0-9,0 0 12,0 0 30,0 0-27,3 4 24,-3-4-17,0 0-7,0 0 9,3 0-11,-3 0 5,0 3-3,0-3 9,4 0-8,-4 0 21,0 3-15,0-3 16,0 0-9,3 0-2,-3 4 3,0-4-26,0 0 12,0 0-18,3 3 22,-3-3-30,0 0 20,0 3-21,0-3 25,0 4-19,0-4 14,0 0-18,0 3-6,0-3 18,0 0-24,0 3 28,0-3-18,0 4 13,0-4-13,0 3 60,0-3-34,0 3 36,0-3-45,0 4 23,0-4-15,0 3 17,-3-3-19,3 3 31,0-3-16,0 4 22,0-4-22,0 0-44,-3 3 35,3-3-37,0 0-4,0 0 30,0 3-37,-4-3-3,4 0 28,0 4-36,0-4 40,0 0-4,-3 0-2,3 3-1,0-3-1,0 0 9,0 0-9,0 0 7,0 0-6,-3 4 14,3-4-9,0 0 11,0 0-3,0 0-6,0 0 8,0 0-38,0 0 24,-4 3-24,4-3 29,0 0-3,0 0 0,0 0 0,0 0-2,-3 3 9,3-3 0,0 0 18,0 0-6,0 0 2,0 0 1,0 0 29,0 0 74,0 0-40,0 0 19,0 0-87,0 4-5,0-4-1,0 0 9,0 0-39,0 0 28,0 0-36,0 3 37,0-3-18,0 0 12,0 0-9,0 0 9,0 0 0,0 3 1,0-3 0,0 4-1,0-4 0,0 0 0,0 3 0,0-3 1,3 3 0,-3-3 0,0 4 5,0-4-3,0 3 5,0-3 41,0 3-34,0 1 36,4-4-24,-4 3 3,0 0 6,0-3-8,0 4-21,0-1 3,0-3 0,0 3 12,0 1-12,0-4 10,0 3-10,0-3 7,0 3-1,0 1 2,0-4-3,0 0-9,0 3 7,0-3-11,0 4 14,0-4-2,0 3 3,0-3-3,0 3 18,0-3-12,0 4 13,0-4-14,0 3 6,0-3-3,0 3 4,0-3-6,0 4-22,0-4 19,0 3-19,0 0-19,0-3 28,0 4-35,0-4 17,0 3 15,0-3-18,0 3 19,0-3-11,0 0 4,0 4-7,0-4 8,0 3 10,-4-3-9,4 3 8,0-3-8,0 4 2,0-4-1,0 3 1,0-3 0,0 3-1,-3-3 3,3 4-3,0-4-1,0 3 2,0-3-2,0 3 2,0-3-6,0 4 4,0-4-4,0 3 1,-3-3 3,3 4-3,0-4 3,0 3 0,0-3 0,0 3 1,-4-3-2,4 4 3,0-4-2,0 3 2,0-3 0,0 3-2,-3-3 3,3 4-2,0-4 1,0 3 0,0-3-1,0 3-27,0-3 20,-3 4-21,3-1 26,0-3-29,0 3 20,0 1-23,-4-4 28,4 3-3,0-3 1,0 3 4,0 1 6,-3-1-6,3-3 4,0 3 8,0-3-12,-3 4 14,3-4-17,0 3 16,0-3-11,0 3 15,-4-3-15,4 4 8,0-4-6,0 0 7,0 3-7,-3-3 2,3 0-2,0 4 1,0-4-1,-3 3 0,3-3 0,0 3 0,0-3 0,-4 4 0,4-4 0,0 3 0,-3-3 0,3 3 0,0-3 0,-4 4 0,4-4 0,0 3 0,-3-3 0,3 3-1,-3-3 1,3 4 0,0-4-7,0 0 5,-4 3-5,4-3 7,0 0-1,0 0 1,-3 0-1,3 0 8,0 3-5,0-3 6,0 0-8,0 0 7,-3 0-5,3 0 7,0 0 0,0 4-6,0-4 7,-4 0-17,4 0 6,0 0-6,-3 0 10,3 0-7,0 3 5,0-3-5,0 0 6,0 0-59,-3 0 38,3 0 2,0 0 84,0 0-8,0 0 5,0-3-64,0 3 5,0 0-4,0 0 9,0 0-16,0-4 13,0 4-13,0 0 19,0-3-8,0 3 8,3 0-8,-3-3 41,0 3-27,0-4 27,0 4-14,0-3-19,0 3 19,0-3-20,3 3 30,-3-4-15,0 1 19,4 3-21,-4-3-26,0-1 21,0 1-19,3 0 0,-3-1 13,0 1-16,0 3 21,3-4-22,-3 1 15,0 0-17,0-1-17,0 1 25,4 3-28,-4-3 29,0-1-29,0 1 16,0 3-23,0-3 31,0-1-5,0 1 5,3 3-3,-3-3-2,0-1-13,0 4 7,0-3-9,3 0 20,-3 3-4,0-4 4,0 1-22,0 0 13,0 3-13,0-4 17,0 4-12,0-3 7,0 0-9,0 3 11,4-4 15,-4 4-11,0-3 11,0 3-16,0-4 19,0 1-14,0 3 18,0-3-6,0 3-8,0-4 8,0 1-9,0 3 2,0-3 3,0-1-2,0 4-14,0-3 8,0 3-10,0-3 14,0 3-3,0-4 1,0 4-3,0-3 2,0 3 11,0-3-7,0 3 6,0 0-8,0-4-2,0 4 2,0-3 0,0 3-61,0-3 44,0 3-46,0-4 58,0 4-6,0 0 2,0 0-4,0-3 18,0 3-8,0 0 4,0 0-16,0-3 28,0 3-21,0 0 25,0 0-4,0 0-17,0 0 22,0-4-23,0 4 17,0 0-9,0 0 9,0 0-4,0 0-6,0 0 5,0-3-5,0 3 0,0 0 0,0 0 0,0 0 31,0-3-22,0 3 24,-4 0-31,4 0-1,0 0 1,0 0 1,0-4-13,0 4 11,0 0-11,0 0 14,0-3-24,0 3 17,0 0-19,0 0 22,0 0-2,0 0-1,0-4-1,0 4-2,0 0 3,0 0-7,0 0 6,0-3-26,0 3 11,0 0-13,0 0 14,-3 0 22,3 0-14,0 0 14,0 0 16,0 0-19,0-3 23,0 3-29,0 0 12,0 0-7,-3 0 9,3 0-1,0 0-7,0 0 10,0-4-12,0 4 6,0 0-6,0 0 6,0 0-8,0-3 5,0 3-5,0 0 5,0 0 2,0 0-3,0 0 1,0 0-2,0 0-15,0-3 11,0 3-36,0 0 31,0 0-19,0 0 5,-4 0 14,4 0-16,0 0 18,0 0-3,0-4 2,0 4-6,0 0 4,0 0 17,0 0-11,0 0 15,0 0-4,0 0-9,-3 0 11,3 0-12,0-3-9,0 3 9,0 0-9,0 0-38,0 0 32,0 0-38,0 0 49,0 0-24,0-3 16,0 3-20,0 0 44,0 0-19,0 0 19,0 0-26,0 0 0,0-4 3,0 4-2,0 0 5,-3-3 9,3 3-6,0 0 7,0 0 19,0-3-23,0 3 25,0 0-26,0 0 8,0-4-6,0 4 5,0 0-5,0-3-34,0 3 24,0 0-25,0 0 32,0-3 2,0 3-3,0 0 5,0 0-4,0-4-1,0 4-3,0 0 2,0 0-3,0 0 4,0-3-3,3 3-83,-3 0 21,0 0-35,0 0 69,0 0 19,0 0 173,0 0-125,0 0 125,0 0-136,0 0 8,-3 0-5,3 0 5,0 0-10,-4 3 25,4-3-16,-3 0 18,3 0-31,-3 0 3,3 4-5,-4-4 9,1 0 11,3 0-8,-3 0 11,-1 3 6,1-3-11,0 0 15,-1 0-19,1 0 42,0 0-31,-1 0 31,1 0-38,0 0-3,-4 0 4,7 0-2,-7 0-6,7 0 5,-3 0-1,-4 0 12,4 0-31,-1 0 22,1 0-29,0 0-22,-1 0 35,-2 0-41,2 0 49,1 0-34,0 0 24,-1 0-32,4 0 35,-3 0-18,0 0 13,-1 0-12,1 0 7,0 0 2,3 0-3,-4 0 2,4 0-2,-3 0 1,3 3-1,-4-3 39,1 0-26,3 0 27,-3 0-34,3 0-10,-4 0 7,1 0-7,0 0 11,3 0-14,-4 0 9,1 4-9,0-4-47,-1 0 44,4 0-47,-3 0 56,0 0-77,3 0 13,-4 0-69,4 0-10,0 0 28,0 0-52,0 0 86,-3-4-268,3 4 107,0 0-187,0 0 131,0 0 157,-3 0 29,3 0 112,-4-3 0,1 3 0</inkml:trace>
  <inkml:trace contextRef="#ctx0" brushRef="#br0" timeOffset="170">1667 5035 9502,'0'-3'-1148,"0"3"1154,4 0-38,-4 0 56,0 0 0,0 0 16,0 0 14,0 0-40,0 0-12,0 0 19,0-3-17,0 3 20,0 0-4,0 0 3,0 0 25,0 0-25,0 0 25,0 0 25,0 0 15,0-4 27,-4 4-15,4 0-41,0 0 75,0 0-67,0 0 142,0 0 185,0 0-184,0 0 162,0 0-315,0 4-51,0-4 37,0 0-36,4 0 41,-4 0 41,0 0-37,3 0 32,-3 0-41,3 0-46,-3 0 31,0 0-33,4 0-25,-4 0 54,3 0-57,-3 0 6,0 0 41,3 0-46,1 0 53,-4 0-15,0 0 2,3 0-4,-3 0-7,0 0 34,3 0-35,-3 0 30,4 0-12,-4 0 1,0-4 8,0 4-9,3 0 22,-3 0-17,0 0 19,0-3-36,0 3-1,0 0-2,3 0 3,-3-3 29,0 3-11,0 0 12,0-4-18,0 4 5,0 0-6,0-3 3,0 3-4,0-3 2,0 3-3,0-4-18,0 4 13,0-3-14,0 0 23,0 3-27,0-4 20,0 1-23,0 0 25,0-1-43,0 4-11,0-3-10,0 0 14,0-1-19,0 1-10,0-1-12,0 1-81,0 0 63,0-1-82,0 1 70,0 3 41,0-3 38,0-1 32,-3 1 0,3 3 0</inkml:trace>
  <inkml:trace contextRef="#ctx0" brushRef="#br0" timeOffset="171">1868 4985 9502,'0'-3'-213,"4"0"65,-4 3 100,0 0-17,0 0 34,0 0-41,0 0 3,0 0 61,0 0-30,0 0 5,-4 3 42,4 0-45,-3-3 56,3 4-60,-3-1-13,3 0-15,-4 1 17,1-4-12,3 3-11,-4 0-11,4 1 22,-3-4 51,3 3 12,0-3 0,-3 3 0</inkml:trace>
  <inkml:trace contextRef="#ctx0" brushRef="#br0" timeOffset="172">3301 5082 8847,'0'0'-492,"-3"0"492,3 0 81,0 0 607,0 0-400,0 0 429,0 0-606,3 0 18,-3 0 3,4-3 1,-4 3-32,3 0-36,-3 0 26,0 0-11,3-3-31,-3 3-13,4 0-20,-4 0-47,3-4 35,-3 4 7,3 0-5,1 0 27,-4 0-37,3-3 9,0 3-10,1 0 60,-1 0-30,0 0 24,1 0-35,-1-3 32,0 3-23,1 0 27,-1 0-12,0 0 2,1 0 1,-1 0-55,0 0 38,1 0-35,-1-4 46,1 4-61,-1 0 39,0 0-47,1 0 57,-1 0-38,0 0 21,1 0-26,-1 0 27,-3 0 5,3-3-11,1 3 0,-1 0 40,0 0-28,1 0 31,-4 0-43,3 0 4,0 0 0,-3 0 8,0 0-21,4 0 14,-4 0-16,3 0 22,-3 0-47,0 0 35,3 0-41,1 0 22,-4 0 13,0 3-17,3-3 17,-3 0 5,3 0-10,-3 0 9,4 0 2,-4 0-3,0 0 5,3 0-7,-3 0 11,4 0-7,-4 0 10,3 0-13,-3 0 45,0 0-32,3 0 35,-3 0-42,0 0 3,4 0-3,-4 0 4,0 0-13,0 0 12,0 0-12,3 0-19,-3 0 23,0 0-23,3 0 29,-3 0-20,0 0 13,4 0-19,-4 0 21,0 0-22,3 0 16,-3 0-19,3 0 27,-3 0-9,0 0 7,4 0-7,-4 0-11,3 0 8,-3 0-6,3 0-11,-3 4 14,0-4-14,4 0 19,-4 0 5,0 0-3,3 0 1,-3 0-7,0 0-44,3 0 29,-3 0-28,4 0 41,-4 0 18,0 0-17,3 0 15,-3 0-12,0 0-3,3 0 8,-3 0 22,0 0-23,0 0 25,4 0-31,-4 0 27,0 0-17,0 0 19,0 0-20,3 0-3,-3 0 7,0 0-2,0 0 3,-3 0 0,3 0 0,0 0 0,0 0 0,0 3 0,0-3 16,0 0-12,-4 0 13,4 0-16,0 0 18,0 0-11,0 0 13,0 3-17,0-3 10,0 0-7,0 0 18,0 0-15,0 0 9,0 0-10,0 0 3,0 4-4,0-4 4,0 0-3,0 0-18,0 0 15,0 3-18,0-3 20,0 0-17,0 0 13,0 0-16,0 3 17,0-3-8,0 0 5,0 0-8,0 4 37,0-4-24,0 0 23,0 3-22,0-3-3,0 0 7,0 3-6,0-3-8,0 0 5,0 4-5,0-4 8,0 0-3,0 0 2,0 0-3,0 0 16,4 0-9,-4 3 9,0-3-13,0 0-5,0 0 3,0 0-3,3 0-5,-3 3 7,0-3-6,0 0 10,0 0-11,0 0 7,3 0-8,-3 0 10,0 4-7,0-4 3,0 0-4,0 0 2,0 0 1,0 3-1,4-3 39,-4 0-26,0 0 29,0 0-37,0 0 33,3 3-21,-3-3 23,0 0-26,0 0 33,0 4-18,0-4 21,0 0-59,0 0 20,4 0-19,-4 0 29,0 0-35,0 3 24,0-3-28,0 0 6,0 0 16,0 0-20,0 3 20,0-3-9,0 0 2,3 4-4,-3-4 5,0 0 4,0 0-5,0 3 4,0-3 1,0 0 0,0 4 1,0-4-1,0 0 26,0 3-19,0-3 20,0 3-24,0-3 1,0 0-1,0 0 2,0 4 43,0-4-30,0 0 33,0 3-40,0-3 14,0 0-7,0 3 8,0-3-4,0 0-6,0 0 8,0 4-8,0-4 17,0 0-13,0 3 14,0-3-37,0 3 17,0-3-18,0 4 21,0-4-34,0 0 23,0 0-27,0 3 33,0-3-27,0 3 19,-3-3-23,3 0 12,0 4 7,0-4-10,0 0 10,0 3 0,0-3-4,0 0 3,0 3 13,0-3-8,-4 4 9,4-4-12,0 0 45,0 0-31,0 3 36,0-3-45,0 0 10,0 3-7,0-3 11,0 4-12,0-4 5,0 0-4,0 3 5,0-3-25,0 0 19,0 3-19,0-3 10,0 0 10,0 4-14,0-4 13,0 3-25,0-3 18,0 0-22,0 4 25,0-4-19,0 0 13,0 3-14,0-3 8,0 0 3,0 3-5,-3-3 7,3 0-7,0 4 4,0-4-5,0 0 3,0 3 4,-4-3-4,4 3 4,0 1-1,0-4-1,0 0 1,0 3-2,0-3-5,-3 3 4,3-3-4,0 4 16,0-4-6,-3 0 7,3 3-10,0-3 10,0 3-7,-4 1 8,4-4-10,0 0 7,0 3-5,0-3 6,-3 3-2,3-3-2,0 4 2,0-4-2,0 0-4,0 3 5,0-3-5,-3 0 4,3 0-33,0 3 23,0-3-24,0 0-21,0 4 37,0-4-43,0 3 66,-4-3-16,4 0 15,0 3-19,0-3-1,0 4-2,0-4 1,0 0-1,-3 3 22,3-3-14,0 0 15,0 4-16,0-4-1,0 3 6,0-3-4,0 3 4,0-3-4,0 0 2,0 0-16,0 4 11,0-4-12,0 3 13,0-3 21,-3 0-16,3 3 16,0-3-17,0 0 12,0 0-8,0 4 9,0-4-5,0 0-6,0 0 9,0 0-9,0 3 16,0-3-11,0 0 12,0 0-5,0 0-6,0 0 10,0 3-11,0-3 2,0 0 5,0 0 6,0 0 1,0 0 16,0 0-19,0 0 5,0 0-5,3 0-9,-3 0 10,0 0-8,0 0-3,0 0 0,0 0-9,0 0 12,0 0-17,3 0 13,-3 4-10,0-4 10,0 0-2,0 0 1,0 0 2,4 0-1,-4 0 2,0 0-1,0 0 0,0 0 1,0 0 0,0 0 0,0 0-1,3 0 1,-3 0-1,0 0 13,0 0-8,0 0 9,0 0-12,3 0 30,-3 0-20,0 0 22,0 0-26,0 0-3,4 0 5,-4 0-17,0 0 13,0 0-12,3 0 15,-3-4-7,0 4 5,0 0-5,3 0 3,-3-3-11,0 3 7,0 0-8,0 0 8,4-3-1,-4 3-2,0 0 1,3 0 11,-3-4-6,0 4 7,0 0-13,4-3 3,-4 3-3,0-3 5,0-1-5,0 4 3,3 0-4,-3-3 5,0 0-4,0-1 3,0 4-4,3-3 5,-3 3 6,0-4-5,0 1 5,0 3 12,4-3-14,-4-1 15,0 4-18,0-3 0,0 0 2,3 3-1,-3-4-6,0 1 5,0 3-6,3-3 8,-3 3-9,0-4 6,0 1-7,0 3-14,0-3 15,0 3-17,4-4 19,-4 4 1,0-3-3,0 0 2,0 3 1,0-4-1,0 1 1,0 3-1,0-3 3,3 3-2,-3-4 4,0 4-5,0-3 26,0 3-18,0-3 21,0 3-27,0-4 4,0 4-3,0-3 3,0-1-6,0 4 5,0-3-6,0 3 1,0-3 3,0 3-4,0-4 6,0 4-4,0-3 3,0 3-4,0-3 3,0 3-4,0-4 2,0 1-3,3 3 3,-3-3 0,0 3 0,0-4-11,0 4 8,0 0-9,0-3 11,0 3 3,0-3-3,0 3 3,0-4-4,0 4 5,0-3-4,0 0 4,0 3-5,0-4 3,0 4-2,0-3 3,0 3 1,0-3-3,0-1 4,4 4-4,-4-3 3,0 3-2,0-3 3,0 3-3,0-4 1,0 4-1,0-3 0,0 3-8,0 0 5,0-4-5,0 4 7,0-3-6,0 3 4,0 0-4,0-3 5,0 3 0,0 0-1,0 0-1,3-4 0,-3 4 0,0-3 0,0 3-10,0 0 7,0-3-8,0 3 10,0 0-20,0-4 15,0 4-14,0 0 17,0 0 10,0 0-7,0-3 7,0 3-3,0 0-6,0 0 5,0-3 1,0 3-5,0 0 6,0 0-7,0 0 13,0-4-9,0 4 11,0 0-11,0 0-12,0-3 9,0 3-9,0 0 12,0-3-4,0 3 3,0 0-4,0 0-12,0-4 10,0 4-11,0 0-3,0 0 13,0 0-15,0 0 18,0-3 7,0 3-5,0 0 3,0 0-7,0 0 17,0 0-12,0 0 14,0 0-18,0 0 11,0-3-8,0 3 9,0 0-9,0 0 4,0 0-4,0 0 7,0 0-17,0-4 12,0 4-12,0 0 12,0 0 2,0 0-3,0-3 2,0 3 1,0 0-2,0 0 2,0 0-4,0 0-2,0-3 1,0 3 0,0 0 1,0 0 16,0 0-11,0 0 12,0 0-13,0-4 5,0 4-3,0 0 4,0 0-4,0 0 0,0 0 1,0 0-1,0-3 0,0 3 1,0 0 0,0 0-11,0 0 8,0 0-10,0 0 3,0 0 15,0-3 37,0 3 7,0 0 16,0 0-26,0 0-10,0 0-10,0 0 22,0 0-1,0-4 13,0 4-10,0 0-44,0 0-29,0 0-35,0 0 22,0 0-21,0 0 45,0-3-16,0 3 20,0 0-4,0 0 27,0 0-27,0 0 24,0 0 29,0-4-33,0 4 40,0 0 10,0 0-38,0 0 47,0 0-120,0 0 57,0 0-83,0-3 83,0 3-31,0 0 19,0 0 4,0 0-10,0 0 69,0 0-41,0 0 46,0-3-41,0 3-7,0 0-5,0 0 9,0 0 6,0 0-4,0 0 9,0 0-21,0-4-5,0 4 5,0 0-10,0 0 0,0 0 8,0 0-11,3 0 10,-3 0-2,0 0 1,0-3 0,0 3-26,4 0 19,-4 0-20,0 0 27,0 0-20,0-3 14,0 3-16,0 0 16,0 0-10,3 0 5,-3 0-7,0-4 5,0 4 22,0 0-16,0 0 18,0 0-3,0-3-11,0 3 13,3 0-29,-3 0 10,0 0-8,0 0 13,0 0 4,0 0-4,0-3 2,0 3-3,0 0 9,0 0-5,0-4 5,0 4-15,0 0 2,0-3-3,0 3 14,0 0-4,0 0 7,0 0-9,0-3 15,0 3-10,0 0 12,0-4-14,0 4-1,0 0 0,0 0-1,0-3 2,0 3 7,0 0-4,0-3 5,0 3-2,0 0-2,0 0 4,0 0-4,-3-4-1,3 4 1,0 0-2,0 0 4,0-3-4,-3 3 4,3 0-3,0 0 15,0 0-11,0-3 13,-4 3-16,4 0 2,0 0-1,-3 0 0,3 0-2,0 0 2,0 0-1,-3 0-10,3 0 9,0 0-9,0 0 11,-4-4-53,4 4 39,0 0-43,0 0 53,-3 0-152,3 0 33,0 0-104,0 0 129,0 0 44,0 0 53,-3-3 0,3 3 0</inkml:trace>
  <inkml:trace contextRef="#ctx0" brushRef="#br0" timeOffset="173">1872 4995 9028,'0'4'-394,"0"-4"456,0 3-44,-4-3-16,4 3 10,-3 1-12,3-4 17,-3 3-29,3 0 20,-4-3-21,1 4-16,-1-1 30,1 0-31,0 1-23,3-4 42,-4 0-46,4 3 54,0-3-52,0 3 28,0-3-40,0 0 48,4 0-4,-4 0 8,0 0 20,3-3-16,-3 3 20,0 0-28,3 0 58,-3 0-40,0 0 167,4 0-92,-4 0 66,0 0-74,0 0-29,0 3-2,-4-3 4,4 0-2,0 0-38,0 4 33,-3-4-32,3 0 34,0 0-46,0 3-11,0-3-102,0 0 68,0 0-39,0 0 107,-3-3-16,3 3 17,0 0 168,0 0-140,0 0 141,0 0-150,0-4-24,0 4 30,0 0 16,3-3-34,-3 0 41,0-1-49,0 1-2,0 3 2,0-7 2,0 4 5,0 3-64,0-3 48,0-1-52,0 1-11,0 0 51,0 3-55,0-4 62,0 4-38,0 0 15,0-3-22,0 3-41,0 0 57,0-3-66,0 3 74,-3 0-77,3 0 58,0 0-61,0 0 86,0 0-2,0-4 20,0 4 0,0 0 0</inkml:trace>
  <inkml:trace contextRef="#ctx0" brushRef="#br0" timeOffset="174">1875 5069 9502,'0'-3'-790,"0"3"830,3 0 66,-3 0 6,0-4-106,0 4 33,0 0-32,0 0 40,0-3-1,0 3-5,0 0-75,0 0 52,0 0-54,-3 0 3,0 0 44,3 3-54,-4 1 13,1-4 26,3 3-32,-3 0 39,-1 1-6,1-1-1,3 0-1,-4-3-3,4 4 4,-3-1-7,3-3 5,0 3 2,0-3 3,0 0 1,0 0 48,3 0-36,1 0 40,-4-3 11,3 0 18,1-1 2,-1 4-6,0-3-2,1 0-30,-4-1 39,3 1-39,-3 3-23,3-3 27,-3 3-24,0-4 35,4 4-64,-4 0 2,-4-3-59,4 6 31,0-3-41,-3 4 63,0-1-33,-1 0 36,1 1-3,3-1-5,-3 0 1,-1 1 4,4-4 8,-3 6-5,3-2 5,-4-4-2,4 3 32,0-3-22,0 3 24,0-3-29,0 0-1,0 0 2,0 0 0,4 0 51,-4 0-37,3-3 41,1 3-26,-4-3-13,3-1 19,-3 1-24,3 0-7,-3-1 4,0 4-6,4-3-40,-4 0 38,0 3-40,0-4 52,0 4-57,0-3-17,0 3-3,0-3-4,0 3 0,0 0 23,0-4-31,0 4 58,0-3-1,0 3-3,0 0-5,0-3 25,0 3-15,0-4 24,0 4-35,0 0 7,0-3-5,0-1 12,0 4-44,0-3 35,0 3-37,0-3-45,0-1 16,0 4-81,0 0 99,0-3 8,0 0 60,0-1 0,3 1 0</inkml:trace>
  <inkml:trace contextRef="#ctx0" brushRef="#br0" timeOffset="175">7948 5380 9502,'10'0'59,"-6"0"-10,2 0-87,-2 0 90,-1 0-29,4 0 69,-4 0-33,0 0-14,4 0 28,-4 0-24,4 0 2,0 0 28,-4 0-32,4 0 29,0 0-52,3-3 45,-7 3-55,4-3 61,3 3-77,-4 0 51,1-4-51,0 4 68,-1 0-50,1 0 38,0 0-44,0 0-33,-1 0 38,1 0-41,0 0-10,-1 0 59,1 0-65,0 0 70,-4 0 7,4 0-2,-1 0 2,1 0-10,0 0 22,0 0-18,3 0 23,-4 0-44,1 0 12,3 0-11,-3 4 19,-1-4-8,4 0 9,-3 0-4,-3 0 9,6 0-55,-7 0 35,4 3-43,-1-3 4,-2 3-8,2 1-12,-2-1 16,-1-3-19,0 7 42,1-4-49,-1-3 46,0 3 15,1 1-17,-1-1 57,1 0-45,-1-3 28,0 4-34,1-4 29,2 0-17,-2 0 21,-1 0-18,4 0 22,-1 0-8,-2 0 14,2-4-16,1 4-13,0-6 12,-1-1-10,5 0-22,-5-3 19,1 4-22,0-8 26,-1 1-26,4-1 19,-3 1-24,3-4 13,-3 1 4,3-1-8,0-3 10,-3 3-19,3-3 11,0 3-12,-4-3 14,1 3-44,0 1-19,-1-1 1,1 3-117,0 1 76,-4 0-122,1 3-75,-1 0 39,0 3-70,-3 0 77,0 4 144,4-4 9,-8 4 107,4-1 0,-3 1 0</inkml:trace>
  <inkml:trace contextRef="#ctx0" brushRef="#br0" timeOffset="176">1664 5032 8355,'0'0'-23,"3"0"68,-3 0-48,0 0 63,0 0 33,0 0-51,0 0 61,0 0 1,4 0-49,-4 0 55,0 0-64,0 0 66,0 0 11,0 0 49,0 0-17,0 0-47,0-3 46,0 3-43,0 0 17,0 0-32,0 0-29,0 0-40,0 0 29,0 0-33,0 0 13,0 0 15,-4 0-14,4 0 17,0 0-43,0 0 29,-3 0-40,3 0 46,0 0-61,0 0 43,-3 0-48,3 0 56,0 0-41,0 0 30,-4 0-31,4 0 5,0 0 19,0 0-25,0 0 4,-3 0 15,3 0-17,0 3 21,-3-3 14,3 0-14,0 3 12,-4-3-14,4 0-11,0 0 8,0 4-9,0-4 28,-3 0-10,3 3 11,0-3-15,0 0 9,0 3-6,0-3 8,-3 4-10,3-4-22,0 3 18,0-3-20,0 0-7,0 4 20,0-4-25,0 0 31,0 3-13,-4-3 7,4 3-8,0-3 4,0 4-11,0-4 1,0 0-3,0 3 20,0-3-3,0 3 5,0-3-9,0 4 15,0-4-10,0 3 13,0-3-8,0 3 2,-3-3 1,3 4 0,0-4-13,0 0 6,0 3-5,0-3 6,0 3-9,0-3 7,0 4-9,0-4-2,0 0 6,-4 3-8,4-3 9,0 0 55,0 3-40,0-3 41,0 0-34,-3 0-11,3 4 16,0-4-16,0 0-22,0 3 16,0-3-15,0 0 21,0 3-3,0-3 2,0 4-4,0-4 13,0 0-10,0 3 7,0-3-15,0 3 35,0-3-28,0 4 29,0-4-7,0 0-15,0 3 22,0-3-22,3 0 68,-3 0-48,4 4 53,-4-4-65,3 0 58,-3 3 15,4-3 6,-1 3 30,0-3-77,1 0 27,-1 4-29,0-4 8,1 0-3,-1 3 5,0-3-82,1 0-18,2 0-2,-2 0 18,2 3-362,1-3 301,0 0-328,-1 0 407,5 0 0,-1-3 0</inkml:trace>
  <inkml:trace contextRef="#ctx0" brushRef="#br0" timeOffset="177">2826 5099 9502,'0'-3'-1045,"0"3"999,0 0 14,0 0 3,0-4 32,0 4-37,0 0 45,0 0-25,0 0 16,0-3-17,0 3 8,0 0 9,0 0-9,0 0 4,0-3 2,0 3-5,0 0 4,0 0 0</inkml:trace>
  <inkml:trace contextRef="#ctx0" brushRef="#br0" timeOffset="178">2879 5099 9502,'4'0'-408,"-4"3"318,0-3 148,0 0-40,3 0 93,-3 0-93,0 0 254,0 4-193,0-4 205,0 0-215,-3 0 1,3 0 5,-4 0-15,4 0-32,-3 0 12,0 0-11,-1 0-23,1 0-16,0 0-4,-1 0 10,1 0-7,-4 0-9,4 0-14,-1 0 16,-2 0-9,6 0-8,-7 0-25,4 0-64,-1 0 41,1 0-63,0 0-63,3 0 42,-4 0-57,4 0 70,-3 0-20,3 0-55,0 0 93,0 0-8,0 0 144,3 0 0,1 0 0,-1 0 0,0 0 0,1 0 0,2 0 0,-2 0 0,-1 0 0,0 0 0,4 0 0,-3 0 0,-1 0 0,0 0 0,1-4 69,-4 4 21,3 0 16,-3 0 58,3 0-72,-3 0 60,0 0 144,0 0-161,0 0 156,0 0-223,-3 0 41,0 0-34,-1 0-14,1 0 16,0 0-25,-4 0 38,3 0-73,1 0-15,0 4 0,-4-4-69,4 0 47,-4 0-30,4 0-37,-1 3 95,1-3-31,0 0 38,-4 0-13,7 0-4,-7 3-6,4-3 7,0 0-15,-1 0 6,1 4-10,3-4 18,-3 0-34,3 0-18,-4 0 4,4 0 3,-3 0 43,3 0 2,0 0-5,0 0 4,0-4-10,0 4 18,0 0-173,0 0 164,0 0-166,0 0 230,0 0-69,0 0 31,-4 0 11,4 4-27,0-4 41,0 0-38,0 0-8,0 0 2,0 0-8,0 0 8,0 0 32,0 0-23,0 0 29,0 0-43,0 3 4,0-3-2,0 0 5,0 0 0,0 0 2,0 0-2,0 0 3,0 0-1,0 3 31,0-3-22,0 0 22,0 0-28,0 0 37,0 4-28,0-4 32,0 0-37,0 0 51,0 0-36,0 0 43,0 3-51,0-3 39,0 0-25,4 4 31,-4-4-63,0 0 24,0 3-25,0-3 17,0 3 11,0 1-11,0-4 14,0 3-50,0-3 33,0 3-37,3 1 47,-3-4-46,0 3 33,0 0-43,0-3 44,0 4-52,0-4-5,4 0-9,-4 3 15,0-3-19,0 0-10,0 3-12,0-3 4,0 0 45,0 0 1,0 4 31,0-4-15,0 0 14,0 0-28,0 3 38,0-3-49,0 0-7,0 0 5,0 0-25,0 0 74,0 0 89,0 0-54,0 0 65,0 0-79,0 0-30,0 0 13,0 0-4,3 0 30,-3 3-11,0-3 8,0 0-22,0 0 23,0 0-16,0 0 16,0 0-20,3 0-2,-3 4-2,0-4 3,0 0-2,0 0 6,0 0 11,4 0-8,-4 0 7,0 0-13,3 0 39,-3 0-30,0 0 31,3 0-23,1 0-21,-1 0 22,-3 0-21,3-4 34,1 4-15,-1 0 18,0-3-79,4 3 45,-4 0-43,1-3 53,2 3-53,-2-4 33,2 4-40,-2 0 45,3 0-34,-1-3 21,-2 3-29,2 0 15,1 0 8,-4 0-11,4 0 9,-4-3 5,4 3-8,-4 0 7,4 0 4,-4 0-2,1 0 3,-1 0-3,4 0-7,-4 0 6,1 0-6,-1 0 7,0 0-4,1 0 3,2 0-2,-2 0 4,-1-4 0,0 4 1,1 0-3,2 0 20,-2 0-15,-1-3 16,0 3 14,1-3-24,2 3 28,-2 0-33,2-4-1,-2 4 1,-1-3 2,1 3 1,-1 0-8,4-3 6,-4 3-9,0-4 12,1 4 42,-1 0-30,0-3 30,1 3-26,-1-3-12,0 3 12,1 0-10,-1 0 0,0-4 6,1 4-5,-1 0-54,0 0 38,1 0-40,-1-3 56,-3 3-53,3 0 37,1 0-44,-1 0 50,-3 0-82,4 0 11,-1 0-71,-3 0-289,3 0 287,-3 0-227,0 0 367,0 0 0,0 0 0</inkml:trace>
  <inkml:trace contextRef="#ctx0" brushRef="#br0" timeOffset="179">3291 5133 8226,'0'-4'179,"0"4"-151,0 0 55,0 0-66,0-3 49,0 3 13,0 0 2,0 0 39,-3 0-35,3-4 17,0 4-9,0 0-22,0-3-13,0 3 18,0 0-23,0 0 29,0-3-18,0 3 14,0 0-14,0 0-4,0-4 2,0 4 8,0 0 32,0 0-21,0-3 18,0 3 282,0 0-281,0 0 272,0 0-353,0 3 54,0-3-126,0 4 32,0-4-122,0 0 114,-4 3-49,4-3 101,0 3-54,0-3 41,0 4-4,0-4-2,0 3 5,0-3 8,0 4-8,-3-4 6,3 3-4,0 0 30,0-3-18,-3 4 20,3-4-12,0 3-10,0-3 12,-4 3-13,4-3-14,0 4 9,0-4-10,0 3-18,0 0 24,-3-3-25,3 4 31,0-4-26,0 0 17,0 3-19,-3-3 19,3 3-1,0-3-3,0 0 1,-4 0-11,4 4 10,0-4-11,0 0 12,0 3 21,-3-3-15,3 0 17,-3 0-17,3 3-3,0-3 4,-4 0-2,4 0 16,-3 4-10,3-4 11,0 0-16,0 0-1,-3 0 2,3 0-1,0 0-8,0 0 9,-4 0-10,4 0 10,0 0-10,0 0 6,0 0-8,-3 0-6,3 0 12,0 0-15,0 0 18,0 0-16,-3 0 12,3 0-14,0 0 14,-4 0-12,4 0 9,-3 0-9,3 0 7,0 0 0,-4 0-1,4 0 2,-3 0 26,3 0-20,0 0 21,-3 0 33,3 0-42,-4-4 48,4 4-58,-3 0 39,3 0-27,-3 0 33,3-3-37,0 3-19,-4 0 16,4 0-13,-3-3-9,3 3 24,-3 0-27,3 0 29,0 0-8,-4-4 0,4 4-2,-3 0-25,3 0 22,0 0-24,-3 0 28,3 0-17,-4 0 13,4-3-13,-3 3 11,3 0 5,-3 0-3,3 0 5,0 0 15,0 0-16,-4 0 17,4-3-19,-3 3-8,3 0 6,0 0-5,-3 0 0,3 0 8,-4 0-7,4 0 8,-3 0-17,3 0 11,0-4-14,-3 4 15,3 0-9,0 0 4,-4 0-7,4 0 5,-3 0 18,3 0-15,-4 0 18,4-3-16,0 3 4,0 0-3,-3 0-5,3-3 4,-3 3-4,3 0 6,-4-4-4,4 4 3,-3 0-3,3-3 3,0 3-14,-3 0 9,3-3-10,-4 3-22,4-4 26,0 4-28,-3 0-163,3-3 41,-3 0-125,3 3 90,-4 0-258,1-4 68,3 4-187,-3-3 316,3 3 112,-4 0 142,1-4 0,3 1 0</inkml:trace>
  <inkml:trace contextRef="#ctx0" brushRef="#br0" timeOffset="180">2431 5153 9502,'0'0'-1147,"0"-4"1147,0 4 0,0 0-24,-4 0 70,4 0-49,0 0 116,0 0-31,0-3 5,0 3-10,0 0 19,0 0-44,0 0 129,0 0-16,0 0 44,0 0 48,0 0-33,0 0-17,0-3 25,0 3-104,0 0 22,0 0-67,0 0 27,0 0 28,0 0-29,0 0 20,0 0-57,0 0 9,4 0-23,-4 0 15,0 0-17,3 0 24,-3 0-50,0 0 33,3 0-29,-3 3 15,0-3 23,4 0-30,-4 0 23,3 0-17,-3 0 20,3 0-20,1 3 5,-4-3-30,3 0 12,0 0-6,-3 0-9,4 4-14,-4-4 1,3 0-32,0 0 64,-3 0-34,4 3 32,-4-3-43,3 0-19,-3 0 5,4 3 3,-1-3 12,-3 0 16,0 0-22,3 0 57,1 0-2,-1 4 10,-3-4-18,3 0 46,1 0-46,-4 0 55,3 0-76,0 0 15,-3 0-12,4 0 23,-4 0-38,3 0 34,0 3-35,1-3 38,-1 0-81,0 0 54,1 0-59,-4 0 44,3 0 17,0 0-26,1 0 25,-1 0 0,1 0 0,-4 0-1,3 0-3,0 3-2,-3-3 3,7 0 1,-7 0-2,3 0 4,1 4-3,-1-4 7,-3 0 1,3 0 2,1 0-2,-4 3-3,3-3 65,0 0-50,1 0 54,-4 0-9,3 0-38,0 3 48,-3-3-28,4 0-12,-4 4 21,3-4-23,-3 0-68,3 0 52,1 0-56,-4 3 68,3-3-13,-3 0 8,3 0-9,-3 3-20,4-3 18,-4 0-26,3 0 22,1 0 58,-4 0 13,3 0 8,0 4 59,1-4-105,-4 0 68,3 0-77,-3 0 2,3 0-2,1 0 4,-4 0 5,3 0-39,-3 0-24,3 3 2,1-3-47,-4 0 81,3 0-38,0 0 33,-3 0-31,4 0-33,-4 0 14,3 0-48,-3 3 80,3-3-46,-3 0 48,4 0-20,-4 0 15,3 0-15,-3 0 14,0 0 9,3 0-6,-3 4 10,4-4-13,-4 0 3,3 0-2,-3 3 3,3-3-3,1 0 3,-4 0-3,3 0 0,1 0 1,-4 0-2,3 0 3,0 4-4,-3-4 3,4 0-4,-4 0 4,3 0-2,0 0 1,1 0-1,-4 0 0,3 0 6,-3 0-3,3 3 11,-3-3-10,4 0 6,-4 0-8,0 0 15,3 0-11,-3 0 13,0 3-13,3-3-6,-3 0 5,4 0-6,-4 0 7,0 0-9,3 4 6,-3-4-5,0 0-9,3 0 11,-3 0-14,4 3 17,-4-3-13,0 0 9,3 0-11,-3 0 13,0 3-4,0-3 3,3 0-3,-3 0 6,4 4-4,-4-4 4,0 0-5,3 0 6,-3 0-4,3 0 4,-3 3-4,0-3-2,0 0 3,4 0-3,-4 0-2,0 0 4,3 3-3,-3-3-8,4 0 7,-4 0-7,0 0 9,0 0 2,3 4-3,-3-4 3,3 0-13,-3 0 9,0 0-10,4 0 1,-4 3 5,0-3-6,3 0 8,-3 0 1,0 0-57,3 0 41,-3 3-46,0-3 20,4 0 20,-4 0-24,3 4 29,-3-4-18,0 0 9,0 0-12,3 0 11,-3 0 27,4 0-21,-4 3 21,3-3-30,-3 0 7,3 0-10,-3 0 15,0 3-17,0-3 16,4 0-13,-4 0-12,0 0 13,3 4-17,-3-4 22,0 0-2,0 0 3,0 0-11,0 0 6,3 0 41,-3 0-30,0 0 38,0 0-44,0 0 9,0 0-13,4 0-40,-4 0-31,0 0-2,0 0 57,0 0 22,0 0 38,0 0-30,0-4 1,0 4 2,0 0 2,0 0 29,0-3-25,0 3 31,0 0-35,0 0 37,0-3-26,0 3 24,-4 0-30,4 0 26,-3-4-18,3 4 24,0-3-10,-3 3-7,3-3 9,-4 3 2,4-4-13,-3 4 17,0 0-18,3-3 3,-4 3-1,1-3 0,3 3 1,-3-4-7,-1 4 6,1-3-6,3 3 7,-3-3-2,-1 3 1,1 0-1,0-4-4,3 4 2,-4 0-3,1-3 4,-1 3-52,4 0 38,-3-3-40,0 3-7,3 0-19,-4-4 0,1 4 4,0-3-290,3 3 58,-4-4-103,1 4 205,3-3 205,-3 3 0,-1-3 0</inkml:trace>
  <inkml:trace contextRef="#ctx0" brushRef="#br0" timeOffset="181">1875 5143 9502,'-3'0'-308,"3"0"79,-4 0 119,4 0 49,0 0 73,0 0 126,0 0-11,0 0 123,0 0-162,-3 0 32,3 0-31,0 0-19,0 0 29,0 0-58,0 0 24,0 0-16,-3 0 17,3 0-41,0 0-19,0 0-2,-4 0 6,4 0-25,-3 0 46,3 0-59,-4 0 70,4 0-45,-3 0 25,3 0-35,-3 3-16,3-3 27,-4 0-27,4 0 22,-3 0 21,3 0-22,-3 0 23,-1 0-8,4 0 4,-3 3-3,3-3 4,-3 0 3,-1 0-1,4 0 3,0 4-8,-3-4 3,3 0-1,-3 0 3,3 3-10,-4-3 7,4 0-8,0 0-2,0 3 8,0-3-9,-3 0 12,3 4-21,0-4 14,0 0-17,0 0 20,-3 0-18,3 3 13,0-3-15,0 0 23,0 3-7,0-3 7,-4 0-11,4 0 3,0 4-4,0-4 4,0 0-7,0 0 6,0 3-5,0-3 6,0 0 28,0 0-21,0 3 21,0-3-26,4 0 56,-4 0 13,0 4 7,0-4-24,3 0-38,-3 0-5,3 0 0,-3 3 10,4-3-10,-4 0 10,0 0-20,3 0 19,-3 3-19,0-3 23,3 0-51,-3 0 27,0 4-33,4-4 30,-4 0-13,0 0 1,3 0-6,-3 0 28,0 3-3,3-3 6,-3 0-17,4 0 5,-4 0-5,3 0 7,-3 3-2,0-3 3,3 0-2,-3 0 3,0 0-4,4 0 2,-4 0-2,3 0 42,-3 0-28,0 0 30,3 0-38,1 0 2,-4 0-1,3 4 3,-3-4-31,0 0 23,4 0-24,-4 0 31,3 0-48,-3 0-12,0 0-4,3 0 6,-3 0 36,0 0 1,4 0-6,-4 0-2,0 0 18,3 0-22,-3-4 20,3 4 19,-3 0-21,4 0 26,-4 0-2,3-3-19,-3 3 23,3 0-23,-3-3 9,0 3-3,4 0 9,-4-4-14,0 4 0,0-3 1,3 3-2,-3-3 2,0 3-4,0-4 3,3 4-4,-3-3 2,0 3 1,0-3-1,0 3 0,0-4 1,0 4-2,0-3 2,0 3-5,0 0 3,0-3-3,-3 3 4,3 0 1,0 0 0,-3 0 0,3-4-1,-4 4 1,4 0 0,-3 0 1,3 0-1,-3-3 6,-1 3-3,4 0 4,-3 0-7,0 0 1,-1 0 0,1 0-1,3 0 1,-3 0 0,-1 0 0,1 0 6,-4 0-5,4 3 6,3-3-6,-4 4-3,1-4 2,0 0-2,-1 3-8,4-3 8,-3 0-8,3 3 9,-3-3-72,3 4-21,-4-4-3,4 0 12,0 3-4,0-3 7,0 3-64,0-3-173,0 4 62,0-4-145,0 0 128,0 0 137,0 0 34,0 3 102,4-3 0,-1 0 0</inkml:trace>
  <inkml:trace contextRef="#ctx0" brushRef="#br0" timeOffset="182">1808 5163 9502,'3'0'125,"-3"0"-23,0 0-37,0 0 213,0 3-240,0-3 172,0 0-169,-3 0-12,0 0 70,3 0-23,-4 0-26,1 0 7,0 0-9,-1 0 14,-3 0 19,4 0-37,0 0 9,-4 0-87,4 0 82,-4 0-54,4 0 73,-1 0-66,-2 0-21,2 0 0,-2 0 10,2 0-22,1 0 10,0 0-72,-1 0 58,1 0-30,0 0 2,-1-3 16,4 3-113,-3 0 79,3 0-120,-4-4-11,4 4 11,-3 0-23,3-3 52,0 3-146,0 0 60,0 0-11,0-3 137,0 3 133,0 0 0,0 0 0</inkml:trace>
  <inkml:trace contextRef="#ctx0" brushRef="#br0" timeOffset="183">1741 5193 9037,'0'3'217,"0"-3"-134,0 0-10,0 0 3,0 0-12,3 0 15,-3 0 42,0 0-30,0 3 32,0-3-63,4 0 16,-4 0-15,3 0 27,0 0-67,4 0-12,-4 0-11,4-3-176,-4 3 96,4 0-118,0-3 77,-4 3-24,4 0 8,-4-4 10,1 4 61,2-3 68,-6 3 0,4-3 0</inkml:trace>
  <inkml:trace contextRef="#ctx0" brushRef="#br0" timeOffset="184">1888 5189 9502,'4'-3'-510,"-4"3"109,3 0 237,-3 0 50,0 0 107,0 0-31,0 0 92,3 0-33,-3 0 38,0 0-46,0 0 47,0 0 15,0 0 2,4 0-8,-4 0-14,0 0-22,0 0 54,0 0 10,0 0 204,3 0 10,-3 0 16,0 0-105,0 0-140,0 0 9,0 0-5,0 0 10,0 3-24,0-3 8,0 4-13,0-4 26,0 0-48,0 0 37,0 3-48,0-3 18,3 3 8,-3-3-3,0 4-31,0-4 41,0 3-47,0-3 47,0 4-32,0-4 29,0 3-31,4-3 35,-4 0-11,0 3 2,3-3-4,-3 4-14,0-4 7,3 3-7,1-3 11,-4 3-9,0 1 5,3-4-1,-3 0-31,3 3 32,-3 0-36,0-3 37,4 4 26,-4-4-16,0 3 15,0 0 45,0-3 10,0 4 6,3-1-14,-3-3 1,0 3 15,0 1 8,4-4-5,-4 3-37,0-3 1,3 3 15,-3 1-37,0-4 15,3 3-10,-3-3 12,0 3-57,4 1-13,-4-4-18,0 3 26,3-3-59,-3 4 27,3-4-101,-3 3 76,0-3-48,4 3 19,-4-3-66,0 0 37,3 4 13,-3-1 37,0-3 20,3 3-10,-3-3 9,0 4 0,4-1 4,-4-3-2,0 3-2,3 1 0,-3-4 35,0 3-23,3 0 25,-3 1-6,0-1-17,0-3 22,4 3-25,-4 1 17,0-1-11,0 0 12,3-3-37,-3 4 19,0-1-20,0-3 24,3 0-24,-3 3 17,0 1-19,0-4 20,0 3-40,0-3-20,0 0 3,0 4-3,0-1 26,0-3 4,0 3-7,0-3 4,0 4 10,0-4-13,0 3 21,0 0-9,0-3 11,0 4-10,0-1 31,0 0-21,0 1 24,0-4-26,0 3-4,0 0 6,0 1-6,0-1 6,4 0-35,-4-3 27,0 4-25,0-1-147,0 0 34,0 1-118,3-1-370,-3 1 150,3-1-281,-3-3 433,0 3 168,4-3 177,-4 4 0,0-4 0</inkml:trace>
  <inkml:trace contextRef="#ctx0" brushRef="#br0" timeOffset="185">1815 5216 8917,'-4'4'34,"4"-1"50,0-3 21,-3 3 20,3-3 8,-3 4-11,3-4-57,-4 0 9,4 3-8,-3-3 16,3 0-14,-3 3 8,3-3 1,-4 4-7,1-4 8,-1 0-11,1 3-31,3-3 25,-3 0-17,-1 3 25,1-3-17,3 4 8,-3-4-12,-1 0 16,1 3-35,3-3-24,-3 0-3,3 3-58,-4 1 81,1-4-43,0 3 57,3-3-29,-4 3 13,4-3-19,-3 4 18,0-1 9,3 0-8,-4-3 4,4 4-7,-3-1 4,3-3-7,-3 4 6,3-1-16,-4 0 13,4 1-9,-3-1 14,0 0-40,-1 1 28,4-1-31,-3 0 38,3 1 0,-4-1-1,1 0 6,3 1-6,0-1 3,-3 0-9,3 1-7,-4-1 4,4 0-2,-3 1-1,3-1 8,0 0-6,-3 1 8,3-1-59,-4 1 42,1-1-46,3 0-5,-3 1-21,3-4-1,-4 3 4,4 0 21,-3-3 19,3 4-28,-3-1 30,3-3 23,0 3-28,-4 1 26,4-4-38,0 3 74,0-3-55,0 3 57,-3 1 10,3-1-46,0 0 59,0 1-28,-3-1-16,3 0 23,0 1-25,-4-1 7,4 1-1,0-1 4,0 0-10,-3 1 2,3-4 0,-3 3 0,3 0-1,0 1-16,-4-1 13,4-3-12,0 3 5,0 1 5,0-1-6,0-3 7,0 0-13,0 3 9,0 1-10,0-4 3,0 3 5,0 0-5,0-3 5,0 4-11,0-4 8,0 3-9,0 0 11,0 1-5,0-1 4,0 0-6,0 1 8,-3-4-3,3 3 3,0 1-6,0-4 3,0 3-4,0 0 4,-3-3-21,3 4 15,0-1-16,0-3 20,0 3-36,0-3 26,0 4-28,0-4 34,0 0-31,0 3 22,0-3-26,0 0 30,0 0-27,0 3 17,-4-3-22,4 0 41,0 4-17,0-4 19,0 0 1,0 3-14,0-3 17,0 0-22,0 3 19,0-3-51,0 0 42,0 0-44,0 0 52,0-3-8,4 3 9,-4-3 17,0 3-20,3-4 23,-3 4-28,0-3 23,0 3-14,3-3 21,-3-1-15,0 1-6,0 3 5,4-3-10,-4-1 6,3 4-1,-3-3 1,3 0-1,-3-1 2,4 1-2,-4 3 2,3-4 15,-3 1-12,3-4 13,1 4-17,-1 0 9,0-1-4,1 1 6,-4-4-6,3 4-71,0 0-16,1-4-5,-1 4-243,-3-4 123,3 4-88,1-4 155,-1 0 140,0 0 0,1 1 0</inkml:trace>
  <inkml:trace contextRef="#ctx0" brushRef="#br0" timeOffset="186">2846 5263 8847,'-4'0'-346,"4"0"499,0 0-24,0 0-38,0 0-24,-3 0-26,3 0 52,0 0-24,0 0 18,-3 0-23,3 0 22,0-3-16,0 3 17,0 0 7,0-4-19,0 4 21,0-3-17,0 3 40,0 0 19,0 0-7,0-3-1,0 3 5,0 0-15,0-4 29,3 4-37,-3 0-13,0-3 9,0 3-12,3 0-18,-3 0 17,0-3-21,4 3 4,-4 0 14,3 0-12,1 0 18,-4 0-38,3-4-19,0 4-11,-3 0 14,4 0-17,-1 0 40,-3 0-46,3 0 33,1 0 2,-1 0-6,-3 0-27,3 0 32,1 0-36,-4 0 40,3 0-63,0 0 45,-3 0-46,4 0 55,-4 0-21,3 0 12,0 0-17,-3 0 20,4 4 52,-4-4-38,3 0 39,-3 0-20,3 0-23,-3 0 25,4 3-14,-4-3-11,3 0 17,0 0-17,1 0-4,-4 3 3,3-3 4,-3 0 2,4 0-50,-4 4 33,3-4-43,0 0 54,-3 0-38,4 0-14,-1 3-8,0-3-29,-3 0 56,4 0-21,-4 0-30,3 0 46,0 3-52,-3-3 60,4 0-10,-4 0 2,3 4-6,0-4-2,-3 0 44,4 0 7,-1 0 7,-3 0-10,3 3-17,-3-3-9,4 0 13,-4 0-10,3 0-34,-3 0 27,3 0-23,1 3-24,-4-3 37,3 0-42,0 0 17,-3 0 19,4 4-20,-4-4 12,3 3-51,-3-3 26,4 0-35,-1 0 49,-3 0-13,3 3 2,-3-3-6,4 0 24,-4 0-1,3 4 5,0-4 46,-3 0-41,4 0 43,-4 3-51,3-3 46,0 0-30,-3 0 34,4 4-37,-4-4-7,3 0 10,-3 0-7,3 3 10,-3-3-17,4 0 14,-4 3-13,3-3-29,-3 0-12,3 0-5,1 4-35,-4-4 66,3 3-32,-3-3 33,3 0 18,1 0-20,-4 3 17,3-3-23,-3 0 69,3 0-50,-3 4 52,4-4-59,-1 0 13,-3 0-5,0 0 8,4 0 8,-4 0-13,0 0 20,0 3-11,3-3-11,-3 0 8,3 0-15,-3 0-53,0 0 46,0 0-51,4 3 63,-4-3-5,3 0 3,-3 0-7,0 0 3,3 4 13,-3-4-9,4 0 11,-4 0-15,3 0 7,-3 0-5,0 3 8,3-3 7,-3 0-8,0 0 10,4 3-2,-4-3-9,0 0 11,3 4-11,-3-4-18,0 0 13,3 0-17,-3 3 21,4-3-33,-4 0 22,0 0-25,3 0 31,-3 0 7,3 3-5,-3-3 4,0 0 0,0 0-9,4 0 9,-4 4-4,3-4-4,-3 0 5,0 0-5,3 0 17,-3 0-11,4 3 14,-4-3-16,3 3 12,-3-3-9,3 0 8,-3 4-9,0-4 60,0 0-43,4 3 47,-4-3 7,3 0-43,-3 3 47,0-3-62,4 0 7,-4 4-4,0-4 9,0 0-36,3 3 22,-3-3-17,0 0 33,0 0-62,3 0 45,-3 0-53,4 0 52,-4 4-67,0-4 36,0 0-44,3 0 22,-3 0 33,0 3-36,3-3 48,-3 0-15,4 0 13,-4 3-14,0-3 23,0 0-17,3 0 16,-3 4-20,0-4 44,3 0 18,-3 3 1,0-3 2,4 3-27,-4-3-2,0 0 7,0 4-25,3-1 2,-3-3-1,0 0-14,0 0 19,0 3-19,0-3 19,0 0-18,0 4 9,0-4-10,3 0 4,-3 0 2,0 3-7,0-3 4,0 0 1,0 0-21,0 0 16,0 0-17,0 3 28,0-3-3,0 0 2,0 4 29,0-4-24,0 3 25,0-3-32,0 0 30,0 3-19,0-3 22,4 0-26,-4 4-2,0-4 5,0 0-4,0 3 10,0-3 19,0 0-13,0 0 15,0 3-44,0-3 15,0 4-14,0-4-1,0 0 14,0 3-17,0-3 18,0 0-14,0 4 11,0-4-11,0 0 12,0 3 15,0-3-12,0 0 10,0 3 2,0-3-12,0 0 14,0 4 3,0-4-14,0 0 17,0 3-19,0-3 25,3 3-18,-3-3 21,0 4-24,0-1-5,0-3 4,0 0-2,0 3 5,0 1 7,0-4-6,0 3 1,3-3-3,-3 3 4,0 1-3,0-4 4,4 3-17,-4-3 9,0 3-9,0 1-22,0-4 24,0 3-26,3-3 32,-3 3-25,0-3 18,0 4-21,0-4 24,0 3-42,0-3 30,0 3-36,0-3-5,0 4 26,0-4-29,0 3 58,0 1-11,3-4 12,-3 3-20,0 0 17,0 1-13,0-1 14,0 0-17,0 1 36,0-1-24,0-3 27,0 3-29,0 1 0,0-4 2,0 3 3,0 0-23,0 1 18,0-4-17,0 3 13,0-3 4,0 3-5,0 1 1,0-4 5,0 3-6,0-3 5,0 3-8,0 1 17,0-4-13,0 3 13,0-3-12,0 3-14,0-3 14,0 4-14,0-4-3,0 3 12,0-3-13,0 4 18,0-1-1,-3 0 1,3 1-6,0-4 18,0 3-14,0 0 15,0 1-17,0-1 10,0-3-7,0 3 7,0 1 9,0-1-11,0 0 16,0-3-18,-3 4-11,3-4 8,0 3-9,0-3-3,0 3 11,0-3-13,0 4 14,0-1-34,-4-3 22,4 3-24,0-3 30,0 4-25,0-4 14,-3 3-17,3-3 30,0 3-3,0-3 2,0 4-6,0-1 24,0 1-16,0-1 18,0 0 7,0 1-21,0-4 23,0 3-29,0 0 22,0 1-14,0-1 16,0-3-15,0 3-55,0 1 43,0-4-43,0 3 55,0-3 3,0 3-3,0-3-3,0 4 4,0-4-10,0 0 10,-3 3 8,3-3-11,0 3 14,0-3-20,0 4 4,0-4-2,0 0 7,-4 3-5,4 0 16,0-3-11,0 4 12,0-1-13,0-3-3,-3 3 1,3-3-4,0 4 6,0-4-1,0 3 1,0-3 1,0 4-1,0-4 2,0 3-3,0-3 9,0 3-6,0-3 7,0 4-9,0-4-24,0 0 18,0 3-19,0-3-6,-3 3 20,3-3-22,0 0 27,0 4 8,0-4-8,0 3 6,0-3 0,0 3-5,0-3 1,0 4-4,0-1 28,0-3-19,0 3 24,0-3-30,0 4 33,0-4-19,0 3 24,0 0-28,0-3 1,0 4-2,0-1 9,0-3-14,0 3 8,3-3-7,-3 4-22,0-4 20,0 0-21,0 3 24,0-3-8,0 3 2,0-3-4,0 4 4,0-4 3,0 3-5,0 1 4,0-4 3,0 3 3,0-3-1,0 3 0,0-3 4,0 4-6,0-1 9,0 0-3,0-3-4,0 4 5,0-1-6,0-3 12,0 3-8,0 1 8,0-1-10,0-3 0,0 3 0,0 1 0,0-1 1,0-3-3,0 3 3,0 1-2,0-1 2,0-3-15,0 3 11,0 1-10,0-1-13,0-3 18,0 3-20,0-3 12,0 4 7,0-4-8,0 3 8,0 1 1,0-4-2,0 3 1,0-3-1,0 3 3,0-3-4,0 4 3,0-4-2,0 3-4,0-3 3,0 3-1,0 1-4,-3-4 5,3 3-4,0-3 17,0 3-9,0-3 10,0 4-13,0-1-24,0-3 17,0 0-17,0 3 23,0-3-4,0 4 2,0-4-3,0 3 4,0-3-3,0 3 3,0-3-4,0 0 24,0 4-16,0-4 16,0 3 0,0-3-14,0 0 17,0 3-21,0-3 24,0 4-17,0-4 20,0 3-22,0-3 18,0 0-12,0 3 15,0-3-17,0 0 5,0 4-4,0-4-8,0 0 5,0 3-6,0-3 9,0 0-34,0 4 24,0-4-27,0 0 33,0 3-9,0-3 6,0 0-10,0 3 10,0 1-11,0-4 7,0 0-8,0 3 8,0-3 15,0 3-10,0-3 11,0 0-34,0 4 14,0-4-14,0 0 17,0 3 1,0-3-2,0 3 1,0-3 19,0 4-14,0-4 15,0 0-18,0 3 9,3-3-7,-3 0 7,0 0-14,0 3 6,0-3-4,0 0 6,0 0 13,0 4-8,0-4 8,0 0-6,0 0-4,0 3 2,0-3-6,0 0 12,0 3-8,0-3 10,0 0-10,0 4 7,3-4-2,-3 0 4,0 0-14,0 3 5,0-3-5,0 0 7,0 0 2,0 3-2,0-3 1,0 0 2,0 4-4,0-4 4,0 0-4,0 0 2,0 0-2,0 0 3,0 0-2,0 0-11,0 3 9,0-3-8,0 0-13,0 0 15,0 0-17,0 3 12,0-3 6,0 0-7,0 0-36,0 0 29,0 0-67,0 0 71,0 0-272,0 4 92,0-4-164,0 0 117,0 0 144,0 0 11,0 3 90,4-3 0,-4 4 0</inkml:trace>
  <inkml:trace contextRef="#ctx0" brushRef="#br0" timeOffset="187">2722 5558 9502,'-3'0'-510,"-1"0"109,4 0 311,0 0 116,-3 3 94,3-3-73,0 0-12,0 0 99,-3 0-10,6 0 124,-3 0-140,0 0-13,3 0 59,-3 0-21,4 0 86,-4 0-12,3 0 16,-3 0-24,3 0-21,-3 0-56,4 0-14,-4 0 15,0 0-45,3 0 43,-3 0-42,3 0 41,-3 0-46,4 0-16,-4 0 11,3 0-13,-3 0 13,3 0 3,1 0-22,-4 0-7,3 0 6,-3 0-22,3 0 23,1 0-23,-1 0-11,0 0-5,-3 0 15,4 0-31,-1 0 57,1 3-67,-1-3 13,-3 0 28,3 4-28,1-4 38,-1 0-52,0 0 30,1 0-40,-1 0 28,-3 3 25,3-3-30,1 0 32,-1 0-57,0 0 38,-3 0-41,4 0 59,-1 0-14,-3 3 12,3-3-18,1 0 4,-1 0-4,0 0 6,-3 0-2,4 0-22,-4 0 17,3 0-19,0 0-16,-3 0 28,4 4-29,-4-4 36,3 0-22,1 0 13,-4 0-16,3 0-37,-3 0-12,3 0-13,-3 0 18,4 0 13,-4 0 24,3 0-30,-3 0 31,3 0 10,-3 0-6,4 0 5,-1 0 43,-3 0-43,3 0 45,-3 0-8,0 0-31,4 0 37,-4 0-45,3 0 25,-3 0-16,3 0 25,-3 0-22,0 0-20,4 0 13,-1 0-16,-3 0 24,3 0 8,-3 0-7,4 0 5,-4 0 3,0 0-8,3 0 8,-3 0-12,0 0 24,3 0-17,-3 0 17,0 0-9,0 0-9,4 0 12,-4 0-12,0 0 8,0 0-5,3 0 7,-3 0-6,0-4-15,0 4 11,3 0-13,-3 0 5,0 0 8,0 0-8,4 0 8,-4 0 0,0 0-1,0 0-2,0 0 17,0 0-13,3 0 14,-3 0-16,0 0 20,0 0-12,0 0 13,4 0-15,-4 0 49,0 0-31,3 0 34,-3 0-13,0 0-25,0 0 29,3 0-33,-3 0-17,0 4 13,0-4-11,0 0-15,4 0 28,-4 0-30,0 0 31,3 0-45,-3 0 30,0 0-34,0 0 38,0 3-12,0-3 0,3 0-4,-3 0 3,0 0 10,0 0-11,0 4 10,0-4 2,0 0-2,0 0 4,4 3-7,-4-3 35,0 0-24,0 0 28,0 0-24,0 3-4,0-3 7,0 0-6,0 4-27,3-4 21,-3 0-20,0 0 18,0 3 4,0-3-5,0 0 5,0 0-8,0 3 2,0-3-4,0 0 13,0 0-5,0 4 5,0-4-8,0 0 8,0 3-6,0-3 8,0 0-8,0 3 2,0-3-1,0 4 3,0-4-6,0 3 5,-3-3-5,3 0 4,0 3-3,0-3 3,-4 4-3,4-1 0,0-3 2,0 3-4,-3-3 3,3 4 8,0-1-6,-3-3 7,3 3-8,-4 1-1,4-4 1,0 3-1,0-3 22,-3 3-14,3-3 14,0 4 11,-3-4-16,3 3 21,0 1-26,0-4-5,-4 3 0,4-3 1,0 3 1,0-3 5,0 4-3,-3-4 4,3 3-3,0-3-18,0 3 13,0-3-15,-4 4-3,4-4 16,0 3-19,0-3 17,0 3 13,0-3-13,-3 4 12,3-1 0,0-3-9,0 3 11,0 1-12,0-4-4,-3 3 5,3 0-4,0-3 6,0 4-14,0-4 11,0 3-10,0 0 31,0 1-14,-4-4 15,4 3-4,0 0 3,0-3 4,0 4-6,0-4-31,0 3 14,0 1-14,0-4 19,0 3-7,-3 0 6,3-3-7,0 4 9,0-1 27,0-3-18,0 3 19,0-3 7,0 4-25,0-1 25,0 0-32,0 1-6,0-1 4,0-3 0,0 3 4,0-3 22,3 4-15,-3-4 20,0 3-3,0 0-8,0-3 9,0 4-19,0-4-45,0 3 33,0-3-34,0 3 42,0-3-22,4 4 15,-4-4-16,0 3-14,0-3 23,0 3-26,3-3 16,-3 4 12,0-1-12,3 1 7,-3-1-12,0 0 6,4 1-10,-4-1 16,0 0 23,0 1-16,0-1 20,3 0 5,-3 1-20,0-4 22,0 3-34,0 0 5,4 1-3,-4-1 6,0 0-19,0 1 13,0-4-12,3 3 18,-3 0-21,0-3 16,0 4-20,3-4 22,-3 3-29,0 0 20,0-3-26,0 0-26,4 4 33,-4-1-38,3-3 57,-3 4-5,0-1 3,0 0-6,3-3-7,-3 4 6,0-1-8,0 0 6,4 1 14,-4-1-10,0 0 12,0 1-15,3-1 20,-3-3-14,0 3 19,0 1-7,3-1-5,-3-3 8,0 3-10,0-3 25,4 0-18,-4 0 20,0 4-12,0-4-10,3 0 13,-3 3-13,3-3 2,-3 0 1,0 0-2,4 3 3,-4-3-16,0 0 13,0 4-14,3-4-29,-3 3 30,0-3-35,3 3 27,-3 1 8,0-1-11,0 1 11,4-4 17,-4 3-14,0 0 13,0 1-17,3-1 23,-3 0-16,0 1 18,3-4-21,-3 3 6,0 0-2,0 1 3,4-4 17,-4 3-16,0-3 19,0 3-25,3-3 7,-3 0-6,0 0 5,0 4-56,0-4 39,0 0-41,0 0 51,0 0-67,0 3 45,0-3-51,0 0 61,0 0 16,0 0-17,0 3 14,0-3-4,0 4-6,0-4 3,0 0 55,0 3-50,3-3 53,-3 0-60,0 3 26,0-3-12,0 4 24,0-4-27,4 0 12,-4 3-11,0-3 12,0 0-10,0 0-11,0 3 8,0-3-12,0 0-20,3 4 23,-3-4-25,0 3 30,0-3 2,0 0-6,0 4 4,0-4 2,0 0-1,0 3 3,0-3-6,0 0-15,4 3 12,-4-3-11,0 0 13,0 0 3,0 0-2,0 4 3,0-4 4,0 0-4,0 0 5,0 0-31,0 0 17,0 3-19,0-3 24,0 0-15,0 0 10,0 0-12,0 0 15,0 3-7,0-3 4,0 0-4,0 0 5,0 4 15,0-4-11,0 0 9,0 0 11,0 0-20,0 0 21,0 0-6,0 0-12,0 3 16,0-3-18,0 0 10,0 0-6,0 0 9,0 0-9,0 0-6,0 0 4,0 3-5,0-3 9,-4 0-6,4 0 2,0 0-4,0 0-5,0 4 8,0-4-11,0 0 23,0 0-10,-3 0 10,3 0-12,0 0 37,0 3-27,0-3 30,0 0-35,0 0 3,0 0 3,0 0-2,0 0 4,0 0 2,-4 0 0,4 3 0,0-3-11,0 0 4,0 0-5,0 0 9,0 0 0,0 4-1,0-4-3,0 0 17,0 0-13,0 0 13,0 0-15,0 3 13,0-3-9,4 0 10,-4 3-9,0-3-9,0 0 8,0 4-8,0-4-7,0 0 10,3 3-10,-3-3-4,0 0 13,0 0-14,0 3 14,0-3-12,4 0 7,-4 4-10,0-4 12,3 3-3,-3-3 2,0 0-1,0 0 0,3 0 2,-3 3-1,0-3 2,0 0-2,0 0 1,4 0 0,-4 4-8,0-4 6,0 0-6,3 0 7,-3 0-36,0 0 26,0 3-28,3-3 35,-3 0-22,0 0 15,0 0-19,0 4 21,0-4-7,0 0 5,4 3-7,-4-3 24,0 0-16,0 3 13,0-3-12,0 0-4,0 4 5,0-4-3,0 0 13,0 3-9,0-3 13,0 0-14,0 3 19,0-3-13,-4 0 11,4 4-14,0-4-10,0 3 7,-3 0-5,3-3 9,0 4-11,-3-4 6,3 3-8,0-3 22,-4 3-9,4 1 10,0-4-13,-3 3 8,3 0-8,0-3 8,-3 4 5,3-4-8,0 3 9,-4-3-9,4 3 7,0-3-2,-3 4 3,3-1-3,0-3-2,0 0 2,-4 4-3,4-4 1,0 3-1,0-3 0,0 3 0,0-3 0,-3 4 0,3-4 0,0 3 0,0-3 0,0 3 0,0-3 0,0 4 0,0-4 0,-3 3 0,3 0 0,0-3 0,0 4 0,-4-1-9,4-3 7,0 3-7,0 1 9,0-4-13,0 3 9,0-3-8,0 3 9,0-3 5,0 4-4,0-4 2,0 0-3,0 3 2,0-3-2,0 3 2,0-3-21,0 4 14,0-4-14,0 3-5,0-3 15,0 0-15,0 3 20,0-3 6,0 4-6,0-1 6,0-3-8,0 4 2,0-1-3,0 0 1,0-3-1,0 4 14,0-1-9,0 0 12,0-3-6,0 4-5,0-1 7,0 0 5,4-3-9,-4 4 10,0-1-12,0-3 7,3 3-5,-3-3 5,0 4-6,0-4 5,0 0-3,0 0 5,0 3-5,3-3-27,-3 0 20,0 0-22,0 3 14,0-3 7,0 0-9,0 0 15,0 4-3,4-4 2,-4 0-3,0 0 9,0 3-7,0-3 7,0 0-9,0 3 12,0-3-8,0 4 10,0-4-13,3 0 12,-3 3-9,0-3 14,0 0-11,0 0 2,0 3-1,0-3-2,0 0-1,0 4 1,4-4 0,-4 0-10,0 0 7,0 3-6,0-3 8,3 0-18,-3 0 12,0 0-13,0 0 16,0 4-6,0-4 5,0 0-7,0 0 16,3 0-8,-3 0 7,0 3 2,0-3-8,0 0 10,0 0-11,0 0 8,0 0-5,0 0 6,4 3-5,-4-3 1,0 0 0,0 0 0,0 0 0,3 0-4,-3 0 3,0 4-3,0-4 3,3 0-1,-3 0 1,0 0 0,0 0 0,4 0 0,-4 0 0,0 3 0,0-3 0,0 0 0,0 0 0,3 0 0,-3 0 0,0 3 1,0-3-1,0 0 0,0 0 0,3 0 0,-3 0 1,0 0-1,0 0 0,0 4-8,4-4 6,-4 0-6,0 0 7,0 0-12,0 0 8,0 0-9,0 0 11,0 3-2,3-3 1,-3 0-1,0 0 0,0 0-26,0 0 18,0 0-20,3 0 30,-3 0-3,0 3 1,0-3 13,0 0-14,4 0 13,-4 0-15,0 0 15,0 0-10,0 4 12,0-4-14,3 0-4,-3 0 3,0 0-2,0 0 4,3 0-2,-3 0 1,0 3-1,0-3 5,4 0-2,-4 0 2,0 0 17,3 0-14,-3 0 15,0 0-20,3 0 7,-3 0-5,4 0 7,-4 0-6,3 0 3,-3 0-3,0-3 5,3 3-4,-3 0 0,4 0-1,-4 0 0,3 0-33,-3-4 24,4 4-26,-4 0 32,0 0 1,3-3-4,-3 3 3,3 0-1,-3 0 0,4-3 1,-4 3-3,0 0 9,3 0-6,-3-4 6,3 4 3,-3 0-8,4-3 9,-4 3-10,0 0 8,3-3-5,-3 3 7,0 0-3,3-4-4,-3 4 5,0 0-5,0 0 1,4 0 0,-4-3-1,0 3 1,0 0-1,0 0 0,3-3 0,-3 3 1,0 0-2,0 0 1,3 0 0,-3 0 0,0 0 0,4-4 0,-4 4-1,0 0 1,3 0 0,-3 0 0,0 0 3,0 0-2,0-3 3,3 3-3,-3 0-1,0 0 1,0 0 0,0 0-1,0 0 0,0-4 1,0 4 0,4 0-2,-4 0 1,0 0 0,0-3 1,0 3-1,3 0 1,-3 0-1,0 0 7,0 0-5,3 0 6,-3 0-7,0-3 3,0 3-2,4 0 2,-4 0-2,3 0 0,-3 0 0,0-4 1,3 4 4,-3 0-3,0 0 4,0 0-10,0 0 3,0 0-3,4 0 5,-4 0-6,0-3 4,3 3-4,-3 0 5,0 0-4,0 0 2,4 0-3,-4 0 9,0 0-4,0 0 4,3 0-6,-3 0 0,0 0 1,3 0 0,-3 0-2,4 0 2,-4 0-1,0 0 1,3 0-2,-3 0 2,0 0-2,3 0 2,-3 0-2,4 0 2,-4 0-3,0 0 3,3 0-19,-3 3 14,0-3-15,3 0 17,-3 0 2,0 0-1,4 0 0,-4 0-13,0 0 7,3 0-8,-3 0-19,0 0 22,3 0-24,-3 0 29,0 0 4,0 0-3,4 0 3,-4 0-6,0 0 0,3 0-1,-3 0 1,0 0-2,0 0 7,3 0-4,-3 0 5,4 0 11,-4 0-11,3 0 12,-3 0-8,3 0-5,-3 0 8,0 4-9,4-4 7,-4 0-4,3 0 3,-3 0-2,3 0-2,-3 0 2,0 0-2,4 0 1,-4 0-28,0 0 20,3 0-21,-3 3-5,4-3 23,-4 0-26,3 0 39,-3 0-9,0 0 8,3 0-13,-3 0 14,4 0-12,-4 0 12,3 0 0,-3 0 4,0 0 1,3 0-2,-3 0-22,0 0 10,4 0-7,-4 0-43,3 0 40,-3 0-43,3 0 52,-3 0-20,0 0 12,4 0-15,-1 0 11,-3 0 30,3 0-26,-3 0 25,4 0-9,-4 0-12,3 0 10,0 0-15,-3 0 38,4 0-25,-1 0 36,0 0-18,-3 0-9,4 0 12,-1 0-13,-3 0 2,4 0 1,-1-3 2,-3 3-6,0 0 1,3 0-2,-3 0 1,4 0-15,-4 0 9,0 0-9,3 0 13,-3 0-39,0 0 27,0 0-29,3 0 23,-3 0 10,4 0-14,-4 0 15,3 0 12,-3 0-9,3-4 8,-3 4-13,4 0 36,-4 0-26,3 0 31,-3 0-29,3 0 7,-3 0-2,4 0 5,-4 0-10,3 0 4,-3 0-2,3 0-1,-3 0-1,0 0 1,4 0 1,-4 0-14,0 0 9,3 0-11,-3 0 14,0 0-12,3 4 8,-3-4-9,4 0 10,-4 0-8,0 0 6,3 0-7,-3 0 8,3 0 3,-3 3-2,4-3 2,-4 0 1,3 0-3,-3 0 4,0 0-3,4 0-1,-4 0 2,3 0-2,-3 0 17,3 0-12,-3 0 15,4 0-18,-4 0 2,0 0-1,3 0 0,-3 0-3,3 0 2,-3 0-2,0 0 3,4 0-4,-4 0 3,3 0-3,-3 0 0,0 0 2,3 0-2,-3 0 2,0 0 0,4 0-1,-4 0 0,3 0-4,-3 0 4,3 0-4,-3 0 5,4 0-11,-4 0 8,0 0-8,3 0 8,-3 0 1,0 0-1,3-3 0,-3 3 5,0 0-4,4 0 4,-4 0-5,0 0 3,3 0-3,-3 0 4,0-4 1,3 4-2,-3 0 4,4 0-5,-4 0 3,3 0-2,-3 0 2,0 0-2,0 0 0,3 0 1,-3 0-1,0 0-7,4 0 5,-4 0-5,0 0 6,0 0-15,0 0 10,3 0-12,-3 0 16,0 0 0,0 0-1,4 0-5,-4 0 7,0 0-7,0 0 6,3 0-16,-3 0 9,0 0-10,0 0 13,3 0-20,-3 0 14,0 0-15,4 0 17,-4 0 17,0 0-12,3 0 13,-3 0 8,0 0-17,3 0 18,-3 0-16,0 0-5,4 0 6,-4 0-7,0 0 5,0 0-3,3 0 7,-3 0-4,0 0-59,0 0 41,0-3-49,3 3 60,-3 0 7,0 0-5,0 0 1,0 0 13,0 0-18,0-3 17,0 3 16,0-4-23,4 4 25,-4-3-33,0 0 12,0 3-8,0-4 15,0 1-13,0 3 12,0-3-8,0 3 7,0-4-7,0 4-5,0-3 3,0 3-3,0-3-10,0 3 10,0-4-11,0 4 14,0 0-33,0 0 21,0-3-26,0 3 38,-4 0-7,4-3 8,0 3-9,0 0 9,0 0-9,0 0 9,0-4-11,0 4 36,-3 0-25,3-3 27,0 3-23,0 0-6,0-3 11,0 3-11,0 0 3,0 0-2,0-4 3,0 4-7,0 0 6,0 0-7,0 0 6,0 0-4,0 0 2,0 0-3,0-3 2,0 3 1,0 0-2,0-4 1,0 4 1,0 0 0,0 0 0,0 0 0,0-3 0,0 3 1,3 0-1,-3 0 0,0-3 0,0 3 0,0 0 0,0-4 7,4 4-5,-4 0 5,0-3-6,3 3 9,-3-3-6,0 3 8,0 0-12,0 0 3,0 0-2,3-4-1,-3 4-13,0-3 10,0 3-10,0 0 8,4 0 5,-4-3-6,0 3 6,0-4-2,0 4 1,3-3-2,-3 3 2,0-3 3,0 3-2,0-4 3,3 4 2,-3 0-4,0-3 4,0 3 6,0 0-8,4-3 10,-4 3-12,0 0 10,0-4-7,0 4 6,0 0-7,0-3-4,0 3 3,0 0-2,0-3 4,0 3-8,0-4 6,0 4-5,0 0 6,0-3 0,0 3-1,0-3-5,0-1 4,0 4-4,0 0 5,0-3-3,0 3 2,0-4-2,0 4 2,0-3-29,0 0 21,0 3-23,-4 0 29,4-4-24,-3 1 17,3 3-22,-3-3 12,3 3 4,-4-4-6,1 1 8,3 0 12,-3 3-11,3-4 9,-4 4 9,1-3-12,0 0 15,3 3-18,-4-4 9,4 4-4,-3 0 6,0-3-3,3 3 30,-4 0-20,1-3 21,3 3-25,-3 0-5,3-4 8,-4 4-9,1-3 2,3 3-1,0-3 1,-4 3-5,4 0 5,-3-4-6,3 4 7,-3 0-6,-1-3 4,4 3-5,-3 0 4,0 0 0,3-4-2,-4 4 2,4 0 20,-3 0-13,0 0 16,-1 0-23,1 0 3,0 0-2,-1 0 3,4 0 29,-3 0-21,0 0 22,-1 0-26,4 0 35,-3 0-23,0 0 25,3 0-30,-4 4-4,1-4 8,3 0-6,-3 0-19,-1 0 13,1 0-17,3 0 9,-4 3 0,1-3-5,0 0 6,3 0-13,-4 0 15,1 0-18,0 0 18,-1 4 2,1-4-2,0 0-2,-1 0 1,1 0 18,0 3-13,-1-3 16,4 0-13,-3 3-2,0-3 3,-1 0-8,1 0 3,3 4-2,0-4 4,-3 0 8,3 0-7,-4 0 7,4 0-6,-3 0-15,3 0 10,-3 0-12,3 0 14,-4 0-14,4 0 11,-3 0-13,-1 0 13,4 0-2,-3 0 1,0 0 3,-1 0-2,4 0 2,-3 0-2,3 0 12,-3 0-8,-1 0 8,4 0-12,-3 0-4,0 0 3,3 0-2,-4 0 5,4 0-8,0 0 5,-3 0-5,0 0-1,3 0 5,0 0-6,-4 0 9,4 0-1,0 0 1,-3 0-2,3 0-3,-3 0 2,3 0-3,0-4 3,-4 4-1,1 0 1,3-3-1,-3 3 2,3 0-4,-4-3 3,1 3-2,-1 0-1,4-4 2,-3 4-1,3 0 1,-3 0-1,-1-3 0,4 3 1,-3 0 0,3-4 0,-3 4 0,3 0 0,-4-3 0,4 3 0,0 0 0,-3 0 0,3-3 0,0 3 0,0 0 0,0-4 17,0 4-12,0 0 14,0 0 20,0-3-26,0 3 28,0 0-33,0 0-13,0 0 12,0-3-10,0 3 13,0 0-44,0 0 33,0 0-35,0-4 43,0 4-9,0 0 4,0-3-5,0 3-12,0 0 13,0 0-20,-3-3 20,3 3-7,0 0 5,0-4-4,0 4 2,0 0-1,0-3 1,0 3 1,0 0 9,0-3-5,0 3 6,0 0-6,0 0 3,0-4-2,0 4 3,0 0-3,0 0-1,0-3 2,0 3 2,0 0-3,0 0 4,0 0-4,0-3 1,0 3 0,0 0 1,0-4-2,0 4-3,0-3 3,0 3-3,0 0 3,0-3-6,0 3 4,0 0-4,0-4 4,0 4 0,0 0 0,0-3 1,0 3 0,0 0 0,0-3-1,0 3-13,0-4 9,0 4-10,0 0 14,-4-3-7,4 3 5,0-4-4,0 4 4,0-3-15,0 3 11,-3 0-12,3-3 14,0 3 9,0 0-6,0-4 5,-3 4 4,3 0-11,0 0 12,0-3-12,-4 3 5,4 0-1,0-3 2,0 3 6,0 0-7,-3-4 9,3 4-8,0-3 2,0 3 0,0-3-1,0 3 0,0-4-12,-3 1 7,3 3-7,0-3 10,0-1-1,0 1-1,0 0 3,0-1-2,0 4 2,0-3-3,0 0-8,0-1 5,0 1-5,0 0 7,0 3-12,0-4 7,0 1-8,0-1 11,0 1-1,0 0-1,0-1 0,0 1 10,0 3-5,0-3 5,0-1-8,0 1 10,0 3-7,0-3 8,0-1-2,3 1-4,-3 0 5,0-1-5,0 1 0,0 3 2,0-3-1,0-1 1,0 1-11,0 0 7,0-1-7,0 1 5,0 0 2,0-1-3,0 1 5,0-1-8,0 1 5,0 0-6,0-1 10,0 1-3,0 0 4,0-1-6,0 1 26,0 3-19,0-3 20,0-1-7,0 1-12,0 0 15,0-1-15,3 1 11,-3 3-4,0-3 4,0-4-18,0 4 7,0-1-6,0 4 10,0-6-27,0 6 18,0-7-21,0 3 26,0 1-23,0 0 16,0-1-19,0 1 22,0-4-18,0 4 12,0 0-15,0-1 21,0 1-8,0 0 8,0-1 4,0 1-7,-3 0 8,3-1-10,0 1 31,0 0-22,0-1 25,0-2-30,0 2 34,0 1-24,0-1 28,0 1-26,0 0-1,0-4 3,0 4-13,0-1 5,0 1-5,3 0 8,-3-1-5,0 1 4,0 3-4,4-3 5,-4-1-9,0 1 6,0 3-7,0-3 7,0 3-4,0-4 2,3 1-4,-3 0 19,0 3-11,0-4 11,0 1-12,0 0-1,0 3 1,3-7 0,-3 3 2,0 1 0,0 0 1,0 3-1,0-4-7,0 1 5,0 0-4,0-1 24,4 1 2,-4 0 2,0-1-5,0 4-24,0-3 7,0 0-4,0-1-12,0 1 14,3 0-15,-3 3 19,0-4-19,0 1 13,0 0-14,0 3 16,0-4-7,0 1 2,3 0-3,-3-1-2,0 1 8,0 3-10,0-4 8,0 1-3,0 0 2,0 3 0,4-4-1,-4 1 0,0 0 0,0-1 1,0 1-2,0 0 2,0 3-2,0-4 2,0 1-20,0 0 14,0-1-15,0 1 18,0 3-8,0-3 4,0-1-5,0 1 11,0 3-3,0-3 2,0-1-4,0 4 0,0-3 0,0 3 0,0-3 3,0 3-3,0 0 4,0-4-3,0 4 8,0-3-5,0 3 7,0-4-9,0 4 6,0-3-4,0 3 5,0-3-20,0 3 11,0-4-12,0 4 19,0-3-4,0 3 4,0-3-4,0 3 4,0-4-3,0 4 2,0-3-4,0 3 5,0-3-3,0 3 4,0-4-5,0 1 4,0 3-2,3 0 3,-3-3-2,0-1 1,0 4-1,0-3-6,0 3 3,0-3-4,0 3 5,3-4-36,-3 4 25,0-3-29,0 3 37,0-3-9,0 3 5,0 0-7,0-4 6,0 4-2,0-3 2,0 3-3,0-3 21,0 3-16,0-4 16,0 4-17,0-3 16,0-1-10,0 1 15,0 3-12,0-3-2,0 3 3,0-4-5,0 4 8,0-3-4,0 0 5,0 3-4,0-4-2,0 1 3,-3 3-3,3 0 1,0-3-1,0 3 0,-3-4 0,3 4 6,0-3-4,0 3 5,-4 0-2,4-3-2,0 3 3,-3-4-5,3 4-1,0 0 3,0-3-3,-3 3 3,3-3-4,0 3 3,-4 0-4,4 0 13,0-4-6,0 4 7,-3-3 9,3 3-14,0 0 15,0-3-18,0 3 18,-3-4-11,3 4 12,0-3-14,-4 3-6,4 0 7,0-4-7,0 4 20,-3 0-11,3-3 11,-3 3-12,3 0-19,0 0 14,0-3-15,-4 3-1,4 0 12,0-4-13,-3 4 16,3 0-11,0-3 5,0 3-6,-3-3 9,3 3 33,0 0-23,-4-4 23,4 4 7,0 0-28,-3-3 30,3 3-32,0 0-10,-3-3 12,3 3-10,0-4-11,-4 4 13,4-3-11,-3 3 17,-1 0-9,4-3 6,-3 3-11,3 0 12,-3-4-9,-1 4 6,4 0-12,-3-3 11,3 3 37,-3 0-26,-1-3 33,4 3-43,-3 0 47,3-4-33,-3 4 39,3 0-26,-4-3-4,1 3 8,0-3-6,3 3-30,-4-4 24,1 4-22,3 0-2,-3-3 14,-1 3-18,1-3 23,0 3-36,3 0 25,-4-4-28,1 4 59,0 0-23,-1 0 22,1-3-30,-1 3 16,1 0-10,3 0 11,-3-4-16,-1 4 3,4 0 0,-3 0 1,0-3 19,3 3-11,-4 0 10,1 0-10,0 0-1,3-3 1,-4 3 4,4 0-27,-3 0 2,0 0-9,3-4 9,-4 4-4,1 0 15,0 0-18,3 0-6,-4-3 14,1 3-18,0 0 22,3 0-7,-4 0-1,4 0-1,-3 0-3,3-3 0,-3 3 2,-1 0-2,4 0-25,0 0 24,-3 0-28,3 0 34,-4 0-49,4 0 33,0 0-38,-3 0-17,3-4 41,0 4-45,0 0 55,-3 0-16,3 0 6,0 0-9,-4 0 9,4 0 20,0 0-20,-3 0 15,3 0 22,-3 0-26,3 0 32,0-3 10,-4 3-30,4 0 32,-3 0-37,3 0 28,-3 0-14,-1 0 19,4 0-23,-3 0 12,0-3-8,3 3 10,-4 0-10,1 0-3,0 0 7,3 0-5,-4 0 1,4-4 0,-3 4-2,3 0 16,-3 0-12,-1-3 12,4 3-15,-3 0 32,3 0-23,-3 0 27,-1 0-31,4 0-3,-3 0 3,3-3-2,-4 3-11,1 0 13,0 0-13,3 0 16,-4 0-12,4 0 7,-3 0-8,3 0 1,-3 0 6,3 0-10,-4 0 9,4 0 49,-3 0-35,0 0 40,-1 0-50,4 0 17,0 0-12,-3 0 17,0 0-18,3 0-15,-4 0 13,4 0-12,-3 0-7,3-4 19,-3 4-21,3 0 23,-4 0-11,4 0 5,0 0-7,-3 0 4,3 0 4,0 0-8,0 0 5,-3 0-22,3 0 17,0 0-15,-4 0 19,4 0-79,0 0 15,-3 0-68,3 0 72,-3 0-405,-1 0 355,4 0-310,-3 4 419,-1-4 0,4 3 0</inkml:trace>
  <inkml:trace contextRef="#ctx0" brushRef="#br0" timeOffset="188">1768 5260 9502,'0'3'-93,"0"-3"45,-4 0-74,4 3 59,0-3-2,0 0 59,0 4 9,-3-4 61,3 3-4,0-3-5,0 0 6,-3 3 14,3-3-11,0 0 11,-4 4-15,4-4-18,-3 3 21,3-3-29,-3 4 36,3-1-13,-4 0 10,1-3 3,0 4-54,3-1-18,-4 0 0,1 1-42,0-1 40,-1 4-11,1-4 18,0 4-16,-1-4 41,4 0-53,-3 4 51,3 0-21,-4-4 18,4 4-26,-3-4 12,3 4-16,0 0 11,0-1 51,-3-2 24,3 2 1,-4 1-8,4-4-43,-3 4-3,3-4 12,-3 1 1,3-1-65,-4 4 50,4-4-58,-3 4 66,3-7-52,0 3 35,0 1-40,0-4-1,0 3 33,0 0-44,0-3 36,0 4-6,0-4 1,0 3-1,0-3 15,0 3-9,0 1 10,3-1-6,-3-3 31,0 3-22,0 1 24,0-1-39,0 0 6,0 1-3,0-1-24,0-3 25,0 3-26,-3 4 31,3-4-35,0 1 24,0-4-27,0 3 30,0 1-11,-3-4 4,3 3-7,0-3 5,0 3 10,0-3-11,0 4 10,0-4-7,0 3 2,0-3 0,0 0 9,0 3-8,0-3 9,0 4-9,0-4 2,0 3-1,0-3 0,0 3 1,0-3-24,0 4 17,0-4-18,0 3 21,0-3 6,0 3-6,-4-3 6,4 4-8,0-4 19,0 0-15,-3 0 7,3 0-11,0 3-6,-3-3 8,3 0-53,0 0 38,0 0-39,-4 0 52,4 0 9,0 0-7,0 0 1,0 0-6,0 0 52,0 0-37,0-3 41,0 3 4,0-4-41,0 4 45,0-3 20,0 0 19,0-1 15,0 1-22,0-4-6,4 4 4,-4-4 27,3 1-25,0-1-51,1-3 3,-1 0 1,0 0 13,1-4-88,2 1 11,1-4-91,-4 4-344,4-4 322,0 0-283,0 4 424,3-4 0,-4 0 0</inkml:trace>
  <inkml:trace contextRef="#ctx0" brushRef="#br0" timeOffset="189">1751 5290 8355,'0'3'-14,"0"-3"14,-3 0-8,3 0 78,0 0 42,0 0 161,0 0 30,0 0 28,0 0-83,0 0-118,0 0-9,0 0-63,-4 0-9,4 0 1,0 0-38,0 0 49,0 4-24,0-4 14,0 0-19,0 0 14,0 3-46,-3-3 33,3 0-36,0 3 7,0-3 27,0 4-37,0-4 12,0 0 16,0 3-18,0 0 24,0 1 32,0-4-26,0 3 25,0 0-29,0 1 10,0-1-6,0 0 7,0 1-9,0-1-11,0 4 15,0-4-13,0-3 24,0 7-12,0-4 10,0-3-34,0 7 22,0-7-21,0 3 23,0 1-28,0-1 15,0-3-17,3 3 21,-3-3-36,0 4 26,0-1-29,0-3 35,0 0-33,4 3 23,-4 1-29,0-4 33,0 3-8,0-3 5,0 3 39,3 1-26,-3-4 31,0 3-41,0 0 20,3-3-14,-3 4 19,0-1-20,0-3 14,4 3-9,-4-3 12,0 4-15,0-1-6,0-3 8,3 0-8,-3 4-34,0-4 30,0 0-36,0 3 20,0-3 19,3 0-25,-3 0 27,0 0-42,0 3 29,0-3-32,0 0 37,4 0 7,-4 0-5,0 4 3,0-4-10,0 0 41,0 0 15,3 0 4,-3 0-5,0 0-39,0 3 0,0-3-33,0 0 24,3 0-24,-3 3 34,0-3-52,0 0 36,0 0-37,0 0 45,0 4-40,0-4-27,0 0 4,0 3-19,0-3 56,0 0-23,0 0 19,0 0-3,0 0 7,0 3-4,0-3 29,0 0-22,4 0 22,-4 0-24,0 4 24,0-4-14,0 0 16,0 3-17,0-3 7,0 0-1,0 0 5,3 0-7,-3 0 2,0 3-2,0-3 3,0 0-4,0 0 0,0 0 1,0 0-65,0 4 47,0-4-50,0 0 60,0 0-34,0 0 21,3 0-26,-3 0 29,0 0 19,0 0-17,0 3 16,0-3-5,0 0-11,0 0 9,4 0-13,-4 0 49,0 3-33,0-3 40,0 0-11,0 0-20,3 0 24,-3 0-24,0 0-4,0 4 6,0-4 0,0 0-2,0 0-9,0 0 5,0 3-7,0-3 9,0 0-10,0 0 7,0 0-8,0 0 5,0 3 0,0-3-1,0 0-1,0 0 3,0 4-3,0-4 3,0 0 0,0 3 0,0-3 0,0 0 0,0 3 0,0-3 0,0 4 0,0-4 0,0 0 0,0 3 0,0 1 0,0-4 0,0 0 0,0 3 0,-3 0 0,3-3 0,0 4 0,-4-1 0,4-3 0,-3 3 0,3 1 0,0-1 0,0-3 0,-3 3 0,3-3 0,0 4 0,-4-1 12,4 0-8,0-3 9,0 4-13,0-4 1,-3 3-1,3-3 2,0 3 0,0 1 0,0-4 0,0 3-2,0-3 2,0 3-2,0 1 3,0-4-6,0 3 4,-3-3-4,3 3 1,0-3 2,0 4-3,0-4 3,0 3 17,0-3-12,-4 4 13,4-4-11,0 3-3,0-3 4,0 3-5,-3 1-6,3-4 6,0 3-7,0-3 9,0 3-27,-3-3 19,3 4-19,0-4 24,0 3-15,0-3 9,0 0-11,0 3 20,0 1-5,-4-4 2,4 3 41,0-3-36,0 3 38,0-3-45,0 4 36,0-1-22,-3-3 25,3 3-26,0-3-12,0 4 13,-3-4-10,3 3 2,0-3 3,0 3-4,0-3 7,0 4-29,-4-4 21,4 3-25,0-3 10,0 3 10,0-3-14,0 0 13,0 4-2,0-1 0,-3-3-3,3 4 5,0-4 12,0 3-8,0 0 10,0-3 12,-3 0-16,3 4 19,0-1-24,0-3-1,0 3 3,0 1-2,0-4-5,0 3 5,0-3-4,0 3 6,0-3-9,-4 4 7,4-1-9,0-3 11,0 3-11,0-3 7,0 4-10,0-4 8,-3 3-1,3 0-1,0-3 2,0 4-4,0-4 2,0 3-1,0-3 3,0 3 1,0-3-1,0 4 1,-3-4 0,3 3 0,0 0 0,0-3-1,0 4 10,0-4-8,0 3 9,0-3-10,0 4 1,0-4-1,0 3 2,0-3-27,0 3 19,0-3-20,0 4 10,0-4 11,0 0-13,0 3 15,0-3 1,0 3-3,0-3 1,0 4-2,-4-4 9,4 3-7,0-3 5,0 3 5,0-3-10,0 4 11,0-4-11,0 3 12,0-3-8,0 0 11,0 3-10,0-3 1,0 4 1,0-4-2,0 3-1,4-3 1,-4 0-1,0 3 0,0-3 1,0 4-1,0-1 0,0-3-4,0 0 3,0 3-4,0-3 5,0 4 0,0-4 0,0 0-1,0 0-32,0 3 23,0-3-23,0 0 29,0 3 5,0-3-5,0 0 4,0 0-6,0 4 30,0-4-23,0 0 23,0 0-10,0 3-12,0-3 14,3 0-18,-3 4 9,0-4-6,0 0 10,0 0-12,0 0 7,0 0-6,3 3 9,-3-3-14,0 0 10,0 0-11,0 0 10,4 3-9,-4-3 5,0 0-7,0 0 6,0 0-1,0 0 0,0 0 2,3 4 0,-3-4 0,0 0 0,3 0 0,-3 3 0,0-3 0,0 0 0,4 0-8,-4 0 6,0 3-6,0-3 8,0 0-11,0 0 7,3 4-7,-3-4 11,0 0-2,0 3 3,3-3-4,-3 0 5,0 0-4,0 0 4,0 3-2,0-3-2,4 0 2,-4 0-3,0 0 21,0 4-15,0-4 18,3 0-21,-3 0 11,0 0-7,0 3 8,0-3-23,0 0 13,3 0-13,-3 3 14,0-3-21,0 0 16,0 0-18,0 4 19,0-4 0,0 3-2,0-3 2,0 0-1,0 0 0,4 0-3,-4 0 2,0 3 11,0-3-8,0 0 10,0 0-7,0 4-3,0-4 4,0 0-2,0 0-1,0 3 1,0-3 0,0 0-15,0 0 10,0 3-10,0-3 13,0 0-6,0 4 4,0-4-4,0 0 3,0 3 3,0-3-4,0 3 3,0-3 2,0 0-2,0 4 3,0-4-5,0 0 5,0 3-3,0-3 5,0 4-6,0-4 3,0 3-2,0-3 2,0 3-1,0-3 0,0 4 0,0-4-1,0 3 1,0 0 0,0-3 0,0 4 0,0-1 0,0-3 0,0 3-1,0 1 2,0-1-1,0-3 0,0 3 0,0 1 11,0-1-8,0 0 9,0-3-13,0 4 3,0-1-3,0 0 3,0 1-6,0-4 4,0 3-4,0 0 6,0 1-3,0-1 2,0-3-1,0 4 13,0-4-9,0 3 10,0 0-13,0-3 25,0 4-17,0-1 20,0-3-30,0 3 5,-4-3-3,4 4 5,0-4-22,0 3 16,0 0-18,0 1 23,0-1-11,0-3 7,0 3-10,0 1 11,0-4-8,0 3 6,0 0-10,-3 1 11,3-4-7,0 3 7,0 0-4,0 1 2,0-4 0,0 3 0,0 0 0,0-3 1,0 4 0,0-4 0,0 3-19,0-3 13,0 4-16,0-4 19,-3 3-1,3-3 1,0 0-2,0 3-9,0-3 4,0 4-5,-4-4 5,4 0 3,0 3-3,0 0 3,0-3 7,-3 4-5,3-4 7,0 3 4,-3 0-8,3-3 9,0 4-11,0-4 14,-4 3-10,4 0 11,0 1-4,-3-4-7,3 3 10,-3-3-9,3 3 0,0-3 2,0 4-2,0-4 2,-4 0-30,4 3 21,0-3-22,0 0 27,0 3 0,-3-3-2,3 0 0,0 4 1,0-4 0,-3 3-1,3-3 7,0 0-8,0 3 8,-4-3-8,4 4 7,0-4-3,-3 3 4,3-3-4,-3 4 10,3-4-5,-4 3 6,4 0-9,0-3-1,-3 4 0,3-4 1,0 3-3,-4-3 2,4 3-1,-3-3-1,3 4 2,0-4-2,0 3 2,-3-3-2,3 3 1,0-3-1,0 4 1,-4-4-1,4 3 0,0-3 0,-3 0-3,3 3 2,0 1-2,0-4 3,0 0-9,-3 3 7,3-3-8,0 3 12,-4-3-3,4 4 3,0-4-4,-3 3 5,3-3-3,0 3 3,0-3-4,-3 4 3,3-4-3,0 3 4,0-3-5,0 4 2,0-4-2,-4 3 3,4 0 0,0-3-1,0 4 1,0-1 0,0-3 0,0 3 1,-3 1-2,3-4 1,0 3 0,0 0 1,-3-3-2,3 4 2,0-1-1,0-3 1,0 3-4,0 1 3,-4-4-3,4 3-3,0-3 4,0 3-4,-3 1 5,3-4 0,0 0 0,0 3 1,0 0-2,0-3 4,0 4-2,0-1 2,0-3-3,0 0 26,-3 3-19,3 1 21,0-4-1,0 3-17,0-3 19,0 4-21,0-4 1,0 3 1,0-3-1,0 0-4,0 3 3,0-3-2,0 4 5,0-4-7,0 0 5,0 0-6,0 3 6,0-3-17,0 0 9,0 3-11,0-3 3,0 0 9,0 4-9,0-4 11,0 3-7,0-3 4,0 3-5,0-3 11,0 0-5,0 4 5,0-1-6,0-3 23,0 0-16,0 3 17,0-3-20,0 4 1,0-4 1,0 3 0,0 0-8,0-3 5,0 4-3,0-4 5,0 3-9,0 0 7,0-3-8,0 4 0,0-1 6,3-3-6,-3 0 6,0 3-4,0 1 2,0-4-3,0 3 3,0 1 0,0-4 0,0 0 1,3 3 0,-3-3 0,0 3 0,0 1 0,4-4 0,-4 3 0,0-3 0,0 3 9,0-3-7,3 4 8,-3-1-9,3-3 0,-3 3 0,0-3 0,0 4 0,0-1 2,0-3-1,4 3 1,-4 1-5,0-4 4,0 3-4,0-3 4,0 3-2,0 1 1,0-4-1,0 3 1,3 0-4,-3-3 3,0 4-3,0-4 2,0 3 1,3-3 0,-3 0 0,0 3-1,0-3 1,4 0 0,-4 4 0,0-4 0,0 0 0,0 3 0,0-3 0,3 0 2,-3 4-2,0-4 3,0 0 11,0 0-10,0 3 11,0-3-7,0 0-5,0 0 6,3 3-5,-3-3-11,0 0 7,0 4-7,4-4-12,-4 0 17,0 0-18,0 3 20,0-3-18,3 0 11,-3 0-12,0 3 18,0-3-2,0 0 1,3 0-5,-3 4 7,0-4-5,0 0 5,0 3-6,4-3 12,-4 3-7,0-3 9,0 0-8,0 0-3,0 4 4,0-4-2,3 0-13,-3 3 9,0-3-10,0 0 17,0 3-4,0-3 3,0 4-5,0-4 7,0 0-5,4 3 4,-4-3-5,0 0 3,0 3-2,3-3 3,-3 0 2,0 4-3,3-1 5,-3-3-6,0 0-15,0 3 11,4-3-13,-4 4 7,0-4 5,0 0-6,0 3 7,3-3 5,-3 3-6,0-3 5,0 4-6,0-4 12,0 0-8,3 3 8,-3-3-6,0 0-2,0 4 4,0-4-4,0 0 2,4 3-2,-4-3 5,0 0-5,0 3 3,0-3-3,0 0 2,0 0-4,0 0 2,0 4-3,0-4 4,0 0-4,0 0 3,0 3-3,0-3-22,0 0 17,0 0-19,0 0 24,0 0-13,0 3 8,0-3-11,0 0 24,0 0-8,0 4 7,0-4-10,0 0 21,0 0-16,0 0 17,0 0-22,0 0 29,0 3-19,0-3 24,0 0-14,0 0-5,0 0 8,0 3-9,0-3-2,0 0 4,0 0-3,0 0-3,0 4 3,0-4-3,0 0 2,0 0-7,0 3 6,0-3-7,0 0 8,0 0-10,0 3 7,0-3-7,0 0 6,0 0 0,0 0 0,0 4 0,0-4-5,-4 0 3,4 3-4,0-3-1,0 0 5,0 3-6,0-3 7,0 0 1,-3 4-1,3-4 1,0 0-2,0 3-8,0-3 5,-3 0-5,3 3-1,0-3 7,0 4-8,-4-4 9,4 3 1,0-3-1,0 3 1,-3-3 7,3 4-6,0-4 7,0 3-10,0-3 9,-3 4-6,3-4 7,0 0-8,0 3 4,0-3-2,-4 0 2,4 3-13,0-3 7,0 4-5,0-4 9,0 3-12,0-3 8,0 0-11,0 3 11,0-3-2,0 0 1,0 4 0,0-4 10,0 0-7,0 0 7,0 0-10,0 3 16,0-3-11,0 0 11,0 0-9,0 0-3,0 3 6,4-3-5,-4 0 6,0 0-5,3 0 4,-3 0-3,0 0 0,3 4-1,-3-4 1,0 0-1,0 0 0,4 0 0,-4 0 0,0 3-6,0-3 5,3 0-6,-3 0 7,3 0-1,-3 0 1,0 0-1,4 0 1,-4 3-1,0-3 1,3 0 9,-3 0-8,0 0 9,3 0-10,-3 0 4,0 0-3,0 0 4,4 0-4,-4 0-6,0 4 5,0-4-4,0 0 2,0 0 4,0 0-4,0 0 3,0 0-3,0 3 2,0-3-1,0 0 1,0 0 0,0 0-1,0 3 1,0-3 13,-4 0-10,4 0 12,0 0-14,0 4 3,0-4-2,-3 0 3,3 3-7,0-3 4,-3 3-4,3-3 5,0 0-5,0 4 3,-4-4-3,4 0-2,0 3 4,0-3-4,-3 0 5,3 3-2,0-3 0,0 0 0,-3 0 0,3 4 1,0-4 0,0 0 0,0 3 7,-4-3-6,4 4 7,0-4-8,0 0 16,0 3-11,-3-3 13,3 3 4,0-3-14,0 4 16,0-4-18,0 0-7,0 3 7,-3-3-7,3 3 9,0-3-8,0 0 8,0 4-8,0-4-6,0 3 9,0-3-12,0 0 14,0 3-15,0-3 11,0 4-14,0-4 3,0 0 5,0 3-6,0-3 9,-4 3-3,4-3 1,0 4-2,0-4 3,0 3 5,0-3-5,0 0 4,0 3-4,0-3 2,0 4-2,0-4 2,0 3-15,0-3 10,0 0-10,0 3 13,-3-3-16,3 4 12,0-4-14,0 3-4,0 0 13,-4-3-16,4 0 20,0 4 6,0-1-6,-3-3 5,3 4 12,0-4-15,0 3 16,0-3-18,-3 3 8,3-3-4,0 4 6,-4-4 7,4 0-11,0 3 13,0-3-14,-3 3 9,3 1-6,0-4 7,0 0-7,0 3 10,0-3-7,0 3 6,-3-3-10,3 0 2,0 4-1,0-1 1,0-3-2,0 3 1,-4-3 0,4 4 0,0-1 0,0-3 1,0 0 0,0 3-3,-3 1 3,3-4-3,0 3 3,0-3 2,0 3-2,0 1 2,0-4 1,0 3-3,0-3 3,0 3-1,0-3-2,0 4 2,0-4-2,0 3 17,0-3-11,0 4 12,0-4-16,0 0 6,0 0-3,0 3 4,0-3-5,0 3 8,0-3-5,0 0 7,0 4-8,0-4-1,0 0 0,0 0 3,0 3-11,0-3 7,0 0-7,0 3 19,0-3-8,0 0 8,0 0-11,0 0-10,0 4 6,0-4-7,0 0 10,0 0-5,0 3 4,0-3-3,0 0-20,0 0 17,0 0-19,0 3-7,0-3 21,0 0-23,0 0 27,0 4-11,0-4 5,0 0-10,0 3 11,0-3 11,0 0-7,0 0 9,3 0-13,-3 3 17,0-3-12,0 0 13,0 0-8,0 4-6,0-4 9,0 0-5,0 0-4,0 0 5,0 3-8,4-3 8,-4 0-1,0 0 0,0 3-1,0-3-1,0 0 1,0 4-1,0-4 0,3 0-6,-3 0 5,0 0-5,0 0 9,0 0-2,0 0 3,3 3-4,-3-3 7,4 0-4,-4 0 5,0 0-4,3 0-2,-3 0 2,0 0-2,0 0-7,3 0 5,-3 0-4,0 0 6,4 0-12,-4 0 8,0 0-11,3 0 16,-3 0-3,0 0 2,4 0-4,-4 0 4,3 0-4,-3 0 3,3 0 4,-3 0-4,4 0 5,-4 0-7,3 0 7,-3 0-5,3 0 7,-3 0-7,4 0 6,-4 0-5,0 0 4,3 0-3,-3 0-1,3 0 0,-3 0-1,4 3 1,-4-3 0,0 0 1,3 0-1,-3 0 0,3 0 0,-3 0 0,0 0 0,4 0 0,-4 0 0,0 0-1,3 0 1,-3 0 0,0 0 0,3 0 0,-3 0 0,4 0 0,-4 0 0,0 0 1,3 0 0,-3 0 0,0 0 9,3 0-7,-3 0 8,4 0-10,-4 0-1,0 0 1,3 0 0,-3 0 1,3 0-2,-3 0 1,4 0 0,-4 0-2,3 0 2,-3 0-2,4 0-1,-4 0 3,0 0-3,3-3 3,-3 3-17,0 0 12,3 0-12,-3 0 14,4 0-8,-4 0 4,0 0-5,3 0 9,-3 0-1,3 0 1,-3 0-2,0 0 7,4 0-5,-4 0 4,3 0 2,0 0-7,-3 0 8,4-3-7,-4 3 1,3 0-1,-3 0 2,3 0-1,-3 0-22,4 0 16,-1 0-19,-3 0 23,3 0 3,-3 0-3,0 0 2,4 0-2,-4 0-4,3 0 3,-3 0 0,0 0-1,0 0 1,3 0-1,-3 0-20,4 0 14,-4 0-13,0 0 18,0 0-15,3 0 11,-3 0-12,0 0 14,4 0-2,-4 0 1,0 0-3,3 0 22,-3 0-17,0 0 16,3 0-9,-3 0-7,4 0 8,-4 0-9,0 0 20,3 0-15,-3 0 19,3 0-20,-3 0 12,4 0-7,-4 0 6,0 0-5,3 0-1,-3 0 1,3 0-2,-3 0 0,0 0 1,0 0-1,4 0 0,-4 0 0,0 0 0,3-4 0,-3 4 0,0 0 0,3 0 0,-3 0 0,0 0 0,4 0 0,-4 0 0,0 0 0,3 0 0,-3 0 0,3 0 0,-3 0 0,0 0 0,0 0 0,4 0 0,-4-3 11,3 3-8,-3 0 9,0 0-5,0 0-4,3 0 5,-3 0-5,4 0-3,-4 0 3,0 0-1,3 0-6,-3 0-2,0 0 0,3 0 0,-3 0 4,4 0 2,-4 0-4,0 0 4,0 0-1,3 0 1,-3 0-3,0 0 4,0 0-3,4 0 3,-4 0-2,0 0 1,0 0 0,0 0 2,3 0-2,-3 0 1,0 0 0,0 0-1,0 0 0,0 0 0,0 0 0,0 0 0,3 0 0,-3 0 0,0 0-25,0 0 17,0 0 53,0 0-24,0 0 53,0 0-62,0 0-22,0 3 15,-3-3-16,3 0 2,0 0 11,0 4-15,0-4 16,0 0-11,0 0 8,-3 0-6,3 3 34,0-3-19,0 0 21,0 3-28,0-3 7,-4 0-3,4 0 5,0 4-5,0-4 14,0 0-7,0 0 8,0 0-8,0 0 2,0 0 1,0 3 1,0-3-27,0 0 14,0 0-16,0 0-25,0 0 32,0 0-34,0 4 39,0-4-1,0 0-1,0 0-2,0 0 0,0 0 2,0 0 37,0 0-24,0 0 54,0 3-49,0-3 14,0 0-18,4 0-17,-4 0 12,0 0-12,3 0 16,-3 0-20,0 0 16,3 0-17,-3 0 4,4 0 8,-4 0-12,3 0 12,-3 0-2,3 0-3,-3 0 1,4 0-6,-4 0 8,3 0-7,-3 0 7,3 0 0,-3 0 0,4 0 0,-1 0-1,-3 0 1,3 0 0,-3 0 1,4 0-1,-1 0 0,0 0 0,-3 0 0,4 0 0,-1 0 0,0 0 1,-3-3-1,4 3 0,-4 0 0,3 0 0,0 0 0,-3 0 0,4 0 0,-4 0 0,3 0 1,1 0 0,-4 0 1,3 0-2,-3 0 0,3 0 0,-3 0 0,0 0-6,4 0 5,-4 0-5,0 0-6,3 0 9,-3 0-9,3 0 10,-3 0-2,0 0 1,4 0-2,-4 0 2,3 0-10,-3 0 7,3 0-8,-3 0 8,4 0 10,-4 0-8,3 0 8,-3 0-17,3 0 6,-3 0-6,4 0-17,-4 0 19,0 0-20,3 0 22,0 0 1,-3 0-2,4 0 0,-4 0 0,3 0 9,-3 0-8,3 0 7,-3 0 11,4 0-13,-4 0 14,3 0-20,0 0 21,-3 0-15,4 0 18,-4 0-31,3 0 12,-3 0-11,0 0 15,4 0-6,-4 0 5,3 0-6,-3 0 4,3 0-32,-3 0 21,0 0-23,4 0 34,-1 0-3,-3 0-1,0 0-2,3 0-4,-3 0 3,0 0-3,4 0 23,-4 0-16,3 0 16,-3-4-18,0 4 4,3 0-2,-3 0 3,0 0-3,0 0 8,4 0-5,-4 0-77,0 0 36,0 0-52,0 0 68,0-3 15,0 3 24,0 0-17,0 0 21,3 0-3,-3 0-13,0 0 15,0 0-17,3 0 10,-3 0-5,0 0 7,4 0-6,-4 0-5,0 0 6,3 0-6,-3 0-18,0 0 13,3 0-13,-3 0 18,4 0-1,-4 0 0,0 0-3,3 0 11,-3 0-8,3 0 8,-3 0-10,4 0 10,-1 0-7,-3 0 9,3 0-17,-3 0 6,0 0-5,4 0 7,-4 0 4,0 0-3,3 0 4,-3 0-4,0 0 44,4 0-32,-4 0 34,0 0-65,3 0 18,-3 0-17,0 0 23,0 0-33,0 0 23,3 0-33,-3 0 49,0 0-12,0 0 15,0 0-10,0 0-1,0 0-4,0-4 4,0 4-4,0-3-10,0 3 11,0-3-11,0-1 14,0 1-8,0 3 5,0-3-6,0 3 8,0-4-3,0 1 3,0 3-4,0-3-13,0 3 8,0-4-9,0 4 13,0-3 0,0 3-1,0 0 1,0-3 12,0 3-9,0 0 9,0-4-12,0 4 26,0 0 45,0 0-26,0 0 23,0 0-66,0 0 3,0 0-3,4 0 2,-4 0-4,0 0 2,0 0-2,0-3-24,3 3 20,-3 0-23,0-3 29,0 3-8,3 0 6,-3-4-8,0 4 6,4-3 2,-4 3-3,0-3 5,0 3 6,0-4-8,0 4 9,3-3-12,-3 3 8,0 0-5,0-4 7,0 4 2,0 0-4,0-3 6,0 3-7,0-3 1,0 3 0,0 0 1,0-4-2,0 4 8,-3-3-6,3 3 7,0 0 18,0 0-19,-4 0 22,4-3-26,-3 3 34,3 0-24,0 0 27,-3 0-39,3-4 7,0 4-6,-4 0 9,4 0-1,0-3 2,-3 3-1,3 0 1,-3 0-11,3 0 7,-4 0-9,4-3-6,-3 3 13,3 0-15,-4 0 16,4 0-4,0-4 3,-3 4-5,3 0 6,-3 0-3,3-3 4,-4 3-3,4 0-10,-3 0 7,3 0-6,-3-3 8,3 3-8,0-4 6,-4 4-7,4 0 5,0-3 1,-3 3-2,3-3 1,0 3 21,-3 0-15,3-4 15,0 4-6,0-3-8,-4 3 10,4-3-12,-3 3 17,3 0-12,0-4 14,-3 4-15,3 0-13,-4-3 8,4 3-8,-3 0-2,3-3 11,-3 3-11,-1 0 11,4 0 1,-3 0-3,3 0 2,-3-4 5,-1 4-3,1 0 3,3-3-6,-3 3-7,-1 0 6,1 0-5,-1-4 7,4 4-2,-3 0 1,0 0 1,-1 0-8,1-3 5,3 3-6,-3 0 7,-1 0 16,1-3-13,3 3 13,-3 0-13,3 0-1,-4 0 1,1 0-2,0-4-7,3 4 6,-4 0-5,4 0 8,-3 0-11,3-3 7,-3 3-6,3 0 1,-4 0 6,4-3-6,-3 3 5,3 0 23,-3-4-18,-1 4 19,4 0-29,-3 0 5,3-3-3,-3 3 5,-1 0-3,1 0 4,3-3-4,-4 3 6,4 0 4,-3-4-3,0 4 4,3 0-4,-4 0-3,1 0 3,3 0-3,-3-3-11,3 3 9,-4 0-9,1 0 2,3 0 7,-3-3-7,3 3 8,-4 0-8,4 0 5,0 0-5,-3 0 5,3 0-1,0 0-2,-3-4 0,3 4 5,-4 0-2,4 0 3,0 0-3,-3-3 5,3 3-4,-3 0 6,3 0-9,-4 0 2,4 0-1,-3-3 2,3 3-3,-3 0 2,3 0-3,-4 0 4,4 0-4,-3 0 3,3-4-4,0 4 3,-3 0 0,3 0-1,0 0 1,-4 0 1,4-3 0,0 3 0,0 0 0,-3 0-1,3 0 0,0 0 0,0 0-6,0 0 4,0 0-4,0-3 5,0 3 1,0 0-10,0 0 5,0 0-42,0 0 35,0 0-28,0 0 36,0 0-4,0-4 3,0 4-4,0 0 1,0 0 18,0 0-13,0 0 12,0-3 2,0 3-15,0 0 16,0 0-16,0-3 9,0 3-4,0 0 6,0 0-4,0-4-3,0 4 7,0 0-6,0-3-3,0 3 1,0 0-4,0 0 6,0-4-3,0 4 2,0 0-3,0-3 3,0 3-1,0 0 1,0-3-1,0 3 2,0 0-2,0-4 2,0 4-3,0 0 1,0-3-1,0 3 2,0 0-18,0-3 12,0 3-12,3 0 16,-3 0-16,0-4 10,0 4-11,0 0 13,0 0 1,0 0-2,0 0 0,0 0 12,0 0-9,0-3 10,0 3-1,0 0-8,0 0 11,0-3-11,0 3 7,0 0-3,4 0 4,-4 0-4,0-4 0,0 4 0,0 0 0,0 0-1,0 0 1,0-3 0,0 3-1,0 0 0,0 0 0,0 0 0,0 0-12,0-3 8,0 3-9,0 0 11,0 0 4,0 0-3,0 0 3,3-4-4,-3 4 4,0 0-3,0 0 3,0 0-13,0 0 6,0 0-5,0 0 8,0-3-14,0 3 10,0 0-11,0 0 18,0 0-4,0 0 4,0 0-7,0-3 4,0 3-3,0 0 2,0 0-2,0 0 6,0 0-4,0 0 6,0-4-7,0 4 1,0 0 0,0 0 2,0 0 0,0-3 0,0 3 3,0 0-5,0 0-5,0 0 2,0 0-15,0 0 16,0-3-9,0 3 10,0 0 1,0 0 0,0 0 0,0 0 5,0 0-6,0 0 6,0-4-7,0 4 0,0 0-3,0 0-38,0 0 25,0 0-68,0-3 18,0 3-86,0 0-124,0 0 49,0 0-13,0 0-44,0 0 217,0 0-128,0 0 200,0-3 0,-3 3 0</inkml:trace>
  <inkml:trace contextRef="#ctx0" brushRef="#br0" timeOffset="190">7617 5524 9038,'10'0'-84,"-7"0"447,1 0-128,-1 0-147,0 0-42,1 0-120,2 0 35,-2-3 54,2-4 10,1 1-20,0-1 54,-1-3-60,1 0 64,3-7-49,-3 4-6,3-4-8,0 0 15,0 0-31,0 1-25,0-1-2,0 3 6,-3 1 23,-1 3-34,-2 0 9,3 0-159,-7 7 92,3-1-111,0 1 127,-3 3 39,-3 0 51,3 3 0,-3 1 0</inkml:trace>
  <inkml:trace contextRef="#ctx0" brushRef="#br0" timeOffset="191">1751 5323 9502,'-3'-3'-397,"3"3"292,0 0 44,0 0-107,0-3 318,0 3-77,0 0 170,0 0-141,0 3-48,0-3 7,-4 3-6,4 1 0,0-4-13,0 3 16,0-3-14,0 3 14,0 1-8,0-4 3,0 3-4,0 0-20,0 1 14,0-1-19,0-3 22,0 3 27,0 1-20,0-1 27,0-3-81,0 4 40,0-1-42,0 0 36,0 1 8,0-4-5,0 3 7,4 0-23,-4 1 14,0-1-24,0 0 27,0 1-16,0-1 11,0 0-13,0 1 24,3-1-13,-3 0 11,0-3-7,0 4 13,0-4-5,0 3 4,3-3-49,-3 3 26,0-3-24,0 4 34,0-1-55,4-3 37,-4 4-45,0-1 59,0-3-27,0 3 19,3 1-26,-3-4 49,0 3-24,0-3 21,0 3-18,3-3-5,-3 4 7,0-4-8,0 3-14,4-3 17,-4 0-15,0 3 25,0-3-24,3 0 16,-3 4-17,0-4 17,3 0 33,-3 3-26,0-3 24,4 0-12,-4 0-14,3 0 20,-3 3-25,0-3 1,0 0 0,3 0 1,-3 0-23,4 0 27,-4 0-27,0 0 34,3 4-86,-3-4 15,0 0-72,0 0 59,0 3-12,0-3 40,0 3-9,4-3 26,-4 0 1,0 4-6,0-4-2,0 0 30,0 0 19,0 3 4,0-3 5,3 0-41,-3 0 9,0 0-1,0 0 5,0 0 6,3 0-3,-3 0 0,0 0-45,0 3 31,0-3-33,0 0-8,0 0-15,0 0-31,4 0 46,-4 0-78,0 0 91,0 0-53,0 0 56,0 4 26,0-4-23,-4 0 34,4 0-24,0 0 32,0 3-16,0-3-8,-3 0 10,3 3-9,0-3 28,0 4-15,-3-4 18,3 0-30,0 3-2,-4 1 1,4-4 1,0 3 21,-3 0-15,3 1 17,-4-1-19,4 0-12,-3 1 8,3-1-10,0-3 3,-3 3 7,3 1-7,0-1 6,0 0-14,-4 1 10,4-1-10,0-3 25,-3 3-8,3 1 8,0-1-12,0 0 22,0 1-15,-3-1 17,3 0-21,0 1-4,0-1 4,-4 1-2,4-1-8,0 0 11,-3 1-11,3-1 13,0 0 4,0 1-4,0-4 3,-3 3-22,3 0 12,0-3-14,0 4 16,0-4-8,0 0 6,0 3-6,-4-3 7,4 0 7,0 3-5,0-3 6,0 0 6,0 4-9,-3-1 9,3-3-12,0 3 19,-3-3-13,3 4 17,0-1-27,0 0 8,-4-3-7,4 4 9,0-1-22,0-3 16,-3 3-16,3 1 18,-3-1-17,3-3 10,0 4-12,0-4 15,0 3 2,0-3-6,0 3 4,-4-3 0,4 0 0,0 4 4,0-4-5,0 3-5,0-3 4,0 0-3,0 3 1,-3-3 4,3 4-4,0-4 5,0 3-9,0-3 5,-3 3-6,3-3-9,0 4 11,0-1-13,0-3 15,0 3-1,-4-3 0,4 4 0,0-1 0,0-3 0,0 3 0,0 1-1,0-4 3,0 3-2,0-3 2,0 3-3,0 1 5,0-4-2,0 3 2,0-3-1,0 3-2,0-3 3,0 0-3,0 4-2,0-4 1,0 0-4,0 3-10,0-3 11,0 0-11,0 4 13,0-4 4,0 0-3,0 3 1,0-3-3,0 3 16,0 1-11,0-4 12,0 0-9,0 3-4,0-3 5,0 3-4,0-3 7,4 4-3,-4-4 4,0 3 45,0-3-39,3 0 44,-3 3-53,0-3 18,3 0-11,-3 4 12,0-4-18,4 3 6,-4-3-6,0 0 9,0 3-9,0-3 9,0 4-8,3-4 9,-3 0-34,0 3 22,0-3-23,3 3 27,-3 1 2,0-4-8,0 3 3,0-3-15,0 3 12,0-3-9,4 0 12,-4 4-12,0-4 9,0 3-11,0-3 3,0 0 5,3 3-7,-3 1 7,0-4 1,3 3-2,-3 1 2,0-1 23,0 0-17,0-3 16,4 4-22,-4-1 4,0 0 0,0 1 3,0-1-4,3-3 68,-3 3-49,0 1 55,0-4-86,0 3 20,3-3-17,-3 0 23,0 3-19,0-3 16,0 0-13,0 0-88,0 0 67,4 0-92,-4 0 82,0 4 1,0-4 1,0 0 17,0 0 0,0 0 1,0 3-5,0-3 51,0 0-37,0 0 40,0 0-23,3 3-16,-3-3 21,0 0-17,0 4 4,0-4 4,0 0-2,0 3 2,0-3-54,0 0 41,0 0-42,0 0 17,0 0 16,0 0-25,0 0 30,0 3-4,0-3 17,0 0-14,0 0 10,0 0-12,0 0 8,0 0-4,0 4 5,3-4 0,-3 0-6,0 0 10,0 0-9,0 3 6,0-3-3,0 3 0,0-3 41,0 0-30,0 4 33,0-4-42,0 3 45,0-3-30,0 0 33,0 4-39,0-4-15,0 3 13,0-3-12,0 0 18,0 3-38,0-3 32,0 0-29,0 0-5,0 0 25,0 4-32,0-4 24,0 0 1,0 0-8,0 0 6,0 0 4,0 3 2,0-3 0,0 0-2,0 3 9,0-3-6,0 0 9,0 4-6,0-4 1,0 0 0,0 3 0,0-3-1,0 0 1,0 3-1,0-3-1,0 4 0,-3-4 1,3 3-1,0-3 10,0 3-7,0-3 9,0 4-12,0-4 20,0 3-14,0-3 16,-3 3-19,3-3-3,0 4 2,0-4-1,0 0-23,0 3 21,0-3-22,0 3 27,0-3-20,0 4 13,0-1-14,-4-3 13,4 3 3,0 1-7,0-1 5,0-3 2,0 4-1,0-1 2,0-3-5,-3 3 10,3 1-7,0-4 9,0 3-4,0-3-2,0 3 3,0-3-3,0 4-1,0-4 1,0 0 0,0 3 2,0-3-2,0 3 2,-3-3-3,3 4 7,0-4-4,0 3 5,0-3-6,0 3 0,0-3 1,-4 4-1,4-4-3,0 3 2,0-3-2,0 3 1,0 1 1,0-4 0,-3 3 0,3 0-3,0 1 2,0-4-3,-3 3 3,3 0-2,0-3 1,0 4-1,0-4 1,0 3 1,0 1-1,0-4 1,-4 3 0,4-3 0,0 0 0,0 3 5,0-3-4,0 4 5,-3-4-6,3 3 16,0 0-11,0-3 12,-3 4-14,3-4 4,0 3-1,0-3 2,0 3-2,0-3-9,-4 4 7,4-1-7,0-3 0,0 3 5,-3 1-7,3-4 9,0 3-9,0-3 6,0 3-7,0 1 35,0-4-22,0 0 23,-3 3-27,3-3-2,0 3 3,0-3-2,0 0 4,0 4-9,0-4 9,0 0-9,-4 3 12,4-3-4,0 0 3,0 3-6,-3-3-2,3 0 0,-3 4-1,3-4-3,-4 3 3,4-3-4,0 4 5,0-4-2,-3 3 2,3 0-2,0-3 3,-4 4-1,4-1 0,0-3-2,0 3 1,0-3-1,-3 4 1,3-4 1,0 3 0,0-3 0,0 0 0,-3 3 0,3-3 0,0 4 0,0-4 0,0 0 0,-4 0 0,4 3 0,0-3 0,-3 0 0,3 3 0,0-3 0,0 4-8,0-4 6,-3 3-6,3-3-8,0 3 10,0-3-12,0 4 15,-4-4-6,4 3 4,0-3-6,0 3 6,0-3 8,0 4-5,-3-4 5,3 3-8,0-3 12,0 4-9,0-4 11,0 3-8,0-3-1,0 3 2,0-3 2,0 4-4,0-1 5,-3-3-5,3 3 2,0-3-2,0 4 1,0-4 0,0 3-5,0 0 3,-4-3-3,4 0 4,0 4-32,0-1 23,0-3-26,0 3 32,0 1-2,-3-4 0,3 3-2,0-3 5,0 3-4,-3-3 2,3 4 11,0-4-11,0 3 10,0 0-11,0-3 11,0 4-6,-4-1 9,4-3-4,0 3-5,0 1 7,0-4-6,0 3 0,-3-3 0,3 4-1,0-4 0,0 3 0,0-3 0,0 0 0,0 3-11,0-3 8,0 4-8,0-4 9,0 0-7,-3 0 4,3 3-5,0-3 11,0 0-3,0 3 3,0-3 1,0 0-4,0 4 5,0-1-6,0-3 13,0 3-8,0 1 8,0-4-10,0 3 7,3 0-3,-3-3 4,0 4-3,0-1 7,0-3-5,0 3 6,0 1-43,0-4 24,0 3-25,0-3 20,0 3 7,0 1-8,0-4 8,0 3 1,0-3-1,0 3 0,0 1-3,0-4-3,0 3-1,0 1-1,0-4-5,0 3 8,0-3-7,0 3 10,0 1-10,0-4 7,0 3-6,0 0 8,0 1 12,0-4-10,0 3 7,0-3 5,0 3-12,0 1 13,0-4-14,0 3 8,0 0-6,0-3 8,0 0-13,0 4 3,0-1-2,3-3 3,-3 0 3,0 3-1,0 1 0,0-4-2,0 3-4,0-3 1,0 3-2,4-3 6,-4 4-1,0-4 2,0 3-2,0-3-3,3 3 1,-3-3 1,0 0 0,3 4-5,-3-4 4,0 3-5,0-3 6,4 4 10,-4-1-8,0-3 14,0 3-14,0-3 4,0 4-5,3-4-1,-3 3 0,0-3 0,0 0 1,0 3 10,3-3-7,-3 4 9,0-4-9,0 3-19,4-3 14,-4 3-16,0-3 18,0 0-24,0 4 17,3-4-19,-3 3 19,0-3 2,0 0-3,0 3 3,0 1 0,3-4 0,-3 0-1,0 3 19,4-3-13,-4 3 15,0-3-18,0 0 18,0 4-11,3-4 14,-3 3-16,0-3-15,0 3 14,0-3-15,0 0 23,3 4-6,-3-4 5,0 0-4,0 3-2,4-3 2,-4 0-5,0 3 5,0-3-5,0 4 5,0-4-4,3 0 8,-3 0-5,0 3 5,0-3 2,0 0-7,0 4 9,0-4-8,0 0 4,4 3-4,-4-3 3,0 0-3,0 0-1,0 0 1,0 0 0,0 3 1,3-3 0,-3 0 0,0 0 1,0 0-23,0 4 15,3-4-17,-3 0 19,0 0-46,0 0 30,0 3-34,0-3 48,4 0-3,-4 0 0,0 0 20,0 3-18,0-3 19,0 0-23,0 0 33,0 4-23,3-4 25,-3 0-26,0 0-18,0 3 17,0-3-16,3 0 30,-3 0-11,0 0 9,0 3-10,0-3 4,4 0-3,-4 0 4,0 4-31,0-4 19,0 0-19,0 0 23,0 0-16,3 3 10,-3-3-13,0 0 16,0 0-12,0 0 10,0 0-15,0 3 24,0-3-12,0 0 12,0 0-14,0 0 23,0 0-17,0 4 17,0-4 3,0 0-14,0 3 19,0-3-22,0 0 15,0 0-11,0 0 14,0 3-15,0-3 28,0 0-19,0 0 19,0 4-23,0-4 1,0 0-1,0 0 2,-3 0-6,3 3 6,0-3-5,0 0-8,0 0 9,0 3-10,0-3 12,0 0-5,0 0 3,-4 0-4,4 4 4,0-4-2,0 3 1,0-3-2,0 0 3,-3 3-1,3-3 2,0 0-2,0 4-16,0-4 11,-3 0-11,3 3 13,0-3 2,0 0-3,0 4 2,0-4 4,-4 3-3,4-3 2,0 0-4,0 3 7,0 1-5,-3-4 6,3 0-2,0 3-2,0-3 3,-3 0-3,3 3 2,0-3-1,0 0 3,0 4-1,0-4-3,0 0 4,-4 0-4,4 3 7,0-3-5,0 0 6,0 0-7,0 0 22,0 0-16,0 0 17,0 3-25,0-3 5,0 0-5,4 0-2,-4 0 6,0 0-6,0 0 7,0 0-4,0 0 2,3 0-3,-3 4-4,0-4 6,0 0-6,0 0 4,3 0-39,-3 0 25,0 3-28,0-3 41,0 0-1,4 0 3,-4 0-6,0 0 10,0 3-7,0-3 7,0 0 1,3 0-8,-3 0 9,0 0-9,0 0 41,3 4-27,-3-4 30,0 0-31,0 0-32,4 0 25,-4 0-26,0 0-7,0 0 23,3 0-26,-3 0 34,0 0-19,3 3 12,-3-3-15,0 0-24,0 0 27,4 0-28,-4 0 32,0 0 20,0 0-19,3 0 18,-3 0-18,0 0 13,0 3-12,3-3 12,-3 0 11,0 0-15,0 0 21,0 0-25,0 0 18,4 0-11,-4 0 12,0 0-4,0 0-8,0 0 13,0 0-32,0 0 19,0 0-20,0 0 20,0 0-8,0 4 5,0-4-8,0 0 8,0 3 2,0-3-2,0 3 0,0-3 24,0 4-21,0-4 22,-4 3-34,4-3 7,0 3-5,-3-3 8,3 4 7,-3-4-5,3 3 8,0 1-8,-4-1 4,4-3-3,0 3 1,0 1-6,-3-4 2,3 0-2,-3 3 5,3 0-1,0-3 1,0 4-2,0-4-9,-4 3 7,4-3-6,0 3 8,0-3-37,0 4 27,-3-4-30,3 0 36,0 0-5,0 3 3,0-3-6,-3 3-2,3-3 2,0 0-3,0 4 4,0-1 12,-4-3-11,4 0 11,0 3 12,-3-3-15,3 4 18,0-4-22,-3 3 62,3-3-45,0 0 50,0 0-61,0 3 28,-4-3-17,4 4 17,0-4-16,0 0-4,0 0 7,0 0-3,0 3-16,0-3 12,0 3-16,0-3 30,0 0-10,0 0 10,0 4-17,-3-4-19,3 3 10,0-3-13,0 4 20,0-4-5,0 3 3,-4-3-4,4 3 2,0-3 3,0 4-3,-3-4 4,3 3 40,0 0-29,0 1 31,0-4-54,0 3 12,0-3-12,0 3 18,-3-3-12,3 4 11,0-1-12,0-3 13,0 3-28,0-3 19,0 4-21,-4-1-7,4-3 23,0 3-29,-3-3 33,3 4-4,0-1 1,0-3 1,-3 3 11,3-3-10,0 4 11,0-4-13,-4 3 6,4 0-2,0-3 3,0 4-4,-3-4 14,3 3-9,0 1 10,0-4-11,0 3 2,-3 0 2,3-3 0,0 4-2,0-4-3,0 3 0,0 0 29,0-3-19,0 4 21,0-4-28,0 3 7,0-3-4,0 3 4,0-3-2,0 0-7,0 4 6,0-4-3,0 0-11,0 0-360,0 3 264,0-3-265,0 0 368,0-3 0,3 3 0</inkml:trace>
  <inkml:trace contextRef="#ctx0" brushRef="#br0" timeOffset="192">7727 5374 9502,'4'-7'-733,"-4"7"798,3-3 162,-3 3-148,3-4-39,-3 4-57,4-3 17,-1 3 95,-3-4-23,3 4 27,1-3-33,-1 3 65,0 0-45,4-3 58,-4 3-67,1 0-8,-1-4 3,4 4-9,0 0-34,-1 0 43,1 0-42,0 0 58,-1 0-68,1 0 38,3 0-43,-3 0-9,3 0-16,-4 4-16,5-4 18,-1 3-3,-4 0 1,4 1-15,0-1-51,-3-3 76,0 4-42,3-4 49,-4 0 20,1 0-19,3 0 17,-3 0-38,0 0 18,3 0-19,0 0 23,-4 0-53,4 0 39,0 0-41,-3 0 52,3-4-148,0 4 33,-3-3-103,0-1 62,3 1 85,-4 3 3,1-3 62,0-1 0,3-2 0</inkml:trace>
  <inkml:trace contextRef="#ctx0" brushRef="#br0" timeOffset="193">4922 6368 9502,'3'0'-126,"0"0"197,1 0-101,-4 0 85,3 0-109,-3 0 32,0 0-3,3 3 42,-3-3 7,0 0 29,0 4 7,0-4 21,0 0-34,0 0 20,0 0-45,-3 0 1,3 0 24,-3 0-33,3 0 23,0-4-23,0 4-8,0-3 25,0-4-25,0 1 31,0 2-22,0-2 14,0-1-21,0 0-3,0 0 18,0 1-19,3-1 21,0-3-56,-3 3 33,4-3-38,-1 4 49,0-1-23,1 0 12,-1-3-16,4 3 34,-4 1-6,0-4 6,-3 3-4,7 0-8,-3 1 8,-1-4-7,0 3-5,1 0 6,-1 0-5,0-3 9,1 4-14,2-1 11,-2 0-11,-1-3 14,0 4-27,4-1 16,-4 0-19,4 0 17,-4 1 6,1-1-7,2 4 6,-2-4-5,-1 0 2,1 4-2,-1-4-4,4 4 4,-7 0-3,3-1 5,0 1 3,1 0-1,-1-1 3,-3 1-4,3 3-2,1-3 2,-1-1-3,0 1-2,1-1 1,-1 1-2,4 0 20,-4-1-11,4-2 13,-4 2-17,4 1 37,-4 0-27,4-1 30,-4 1-36,4 0 6,-4-1-5,1 1 9,-1 0-27,4-1 19,-4 4-19,0-3 16,1 0 3,-1-1-2,0 4 4,1-3 15,-1 0-12,4-1 7,-4 1-12,0 3 3,4-7-2,-3 4 4,-1-1-5,4 1 6,-4 0-4,4-1 9,-4 4-5,4-3 1,-4 0-1,4-1-1,-4 1-12,0 0 10,1 3-10,-1-4 6,0 4 2,4-3-5,-7 3 4,3-3-19,1 3 14,-1-4-14,1 4 18,-1-3-6,0 3 4,1-3-5,-1 3 21,0-4-12,1 4 12,-1-3-16,0 3 2,1-3 0,-1-1 1,0 1 0,1 3-9,-1-4 7,0 1-6,1 0-7,-1 3 10,0-4-11,1 1 14,-1 3-20,0-3 13,-3-1-17,4 1 17,-1 3-9,1-3 2,-1-1-2,-3 4 4,3-3 4,-3 0-3,4 3 3,-4 0-4,0-4 4,3 1-4,-3 3 5,3 0-2,-3-3 2,0 3-2,4-4 6,-4 4-3,0-3 3,0 3-5,0 0 20,0 0-14,0-3 15,3 3-18,-3-4-1,0 4 79,0 0-44,0 0 54,0 0-91,0 0 10,0 0-21,0 0 2,3 0 15,-3 0-17,4 0 21,-4 0 30,0 0-23,3 0 22,-3 0-9,0 0-17,3 0 18,-3 0-20,4 0-17,-4 0 15,3 0-11,-3 0 18,3 0-12,-3 0 6,4 0-7,-4 0-28,3 0 26,-3 0-30,3 0 29,1 0-8,-1 0-1,-3 0-2,4 0 16,-1 0-3,-3 0 5,3 0-8,1 0 29,-4 0-19,3 0 22,-3 0-28,3 0 28,-3 0-20,4 0 24,-1 0-12,-3 0-6,3 4 9,1-4-9,-1 0-2,-3 0 3,3 3-1,1-3-1,-1 0-1,-3 0 0,3 0 0,1 0-21,-4 0 17,3 3-20,0-3 23,-3 0-27,4 0 18,-1 0-22,0 0 19,-3 4 0,4-4-1,-1 0 2,1 0 2,-4 0-3,3 0 2,-3 0 1,3 3 0,1-3 2,-1 0-3,0 0-6,-3 0 5,4 0-4,-1 0 6,0 0-8,1 0 6,-1 0-6,0 0 0,1 0 5,-1 0-6,0 0 6,-3 0-3,7 0 2,-7 0-2,7 0 1,-7 0 0,3 0 1,0 0 0,1 0-5,-1 0 3,1 0-3,-1 0 4,0 0-5,1 0 3,-1 0-3,0 0 6,4 0-1,-4-3 1,1 3-1,-1 0 2,4-4-3,-4 1 4,0 3-2,4 0-1,-4-3 2,4-1-2,-4 4 2,1 0 0,3-3 0,-4 0-1,0 3-33,1-4 24,-1 1-25,0 3 17,1-4 9,-1 1-12,0 3 14,4-3 6,-7 3-5,3-4 5,1 1 3,-1 3-8,0-3 10,1-1-12,-4 4 8,3-3-6,0 3 7,1-3-3,-4 3 15,3-4-6,0 4 10,1 0-14,-4-3-1,3 3-1,1 0 0,-1 0-3,-3-3 3,3 3-2,1 0 0,-4-4 0,3 4 0,-3 0 1,3 0 34,-3 0-24,4 0 26,-1 0-35,-3 0 2,0 0-2,3 0 5,-3 0-10,0 0 9,0 0-8,4 0 32,-4 0-18,0 0 21,3 0-25,-3 0 9,0 0-7,0 0 6,0 0-6,3 0-18,-3 0 13,0 0-15,4 0 17,-4 0-3,3 0 3,-3 0-2,3 0 0,-3 0 2,4 0-4,-1 0-1,0 0 25,-3 0-19,4 0 20,-1 0-30,0 4 6,1-4-5,-4 0 9,7 0-6,-7 3 3,3-3-2,0 0-2,1 0 6,-1 3-6,0-3 5,1 0 20,-1 4-15,4-4 16,-7 0-22,6 0-3,-2 3 2,-1-3 0,4 0 10,-4 3-1,0-3 1,4 0-1,-4 4-5,4-4 4,0 3-3,-4-3 2,4 0 4,-4 3-3,4-3 2,-4 0-14,4 0 7,0 4-9,-4-4-1,4 0 10,-4 3-10,4-3 10,-4 0 8,4 0-7,-4 0 6,1 3-8,2-3 13,-2 0-8,-1 0 9,4 4-11,-4-4 0,0 3 0,1-3 1,2 4-16,-2-4 11,-1 0-11,4 0-2,-4 0 13,4 0-14,-4 3 15,4-3-12,0 0 5,-4 0-7,4 0 8,-4 0 0,4 0-2,-4 0 1,4 0-1,-4 0 1,4 0-2,-4 0 1,4 0-13,-4 0 12,0 0-12,4 0 14,-4 0-22,1 0 15,-1 0-16,4 0 12,0 0 4,-4 0-5,0 0 3,4-3 10,0 3-8,-4 0 5,4 0-4,-4-4 0,4 1-1,-4 3 2,4-4-2,0 1 2,-1 3-1,1-3 10,0-1-15,-4 4 13,4-3-13,-1 0 4,1-1 3,0 1-4,-1 0 3,-2 3-11,2-4 8,1 1-7,0 0 9,0 3-9,-1-4 6,-2 1-6,2 3 17,1-3-8,0-1 8,-1 4 2,1-3-9,0 3 10,-1-3-12,1 3 16,0 0-11,0-4 13,-1 4-15,1 0 12,0-3-8,-1 3 11,1 0-12,-4 0 21,4 0-16,0 0 16,-4 0-17,4 0 1,-4 0 1,4 0-1,-4 0-1,1 0 3,2 0-3,-2 0-3,-1 0 2,4 0-2,-4 0 4,4 0-6,-4 0 4,0 0-5,4 0 6,-4 0 17,1 0-13,-1 0 14,4 0-19,-4 0 2,4 0-1,-4 0 7,1 0-3,-1 0 4,4 0-4,-4 0 6,0 0-2,1 3 3,-1-3-5,4 0-3,-4 4 3,0-4-4,1 3 2,-1 0-13,0-3 9,1 4-19,2-1 19,-2 0-7,-1-3 8,1 4 7,-1-1-6,0-3 5,4 0-8,-4 3 19,1-3-14,2 4 15,-2-4-18,2 0 56,-2 3-37,2-3 40,-2 0-33,2 3-21,-2-3 24,-1 4-25,0-4-9,4 3 11,-3 0-12,2-3 21,-2 4-31,-1-4 21,4 3-27,-4-3 13,4 3 7,-4 1-9,4-4 9,-4 3-1,4 1-5,-4-1 2,4-3-5,-1 3 9,-2-3-6,3 0 6,-4 4 27,4-1-20,-1-3 21,1 3-10,0-3-10,-1 0 12,1 4-14,-4-4-7,4 3 5,0-3-3,-1 0 6,1 0-14,0 3 10,0-3-11,-1 4 13,1-4 0,0 0 0,-1 3-3,1-3-9,0 3 2,-1-3-3,1 4 6,0-1-7,3-3 3,-3 0-4,-1 3-4,1-3 10,0 4-10,-1-4 12,4 0 0,-3 0 0,0 3 0,0-3 2,-1 0-3,1 0 4,3 0-5,-3 0 4,-1 0-3,1 0 3,0 0 1,-1 0-2,1 0 4,0 0-5,0 0 0,-1 0-1,1 0 0,0 0 2,-1 0-12,4 0 8,-6 0-9,2 0 3,1 0 5,0 0-6,3 0 7,-3 0-9,-1 0 6,1 0-8,-4 0 9,7 0-9,-6 0 7,6 0-6,-4 0 19,-2 0-9,2-3 8,1 3-11,0 0 12,0-4-8,-1 1 10,1 3-11,0-3-1,-4 3 1,4-4 1,-4 1-1,4 3 1,-4-3-1,4-1 1,-4 4 2,0-3-2,4 3 1,-4-3-15,1-1 7,-1 1-8,1 3 10,-1-3 13,4-1-9,-4 4 9,0-3 0,1 0-7,2-1 8,-2 1-9,2-1 9,-2 1-6,2 0 8,1-1-9,-4 1 7,4 3-6,0-7 9,-4 7-9,4-3 3,0 0-3,-4-1 2,4 1-3,-1 3 1,-2-3 0,2-1-5,-2 1 4,2 0-3,-2-1 4,2 1-8,1 0 6,-4-1-7,4 1-1,-3-4 5,2 7-6,1-7 8,-4 4 0,4 0 0,-4-1-1,4-2 1,-4 2 3,1 1-4,2 0 3,-2-1-1,-1-2-2,4 2 4,-4 1-3,0 0-22,1-1 16,-1-2-16,1 2 10,-1 1 7,0 0-8,1-4 9,-4 3-4,3 1 2,0 0-4,-3-1 11,0 1-6,4 0 6,-1-1-9,-3 1 11,0 0-7,3-1 8,-3 1-6,4 0 14,-4-1-8,0 1 9,0 3-17,0-3 1,3-1-2,-3 1 4,0 0-4,0 3 4,3-4-3,-3 1 4,0 0-4,0-1 2,4 1-5,-4 3 10,0-4-4,0 1 4,3 3-6,-3-3 6,0-1-4,0 1 5,3 3-5,-3-3 9,0-1-4,4 4 5,-4-3-1,0 3-6,3-3 6,-3 3-6,0 0 3,0-4-2,0 4 4,3-3-4,-3 3 1,0-3 0,4 3-1,-4-4 0,0 4 0,0-3 0,3 3 0,-3 0 0,3-3 0,-3 3 0,0 0 3,4 0-3,-4-4 4,0 4-4,3 0 0,-3 0 0,0 0 0,4 0-23,-4 0 17,0-3-18,3 3 23,-3 0 9,0 0-8,3 0 7,-3 0-5,0 0-4,4 0 5,-4-3-6,3 3 12,-3 0-9,3 0 9,1 0-9,-4 0 2,3-4 1,-3 4 1,3 0-2,1 0-1,-4 0 2,3 0-1,-3 0-18,3 0 12,1 0-16,-4 0 20,3 0-2,-3 0 0,0 0-1,3 0 5,-3 0-5,4 0 4,-4 0-4,3 0 8,0-3-6,-3 3 7,4 0-8,-4 0 5,3 0-2,1-3 3,-4 3-1,3 0-1,0 0 1,-3 0-2,4-4-2,-1 4 1,0 0 1,-3-3-2,4 3 1,-1 0-1,0-4 1,1 1 0,-4 3-1,3-3 1,0-1 0,1 1 0,-1 0 0,0-1 0,1 1 0,-1-4 0,-3 4 0,7 0 0,-4-4 0,0 0 0,-3 4 0,4 0 0,-1-4 0,1 4 0,-1-1 0,-3-3 0,3 4 0,1 0 0,-1-1 0,-3-2 0,3 2 0,1 1-20,-4 0 14,3-4-15,-3 7 19,3-7 2,1 4-1,-4 3 0,3-3-2,-3-1 4,3 1-3,1 0 4,-1 3 2,-3-4-6,3 1 6,1 3-6,-1-4 4,-3 1-2,3 3 3,1 0 7,-1-3-8,-3 3 9,3-4-10,1 4 35,-1 0-25,-3 0 27,4-3-32,-1 3 30,-3 0-18,3 0 18,1 0-36,-4 0 7,3 0-5,0 0 10,1 0-18,-4 0 12,3 0-15,0 0 14,1 3 3,-1-3-3,0 0 0,1 4-4,2-4-2,-6 3-1,7-3 1,-4 0-3,1 3 2,2-3-2,-2 4 18,3-4-8,-4 3 10,4-3-12,-4 4 20,4-4-14,-4 3 16,4-3-6,-1 3-8,-2-3 9,-1 0-12,0 4-13,4-4 12,-4 0-10,1 3 14,2-3-11,-2 0 8,-1 0-10,1 0 20,2 0-6,-2 0 3,-1 0-7,0 0 38,1 0-29,2 0 32,-2 0-33,-1 0-2,0 0 3,1 0-2,-1 0-24,0 0 19,1 0-17,-1 0 25,0 0-28,1 0 20,-1 0-23,4 0 10,-4 0 8,1 0-12,-1 0 7,0 0-10,4 0 7,-4 0-13,4 0 15,-4 0-13,1 0 8,2 0-6,1 0 9,-4 0 1,4 0 0,0 0 0,-4 0 0,4 0 1,-4-3 0,4 3 0,0 0 0,-4-4 1,0 4-2,1-3-23,2 3 17,-2-3-18,-1 3 23,4-4-9,-4 4 5,0-3-6,1 3 7,-1-4 0,0 4-3,4-3 3,-4 3 7,1 0-4,3-3 6,-4 3-10,0 0 15,1-4-10,-1 4 13,0 0-9,1 0 0,-1-3 1,0 3-3,1 0-1,-1 0 1,0 0-1,1 0-2,-1 0 1,0 0 0,1 0 1,-1 0-9,0 0 7,1 0-8,-1 0 3,0 0 3,1 0-4,-1 0 5,1 0 12,-4 0-10,3 0 10,4 0-12,-4 0 6,0 0-5,1 0 6,-4 0 1,3 0-4,0 3 5,1-3-4,-1 0 9,0 0-4,1 4 4,-4-4-5,3 0-9,0 3 7,1-3-6,-1 0 5,0 0 0,1 3 0,-4-3 12,3 4-8,1-4 9,-1 3-12,-3-3-2,7 0 2,-7 4-1,3-4 2,0 3-8,1-3 6,-4 3-6,3-3 9,0 4-26,-3-4 20,4 0-21,-1 3 23,-3-3-9,3 3 4,-3-3-5,4 0 5,-4 4 2,0-4-4,3 3 6,-3-3-3,0 0 3,3 0-1,-3 3 0,0-3-1,4 0 2,-4 4-1,0-4-7,0 3 7,0-3-7,0 0 8,0 0-2,0 0 1,0 0-1,0 3 2,0-3-2,3 0 2,-3 4 1,0-4-3,0 0 3,0 0-3,0 0 2,3 3-2,-3-3 3,0 0-2,0 0 1,0 3 0,0-3-23,0 0 15,4 0-16,-4 0-54,0 0-57,0 4-36,0-4-475,0 0 451,0 0-321,0 0 515,3 3 0,4-3 0</inkml:trace>
  <inkml:trace contextRef="#ctx0" brushRef="#br0" timeOffset="194">7476 5585 9502,'0'-4'-402,"3"1"493,-3 3-22,0 0 25,4 0-18,-4-4 15,3 4-8,-3 0-19,4 0 16,2 0-18,-2-3 13,-1 3-24,0 0 26,4-3-24,0 3-12,-1-4 22,4 4-31,-3-3-28,3 0-10,0-1-20,0-2 26,4 2-25,-4-2-9,3-1-18,0 0 26,-2 1-40,2-1 31,-3 0-101,0 0 92,0 1-167,-3-1 86,-1 4-121,1-1 16,-4 1 49,1 0 34,-4-1 59,3 4 88,-6-3 0,3 3 0</inkml:trace>
  <inkml:trace contextRef="#ctx0" brushRef="#br0" timeOffset="195">7315 5785 9502,'0'-6'-162,"0"2"125,0 1 44,0 0-29,0-1 78,0-2-90,4 2 62,-4 1-94,0-4 85,3 4 3,0-4 40,4 4 0,-3-4 16,2 0-12,1 1 12,0-1-15,3-3-24,-4 3 17,1 1-21,3-4 5,0 3 14,-3 0-14,3-3 25,-3 7-34,3-4 22,-4 0-25,1 1-24,0-1-13,3 0-9,-4 1 14,1-1-2,-4 4-18,4-7 2,3 3 2,-3 0 0,-4 0-11,7-3-15,-3 7-51,0-4 17,-1 1-7,1-1 19,0 0 3,-4 4-10,4 0-16,-4-1-140,1 1 167,-1 3-103,0 0 167,-3 0 0,4 0 0</inkml:trace>
  <inkml:trace contextRef="#ctx0" brushRef="#br0" timeOffset="196">7238 5816 9134,'0'0'368,"0"3"-290,0-3-13,0 0 21,0 0-22,0 3 50,0-3-39,0 0 53,4 0-22,-4 0 7,3 0-1,0 0-13,1 0 7,3 0-9,-1-3 11,4 0-39,4-8 10,-1 1-13,4-3 18,3-4-72,0 1 51,3-5-49,1 1 25,-1-3-12,-3 3-6,4-4-5,-7 4-89,-1 7 17,-2 0-119,-1-1 104,-3 4-194,-3 3 81,-4 1-120,0-1-153,-3 7 140,0-3-174,0 3 287,-3 0 75,-4 0 129,1 0 0,-8 0 0</inkml:trace>
  <inkml:trace contextRef="#ctx0" brushRef="#br0" timeOffset="197">2933 5585 9502,'0'3'282,"0"-3"-39,0 0 653,-3 0-779,3 0-102,0 0 15,-4 0-94,4 0 10,0-3 17,-3 3-42,3 0 86,-4 0-74,1 0 101,0-4-69,3 4 90,-4 0-31,4-3 26,-3 3-36,0 0 22,3-4-15,-4 4 16,4 0-20,-3-3 6,0 3-1,-1 0 7,4 0-47,-3-3 33,3 3-37,-3 0 49,-1 0-59,4 0 40,-3 0-50,0 0 59,3 0-44,-4 0 31,1 0-38,3 0 33,0 0-5,-3 0 3,3 0-3,-4 0 15,4 0-10,0 0 10,0 0 43,0 0-37,0 0 42,-3 0-52,3 0 15,0 0-9,0 0 15,-3 0-15,3 0 5,0 0-4,-4 0-21,1 0 15,3 0-15,0 0 22,-4 0-17,4 0 12,-3 0-17,3 0 18,-3 0-37,3 0 26,0 0-32,-4 0 36,1 0-12,3 0 9,-3 0-8,-1 0 3,4 0 10,-3 0-8,3 0 11,-3 0-5,3 0-2,-4 0 3,4 0-2,-3 0 0,3-4 1,-3 4-1,-1 0-11,4 0 9,-3 0-9,3 0 9,-3 0-5,-1 0 3,4 0-4,-3 0 4,0 0-7,3 0 3,-4 0-4,4 0 13,-3 0-4,0 0 4,3 0 3,-4 0-5,4 0 6,-3 0-8,3 0 4,-4 0-1,1 0 2,3 0-3,-3 0-20,-1 0 15,1 0-15,3 0 19,-3 0-92,-1 0 18,1 0-84,3 0 93,-3 0 14,-1 0 52,4 4 0,-3-4 0</inkml:trace>
  <inkml:trace contextRef="#ctx0" brushRef="#br0" timeOffset="198">2240 5625 8670,'0'3'25,"0"-3"0,0 0-3,0 0 3,0 3-13,0-3 5,0 0-6,-4 0 6,4 0-1,0 0 75,0 0-51,0 0 59,0 4-45,-3-4-20,3 0 23,0 0-29,0 0 69,0 0 33,0 0 54,0 0-9,0 0-47,0 0 539,-3 0-487,6 3 469,-3-3-598,0 0-22,0 0-22,3 0-6,-3 0 26,4 0-3,-1 0-6,1 0-30,-4 0 20,3 0 24,4 0 26,-7 0-34,6 0 27,-2 0 11,-1 0-10,4-3 18,-4 3-22,0 0-23,4 0 19,-4 0-14,1 0-24,-1 0 37,0 0-33,1 0-11,-1 0-11,0-4-15,1 4 16,-1 0-13,4 0-7,-7 0-19,7 0 20,-7 0-11,3 0-3,0 0-17,1 0 17,-1 0-18,0 0 43,1 0-47,-1 0 35,0 0 4,1 0-9,-1 0 12,0 0-31,1 0 18,-1 0-19,0 0-9,-3 0 25,4 0-26,-1 0 28,0 0 28,1 4-18,-1-4 15,1 0-25,-4 0 64,3 0-48,0 3 126,1-3-109,-1 0 52,-3 0-60,3 0 51,1 0-28,-1 0 37,0 0-42,1 0-4,-4 0 11,3 0-6,0 0 9,-3 0-19,4 3 17,-1-3-16,0 0 0,-3 0 6,4 0-10,-1 0 66,0 0-40,-3 0 42,4 0-55,-1 0 58,-3 0-41,3 4 43,1-4-48,-1 0 6,-3 0 2,4 0 2,-4 0 5,3 0-34,0 0 29,1 0-26,-4 0-19,3 0 30,0 0-37,-3 0 3,4 0 25,-4 0-28,3 0 29,-3 0-15,3 0 6,-3 0-11,4 0 13,-1 0 2,0 0-4,-3 0 3,4 0 10,-1-4-6,0 4 7,-3 0-9,4 0 5,-1 0-2,-3 0 4,3 0-10,1 0 4,-1 0-3,-3 0 5,4 0-7,-1 0 5,-3 0-5,3 0 5,1-3-5,-1 3 4,0 0-6,-3 0 6,4 0-3,-4 0 3,3 0-4,0 0 3,-3 0-1,4 0 1,-4 0-14,3 0 10,0 0-11,-3 0 14,4 0-19,-4 0 13,3 0-14,-3 0 17,3 0-3,-3 0 2,4 0-5,-4 0 15,3 0-9,0-3 9,-3 3-12,4 0 19,-4 0-14,3 0 15,-3 0-12,3 0-3,1 0 5,-4-4-4,3 4 2,-3 0-1,4 0 3,-4 0-2,3 0 0,0 0-1,-3 0 0,4 0 0,-4 0-1,3-3 1,-3 3-1,3 0 1,-3 0 0,4 0-1,-4 0-1,0 0 1,3 0-1,-3 0 2,3-3-20,-3 3 14,4 0-15,-4 0 19,0 0-18,3-4 12,-3 4-14,3 0 17,-3 0-16,4 0 10,-4 0-11,3 0 25,-3-3-7,3 3 8,-3 0-12,4 0 15,-4 0-10,3-3 13,-3 3-7,3 0-3,-3 0 5,0-4-5,4 4 4,-4 0 0,3 0 2,-3-3-3,0 3-27,3 0 20,-3 0-22,4 0-21,-4-3 32,0 3-37,3 0 45,-3 0-30,4-4 22,-4 4-27,0 0 47,3 0-18,-3-3 17,0 3-23,3 0 19,-3 0-16,0 0 17,4-3 3,-4 3-13,0 0 17,3 0-19,-3 0-33,3-4 25,-3 4-24,0 0-36,4 0 49,-4-3-53,0 3 62,0 0 20,3 0-19,-3 0 16,0 0-28,3-3 39,-3 3-32,0 0 32,0 0-7,4 0-17,-4-4 18,0 4-23,0 0 6,0 0 2,0 0 2,3 0-23,-3-3 13,0 3-14,0 0 22,0 0-31,0 0 22,0-4-30,3 4 33,-3 0-76,0 0 53,0 0-59,0-3 68,4 3-5,-4 0-1,0 0 0,0 0 22,0-3-18,3 3 21,-3 0 49,0 0-54,0 0 60,0 0-73,0 0 47,0 0 9,0-4 309,0 4-206,0 0 196,0 0-272,0 0-8,0 0-26,0 0 13,-3 4-11,3-4 20,-4 0-26,4 3 16,0-3-28,-3 0 33,3 3-31,0-3 22,-3 0-28,3 4-17,0-4 27,-4 3-31,4-3 20,-3 0 16,3 4-17,-3-1 17,-1-3-28,4 0 19,-3 3-24,0 1 25,-1-1-15,1-3 6,0 3-7,-1 1 8,-3-1-39,4 0 26,-4 1-29,4-1-126,-7 0 39,7 1-116,-4-1-292,0 0 376,1 1-271,-1-1 437,4 0 0,-4 1 0</inkml:trace>
  <inkml:trace contextRef="#ctx0" brushRef="#br0" timeOffset="199">1969 6103 8355,'-4'-3'-74,"4"3"75,0 0-38,0 0 42,0 0 4,0 0-3,0 0 4,0 0-6,-3 0 79,3-3 27,0 3 47,0 0 28,0 0 109,0 0-128,0 0 83,0 0-197,0 0-24,0 0 6,0-4-9,0 4-16,0 0 27,0-3-30,0 3 34,3 0 9,-3-3-6,0 3 11,4-4 3,-4 1-11,3 3 11,0-3-15,-3 3 14,4-4-5,-4 4 7,3-3-29,-3 0-11,3 3 3,1-4 9,-4 4-8,3-3 20,0 0-24,-3 3-25,4 0 33,-4-4-37,3 4 44,-3-3 20,3 3-17,1 0 13,-4 0-21,0-3 22,3 3-16,-3 0 19,4 0-23,-4-4-27,0 4 21,0 0-15,3 0-38,-3 0 48,0 0-52,3 0 31,-3-3 20,0 3-23,0 0 28,0 0-53,4 0 36,-4 0-50,0-4 53,3 4-13,-3 0 10,0 0-9,3-3 6,-3 3 33,0 0-23,4 0 30,-4-3-31,3 3 0,-3 0 3,0 0-13,0 0-15,3-4 12,-3 4-11,0 0 10,0-3 8,0 3-11,4 0 14,-4 0-21,0 0 10,0-3-14,3 3 16,-3 0-7,0-4 6,0 4-10,3 0 12,-3-3-5,4 3 5,-4 0-3,0-3-11,3 3 9,-3-4-7,0 4 7,3 0 2,-3-3-3,0 3 2,4-3 2,-4 3-2,0 0 2,0-4-3,3 4 13,-3-3-9,0 0 10,3 3 4,-3 0-11,0-4 14,4 4-17,-4-3 26,0 3-17,0-3 21,3 3-28,-3-4 5,3 4-4,-3-3 5,0 3-9,0-3 8,4 3-9,-4-4 9,0 4-2,0 0 1,3-3-1,-3 3-11,0-4 8,0 4-11,0-3 12,0 3 14,0-3-9,0 3 12,4-4-8,-4 4-5,0-3 7,0 3-7,0-3 15,0 3-10,0 0 11,0-4-15,0 4 14,0 0-8,0-3 12,0 3-7,0-3-3,0 3 3,0-4-5,0 4 1,0 0 1,0-3-1,0 3-27,0 0 18,0-3-18,0 3 26,0-4-61,0 4 44,0 0-52,0-3 61,0 3-35,0 0 24,0 0-28,0-3 34,0 3-10,0 0 8,0 0-9,0-4 10,0 4-9,0 0 8,0-3 8,0 3-10,0 0 13,0 0-15,0 0 195,0 0-140,0 0 149,0 0-215,0 0 21,3 0-22,-3 0 24,0 0 2,0 0-3,0 0-2,0 0 56,3 0-43,-3 0 45,0 0-51,0 0 5,0 0 1,0 0 2,4 0 1,-4 0-32,0 0 28,3 0-28,-3 0 1,0 0 18,3 0-22,-3 0 28,0 0-28,0 0 19,4 0-26,-4 0 15,3 0 2,-3 0-5,0 0 7,3 0-13,-3 0 9,4 0-11,-4 0 16,3 0 1,-3 0-1,3 0 0,-3 0-4,4 0 3,-4 0-3,3 0-12,-3 0-3,3 0-1,-3 0 2,0-3-6,4 3 13,-4 0-16,3 0 18,-3 0 4,3 0-3,-3 0 4,0-4-7,4 4 22,-4 0-16,3-3 16,-3 3-9,3 0-7,-3 0 9,0-3 8,0-1-11,4 4 15,-4-3-19,0 3 14,0-4-10,3 4 11,-3-3-11,0 0 4,0-1-3,0 1 3,0 3-3,4-3 14,-4-4-10,0 7 11,0-7-13,3 4 1,-3 0 0,0-1-3,3 1 2,-3 0-2,0-4 3,0 4-6,0-1 4,4-2-3,-4 2 5,0 1-30,0-1 20,0-2-22,0 2 28,0 1-19,0 0 13,3-1-17,-3 1 25,0 0-8,0-1 8,0 1-3,0 0-3,0 3 3,0-4-5,0 1 13,3 0-8,-3-1 10,0 4-13,0-3 12,0 0-8,4 3 12,-4-4-12,0 1 5,0 0-4,0-1 4,3 1-7,-3 3 2,0-4-2,0 1-6,0 0 6,0 3-7,3-4 9,-3 1 0,0 3 0,0-3-1,0 3-1,0-4 5,4 4-4,-4-3 4,0 3-5,0-3 5,0-1-2,3 4 2,-3-3 1,0 3-4,0-3 4,0-1-2,3 4 0,-3-3 0,0 3-1,0-3-29,0 3 21,4-4-22,-4 1 27,0 3-20,0-3 13,0 3-13,0 0 14,0-4-19,0 4 10,0 0-12,0-3 34,0 3-10,0 0 9,0 0 8,0-3-19,3 3 21,-3 0-23,0-4 20,0 4-13,0 0 15,0-3-13,0 3 4,0-4 1,0 4 0,0 0-2,3-3-19,-3 3 14,0 0-14,0-3-45,0 3 44,0 0-51,4 0 43,-4-4 9,0 4-11,0 0 12,0 0-14,0-3 4,0 3-9,0 0 12,0 0 28,0 0-26,0 0 25,0 0 2,0-3-5,0 3 19,0 0 0,0 0-25,0 0 20,0 0-9,0-4-6,0 4 10,0 0-11,0 0 4,0 0-3,0 0 2,0 0 43,0 0-17,3-3 23,-3 3-10,0 0-29,0 0 46,0 0-30,0 0 16,0 0 12,0 0-32,0 0 28,3 0-32,-3 0-19,0 0 14,0 0-16,0 0 20,0 0 0,4 3 2,-4-3 56,0 0-40,3 0 41,-3 0-56,0 0 15,3 0-8,-3 0 11,0 0-12,4 0 63,-4 4-47,3-4 56,-3 0-62,4 0 0,-4 0 2,3 3 1,-3-3-33,3 0 36,-3 0-35,4 0 30,-4 0-1,3 0-8,-3 3 7,3-3 27,1 0-22,-4 0 22,3 0-31,0 0 16,-3 0-11,4 0 16,-1 0-11,-3 0-1,3 0 4,1 0-7,-1 0-54,-3 0 44,3 0-45,1 0 19,-4 0-16,3 0-3,0 0 1,-3 0-24,4 0 35,-4 0-41,3 0 48,0 4-17,-3-4 6,4 0-10,-1 0 12,1 0 19,-1 0-19,-3 0 17,3 0 30,1 0 15,-1 0 4,-3 0-10,3 0-37,1 3-3,-4-3 8,3 0-31,-3 0 25,3 0-25,1 0 32,-1 0-73,0 0 51,-3 3-57,4-3 46,-4 0 4,3 0-14,0 0 15,-3 0-2,4 0 1,-1 0-3,0 0 13,-3 0-5,4 0 8,-1 0-11,-3 0 6,3 0-3,1 0 6,-4 0-7,3 0-25,1 0 19,-1 0-20,-3 0-28,3 0 37,-3 0-40,4 0 48,-1 0-19,0 0 9,-3 0-13,4 0 30,2 0-7,-6-3 6,4 3-12,-1 0 37,0 0-27,1 0 32,-1 0-40,4 0 52,-7 0-35,6-3 43,-2 3-19,-1 0-17,-3 0 22,7 0-23,-4 0-1,-3 0 5,4 0-3,-1 0 3,0 0-54,1 0 39,-4 0-39,3 0 12,0 0 25,1 0-28,-4 0 33,3 0-43,0 0 24,-3 0-29,4 0 54,-4 0-13,3 0 16,0 0-26,-3 0 35,4 0-26,-4 0 29,3 0-1,0 0-19,1-4 23,-4 4-24,3 0 11,0 0-5,-3 0 8,4 0-7,-1 0-1,-3 0 2,4 0-2,-1 0 0,0 0-2,-3 0 1,4 0-1,-1 0-1,0 0 2,1 0-2,-1 0 1,-3 0 0,3 0 0,1 0 0,-1 0 6,0 0-4,-3 0 4,4 0-5,-1 0-2,0 0 2,-3 0-1,4 0 10,-4 0-7,3 0 8,0 0-9,1 0 42,-4 0-30,3 0 33,0 0-51,-3 0 10,4 0-9,-1-3 13,-3 3-18,4 0 15,-1 0-16,0 0 18,1 0-9,-1-3 7,-3 3-7,3 0-1,1-4-1,-1 4-3,0 0 3,-3 0-1,4 0 4,-1-3-5,0 3 2,1 0 3,-1 0-2,-3-3 2,3 3-3,1 0 3,-1-4-3,-3 4 3,3 0-3,1 0 2,-4-3-1,3 3 1,-3 0 0,3-3 0,1 3 0,-4 0-10,3-4 7,-3 4-7,4 0 6,-4-3 2,3 3-4,-3 0 5,3 0 1,-3-3-1,4 3 0,-4 0-1,3 0-8,-3-4 6,3 4-7,-3 0 8,0 0-38,4 0 27,-4-3-31,0 3 38,3 0-3,-3 0 1,0-3 7,3 3-5,-3 0 3,0-4-6,0 4-18,4-3 15,-4 3-14,0 0 16,0-3-24,0 3 18,0 0-17,0-4 6,0 4 11,3 0-13,-3 0 12,0-3-1,0 3-1,0 0 0,0 0 15,0-4-9,0 4 6,0 0-10,0-3 13,0 3-7,0 0 12,0 0-12,0-3 10,0 3-6,0 0 7,0 0-126,0 0-31,0 0-115,0 0 0,0 3 1</inkml:trace>
  <inkml:trace contextRef="#ctx0" brushRef="#br0" timeOffset="200">2936 5585 9950,'0'0'430,"0"3"-350,0-3 73,4 0-114,-4 0 28,0 0-30,0 0 35,3 0-11,-3 0 22,0 0-17,0 0 18,0 3-51,3-3 25,-3 4-29,0-4-19,0 0-15,0 3-7,0-3 11,0 3-11,0-3-8,0 0-11,0 4-5,0-1 57,0-3-11,0 3 6,0 1 23,0-4-21,0 3 19,0 0-24,0-3 56,0 7-42,0-7 45,-3 3-45,3 1 45,0-1-22,0 0 27,0-3-16,0 4-22,0-1 31,0 0-28,-3-3 13,3 4-11,0-1 7,0 1-51,0-4-2,-4 3-10,4-3 11,0 3-24,0-3 37,0 0-40,0 4 46,0-4-18,-3 0 0,3 3-9,0-3 7,0 0-22,0 3 16,0-3-27,0 4 39,0-4-7,-3 0 5,3 3-4,0-3 1,0 3-1,0-3 5,0 0 34,0 4-24,0-4 26,-4 3-34,4-3 38,0 3-27,0-3 32,0 4-38,0-4 11,0 3-8,0-3 12,0 3 3,-3-3-3,3 4 6,0-4-32,0 0 13,0 3-14,0-3 20,0 3-37,0-3 26,-4 0-32,4 4 38,0-4-16,0 0 11,0 3-14,0-3 87,0 0-55,0 3 58,0-3-72,-3 0 26,3 4-17,0-4 20,0 0-41,0 3 12,0-3-6,0 0 15,0 4-43,0-4 30,-3 3-31,3-3 43,0 0-44,0 3-17,0-3-11,0 4 15,0-4 2,0 0 29,-4 3-43,4-3 41,0 3-15,0-3 14,0 0 4,0 4-3,0-4 4,0 3-7,0-3 36,0 0-26,0 3 31,0-3-31,-3 4 45,3-4-26,0 3 28,0-3-28,0 0-8,0 3 11,0-3-24,0 0 11,0 4-13,0-4 16,0 0-19,0 3 14,0-3-15,0 3 15,0-3-6,0 4 1,0-4-3,0 3 0,0-3 23,0 3-19,0-3 17,0 0-17,0 4 2,0-4 0,0 0-6,0 3 6,0-3-6,0 0 8,0 0 3,0 3-2,0-3 3,0 0-5,0 0-5,0 4 4,0-4-4,0 0 3,0 3 3,0-3-5,0 0 4,0 4 48,0-4-35,0 0 39,0 0-27,0 0-12,0 3 15,0-3-15,0 0-4,3 0 4,-3 0-2,0 3 3,0-3-32,0 0 26,0 0-27,0 0 33,0 0-13,0 4 5,0-4-7,0 0 15,0 3-4,0-3 1,0 0-6,0 0-3,0 3 2,0-3 1,0 0 10,0 0-6,0 4 7,4-4-10,-4 0 46,0 3-31,0-3 35,0 0-43,0 0-5,0 0 3,0 3-3,0-3 15,0 0-4,0 0 5,0 4-3,3-4-29,-3 0 22,0 0-21,0 0-19,0 3 32,0-3-39,0 3 44,3-3-38,-3 0 28,0 4-33,0-4 35,0 0-2,0 3 1,4-3 0,-4 0-2,0 3 0,0-3 1,0 4 0,0-4-3,0 0 2,0 3-1,3-3-6,-3 0 5,0 3-6,0-3 8,0 0-6,0 4 5,0-4-6,0 0 30,0 3-18,4 0 19,-4-3-26,0 0 1,0 4-1,0-4 1,0 0 3,0 3-1,0-3 2,3 4 0,-3-4-7,0 3 6,0-3-6,0 0 7,0 3-37,0-3 25,3 4-28,-3-4 25,0 0 2,0 3-4,0-3 1,0 3 21,4-3-14,-4 4 12,0-4 2,0 3-13,0-3 14,3 0-15,-3 3 8,0-3-3,0 0 4,0 4-1,0-4-5,0 0 7,3 3-6,-3-3-4,0 0 3,0 0-6,0 3 8,0-3-9,0 0 7,0 0-9,4 4 4,-4-4 3,0 0-3,0 0 3,0 0-1,3 3 0,-3-3 0,0 0 1,0 0 0,3 3 0,-3-3 0,0 0 0,0 4 0,0-4 0,4 0 0,-4 3 11,0-3-9,0 0 10,0 3-11,3-3 40,-3 0-28,0 4 32,0-4-47,3 3 7,-3-3-7,0 0 11,0 0-15,0 3 12,0-3-12,4 0 14,-4 0-8,0 4 5,0-4-7,0 0 7,0 0-2,3 0-1,-3 3-37,0-3 24,0 0-26,0 0 35,0 4-40,3-4 29,-3 0-33,0 0 41,0 3-3,0-3 0,0 3-3,0-3 1,4 4 24,-4-4-17,0 0 16,0 3-4,0-3-16,0 0 18,0 0-15,0 3 22,3-3-10,-3 0 14,0 0 18,0 0-30,0 0 33,0 0-39,0 4-3,3-4 2,-3 0-4,0 0-35,0 0 32,0 0-34,0 0 41,0 0-59,0 0 40,4 3-44,-4-3 51,0 0 3,0 3-9,0-3 6,3 0 8,-3 4-6,0-4 4,0 0-11,0 3 24,0-3-17,0 0 23,0 0-26,0 3 25,0-3-19,0 0 24,0 0-15,0 0-1,0 4 3,3-4-4,-3 0-3,0 0 3,0 0-3,0 0-4,0 3 3,0-3-4,0 0 5,0 0-8,0 0 5,0 0-4,0 3-7,0-3 9,0 0-10,0 0 11,0 0-13,4 4 10,-4-4-12,0 0 21,0 0-7,0 0 6,0 3-8,0-3-11,0 0 7,0 0-8,0 3 9,0-3 15,0 0-11,0 0 11,0 4 2,0-4-10,0 0 12,0 0-14,3 0-1,-3 0 1,0 0 0,0 3-23,0-3 17,0 0-18,0 0 24,0 0 6,0 0-5,0 0 5,0 3-9,0-3 6,0 0-6,0 0 5,0 0-7,0 0 0,0 4-2,0-4 1,4 0-1,-4 0 4,0 0-1,0 0 2,0 3-20,0-3 15,0 0-17,0 0-15,0 0 24,0 0-26,0 0 29,0 4 4,0-4-7,0 0 6,0 0-5,0 0 19,3 0-18,-3 0 16,0 3-22,0-3 44,0 0-27,0 0 53,0 0-47,0 0 15,0 0-1,0 3-15,0-3 19,0 0-20,0 0-15,0 0 11,0 0-13,0 0 18,0 4-8,0-4 5,0 0-8,0 0 8,0 0 3,0 0-3,0 0 7,0 3-1,0-3-1,0 0 0,0 0 15,0 0-14,0 3 16,0-3-19,0 0 8,0 0-6,0 4 9,0-4-10,0 0 5,0 0-4,0 0 2,0 0-2,0 3 1,0-3-1,0 0-1,0 0 1,0 0-2,0 0 3,0 3-7,0-3 5,-3 0-5,3 0 5,0 0-3,0 0 2,-4 4-2,4-4 4,0 0-1,0 0 2,0 0-2,0 0-7,-3 3 5,3-3-6,0 0-1,0 0 7,0 0-8,-4 0 9,4 3 13,0-3-9,0 0 9,0 0 19,0 0-23,0 4 25,0-4-17,0 0-6,0 0 0,0 0-4,0 0-8,0 0 11,0 0-14,0 0 12,0 3-12,0-3 10,0 0-9,0 0 4,0 0-5,4 0 2,-4 3-50,0-3 33,0 0-36,0 4 47,3-4-20,-3 0 11,0 3-15,0-3 26,4 0-1,-4 3 0,0-3-5,3 4-13,-3-4 9,0 3-9,0-3 41,3 0-22,-3 3 22,0-3-24,0 0 9,4 0-2,-4 4 6,0-4-9,3 0 23,-3 0-16,0 0 18,3 3-21,-3-3 9,0 0-2,0 0 10,4 0-11,-4 0 2,0 4-3,0-4 51,0 0-36,0 0 39,3 0-50,-3 0 17,0 3-9,0-3 12,0 0-22,0 0 4,0 0-1,0 0 4,3 0-37,-3 0 26,0 3-28,0-3-3,0 0 30,0 0-34,0 0 36,0 4-33,0-4 18,0 0-28,0 0 32,0 0 7,0 0-2,0 0 3,0 3-8,0-3 22,0 0-15,0 0 18,0 3-7,0-3-8,0 0 9,-3 4 7,3-4-15,0 0 20,0 3-22,0-3 0,0 3 1,0-3-2,-3 4 4,3-4-17,0 3 12,0-3-14,0 3 18,-4 1-14,4-4 9,0 3-12,0 0 14,0-3-4,-3 4 2,3-1-16,0-3 11,-3 3-11,3 1 14,0-4-14,0 3 10,0-3-11,0 4 13,-4-4-44,4 3 32,0-3-35,0 3 42,0-3-22,0 4 14,0-1-19,-3-3 48,3 3-23,0-3 22,0 4-28,0-4 19,0 3-13,0 0 17,0-3 36,0 4-37,0-1 42,0-3-43,0 3 9,0 1-5,0-4 13,0 3-12,0-3-1,0 3 3,0-3-8,0 4-11,-3-4 10,3 0-11,0 3 14,0-3-5,0 0 3,0 3-6,-4-3 6,4 4-4,0-4 3,0 0-3,0 3-14,0-3 12,0 3-12,0-3 14,-3 4-19,3-1 13,0-3-14,0 0 17,0 4 1,0-1-2,0 0 30,0-3-23,0 4 23,0-4-29,0 3 17,0 0-11,0-3 14,0 4-15,0-4 4,0 3 2,0 0-1,0-3 4,0 0-7,0 4 7,0-4-7,0 3 6,0-3-10,0 0 7,0 3-12,0-3 9,0 0-3,0 0 2,0 4-15,0-4 10,0 0-10,0 0 15,0 3-22,0-3 15,0 0-17,0 3 19,0-3 1,0 4-2,0-4 2,0 3 0,0-3-2,3 3 1,-3-3 11,0 4-8,0-4 10,0 3-13,0-3 34,0 0-24,0 3 29,0-3-35,0 0 9,0 4-6,0-4 7,0 0-6,0 3-3,0-3 2,0 0 0,0 4-32,0-4 26,0 0-28,4 0 22,-4 0 7,0 3-10,0-3 11,0 0-12,0 0 8,0 3-11,0-3 12,0 0 5,0 0-2,3 4 4,-3-4-8,0 0 14,0 0-9,0 0 12,0 3-9,0-3-2,0 0 2,0 0-3,3 3 6,-3-3-2,0 0 2,0 0 0,0 0-5,0 4 5,0-4-4,0 0 1,0 0-1,0 0 1,0 0-1,0 0-20,0 0 14,0 3-15,0-3 21,4 0-3,-4 0 3,0 0-3,0 0 0,0 0-2,0 0-1,3 0-10,-3 0 7,0 0-6,3 0 11,-3 0-49,0 3 32,0-3-35,4 0 42,-4 0-18,0 0 13,0 0-18,3 0 13,-3 0 4,0 0-9,3 0 9,-3 0-5,4 0 4,-4 0-6,0 0-17,0 0 14,3 0-14,-3 0 25,3 0-27,-3 0 16,0 0-18,4 0 16,-4 0-5,0 4 2,3-4-4,-3 0 32,3 0-16,-3 0 17,0 0 9,4 0-23,-4 0 26,3 0-32,-3 0 36,0 0-23,0 0 27,3 0-27,-3 0 14,0 0-7,4 0 10,-4 0-9,0 0 21,0 0-10,3 0 11,-3 0-4,0 0-15,0 0 15,3 0-10,-3-4-1,0 4 3,4 0-5,-4 0 1,0 0 0,3-3 1,-3 3-2,0 0 1,0 0 0,0 0-1,4 0-1,-4 0 1,0 0 0,0 0 0,3-3 0,-3 3 0,3 0 0,-3 0 2,0 0-1,0 0 1,4-4-1,-4 4 10,0 0-8,0 0 9,3-3-11,-3 3 20,0 0-13,3-3 16,-3 3-23,4 0 4,-4-4-3,0 4 5,3 0 35,-3-3-23,0 3 24,3 0-29,-3-3-4,4 3 5,-4 0-1,0 0-24,3 0 17,-3-4-19,0 4 23,3 0-23,-3-3 16,4 3-17,-4 0 21,3 0 8,-3-4-7,0 4 3,3 0-5,-3-3-5,0 3 4,4 0-4,-4 0 1,3 0 4,-3 0-2,3 0 12,-3-3-8,0 3 7,4 0-8,-1 0-14,-3 0 10,3 0-13,-3-4 16,0 4-17,4 0 12,-4 0-14,3 0 12,-3-3-3,4 3 0,-4 0 6,0 0 0,3 0 2,-3 0-4,3 0-2,-3 0 2,4 0 0,-4 0 0,0 0 0,3 0 2,-3 0-1,3 0-2,-3 0-32,4 0 22,-4 0-23,0 0 28,3 0 1,0 0-4,-3 0 10,4 0-7,-1 0 7,-3 0-8,3 0 6,-3 0-5,4 0 5,-4 0-5,3 0-3,-3 0 4,3 0-3,-3 0 6,4 0-22,-1 0 18,-3 0-18,3 0 14,-3 0 3,4 0-6,-1 0 5,0 0 28,-3 0-21,4 0 21,-4 0-12,3 0-11,1 0 13,-4 0-14,3 0 10,-3 0-2,3 0 4,-3 3-2,4-3-33,-4 0 26,0 0-26,3 0 14,-3 0 9,0 0-14,3 0 17,-3 0-4,0 0 2,4 0-6,-4 0 20,3 0-16,-3 0 16,3 4-17,-3-4 11,4 0-7,-4 0 9,3 0-2,-3 0-5,3 0 10,-3 0-20,0 0 11,4 0-10,-1 0 10,-3 0 5,3 0-4,-3 3 3,4-3-5,-1 0 7,-3 0-5,3 0 5,1 0-7,-4 0-50,3 0-12,1 0-4,-4 0 14,3 0-75,0 0 26,1 0-40,-1 0 72,0 0 68,1 0 0,2-3 0</inkml:trace>
  <inkml:trace contextRef="#ctx0" brushRef="#br0" timeOffset="201">2230 5631 8746,'0'0'431,"0"4"-228,0-4 77,0 0-124,0 0-85,0 0 33,0 3-45,0-3 16,0 0-15,0 0 20,0 3-58,0-3 44,0 0-48,0 4 46,0-4-37,-4 3 29,4-3-36,0 3 43,0 1-42,0-1 26,-3 1-28,3-1 11,0 0 7,-3 1-11,3-1-12,-4 0 22,4 1-22,0-1 31,-3 0-46,3 4-5,0-4-13,0 1 13,-3 2-11,3-2 37,0-1-41,0 0 47,0 1-37,-4 2 25,4-2-33,0-1 5,0 1 6,-3-1-10,3 0-24,0 1 38,0-1-39,0 0 47,0-3-51,-3 4 37,3-1-41,0 0 46,0-3 3,0 4-4,0-4 2,0 3 11,0 0-14,0-3 15,0 4-17,0-4 9,-4 3-5,4-3 6,0 3-4,0 1 9,0-4-1,0 3 3,0 0-15,0-3 3,-3 4-7,3-4 9,0 3 12,0-3-9,0 3 8,0 1-11,0-4 66,0 3-48,0 1 53,0-4-21,0 3 13,0 0 2,0-3-9,0 4-40,0-1 11,0-3 8,0 3-48,0-3 39,0 4-49,0-1 55,0-3-60,-3 0-17,3 3-4,0-3-3,0 4 14,0-4-34,0 0 11,-4 3-19,4-3 65,0 3-23,0-3 74,0 4-46,-3-4 44,3 3-53,0-3 58,0 0-37,0 3 42,0-3-43,0 4 65,0-4-33,0 0 42,0 3-46,0-3-20,-3 0 22,3 0-16,0 3-19,0-3 15,0 0-18,0 0 4,0 4 14,0-4-15,0 0 12,0 0 8,-4 3-11,4-3 8,0 0-9,0 3-1,0-3 1,-3 0-1,3 4 4,0-4 18,0 0-11,-3 3 12,3-3-15,0 0-1,0 4 1,0-4-7,-4 3 0,4-3 0,0 0-1,0 0 14,0 3-8,0-3 7,0 0-7,-3 4 38,3-4-26,0 0 27,0 0-36,0 0-8,-4 3 7,4-3-2,0 0 52,0 0-28,0 3 30,-3-3 28,3 0-53,0 0 62,-3 0-72,3 0 38,-4 0-27,4 0 28,-3 0-32,3 0-40,-3 0 30,-1 0-30,4 0 41,-3 0-60,0 0-19,3 0-8,-4 0 7,1 0 54,0 0-8,3 0 0,-4 0 0</inkml:trace>
  <inkml:trace contextRef="#ctx0" brushRef="#br0" timeOffset="202">7068 5909 9502,'6'0'-15,"-2"0"70,-1 0-84,0 0 90,1 0-78,-1 0 118,0 4-17,1-4 68,-1 0-36,1 0-12,-1 0 8,0 0 4,4 0 1,-4 0-17,4 0 6,0 0-19,-1 0-18,4-4 2,0 1-27,0 0 27,4-4-32,-1 0-1,-3-3-8,7 0-51,-4 3 44,1-3-54,3 0 45,-4-3-59,4 0 38,-1 2-66,-2-2 68,3 0-46,-4-1 15,0 1 5,1 0-172,-4-1 84,0 4-111,-3 0 48,-4 0-89,4 3 12,-7 4-58,3-4-34,-3 4 107,0 3 15,-3-3 117,-1 3 112,-2 0 0,-5 0 0,1 3 0</inkml:trace>
  <inkml:trace contextRef="#ctx0" brushRef="#br0" timeOffset="203">5631 5822 9502,'10'-3'-39,"-6"0"54,-1 3-37,4 0 107,-4-4 4,4 1 43,-4 3 6,4-4 7,-4 4-49,4-3 39,0 3-45,-1-3-10,1 3-13,-4-4 9,7 4 2,-3-3 6,0 3-24,3 0-4,-3-3-103,-1 3 76,4 0-116,0 0 114,0 0-99,0 0 75,0 0-106,1 0 101,-5 0-82,8 0 45,-4 0-35,0 0-26,0 3 75,0-3-20,0 3 32,0-3 12,0 4 19,0-1-14,0-3 73,-3 3-66,-1 1 40,4-1-51,-3 1 48,0-4 13,0 3 11,-1 0-14,-2-3-54,-1 4 9,4-1-3,-4-3 13,4 3-37,-4-3 27,0 4-33,1-4 12,-1 3 18,0-3-24,1 0 20,2 0 48,-2 0-39,2 0 35,-2 0 2,3 3-32,-1-3 35,1 0-33,0 0 2,-1 0 8,1 4-4,3-4-42,-3 0 25,3 0-24,-4 0 37,5 0-70,-1 0 47,0 0-60,0 0 73,3 0-53,-3 0 37,4-4-48,-1 1 51,0 0-31,1-1 22,-4 1-27,3-4 37,1 4-15,-4 0 15,3-1-13,-3 1 22,3-1-16,-3 1 16,0 0-22,1-1 4,-5 1 0,1 0 3,0-1-40,-1 4 29,1-3-33,-4 0 41,1 3-48,-1-4 33,0 4-40,1-3 35,-1 3 0,-3-3-2,3-1-2,1 1 30,-4 0-26,3-1 25,-3 1 9,3 0-20,1 3 25,-4-4 7,3 4-24,-3-3 27,4 0-32,-1 3-52,-3 0-27,0 0 7,0 0-1,0 0 62,0 3-20,-3 0 12,-4 1-23,0 2-5,0-2 8,-3 2-13,4-2 11,-4-1 45,0 0-36,-4 1 37,4-1 4,0 0-24,-3-3 28,-1 4-33,4-4 18,-3 3-11,0-3 16,-1 0-18,1 0 62,-1 0-45,1 3 50,3-3 6,0 0-38,0 0 44,0 0-56,3 0 69,4 0-8,-4 0 64,4 0 6,-1 0 36,4 0-48,0 0 54,4 0-80,2 0 23,1-3-19,3 0 14,4-1-41,-1 1 41,0 0-81,1-1-3,-1 1-7,0 0 15,1-1-22,-1 1 37,4 0-44,-4-1 0,-3 4-7,4-3-10,-4 3 13,0 0-12,0-3-9,0 3-18,0 0 18,0 0-8,-3 0-13,-1 0 2,1 0-21,0 0 62,0 3-18,-1-3 15,1 3-4,-4 1 1,4-1-8,0 4 40,-4-4-29,4-3 29,-1 3-30,-2 1 43,6-4-27,-3 3 30,-1-3 23,1 3-44,0 1 52,-1-4-60,1 3-11,3 0 6,-3-3-7,-4 4-2,4-4 15,3 0-15,-7 3 16,4-3 6,0 0-4,-1 3 4,1-3-9,0 0-12,-1 0 3,-2 4-5,2-4 31,4 3-13,-3 1 17,-4-4-22,8 3 16,-5-3-12,1 3 18,0 1 0,-1-1-8,4-3 8,-3 3-13,3 1-24,-3-1 20,-1 0-20,5 1 24,-5-4-20,1 3 13,3 0-13,-3-3 22,3 4-7,-4-1 5,1-3-7,3 3 6,-3 1-4,0-1 6,-1-3 9,1 3-10,0 1 10,-1-1-15,1-3-8,0 3 10,-1-3-6,1 4 8,0-1-18,0-3 10,3 4-12,-4-1 16,4-3-1,-3 3 0,3-3-4,0 0-24,-3 4 15,3-4-16,0 3-4,0 0 21,0-3-22,0 4 25,-3-1-70,3-3 51,0 3-57,0 1 70,3-4-55,-3 3-8,0-3-12,4 0 13,-4 0-18,3 0-10,1 0-16,-1 0 21,0 0-2,4-3-9,-4-1-20,4 1-191,-3 0 67,2-4-120,-2 0-115,-1 1 110,0-1-112,1 0 250,-4 0 107,3 1 120,-3-1 0,0-3 0</inkml:trace>
  <inkml:trace contextRef="#ctx0" brushRef="#br0" timeOffset="204">5464 5836 9502,'7'-7'-667,"-1"7"735,-2-3-10,-1 3 152,4-4-95,-1 4 93,1 0-61,0 0 102,0-3-88,3 3-7,-4 0-49,4-3-4,0 3-77,4 0-9,-4 0-13,3-4 25,1 4 20,-1-3-9,0 3-11,4-4-68,-3 4 39,-1-3-70,4 0 38,-1 3-56,1-4 25,-3 1-49,-1 0-58,0-1 41,1 1-54,-1 0 66,-3-1-47,0 4 24,0-3-69,-3 3-18,-4-3 17,4 3 50,-7 0 69,0 0 93,0 0 0,0 0 0,-7 3 0,-3-3 0</inkml:trace>
  <inkml:trace contextRef="#ctx0" brushRef="#br0" timeOffset="205">5136 5953 9502,'-7'0'-882,"4"3"653,-1-3 141,1 3 18,-4-3 70,4 4 0,0-4 0,-1 3 0,1 1 0,0-1 7,-4 0-5,4-3 6,-1 4 33,1-1 11,0-3 4,-1 3-11,1 1 5,3-4 8,-3 3 3,3-3 429,-4 0-303,4 0 365,4 0-362,-1-3 14,4-1-21,-1 1-32,1 0-80,3-4 25,-3 0-15,6-3 37,-3 3-49,0 1-34,4-4-14,-1 0 19,0 3 1,1-3 41,3 0-58,-7 3-7,6-3-9,-2 0-46,-1 3-10,0 1-12,1-1 20,-1 0 18,1 4-14,-1-4-5,0 4-16,-3 0 18,4-1 4,-4 4-7,3-3-18,1 3-24,-4 0 16,0 0 10,0 0-43,0 0 76,-3 0-44,-1 0 37,1 0-78,-4 3 14,1-3-68,-1 4 78,-3-1-148,3-3 59,-3 3-91,-3 1 37,0-1 135,-1-3-2,-2 7 96,-4-4 0,-4 7 0</inkml:trace>
  <inkml:trace contextRef="#ctx0" brushRef="#br0" timeOffset="206">5290 5839 9502,'7'0'-550,"-1"3"601,-2-3-27,-1 0 60,-3 4 12,7-4 11,-7 0-16,6 0 15,-2 0-42,-4 0 53,3 0-52,0 0-2,1 0 3,-1 0-9,0 0 32,1 3-16,-1-3 20,4 0-21,-4 0-1,4 0 5,0 0-2,3 0-17,-4 3 5,4-3-11,0 0 15,-3 0-63,7 0-16,-4 0-4,6 0 9,-2 0-35,2 0 15,1 0-92,0 0-34,0 0 24,-1 0-43,4-3 57,-6 3-173,3-3 57,-1 3-129,-2-4 109,-4 4 135,0-3 17,3 3 100,-6-3 0,6-1 0</inkml:trace>
  <inkml:trace contextRef="#ctx0" brushRef="#br0" timeOffset="207">4928 6281 9502,'-10'-3'-161,"7"3"228,0-4-135,3 4 97,-4-3-140,4 3 121,0-3 1,0-1 77,0 4-19,0 0 12,0-3-6,0-1-3,0 1 46,0 0-21,4-1 26,-4 1-34,3 0-49,0-1-9,1 1-15,2 0 25,-2-4-46,2 0 65,-2 4-61,2 0 11,1-4 34,0-3-35,-1 3 37,5 0-39,-1-3 18,0 0-31,0 0 34,3-3-13,0 0 2,1-1-6,3 1 27,3-7-3,-4 3 7,4 0-13,1-3-37,-1 3 24,0-3-26,-4 4-13,5-5-31,-5 8-63,-2-4 49,-1 7-175,0 0 109,-6 0-128,0 7-83,-4-1 88,1 1-99,-4 0 115,0 3 134,-4 3 27,1 0 80,-7 1 0,0 6 0</inkml:trace>
  <inkml:trace contextRef="#ctx0" brushRef="#br0" timeOffset="208">2106 5916 9502,'0'-3'171,"0"3"9,0 0 285,0 0-311,0 0-42,3 0 72,-3 0-134,0 0 56,0 0-59,0 0-29,0 0-24,0 0 0,4 0 13,-4 0 0,0 0-23,3 0-24,-3 0-25,0 0 81,3 0-24,-3 0 20,4 0-11,-4 0-7,3 0 1,-3 0 7,3 0-46,1 0 28,-4 0-32,3 0 49,-3-4-38,3 4-18,-3 0 1,4 0-64,-4 0 28,3 0-16,-3 0-109,3 0 76,-3-3-107,0 3 99,0 0-89,0 0 163,4 0-70,-4 0 143,0-3 0,0 3 0</inkml:trace>
  <inkml:trace contextRef="#ctx0" brushRef="#br0" timeOffset="209">1962 6087 9502,'0'3'-974,"0"-3"919,0 3 76,0-3 11,0 0-4,0 4 4,0-4-7,0 0 304,0 0-220,0 0 239,0 0-306,0 0 10,0 0-10,0-4 5,3 4-35,-3 0 30,0-3-33,0 3 39,0 0-6,4 0 1,-4 0-2,3-3 11,-3 3-10,0 0 10,3 0-15,-3-4 13,0 4-10,4-3 16,-4 3-14,3 0 7,-3 0-4,3-3-1,1 3-22,-4 0 19,0-4-18,3 4 24,-3 0-69,3 0 45,-3 0-54,4-3 5,-4 3 36,0 0-42,3-3 50,-3 3-20,3 0 7,-3-4-10,4 4-19,-4-3 31,3 3-37,-3-3 38,4 3 19,-4-4-13,3 4 15,-3 0-22,3-3 38,-3 3-27,0-3 35,4 3-26,-4 0 6,3-4 1,-3 4-1,3-3-48,-3 3 30,0-4-27,4 4 13,-4 0 16,3-3-19,-3 3 19,0 0-47,3-3-17,-3 3-1,0 0-3,0-4 30,4 4 2,-4 0-7,0-3 21,0 3 0,3 0 0,-3-3 15,0 3-17,3 0 18,-3 0-19,0-4 8,4 4-2,-4 0 5,0-3 2,0 3 7,3-3-2,-3 3 3,0 0-7,0-4-5,3 4 3,-3 0-2,0-3-4,0 3 4,4 0-3,-4-3-29,0 3 22,0 0-24,0-4 30,0 4 1,3 0-3,-3-3 2,0 3-3,0-3 4,3 3-5,-3 0 5,0 0 4,0-4-5,0 4 6,0 0-8,0-3 3,4 3-1,-4 0 4,0-3-7,0 3 4,0 0-4,0 0 4,0-4-20,0 4 14,0 0-16,0-3 18,3 3 7,-3 0-6,0-3 5,0 3-1,0 0-4,0 0 3,0-4-4,3 4 4,-3 0-2,0-3 4,0 3-3,0 0-12,0 0 9,0 0-9,0-4 5,0 4 3,0 0-4,0-3 5,0 3-13,0 0 10,0 0-12,4-3-3,-4 3 9,0 0-11,0-4 10,0 4 4,0-3-4,0 3 4,3 0-4,-3-3 3,0 3-6,0 0 6,0-4-1,0 4 2,0 0 0,0-3-1,0 3 9,0 0-7,0-3 9,4 3-10,-4-4 0,0 4 0,0 0 0,0-3-9,0 3 6,0 0-5,0 0-2,0 0 7,0 0-8,0-3 10,0 3-3,0 0-5,0 0 20,0 0-15,0 0 21,0-4-5,0 4 3,0 0 2,0 0-3,0 0-68,0 0 42,0 0-125,0 0 37,0-3-84,0 3 1</inkml:trace>
  <inkml:trace contextRef="#ctx0" brushRef="#br0" timeOffset="210">4399 6924 9502,'14'0'-292,"-8"-4"238,1 4 131,3-3 25,0-4 115,0 4-72,0-7-24,0 0-32,0 0-23,4 0-73,-4-4 59,0 4-61,0-3 28,-3 0-18,6-1-11,-6 1 17,-1 3-18,4-4 45,-3 4-43,0-3 49,3 0-23,-3 2 8,-1-2-25,1 3 23,3-3-8,-3 3 9,3 0-2,-4-4 1,8 1-1,-8-1 0,5 4-15,-5 0 13,4-3-10,-3 3 14,3 0-38,-7 0 26,4 3-30,0 0 37,-4-3-39,4 4 27,-7-1-31,3-3 36,4 3-29,-7 1 21,3-5-25,1 5 15,-1-4 4,0 3-6,1-3 5,-1 0 4,4 0-7,-4 0 7,4 0-23,-1 0 16,1 0-17,0 0 21,-4 0-19,4 0 13,0 0-15,-1 0 18,-2 3 7,-1 0-5,4-3 27,-4 7-24,0-4 17,1 0-22,-4 4 9,3 0-5,0-4 8,1 0-9,-1 4 17,0 0-12,1-4 13,-1 4-14,4-4 6,-4 0-3,0 4 2,4-4-9,-3 0 4,-1 4-6,0-4 8,1 1-8,-1-1 5,4 4-7,-4-4-2,0 4 5,4-4-6,-4 4 9,1-1-13,-1 1 8,-3-4-9,7 4 11,-4-1-16,0 1 9,1 0-11,2-1 8,-2 1 6,-1-4-8,1 4 15,2 0 7,-2-1-4,-1-2 3,0 2 28,4-2-29,-4-1 33,1 3-39,-1 1 45,4-4-29,-4 1 33,4-1-38,-1 0 28,-2 1-12,2-1 16,1 0 42,0-3-52,3 4 56,-3-5-66,3 5-24,3-4 17,-3 0-17,0 0-213,4-4 55,-1 4-98,4 0 141,-1-3 117,1 3 0,3-4 0</inkml:trace>
  <inkml:trace contextRef="#ctx0" brushRef="#br0" timeOffset="211">3194 6043 9502,'3'0'12,"-3"0"38,0 0-5,4 0-28,-4 0 78,0 0-35,0 0 32,0 0 7,0 0 5,3 0-3,-3 0-30,0 0 12,0 0-23,0 0 30,0 4-47,0-4 33,0 0-39,0 0 47,0 0-48,0 0 34,3 3-36,-3-3-4,0 0 30,0 0-35,0 0 37,0 3-60,0-3 44,0 0-51,4 4 64,-4-4-10,0 0 5,0 3-10,0 0-34,0-3-27,0 4 9,0-4-7,0 3-5,0 0 26,3-3-30,-3 4 39,0-4-25,0 3 12,0 0 4,0 1 14,0-4 24,0 3-28,3 0-4,-3 1 2,0-4-4,0 3 8,0 0-33,0-3 24,0 4-25,0-1 32,0-3-18,0 3 13,0-3-12,0 4-16,0-4 23,0 0-29,0 3 32,0-3-25,0 0 18,0 4-24,0-4 43,0 0-20,0 3 19,0-3-18,0 0 17,0 0-11,0 0 12,0 3-14,0-3 52,0 0-36,0 0 41,4 4-42,-4-4-6,0 0 10,0 0-11,3 0 18,-3 0-11,0 0 14,0 0-28,0 0 12,0 0-14,3 3 19,-3-3-29,0 0 21,0 0-24,0 0 25,0 0-10,4 0 6,-4 0-10,0 0 29,0 3-17,3-3 17,-3 0-20,4 0 12,-4 0-9,3 0 9,-3 0-8,0 0 8,3 0-2,-3 0 7,4 0-8,-4 0 0,3 0 0,-3 0-2,3 0 2,-3 0 0,4 0-2,-1 0 3,-3 0-19,3 0 11,-3 0-13,4 0 14,-1 0 0,-3 0-1,3 0-30,-3 0 23,0 0-25,4 0 33,-1 0-29,-3 0 20,3 0-23,-3 0 25,0 0 15,4 0-10,-1 0 10,-3 0-16,3 0 2,1 0-1,-4 0 2,3 0-13,-3 0 8,4 0-9,-4 0 5,3 0 5,-3 0-5,3 0 8,-3 0-18,4 0 13,-4 0-17,3 0 18,-3 0 8,0 0-7,3 0 7,-3 0-11,4 0 42,-4 0-29,3 0 34,-3 0-44,3 0 4,-3 0-1,0 0 2,0 0-1,4 0 3,-4 0 1,3 0-14,-3 0 14,0 0-17,3 0 14,-3 0-13,0 0 6,4 0-8,-4 0 6,0 0-5,3 0 2,0 0-2,-3 0 20,0 0-8,4 0 9,-1 0 8,-3 0-15,3 0 16,-3-3-18,4 3 19,-4 0-12,3 0 15,-3 0-17,3 0 0,-3 0 3,4 0-2,-4 0 4,0 0-32,3 0 26,-3 0-25,4 0-9,-4 0 25,3 0-31,-3 0 19,0 0 8,3 0-9,-3 0 9,4 0 36,-4 0-29,0 0 29,3 0-34,-3 0 33,3 0-22,-3 0 25,0 0-28,0 0 11,4 0-3,-4 0 13,3 0-35,-3 0 18,0 0-19,3 0 12,-3 0 8,4 0-8,-4 0 7,3 0-8,-3 0 5,3 0-10,-3 0 10,0 0 66,4 0-48,-4 0 52,3 0-69,-3 0 5,0 0-3,3 0 18,-3 0-10,0 0 14,4 0-14,-4 0-24,0 0 17,0 0-17,3 0 24,-3 0-37,0 0 25,3 0-33,-3 0 40,0 0-7,4 0 4,-4 0-11,0 0 34,3 0-25,-3 0 25,0 0 9,0 0-25,3 0 27,-3 0-34,0 0 25,0 0-16,4 0 23,-4 0-24,0 0-28,0 0 19,0 0-22,3 0 32,-3 3-42,0-3 29,4 0-33,-4 0 5,0 0 23,0 0-26,0 0 9,3 0 17,-3 0-22,0 4 21,0-4-8,3 0 6,-3 0-6,0 0 5,0 0 26,0 3-19,4-3 21,-4 0-26,0 0-2,0 0 2,3 3 1,-3-3 1,0 0-8,0 0 5,3 4-4,-3-4-30,0 0 28,0 0-30,0 0 25,4 3 6,-4-3-9,0 0 7,0 0 5,0 0-8,3 3 7,-3-3-9,0 0 15,3 4-10,-3-4 11,0 0-11,0 0 13,0 0-8,0 0 9,4 0-4,-4 0-3,0 3 5,0-3-5,3 0-34,-3 0 23,0 0-26,0 0 9,0 0 16,0 3-17,0-3 18,0 0 8,0 0-8,0 0 8,0 4-13,3-4 25,-3 0-21,0 0 22,0 0-3,0 0-11,0 3 15,0-3-4,0 0-8,0 0 9,0 0-8,0 3 1,0-3 2,4 0-1,-4 0-1,0 0-2,0 0 1,0 4-1,0-4 0,0 0 0,0 0 0,0 0 0,0 3-6,0-3 4,0 0-3,0 0 1,0 0 3,0 0-3,0 4 3,0-4 0,0 0 0,0 3 1,0-3-2,0 0 3,0 3-2,0-3 3,0 0-4,0 4 2,0-4-1,0 3 2,0-3-1,0 0 0,0 0 0,0 3-7,0-3 4,0 0-5,0 4 7,0-4 1,0 0 0,0 0 0,0 3-1,0-3 2,0 0-2,0 3 2,0-3-2,0 0 26,0 0-19,0 0 21,0 4-25,0-4 1,0 0-1,0 3 4,0-3-8,0 0 7,0 0-6,-4 3 9,4-3-4,0 0 4,0 0-2,0 4-10,0-4 6,0 0-7,0 3 9,0-3-9,0 0 6,0 0-8,0 0-5,0 0 9,0 3-9,0-3 0,0 0 9,0 0-12,0 4 14,0-4-11,0 0 7,0 0-8,0 0 9,0 3 0,0-3 0,0 0 0,0 3 5,0-3-5,0 0 5,-3 0 3,3 4-6,0-4 7,0 0-8,0 0 4,0 3-2,0-3 2,0 0-1,0 0 3,0 0-2,0 3 2,0-3-4,0 0-11,0 4 8,0-4-7,0 0-25,0 3 24,0-3-27,0 0 22,0 0 7,0 0-8,0 0 7,0 4-39,0-4 26,0 0-29,0 0 36,0 3-1,0-3-4,0 0 0,0 0 2,0 3 1,0-3-1,0 0 2,0 0 35,0 4-27,0-4 29,0 0 10,0 0-30,0 0 35,0 0-41,0 0 13,0 3-5,0-3 8,0 0-7,3 0-45,-3 0 34,0 0-35,0 3 43,0-3-13,0 0 8,0 0-8,0 0-19,0 0 19,0 0-26,0 0 31,0 0-8,4 4 7,-4-4-9,0 0-33,0 0 24,0 0-26,0 0 35,0 3-18,0-3 13,0 0-17,0 3 20,0-3-7,0 0 6,0 0-7,0 4 26,0-4-21,0 0 20,0 0 24,0 3-31,0-3 38,0 0-46,0 0 41,0 0-28,0 0 36,-4 3-40,4-3-21,0 0 14,0 0-15,0 0 8,0 0-6,0 4 0,0-4-40,0 0 47,0 0-163,0 0 127,0 0-101,0 0-363,0 0 110,0 0-158,0 0 299,-3 3 272,3-3 0,0 0 0</inkml:trace>
  <inkml:trace contextRef="#ctx0" brushRef="#br0" timeOffset="212">1959 6113 9502,'3'0'-465,"-3"0"431,0 0-52,3 0 95,-3 0-30,0-3 74,0 3-34,0 0-4,4 0 25,-4 0 26,0 0-6,0 0 28,0 0-49,0 0 19,0 3-14,0-3 46,0 4-39,0-4 13,0 3-15,0 1-6,0-4-17,-4 3 15,4 0-3,0 1-49,0-1 52,0 0-58,0-3 55,-3 4-23,3-1 8,0 0-12,0 1 10,0-1-27,0 0 15,0 1-16,-3-1-20,3-3 41,0 3-44,0 1 48,0-1-38,0 0 29,0 1-30,0-4 34,0 3-7,0 1 3,0-1-9,0-3 33,-4 3-27,4 1 27,0-1-29,0 0 35,0 1-22,0-4 26,0 3-46,0 0 12,0 1-10,0-1-4,0-3 16,0 3-15,0 1 18,0-1 18,0 0-15,0-3 14,0 4-22,0-1 9,0 0-8,0-3 7,0 4-8,-3-1-11,3 0 10,0-3-7,0 4 0,0-1 8,0 1-9,0-1 12,0-3 10,0 3-6,0 1 5,0-1 3,-3-3-11,3 3 9,0 1-13,0-1 12,0 0-8,0-3 11,0 4-10,0-1-10,0 0 7,-4 1-5,4-4-22,0 3 24,0 0-27,0 1 14,-3-1-14,3-3 5,0 3-5,0 1-20,-3-1 31,3 0-40,0 1 45,0-1-5,-4 1 3,4-1-2,0 0 0,-3 1 4,3 2-2,0-2 1,0-1 13,0 0-14,-4 1 15,4-1-2,0 0-10,-3 1 13,3-1-13,0-3-26,-3 3 19,3 1-21,0-1 28,0-3-41,-4 0 29,4 3-34,0-3 32,0 0 1,0 0-5,0 0 68,0 0-44,0-3 49,0 0-61,0-1 60,0 1-42,0 0 53,0-1-59,0 1 36,0 0-25,0-4 29,0 4-55,4-4 25,-4 0-23,0 1 25,0 2-28,0-3 17,3 1-21,-3-1 12,0 4 8,0-4-9,3 0 5,-3 4-7,0-4 2,0 1-5,4 2 10,-4-2-4,0 2 4,0-2-6,0 2-7,0-3 7,0 4-8,3 0 13,-3-1 1,0-2-1,0 2 0,4 1 22,-4-4-17,0 4 18,0 0-22,3-1 1,-3-2 1,0 2-1,0 1 2,0 0-12,0-1 11,0 1-11,0 0 7,0-1 3,0 4-4,3-3-26,-3-1 21,0 4-22,0-3 26,0 3-1,0-3-2,0 3 0,0-4-1,0 4-6,0 0 4,0-3-4,0 3 5,0 0 6,0-3-6,0 3 5,0 0-5,0-4 0,0 1-2,0 3 2,4 0 16,-4-3-9,0 3 12,0-4-3,0 1-9,0 3 9,3-3-11,-3 3-1,0-4 4,0 4-3,3 0 2,-3-3 1,0 3 1,0 0-1,0-3-10,0 3 1,0 0-5,0 0 4,0-4-40,0 4 31,4 0-33,-4-3 40,0 3-33,0 0 19,0-3-22,0 3 45,3-4-8,-3 4 5,0-3-11,0 3 31,3-4-22,-3 1 28,0 3-18,4-7-12,-4 7 14,3-3-119,-3 0 24,0-1-90,3 1 108,-3 3 15,0-3 59,0 3 0,0 0 0</inkml:trace>
  <inkml:trace contextRef="#ctx0" brushRef="#br0" timeOffset="213">1969 6093 8467,'0'0'387,"0"0"-375,0 4 5,0-4 4,0 0 55,3 0-62,-3 0 63,0 0-35,0 0 40,0 0-22,0 0 30,0 3-35,0-3 72,0 0-52,0 0 50,0 0-68,0 0 18,0 0-8,0 3 13,0-3-4,-3 0-31,3 0 25,0 0-16,0 4-45,0-4 49,0 3-60,0-3 12,-4 3 31,4-3-34,0 4 44,0-4-52,0 3 36,0 1-50,-3-1 56,3 0-68,0 1 49,0-1-52,0 0 75,-3 1-17,3-1 15,0 4-15,-4-4-4,4 0 0,0 1-3,0-1-11,-3 4 11,3-4-8,-3 0 12,3 1 17,-4-1-13,4 4 14,0-4-18,-3 1 2,3-1-1,0 0 1,0 1-4,-3-1 2,3 0-2,0 1 5,0-1-51,0 0 38,-4 4-41,4-7 45,0 3 3,0 1-6,0-1 6,0 0-46,-3 1 32,3-1-37,0 0 44,0 1-35,0-1 25,0-3-30,0 4 18,0-1 2,0 0-4,0 1 9,0-4 15,0 3-10,0 0 10,0 1-18,0 2 4,0-2-4,0-1 5,0 0-18,-4 1 14,4 2-15,-3-2 19,0-1-42,3 4 29,-4-1-32,1 1 38,3-3-1,-3 2-4,3-2 2,0 2 3,-4 1-1,4-4 3,0 4 14,-3-4-15,3 1 16,0-1-18,0 0 7,0 4-2,-3-7 4,3 7-2,0-7-23,0 3 19,0-3-19,-4 3-1,4 1 13,0-4-18,0 3 22,0-3 9,0 4-7,-3-1 6,3-3 5,0 3-14,0 1 14,0-1-14,0-3 34,0 3-23,-3 1 25,3-4-28,0 3 1,0 0 4,0 1-2,0-4 5,-4 3-6,4-3 6,0 3-6,0-3 6,0 4-5,0-4 4,0 3-3,0-3 17,0 3-13,0-3 14,0 4 0,0-1-13,0-3 15,0 3-16,0-3-14,0 4 12,0-4-11,0 3-39,-3-3 39,3 3-41,0 1 22,0-4 20,-3 3-25,3-3 29,0 4-17,0-4 11,-4 3-19,4-3 17,0 3 39,0 1 16,0-4 2,0 3-11,0-3 27,0 3-48,0 1 60,0-4-42,0 3-9,0 0 14,4 1-11,-4-4-182,3 3 46,-3-3-117,0 3-147,3-3 261,-3 4-170,0-4 279,4 3 0,-1-3 0</inkml:trace>
  <inkml:trace contextRef="#ctx0" brushRef="#br0" timeOffset="214">4245 6904 9381,'7'0'364,"-4"0"-259,1 0 0,-4 0-1,3-4 11,0 4-75,1 0 56,-1 0-63,0-3 65,1 3-54,2 0-18,1-3-4,0-1-43,0 4 38,3-3-16,0 0-43,3-1 80,0-2-39,1 2 50,-1-3-28,4 1 9,3-1-15,-3-3 23,0 0 5,-1 0-6,1 3 3,3-6-7,-3 3-9,0 0 11,-4 3-10,4-3-17,-4 0 20,-3 0-25,4 3-32,-4 1 45,-4-5-47,4 5 56,0-1-33,-3 0 16,-4 4-20,4-7 25,0 7-30,-4-4 18,4 4-22,-4-4 15,4 0 13,-4 1-15,4-1 10,-4 0-10,4 0 6,0 1-5,-4-1 9,4 0-6,-1 1 5,1-1-5,0 0-4,-4 1 7,4-1-9,0 0 10,-4 4-11,4-4 7,-4 0-6,0 4 8,1-4-38,-1 4 28,0 0-30,1-1 37,-1 1-21,0-4 15,4 4-20,-7 0 6,3-1 4,4-2-6,-4 2-9,1 1 17,3 0-21,-4-4 23,4 3-35,-4 1 26,4-4-25,-4 4 30,4 0 10,-4-1-7,4-2 8,-4 2-15,0 1-7,1-4 5,-1 4-8,0 0 11,1-1-2,-1 1 3,0 0-12,1-1 9,-4 1-12,3 0 13,-3-1 18,4 1-12,-4-1 15,3 1-19,-3 0-5,3 3 4,-3-7-3,4 7-6,-4-7 7,3 4-6,0 3 4,1-3 3,-4-1-3,3 1 5,0 0 6,1-1-5,-4 1 2,3 0-7,-3-1 4,3 4-4,1-3 7,-4 0-60,3 3 38,-3-4-40,0 4 52,0-3-65,0 3 48,3-3-55,-3 3 63,0 0-35,0-4 22,0 4-30,0-3 91,0 3-48,0-4 42,0 4-55,0-3 31,0 3-20,0 0 26,4-3-24,-4 3 16,3-4-1,-3 4 7,0-3 3,3 3-15,-3 0 17,4-3-23,-4 3 11,3-4-10,-3 4 6,3-3 44,-3 0-37,4 3 37,-4-4-47,3 4 58,1-3-37,-4 3 41,0-3-48,3-1 20,-3 4-9,3-3 13,-3 0 58,0-1-57,4 4 65,-4 0-76,0-3 59,0 0 8,0 3 10,0-4 36,0 4-23,0-3 1,0 3-9,0-3 29,0-1-58,0 4 59,0 0-25,0 0-22,0-3 32,0 3-25,-4 0 39,4 0-23,-3 0 35,0 0-46,-4 3-2,3-3 1,-2 7-6,-1-4-15,0 7 19,1-3-19,-4 3 23,0 3 26,0-3-24,0 7 23,-4-3-63,-3 6-17,1-4 5,-1 4-1,-3 4-19,0-1 37,0 1-35,-4 3 3,1-4-4,3 0-18,-4 1 14,4-4-12,0 0-4,3 0-21,-3-3 21,7 3-32,-4-3 52,7-1-59,-3 1 28,-1-3 13,4 2-18,-3 1 31,-1 0-16,4-4 10,0 4-12,-3 0-47,3-4 46,-7 4-52,4 0 64,-1-1-75,-2-2-19,2 2-11,1-6 20,-4 4-61,4-1 33,-1-3-124,1 0 93,0-3-183,3 0 75,3-7-8,0 3 117,0-3 149,4-3 0,3-1 0</inkml:trace>
  <inkml:trace contextRef="#ctx0" brushRef="#br0" timeOffset="215">1932 6294 9502,'0'4'-653,"0"-4"606,0 3-34,0-3 83,0 0 8,0 3 37,0-3 3,0 0-3,0 4-2,0-4 3,0 0-4,0 3-17,0 0 12,0-3-8,0 4 14,0-1-8,0-3 3,0 3-12,0 1 15,0-1 1,0-3-2,0 3 3,-4 1-12,4-1 5,0-3-6,0 4-26,0-1 21,-3-3-23,3 3 30,0 1-24,0-1 14,-3 0-14,3 1 16,0-1-21,0 0 10,-4-3-16,4 4 17,0-1 7,0 0-9,0 1 8,-3-4 28,3 3-21,0-3 26,0 3-13,0 1-9,0-1 11,0-3-16,0 3-26,-3 1 24,3-4-23,0 3 31,0 0-36,0-3 25,-4 4-26,4-1-14,0-3 29,0 4-36,0-1 43,0-3-25,0 3 18,0 1-24,-3-4 28,3 3-10,0-3 9,0 3-8,0-3 9,0 4-3,0-4 4,-3 3-5,3 0-12,0-3 10,0 0-9,0 4 7,0-4 2,0 3-2,-4 0 3,4-3-15,0 4 10,0-1-11,0-3 20,0 3 12,0-3-7,0 4 5,0-1-5,0-3-7,0 3 11,0-3-12,0 0 1,0 4-1,0-4 3,0 3 0,0-3-26,0 3 18,0-3-19,0 4 1,-3-4 15,3 3-17,0 1 24,0-4-1,0 3-3,0-3-1,0 3 25,0 1-17,0-4 21,0 3-26,0-3-7,-3 3 5,3 1-1,0-4-5,0 3 10,0-3-9,0 3 12,0-3-13,0 4 8,0-4-8,0 3-15,0-3 17,0 0-21,0 3 23,-4-3-32,4 4 24,0-4-27,0 3 32,0-3-16,0 3 11,0-3-12,0 4 1,0-4 6,0 0-8,0 3 9,-3-3 7,3 3-9,0-3 9,0 4-5,0-4 1,0 3 1,0-3-2,-3 3-17,3-3 12,0 4-11,0-4 15,0 0-18,0 0 13,0 3-15,0-3 68,-4 0-36,4 0 71,0 0-68,0-3 21,0-1-20,0 1 46,0-4-25,0 4 31,0 0-27,0-4-16,0 4 19,0-4-17,0 4-5,0-4 4,0 0-5,0 1-15,0 2-4,0-2-2,0-1 1,4 3-18,-4-2 24,0 2-30,0-2 35,0 2-7,0-2-1,0 2-2,3 1 0,-3 0-11,0-1 4,0 1-5,0 0 10,0-1 4,0 1-2,3 3 2,-3-3 0,0-1 0,0 4 0,0-3 4,0 0-3,0-1 3,0 4-3,4-3-12,-4-1 8,0 4-8,0-3 11,0 0-6,3-1 4,-3 1-5,0 0 0,0 3 2,0-4-3,3 1 6,-3 0 7,0-1-6,0 4 6,0-3 0,0 0-4,4-1 6,-4 4-9,0-3 25,0 0-18,0 3 21,3-4-24,-3 1 21,0 0-15,0 3 18,0-4-23,0 4 5,0-3-4,3 0 5,-3 3-12,0-4 10,0 1-10,0-1 0,0 1 7,0 3-9,0-3 10,0-1-28,0 1 20,0 0-24,0-1 29,0 1-28,0 0 19,0-1-21,0 1 20,0 3 1,0-3-2,0-1 0,0 4-26,0-3 16,0 3-18,0-3 23,0 3 55,0 0-39,0 0 43,0 3-50,0 0 47,0 1-33,0-1 38,0 0-2,0 1-24,0 2 28,0-2-4,-3 2-19,3-2 22,0 2-22,0 1 20,-3-3-16,3 2 21,0-2-24,-4 2-16,4 1 16,0-4-19,0 4-26,0 0 31,-3-4-34,3 4 44,0-4-12,0 4 6,0-4-13,0 0 5,0 1 2,0-1-3,0 1 1,-3-1-3,3 0-1,0 1-1,0-1 4,0 0-11,0 1 10,0-1-10,0 0-2,0 1 11,0-1-13,0-3 15,0 3 6,0 1-6,0-1 5,0 0-8,0-3 1,0 4 0,0-1 0,0 0-2,0-3 1,0 4-1,0-4 4,0 3-6,0-3 5,0 3-4,0 1-6,0-4 6,0 3-6,0-3 8,0 4 4,0-4-3,0 3 1,0-3 2,0 3-4,0-3 4,0 4-4,0-4-5,0 3 4,0-3-3,0 0 4,0 3-6,0-3 6,0 4-6,0-4 3,0 0 2,0 3-2,0-3 1,0 0-11,0 0 7,0 3-9,0-3 12,0 0-35,0 4 24,0-4-26,0 0 37,0 0-3,0 0 2,0 3-4,0-3 8,0 0-6,0 0 8,0 0-10,0 0 10,0 3-7,0-3 9,0 0-6,0 0 0,0 0 1,0 0-2,0 4-1,0-4 1,0 0-1,0 0-30,0 3 22,0-3-24,0 0 29,-4 0-7,4 3 5,0-3-9,0 0 9,0 0 4,0 4-3,0-4 2,0 0-4,0 0 6,0 0-4,0 0 5,0 3 7,0-3-8,0 0 9,0 0 1,0 0-11,0 3 13,0-3-13,0 0 7,0 0-6,0 0 4,0 4-3,0-4-6,0 0 4,0 0-3,0 3-19,0-3 17,0 3-17,0-3-6,0 0 18,0 0-19,-3 4 21,3-4 14,0 0-13,0 0 10,0 3-14,0-3 33,0 0-25,0 0 26,0 4-29,0-4 43,0 0 16,0 0 0,-3 0 66,3 0 44,0 0-43,0 0 32,3 3-166,-3-6 16,0 3-20,0 0 20,0 0-8,3 0 1,-3 0-3,0 0 7,0-4 9,0 4-8,0 0 7,4 0 26,-4 0-21,0 0 23,0 0-35,3 0 6,-3 0-5,0 0 8,0 0-11,0 0 8,0 0-9,3-3 11,-3 3-11,0 0 8,0 0-9,0 0 9,4 0-7,-4 0 3,0 0-4,0 0 2,3 0 3,-3 0-3,0 0 3,0 0-18,0 0 13,3 0-13,-3 0 9,0 0 5,0 0-6,0 0 7,0 0-6,0 0 4,0 0-5,4 0 14,-4 0-8,0 0 9,0 0-10,0 0-18,0 0 13,3 0-13,-3 0-7,0 0 19,0 0-24,0 0 29,0 0 3,0 0 6,0 0 37,0 0-18,0 0 100,3 0-86,-3 0 54,0 0-73,0 3-5,0-3 4,0 0-5,0 0 1,0 4 3,0-4-2,0 0 0,0 3-22,0-3 14,0 0-15,0 3 25,0 1-4,0-4 2,0 3-2,0 0-6,0-3 5,0 4-6,-3-4 7,3 3-3,0 0 3,0-3-4,0 4-6,0-4 7,0 3-7,0 0 10,0-3-3,0 4 2,0-4-2,0 3-5,0-3 4,0 3-5,0-3-2,0 4 4,0-1-3,0 0 5,0-3-11,0 4 7,0-4-9,0 3 11,0-3-8,0 3 4,0-3-5,0 4-6,0-1 10,0-3-12,0 4 15,0-1-41,0-3 29,0 3-33,0 1 18,0-4 12,0 3-17,0 0 20,0-3-35,0 4 25,0-4-25,0 3 28,0-3-10,0 3 6,0-3-10,3 4 13,-3-4-34,0 0 24,0 0-28,0 0 33,0 0-25,4 0 20,-4 0-39,0 0 36,0-4-23,0 4 24,3-3 9,-3 0-5,0-1 8,0 1-14,0 0 43,3 3-30,-3-4 33,0 1-41,0 0 52,0 3-37,0-4 43,0 1-51,0 3 47,0 0-32,0-4 54,0 4-51,0 0 18,0 4-18,0-4 6,-3 3-4,3 1 5,0-1-5,0 0 17,-3 1-13,3-1 12,0-3-15,0 3 21,0 1-14,0-1 17,0-3-28,0 0 8,0 3-7,0-3 9,0 4-56,0-4 38,0 0-41,0 0 45,0-4 4,0 1-10,0 3 19,0-3-14,0-1 12,0 1 18,0 0-21,0-1 23,0 1-25,0 0 6,0-1-3,0 1 9,0-1-5,0 1-3,0 0 3,0-1-7,0 4-11,0-6 10,0 2-11,0 4 16,0-3-17,0 3 12,0-3-15,0 3 18,0-4-5,0 1 3,0 3-3,0 0 0,0-3 0,0 3 1,0-4-1,0 4 0,0 0 1,0 0 0,0 0-15,0 0 11,0-3-11,0 3 14,0 0-2,0 0 2,0 0-3,0 0 9,0 0-8,0 0 7,0 0-7,-4 0 11,4-3-7,0 3 8,0 0-11,0 0 9,0 0-5,0 0 7,0 0-5,-3 0-2,3-4 4,0 4-4,0 0 23,0 0-17,0 0 20,0 0-24,0 0 9,0-3-6,0 3 7,0 0-14,0 0 6,0 0-5,-3 0 7,3-3-9,0 3 7,0 0-8,0 0 9,0 0-8,-4-4 5,4 4-7,0 0 6,0-3-2,0 3 0,0 0 1,0 0 0,0 0 1,-3 0 0,3-3 0,0 3 0,0 0 0,0 0 0,-3 0-2,3 0 1,0-4 0,-4 4 1,4 0-18,0 0 13,0 0-14,-3 0 17,3 0-39,0-3 28,0 3-30,-3 0 6,3 0 18,0 0-20,0 0-80,-4 0 26,4 0-104,0-4 102,0 4-198,0 0 99,0 0-101,-3 0 115,3 0 79,0 0 0,0 0 0</inkml:trace>
  <inkml:trace contextRef="#ctx0" brushRef="#br0" timeOffset="216">3465 6318 8428,'0'0'251,"0"0"-107,0 0-30,0 0 153,0-4-182,0 4 112,0 0-150,0 0-38,-3 0-14,3 0 4,-3 0-61,-4 0 24,3 0-8,-2 0 5,-1 4 21,0-4-29,1 3 9,-4-3-70,3 3 34,0 1-25,-3-1 24,7-3 27,-4 3 26,4 1-31,-4-4 25,7 0 48,-3 3-51,3-3 75,0 0-73,0 0 25,3-3-3,0 3-24,1-4 21,-1 1-17,1 3 1,-1-3 8,0-1-12,1 1 17,2 3 17,-6-3-13,4 3 8,-1 0-15,-3-4 65,3 4-46,-3 0 51,0 0 9,0 0-45,0 0 97,0 0-48,0 4 3,-3-4-21,0 3-20,-1 0-19,-2 1 19,2-4-41,-2 3 27,2-3-26,1 3 36,-4 1-55,4-4 34,-1 0-37,1 3 16,0-3-3,-1 0-12,1 0 11,3 0-14,-3 0 21,3 0-53,0 0 48,0 0-20,0 0 29,0 0-4,0-3 13,0 3-4,0 0 14,0 0-7,0 0 2,0 0-2,0-4-10,0 4 7,0 0-8,0 0 5,0 0 3,0 0-8,0-3 7,0 3 12,0 0-6,0 0 12,-4 0-14,4 0 1,0 0 1,0 0-1,-3 0 22,3 0-16,0 0 15,-3 0-20,3 0 0,0 0 1,0 0 1,-4 0-3,4 0 2,0 0-3,0 0 4,0 0-9,-3 0 7,3 0-6,-3 0 0,3 0 6,0 0-6,-4 0 5,4 0-1,-3 0-2,3 0 1,0 0 17,-3 0-11,3 0 13,-4 0-16,4 0-3,0 0 3,-3 0-2,3 0 2,-3 0-3,3 0 2,-4 0-2,4 0 4,0 0-6,-3 0 4,3 0-7,-4-3 8,4 3-3,-3 0 2,3 0-4,-3 0 3,3 0-4,-4 0 4,4 0 2,0 0-1,-3 0 2,3 0-3,-3 0 17,3 0-12,-4 0 14,4 0-3,0 0-10,-3 0 12,3 0-14,-3 0-2,3 0 2,0 0-2,-4 0 3,4 0 0,0 0 3,-3 0-1,3 0-6,-3 0 3,3 0-5,0 0 4,-4 0-8,4 0 4,0 0-6,-3 0 7,3 0-3,0 0 2,-3 0-5,3 0 4,-4 0 0,4 0 1,-3 0 0,3 0 1,-3 0-1,3 0 0,-4 0 12,1 0-9,3 0 9,-4 0-10,4 0 53,-3 0-36,3 0 40,-3 0-22,3 0-22,-4 0 27,4 0-28,0 0 1,-3 0 0,0 0 1,3 0-23,-4 0 21,4 0-20,-3 0 23,0 0-67,3 0 46,-4 0-52,4 0 60,-3 0-64,0 0 44,-1 0-46,1 0 63,0 3 0,-1-3 0</inkml:trace>
  <inkml:trace contextRef="#ctx0" brushRef="#br0" timeOffset="217">3248 6351 9627,'0'0'123,"0"0"-74,0 0 51,0 0-5,0 0 193,3 4-161,-3-4 149,0 0-171,0 0-19,0 0 28,0 0-72,0 0-14,-3 0 2,3 3-49,0-3 23,-4 0-3,4 0-25,-3 0 66,3 0-21,0 3 5,-3-3-40,-1 0 15,4 0-20,-3 4 32,3-4 21,-4 0-21,1 0 15,3 3-55,-3-3 42,3 0-40,-4 3 26,4-3-8,-3 4-2,0-4 5,-1 3-12,4 0 19,-3-3-23,3 0 25,-3 4-12,3-4 4,-4 3-7,4-3 2,0 3 0,-3 1-4,3-4 3,0 3 19,-3-3 18,3 3-8,-4 1 7,4-4 20,0 3-32,0-3 38,-3 3-43,3-3 4,0 4-2,0-4 5,0 3-29,-3-3 24,3 4-23,0-1 28,0-3-12,0 3 8,0-3-8,0 4 50,0-1-32,0-3 30,0 3-55,0-3 8,0 4-7,0-4 14,-4 3 1,4 0 0,0-3 0,0 4 2,0-1 16,0-3-8,0 3 10,0-3-16,0 4 15,0-1-12,0-3 13,0 3 0,0-3-11,0 4 13,0-1-27,0-3 8,0 3-3,0 1 10,0-4-42,0 3 30,0-3-36,0 3 43,0 1-41,0-4 30,0 3-36,0 1 17,0-4 10,0 3-15,0-3 16,0 3 29,0 1-25,0-4 23,0 3-16,0 0-5,-3 1 7,3-4-8,0 3 10,0 0-6,0 1 9,0-4-10,0 3-15,0 0 12,0-3-12,0 4 17,-3-1-52,3 0 35,0 1-41,0-4 42,0 3 0,-4 0-4,4-3-1,0 4 10,0-1-9,0 0 7,0-3 18,0 4-15,0-1 18,0-3-22,0 4 31,0-4-22,0 3 28,0-3-33,0 3 7,0 1-5,0-4 8,0 3-14,0-3 9,0 3-9,0-3 9,0 4-18,0-4 13,0 0-16,0 3 8,0-3 4,0 3-5,0-3 8,0 4-6,0-1 2,0-3-4,0 3 4,0 1 66,0-4-47,-3 3 50,3 0-61,0-3 60,0 4-38,-3-1 43,3 0-58,0-3 3,0 4 2,0-1-29,-4-3 28,4 3-30,0-3 35,0 4-30,-3-4 19,3 3-21,0-3 18,-4 4-16,4-4 2,0 3-7,0-3 24,-3 0-2,3 3 4,-3-3-9,3 4 39,-4-4-27,4 3 32,-3-3-30,3 0-4,-3 3 6,3 1-3,-4-4-22,4 3 19,-3-3-19,3 3 22,-3-3-15,-1 4 10,1-4-10,3 3-11,-3-3 16,3 3-22,-4-3 23,4 4-4,-3-1 3,3-3-6,-3 3 14,3-3-11,0 0 10,-4 4-9,4-4 9,-3 0-5,3 3 7,0-3-9,-3 0-6,3 0 5,0 3-10,-4-3 11,4 0-3,0 4 4,-3-4-1,3 0-10,-3 0 6,3 0-7,0 3 3,-4-3 4,4 0-6,-3 0 7,3 3-4,-4-3 3,4 0-1,-3 0 1,3 4 0,-3-4 0,3 3 0,-4 1 0,4-4 0,-3 0 0,3 3 0,0-3 0,-3 3 0,3-3 0,-4 4-5,4-4 3,-3 3-3,3-3 5,-3 0-33,3 3 24,-4-3-27,4 4 33,-3-4-63,3 0 44,0 0-51,0 0 62,-3 0 4,3 3-3,0-3-1,-4 0 7,4 0-12,0 0 12,-3 0 20,3 0-23,0 0 26,-3 0-30,3 0 27,0 3-14,0-3 17,-4 0-15,4 0 0,0 0 5,-3 0-3,0 0-15,3 4-1,-4-4-5,4 0 8,0 0-9,-3 3 10,3-3-11,-3 0 17,-1 0-6,4 0 5,0 0-7,-3 3 13,3-3-10,-4 0 11,4 0-11,-3 0 11,3 4-7,0-4 9,-3 0-3,3 3-6,-4-3 8,4 0-8,-3 0 2,3 3-1,-3-3 0,3 4-16,0-4 11,0 0-11,-4 3 13,4-3 3,0 3-3,-3 1 2,3-4-3,0 3 11,0 0-9,-3-3 10,3 4 15,0-1-18,0-3 21,0 4-7,0-4-11,0 3 13,0 0-14,-4-3-11,4 4 11,0-4-9,0 0 10,0 3-16,0-3 12,0 3-12,0-3 12,0 0-5,0 4 3,0-4-4,0 3-5,0-3 7,0 0-8,0 3 10,0 1-11,0-4 7,0 3-7,0-3 8,0 3 0,0-3 1,0 0-1,0 4-19,0-4 14,0 3-15,0-3 20,0 0-2,0 3 1,0-3 7,0 0-5,0 4 5,0-4-9,0 0 16,0 0-11,0 3 12,0-3-15,0 0 5,0 0-3,0 3 5,0-3-5,0 0-20,0 4 14,0-4-14,0 0 6,0 0 8,-3 3-10,3-3 13,0 0 1,0 0-3,0 4 0,0-4 7,0 0-5,0 0 5,0 0 1,0 0-7,0 3 8,0-3-14,0 0-29,0 0 18,0 0-19,3 0 28,-3 0 5,0 3-5,0-3 3,0 0 3,0 0-2,0 0 4,4 0 16,-4 0-14,0 0 15,3 0-19,-3 0 39,3 0-27,-3 0 32,4 0-37,-1 0 4,0 0-1,-3 0 4,4-3-10,-1 3 9,0 0-6,1 0 8,-4-3-39,3 3 28,1 0-30,-1 0 26,0 0 6,1-4-9,-1 4 31,0 0-21,1 0 21,-4 0-26,3 0 33,0 0-22,1-3 25,-1 3-28,0 0-6,-3 0 8,4 0-6,-1 0 10,0 0-20,-3 0 18,4 0-17,-1 0-57,0 0 52,-3 0-61,4 0 64,-1 0 1,0 3-5,-3-3 0,4 0 22,-1 0-20,1 0 18,-1 0-19,0 0 35,-3 0-25,4 0 26,-1 0-30,-3 0 17,3 0-7,1 0 9,-1 0 4,-3 4-10,3-4 10,1 0-10,-4 0-26,3 0 17,0 0-17,1 0 20,-1 0 0,0 0-1,-3 0 1,4 0-62,-1 0 45,0 0-49,1 0 61,-1 0-18,0 0 12,1 0-16,-1 0 18,1 0-6,-1 0 3,0 0-17,1 3 12,-1-3-15,0 0 14,1 0 18,-4 0-13,3 0 15,4 0-19,-4 0 37,0 0-27,1 0 35,-1 0-39,-3 0 36,3 0-26,1 0 26,-1-3-19,0 3-3,1 0 5,-4 0-22,3 0 9,0 0-6,-3 0 11,4 0-21,-4 0 15,3 0-20,1 0 24,-1 0 3,-3 0-4,3 0 2,1 0-4,-1 0 33,0 0-23,1 0 26,2 0-34,-6 0 21,4 0-14,-1 0 20,0 0 6,1 0-15,-1 0 17,0 0-26,1 0 1,-1 0 1,0 0 1,1 0 66,-1 0-48,-3 0 49,4 0-61,-1 0-21,0 0 15,-3 0-12,4 0 24,-1 0 25,-3 0-17,3 0 16,1 0-84,-1 0 44,0 0-45,-3 0 31,4 0 16,-1 0-17,0 0 17,-3 0 6,4 0-9,-1 0 8,0 0-7,1 0 19,-1 0-10,0 0 12,-3 0-14,4 0 2,-1 0-4,-3 0 3,3 0-20,1 0 15,-4 0-15,3 0 18,-3 0-67,4 0 47,-4 0-51,3 0 28,-3 0 17,3 0-21,-3 0 22,4 0 4,-1 0-4,0 3 3,-3-3-6,4 0-32,-1 0 18,0 0-18,1 0 56,-1 0-18,4 0 18,-4 0-6,0 0 4,1 0 3,-1 0-6,0 0-14,1 0 0,-1 0 2,-3 0 2,3 0-10,1 0 9,-4 0-10,3 0 14,-3 0-25,4 0 22,-1 0-21,0 0-22,-3 0 23,4 0-31,-4 0 53,3 0-8,0 0 12,1 0-19,-4 0 23,3 0-17,0 0 18,1 0-19,-1 0 55,-3-3-38,3 3 43,1 0-53,-4 0 20,3 0-15,-3 0 25,3 0-12,-3-4 2,4 4-1,-4 0-6,3 0-7,-3 0 9,0 0-8,0 0 4,3 0 0,-3 0-2,0 0 3,4 0-4,-4 0 2,0 0-6,3-3-3,-3 3 6,3 0-6,-3 0 11,4 0 8,-1 0-7,-3 0 8,4 0-22,-4 0 8,3 0-9,-3 0 12,3 0-68,-3 0 48,4 0-53,-4 0 67,3 0 10,0 0-8,-3 0 2,4 0-10,-4 0 16,3 0-10,-3 0 20,3 0-4,-3 0-12,4 0 12,-4 0-10,0 0-5,3 3 11,-3-3-13,0 0 7,3 0-4,-3 0 8,4 0-4,-4 4-17,3-4 10,-3 0-17,0 0 19,3 0-26,-3 0 19,4 0-23,-4 3 10,3-3 9,-3 0-14,3 0 18,-3 0-21,4 0 16,-4 3-21,3-3 25,-3 0-8,0 0 8,3 0-6,-3 0 10,0 0-9,4 0 9,-4 0-8,0 0 21,0 0-15,0 4 17,0-4-24,3 0-1,-3 0 2,0 0-1,0 0 3,0 0 4,0 0-3,0 0 5,4 0 21,-4 0-18,0 0 17,0 0-22,0 0 15,0 0-6,0 0 8,3 0 5,-3 0-13,0 0 14,0 0-43,0 0 22,3 0-22,-3 0 25,0 0 10,0 0-8,0 0 8,0 0-5,4 0-3,-4 0 2,0 0-4,0 0-1,0 0 14,0-4-9,0 4 10,0 0-3,3-3-6,-3 3 10,0-3-44,0 3 28,0-4-28,0 1 33,0 3-26,0-4 17,0 4-20,0-3 23,0 3 2,0-3-3,0 3 1,0-4-5,0 4 10,0-3-6,-3 3 6,3 0 15,0-3-17,0 3 19,0 0-2,0-4-14,0 4 17,-4-3-19,4 3 11,0 0-7,0-3 8,0 3-8,0-4 2,0 4-2,0-3 2,0 3-2,0-3-5,0 3 3,0-4-4,-3 4 2,3-3 2,0 3-2,0 0 2,0-3 3,0 3-3,0 0 3,0-4 0,0 4-2,-3-3 2,3 0-2,0 3 0,0-4 0,0 4 0,0-3 0,0-1-15,0 4 11,0-3-27,0 3 25,0-3-12,0-1 14,-4 1-5,4 3 4,0-3-7,0 3 7,0-4-9,0 1 7,0 3-6,-3-3 6,3 3-22,0-4 16,0 1-18,0 3 30,-4-3-7,4 3 7,0-4-11,0 4 20,-3-3-15,3 0 15,0 3 3,0 0-15,-3-4 15,3 4-16,0-3 6,0 3-1,-4-3 4,4 3-1,0-4 2,0 4 1,0 0 0,-3-3-1,3 3-5,0-3 4,0 3-3,-3 0-30,3 0 22,0-4-24,-4 4 16,4-3 7,0 3-9,-3 0 10,3-4 5,0 4-6,0 0 5,-3 0-8,3-3 15,0 3-12,0-3 11,0 3 6,-4 0-12,4 0 14,0-4-17,-3 4 16,3 0-11,0 0 15,0-3-10,0 3-1,0 0 2,0 0-4,-3 0 1,3 0 0,0 0 0,0 0-1,0-3 0,0 3 1,-4 0-1,4 0 0,0 0 0,0 0 0,-3-4 0,3 4 5,0 0-4,-3 0 5,3 0 30,0-3-25,-4 3 28,4 0-35,-3 0 20,0 0-14,3-3 15,-4 3-15,4 0-4,-3 0 5,0-4-2,3 4 1,-4 0 1,1 0 0,-1-3-3,1 3 6,0 0-5,3-3 3,-4 3-9,1 0 7,3-4-7,-3 4 7,-1-3-20,1 3 14,3-3-14,-3 3 17,3-4-15,-4 4 12,1-3-14,3 3 15,-3-3-12,-1 3 8,4 0-11,-3-4 10,0 4-2,3-3 0,-4 3-2,1 0 4,3-3-2,-3 3 2,-1 0 0,1-4 0,0 4 0,3-3 0,-4 3 0,1 0 0,-1-4 0,1 4 0,3 0 0,-3-3 0,-1 3 0,1 0 21,3-3-15,-3 3 16,-1 0-18,4 0-1,-3-4 2,3 4-2,0 0 19,-3 0-14,3 0 15,0-3-15,0 3 12,0 0-8,0 0 10,0 0-4,0-3-4,0 3 8,0 0-10,0 0-17,0-4 11,0 4-13,0 0 15,0 0 3,0 0-2,0-3 2,-4 3-22,4 0 12,0-3-14,0 3 17,0 0-11,0-4 5,0 4-7,0 0 4,0-3 6,0 3-6,0 0 3,-3-3 2,3 3-2,0-4 2,0 4-1,0 0 1,0 0-1,0-3 1,0 3 0,0-3 0,0 3 0,-3 0 0,3-4 0,0 4 0,0-3 0,0 3 0,0-3 0,0 3-1,0-4 7,0 1-5,0 3 5,0-3-5,0 3-1,0-4 0,-4 4 0,4-3 1,0-1-7,0 4 6,0-3-5,0 0 5,-3-1 0,3 4 0,0-3 0,0 3-3,0-3 2,0-1-2,-3 4-5,3-3 5,0 3-5,0-3 6,0-1 3,0 4-3,0-3 4,0 0-4,0 3 3,0-4-2,0 1 4,0 3-4,0-3 2,0-1-1,0 1 2,0 3-2,0-3 0,0-1 0,0 4-3,0-3 2,0 3-3,0-3 4,0-1-9,0 1 6,0 3-7,0-4 9,0 1-14,0 3 9,0-3-10,0-1 12,0 4 5,0-3-2,-4 0 1,4 3 5,0-4-7,0 4 7,0-3 11,0 3-13,0-3 15,0 3-19,0-4 11,0 4-8,0-3 11,0 3-11,0 0 0,0-3 0,0 3 0,0 0-2,-3-4 0,3 4-1,0 0 1,0-3-4,-3 3 5,3 0-4,0-3 1,0 3 4,-4 0-6,4-4 4,0 4-2,0-3 2,-3 3 0,3 0 0,0-3 25,0 3-17,0-4 19,0 4-23,0-3 7,-3 3-5,3-3 7,0 3-8,0-4-6,0 4 5,0 0-4,0-3 2,0 3 4,-4 0-6,4-4 1,0 4 2,0 0-3,0 0 1,0-3 9,-3 3-9,3 0 8,0-3-7,0 3 8,0-4-5,0 4 5,0-3 12,-4 3-13,4-3 14,0 3-16,0-4-2,0 4 1,-3-3 2,3 3-6,0 0 6,0-3-5,0 3 4,0-4 5,-3 4-4,3 0 4,0 0-6,0-3 5,-4 3-3,4-3 3,0 3-10,0-4 4,-3 4-5,3 0 7,-3-3-5,3 3 4,0 0-3,-4-3 24,4 3-14,0-4 14,0 4-20,-3-3 0,3 3 1,0 0 0,-3-3 1,3 3-9,0 0 7,-4-4-6,4 4-8,0 0 11,0 0-12,-3-3 15,3 3-10,0 0 6,-3 0-8,3 0 13,0 0-4,-4-3 4,4 3-8,0 0 4,-3 0-4,3 0 5,-3 0-2,3-4 4,-4 4-3,4 0 3,-3 0 7,3 0-6,0 0 6,0-3-8,-3 3-8,3 0 6,0 0-7,-4 0 30,4 0-15,-3 0 14,3 0-19,0 0 2,-3 0-1,3 0 3,-4 0-2,4 0 12,-3 0-9,3 0 9,-4 0-24,4 0 10,-3 0-10,0 0 13,-1 0 5,4 0-3,-3 0 3,0 0-6,-1 0 1,4 0-2,-3 3 1,0-3-53,-1 0 40,1 0-42,0 0 52,-1 0-4,1 0 1,0 4-3,-1-4 0,1 0 0</inkml:trace>
  <inkml:trace contextRef="#ctx0" brushRef="#br0" timeOffset="218">1925 6569 9093,'0'-4'-21,"0"4"36,0 0-31,0 0 16,3 0 27,-3 0 21,0 0 5,0 0-12,0 0-2,0-3-13,0 3 18,0 0-20,0 0 5,0 0-6,0 0 7,0 0-15,-3-3 17,3 3-15,0 0 13,-3 0-46,3 0 28,0-4-30,-4 4 12,1 0 20,3 0-24,0 0 26,-3 0-9,3 0 5,-4 0-6,4 0 2,0 0-49,-3 0-19,3 0 1,-3 0 9,3 0 52,-4 0-2,1 0 0,0 0 0</inkml:trace>
  <inkml:trace contextRef="#ctx0" brushRef="#br0" timeOffset="219">4262 6894 9502,'-47'6'0,"20"-2"-288,4-1 74,-4 4-181,4-4 162,-4-3 364,4 7-18,-4-7 221,3 3-103,1 0-127,-4-3 10,4 0-123,-1 0 16,1 0-5,-1 0 17,1 0 0,3 0 34,-4 0-37,1 0 38,3 0-62,0 0-17,0 0-7,3 0-2,-3 0 9,6 0-23,1 0-5,0 0 5,6 0 21,0 0 9,4 0-5,0 0 11,3 0 11,0 4-13,0-4 18,3 0-12,4 0 11,-1 0-8,8 3 40,2-3-27,1 0 28,0 0-30,6 0 51,1 3-30,-1-3 34,1 0-43,2 4 43,1-4-26,0 3 30,0-3-38,-4 4-6,1-4 11,2 0-39,-2 0 31,-1 3-32,4-3 33,-3 0-44,2 0 31,-2 0-34,3 0 37,-1 0-18,1 0 7,3 0-9,-6 0 7,2-3-1,-2 3-4,3 0 1,-4-4-16,-3 1 18,4-1-17,-8 4-49,1-3 47,0 0-50,-4-1 63,1 1-42,-4 0 26,-4-4-30,1 7 34,-4-3-8,1-1-1,-4 4-3,3-3-5,-3 3 12,-3-3-15,3 3 14,-7 0 42,0 0-30,1 0 34,-8 0 4,4 0-32,-3 0 37,-1 3-37,-6 0 37,4 1-22,-8-1 31,4 0-42,-3 4 62,-1-4-45,-3 1 50,4-1-58,0 0 3,-4 1-2,0-1 4,0 1-14,0-1 15,1-3-12,2 3-29,-3-3 30,4 4-34,-4-4 40,4 3-77,-1-3 55,4 0-63,0 0 76,3 0-42,4 3 29,3-3-36,0 0 37,7 0-21,-1 0 4,4 0 13,0 0-12,4 0 28,2 0 36,1 0-36,3-3 46,3 3-58,-3 0 59,4-3-42,-1-1 49,1 4-56,-1 0 45,-3 0 7,4 0 10,-1 0 12,-3 0-45,3 0 12,1 0-22,-4 0 1,3 0 2,-3 0 1,4 0-7,-1 0 5,-3 0-7,3 0 9,-3 0-37,4 0 23,-1 0-28,1 0 35,-1 0-26,0 0 19,1 0-23,-4 0 42,3-3-13,1 3 11,-1-3-15,0-1 14,1 1-8,-1-1 11,-3 1-32,4-4 13,-4 4-13,0-4 19,3 1-12,-3 2 10,0-2-9,0-1 10,0 0-24,0 1 14,0-4-14,0 3 11,0-3 65,-3 3-47,3-3 47,0 0 17,0 0-51,0 3 58,0-3-29,0 0-24,0 0 28,4 0-28,-4 0-35,0 0 31,3 0-29,1 0 36,-1 0-37,1 0 29,-4 0-26,3 0 25,-3 0-63,0 0-31,3 0 2,-3 0-121,-3 3 95,3 0-96,-3 0-63,0-3 57,-1 7-71,1 0 55,-4-1-4,-3 1 93,4 3-8,-4-3 127,0 3 0,0 0 0,0 0 0,-4 3 0</inkml:trace>
  <inkml:trace contextRef="#ctx0" brushRef="#br0" timeOffset="220">1908 6666 9502,'4'0'-489,"-4"0"445,3 0 51,-3 0-13,0 3 68,0-3 7,0 0-5,3 0 4,-3 0 0,0 0-5,0 4 6,0-4-1,4 0 8,-4 0-4,0 0 3,0 0 0,0 3-13,0-3 26,0 0-25,3 0 18,-3 3-15,0-3 5,0 0-4,0 0-10,3 4 7,-3-4-8,0 0-13,0 0 16,4 0-16,-4 3 26,0-3-43,0 0 28,3 0-33,-3 3-7,0-3 37,4 0-42,-4 0 47,0 0-45,3 4 29,-3-4-31,0 0 40,3 0-58,-3 0 41,4 0-46,-4 3-2,3-3 33,0 0-33,-3 0 17,0 0 24,4 0-31,-4 0 30,3 0-31,-3 0 24,3 0-27,-3 0 28,4 3-13,-1-3 8,-3 0-9,3 0 10,-3 0 38,4 0-27,-1 0 32,0 0 19,1 0-41,-4 0 47,3 0-52,0 0-14,1 0 13,-4 0-12,3 4 5,0-4 10,-3 0-10,4 3 14,-1-3-51,1 0 33,-4 0-37,3 3 36,0-3-13,-3 0 3,0 4-4,4-4-28,-1 0 31,-3 0-33,3 0 38,-3 3-29,0-3 21,4 0-23,-1 0 16,-3 0 3,3 0-5,-3 0 7,0 0-9,4-3 3,-4 3-5,0 0 4,3 0-1,-3 0 0,3 0 0,-3-4 6,0 4 0,4 0 0,-4 0-1,0 0 0,0 0 0,3 0 0,-3-3-3,0 3 1,0 0-1,3 0 3,-3 0 1,0 0 0,4 0 1,-4 0-2,0 0 4,0 0-3,0 0 3,0 0 0,3 0-3,-3 0 3,0 0-2,0 0 1,0 0 0,3 0 0,-3 0-2,0 0 0,0 0 1,0 0 0,0 0-23,4 0 17,-4 0-19,0 0 25,0 0-4,0 0 2,0 0-3,0 0 7,3 0-7,-3 0 6,0 3 2,0-3-5,3 0 6,-3 0-7,0 0 22,0 0-16,0 0 19,0 0-23,0 0 22,0 0-16,4 0 19,-4 0-9,0 0-6,0 0 8,0 4-10,0-4-3,3 0 4,-3 0-3,0 0 0,0 0 1,0 0-3,0 0 4,0 0-9,0 0 6,4 0-9,-4 0 11,0 3-13,0-3 10,0 0-10,0 0 10,3 0 0,-3 0-1,0 0 0,0 0 4,0 3-2,0-3 3,3 0 11,-3 0-12,0 0 13,0 0-15,0 0 9,0 0-6,0 0 8,4 0-9,-4 0 0,0 0 0,0 0 1,3 0-14,-3 0 12,0 4-12,0-4 6,0 0 0,3 0-2,-3 0 2,0 0-1,0 0 5,0 0-9,0 0 9,4 3-9,-4-3 6,0 0-4,3 0 3,-3 0 0,0 4 0,0-4 0,3 0 2,-3 0-1,0 0 2,4 0-2,-4 0 0,0 0 0,0 0 0,3 3-11,-3-3 8,0 0-8,0 0 10,3 0 1,-3 0-1,0 3 1,0-3-1,4 0 0,-4 0 0,0 0 1,0 0 1,0 0-2,3 4 3,-3-4-4,0 0-10,0 0 7,3 0-7,-3 0 1,0 0 7,0 3-7,0-3 8,4 0 5,-4 0-5,0 3 5,0-3-7,3 0 5,-3 0-5,0 4 5,3-4 4,-3 0-6,0 0 7,4 0-2,-4 0-3,0 0 4,3 3-3,-3-3 5,0 0-3,0 0 4,3 0-6,-3 3-1,0-3 1,0 0 0,4 0 0,-4 0-2,0 0 1,3 4 0,-3-4 1,0 0-1,0 3 0,4-3 0,-4 0-69,0 0 49,3 3-52,-3-3 64,0 4-270,3-4 50,-3 3-86,0-3 159,4 3 155,-4 1 0,3-1 0</inkml:trace>
  <inkml:trace contextRef="#ctx0" brushRef="#br0" timeOffset="221">1711 6837 8939,'0'3'601,"0"-3"-471,0 0 68,0 0-71,0 0-42,0 0 11,0 0-15,0 3-13,0-3-46,0 0 28,0 0-30,0 0 33,0 0-43,0 4 17,0-4-22,0 0 33,0 0 7,0 0-6,0 3 4,0-3 24,3 0-18,-3 0 25,0 3-27,0-3 1,0 4-2,0-4-2,0 0 9,4 0 2,-4 0 0,3 3 3,-3-3-26,3 0 17,-3 0-17,4 0-51,-4 3 47,0-3-54,3 0 25,-3 0-16,3 0 0,1 0 2,-4 0 4,3 0-19,-3 0 2,3 4-4,1-4 29,-1 0-5,0 0-1,-3 0-5,4 0 24,-1 0-22,0 0 21,1 0 40,-1 0-35,0 0 43,1 0-44,-1 0-3,0 0 6,1 0-3,-1 0-31,1 0 25,-1 0-25,0 0 33,1 0-44,-4 0-6,3 0-9,0 0 11,1 0 7,-1 0 14,0 0-29,1 0 27,-4 0-11,3 0 14,0 0-13,1 0 40,-4 0-31,3 0 31,0 0-4,-3 0-17,4 0 25,-4 0-29,3 0 22,-3 0-15,3 0 19,-3-4-19,4 4-9,-4 0 5,3 0-8,-3 0 13,4 0-1,-4 0 1,3 0-3,-3 0 6,3-3-5,-3 3 5,4 0 14,-4 0-13,3-3 14,-3 3-18,3 0 5,-3 0-3,0 0 5,0 0-5,4 0 1,-4 0-1,0 0 2,3 0-3,-3 0 3,3 0-3,-3 0 2,0 0-4,4 0 2,-4 0-4,3 0 2,-3 0 2,0-4-4,3 4 4,-3 0-1,4 0 1,-4 0 0,3 0 0,-3 0 0,0 0 0,3-3 0,-3 3 0,0 0 0,0 0 0,4 0 0,-4 0 0,3 0 0,-3 0 0,0 0 0,0 0 0,3 0 0,1 0 0,-4 0 0,0 0 0,3 0 0,0 0 9,-3 0-6,4 0 8,-4 0-10,0 0-1,0 0 0,3 0 1,-3 0 0,0 0-32,4 0 23,-4 0-25,0 0 28,0 0 2,0 0-3,3 0 1,-3 0-4,0 0-2,0 0-33,0 0 23,0 0-21,0 0 14,0 0 12,0 0-19,3 0 21,-3 0-7,0 0 8,0 0 20,0 0-14,0 0 16,0 0-25,4 0 17,-4 0-11,0 0 13,0 0-9,0 0 18,3 0-10,-3 0 12,0 0-16,0 0-4,0 0 8,0 0-5,3 0 3,-3 0-3,0 0 2,0 0-27,0 0 19,0 0-21,0 0 23,0 0 6,0 0-7,4 0 0,-4 0 10,0 0-12,0 0 25,0 0-10,0 0 22,0 0-15,3 0 5,-3 0-4,0 0-9,0 0 28,0 0-23,0 0 14,0 0-19,0 0 1,0 3 0,0-3 1,0 0-25,0 0 19,0 0-21,0 4 27,0-4-52,0 0 37,0 0-43,0 0 51,0 3-19,0-3 12,0 0-16,0 3 17,0-3 8,-3 0-7,3 0 7,0 4-12,0-4 24,0 0-16,0 0 54,0 0-49,0 3 32,0-3-36,-4 0 11,4 0-8,0 0 11,0 4-9,0-4-2,0 0 1,0 0-3,0 0-3,0 0 7,0 3-8,0-3 14,0 0-5,4 0 4,-4 3-7,0-3 35,0 0-24,0 0 27,3 0-34,-3 0-2,0 4 1,3-4 1,-3 0 3,0 0 0,4 0 0,-1 0 0,-3 0-10,3 0 10,1 0-11,-1 0 7,-3 0 0,7 0-2,-7 0 4,3 0 12,0 0-10,1 0 9,-4 0-12,3 0 17,0 0-11,-3 0 13,4-4-15,-1 4-2,-3 0 4,4 0-4,-4 0-10,3 0 9,0 0-10,-3 0-4,0 0 12,4 0-13,-1 0 14,-3 0-11,3 0 7,-3 0-9,4 0 10,-1 0-3,-3 0 0,3 0-1,-3 0 0,4 0-8,-4-3 5,3 3-6,-3 0 9,3 0-13,1 0 8,-4 0-9,3 0-5,-3 0 13,3 0-16,-3 0 18,4 0 4,-4 0-3,3 0 2,-3 0 10,3 0-12,-3 0 12,4 0-14,-4 0 7,3 0-2,-3 0 3,3 0-2,-3 0 4,4 0 0,-1 0 2,-3 0-5,0-3-1,4 3 1,-4 0-13,3 0 10,0 0-10,-3 0 12,0 0-15,4 0 10,-1 0-10,-3 0 11,3 0-19,-3 0 13,0 0-15,4 0 18,-4 0 0,3 0-2,-3 0 9,0 0-7,3 0 8,-3 0-10,4 0 16,-4 0-11,0 0 12,0 0-13,3 0 13,-3 0-8,0 0 12,3 0-14,-3 0 3,0 0-3,4 0 3,-4 0-36,3 0 26,-3 0-27,0 0 29,3 0 3,-3 0-5,0 0 3,4 0-15,-4 0 11,0 0-14,3 0 15,-3 0 3,3 0-3,-3 0 3,0 0-6,4 0 2,-4 0 0,3 0 1,-3 0 18,3 0-12,-3 0 14,0 0-26,0 0 6,4 0-6,-4 0 7,0 0 0,3 0 0,-3 0 0,0 0 2,0 0 14,4 0-12,-4 0 13,0 0-16,3 0 16,-3 0-10,3 0 11,-3 0-14,0 0 11,0 0-8,4 0 9,-4 0-14,0 0 5,0 0-6,0 0-5,3 0 7,-3-4-8,0 4 12,0 0-17,0 0 11,0 0-14,0 0 15,0 0 9,3 0-5,-3 0 4,0-3 40,0 3-35,0 0 37,0 0-46,0 0 12,0-4-6,0 4 11,0 0-11,0 0 5,0-3-4,0 3 6,0-3-16,0 3 14,0 0-15,0-4 14,0 4-14,0-3 7,0 3-8,0 0 6,0-3 2,0 3-4,0 0 3,0-4 3,0 4 0,0-3 3,0 3 0,0-3-2,0 3 3,0-4-5,0 4 7,0-3-3,0 3 4,0-3-6,4 3 25,-4-4-16,0 4 17,0-3-14,0 3-2,0-3 5,0 3-5,3 0-13,-3-4 6,0 4-4,0 0 7,0-3-14,0 3 10,0-3-14,0 3 30,3 0-9,-3 0 9,0 0-14,0 0-7,0-4 3,4 4-3,-4 0 5,0 0 35,0 0-23,0 0 24,3 0-18,-3 0-8,0-3 12,0 3 6,0 0-11,3 0 11,-3-4-15,0 4-28,0 0 20,0-3-21,0 3 27,4-3-157,-4-1 34,0 4-108,0-3 126,-4 0 44,4 3 45,-3-4 0,0 1 0</inkml:trace>
  <inkml:trace contextRef="#ctx0" brushRef="#br0" timeOffset="222">3519 6867 9502,'3'0'-911,"-3"3"747,3 1 92,-3-4 72,4 3 0,-4-3 0,3 3 0,-3-3 0,4 4 0,-4-4-69,3 3 52,-3-3-51,3 3 69,-3 1 42,0-4 11,4 3 2,-4-3-5,0 3 21,0 1-37,3-4 45,-3 3-4,0-3-40,0 0 47,0 3-29,0-3-5,0 0 15,0 4-13,0-4 45,0 0 25,0 0 152,0 0-114,0 3 112,0-3-179,0 0 29,0 0-32,-3 0 3,-1 0 5,-2 0-1,-5 0 1,-2 0-75,0 0 55,-4 0-48,0 0 57,-6 0-39,-4 0 15,-3-3-29,0-1-45,-4-2 29,1-1-91,-4 0-35,3 1 14,-2-1-64,2 0 96,1 0-130,3 1 71,3-1-87,-3 0 46,6 1-55,1-1 9,3 0-44,0 4 37,3-4-14,0 4 100,4 0-4,-1-1 134,1 4 0,6-3 0,-6 3 0</inkml:trace>
  <inkml:trace contextRef="#ctx0" brushRef="#br0" timeOffset="223">3629 6910 9502,'-23'0'-271,"13"0"60,-4 0 92,1 0 172,0 0-4,-4 0 123,3 0-67,-2 0 16,-1 0-50,-3 0 17,0 0-71,3-3-11,0 3 2,-3 0 6,0-3-14,3-1 37,1 4-46,2-3-7,-2 3-13,6 0-13,-1 0 21,1 0-4,4 0-10,2 0-19,4 0-39,0 0 75,0 0-45,7 0 57,3 3 24,7 1-18,0-4 25,-1 3 18,8-3 14,-4 3 4,3-3 31,1 4-77,-1-4 39,1 0-42,-1 0 65,0 0-46,-2 0 55,-1 0-58,3 0 24,-3 0-17,0 0 20,4 0-21,-4 0-19,3 0 15,-3 0-23,0 0-22,4 0 31,-1 0-38,-3 0 15,4 0 22,-4 0-24,3 0 22,1 0-20,-1 0 8,-3 0-10,0 0 14,0 0-18,4 0 8,-4 0-12,0 0 17,0 0-13,0 0 7,0 0-9,4 0 4,-4 0 10,3 0-8,-3 0-33,0 0 29,1 0-31,2 0 37,-3-4-11,0 1 5,0 0-8,0-4 8,-3 4-65,0-4 42,-4 4-46,4-4 55,-7 0-50,3 4-23,-3-4-94,0 0 28,-3 1-31,0 2 76,0-2-65,-4 2 124,0-2-46,4-1 108,-4 4 0,7-4 0</inkml:trace>
  <inkml:trace contextRef="#ctx0" brushRef="#br0" timeOffset="224">3422 6877 9502,'-7'0'-182,"4"0"155,-1 0-11,-2 3 68,-1-3 20,0 0-2,1 0 50,-5 0-59,-2 0 57,0 0-10,-4 0 16,0 0-15,-3 0 17,-3 0-87,-1 0 54,1 0-58,-1-3 81,-2 0-49,2 3 21,-3-4-33,1 4-14,2-3 50,-3 3-47,7-4 53,-7 4-56,4 0-2,0-3-8,-1 3-33,4 0 12,-3 0 6,-1 0-3,1 0 7,-1 0 20,4 0-22,-3 0-40,-1 0 60,4 0-73,0 0 75,0 0-12,7 0 11,-4 0-10,0 0 72,4 0-56,-1 0 56,1 0-64,3 0 38,0 0-24,0 0 28,0 0-29,0 0-2,3 0 9,-3 0 2,3 0-3,-3 0-14,4 0 7,-4 0-50,3 0 43,-3 0-28,0 0 35,0 0-39,0 0 26,0 0-35,0 3 39,-4-3-15,4 0 10,-3 0-12,3 4 13,0-4-2,0 0 1,-4 0 0,4 0-2,0 0 1,-3 0 0,3 0 1,0 0-13,-4 0 10,4 0-10,-3 0-11,0 0 15,-1 0-17,4 0 22,-3 0-20,3 0 13,0 0-17,0 0 20,-4 0-14,7 0 10,-3 0-13,0 0 13,4 0-6,-4 0 5,0 0-3,3 0-1,-3 0 3,0 0-2,0 0 2,0 0-15,3 0 11,-3 0-11,0 0-13,3 3 20,-3-3-22,4 0 26,-5 0-9,5 0 6,-4 0-9,3 0 14,0 4-7,1-4 7,-1 0-9,0 0 22,4 0-17,-4 3 18,1-3-5,2 0-7,-3 3 10,1-3-11,-1 0-6,4 4 6,-4-4-5,0 0 6,1 3-13,-4-3 10,3 0-10,0 3 13,1-3 1,-5 4-1,5-1 0,-4-3-20,3 3 13,-3 1-14,3-4 13,-3 3 2,4-3-3,-5 3 3,5-3 0,-4 4-1,3-1 2,-3 0-1,3 1 4,-3-4-5,4 3 4,-8 0-6,7 1 11,-3-1-8,-3-3 9,3 3-44,0 1 26,0-1-26,-3 1-4,-1-1 27,4-3-30,-3 3 33,3 1-55,-7-1 35,7 0-38,-7 1 47,4-1-10,-1 0-4,1 1-10,-4-1-43,0 0 41,1 4-41,-1-4 57,4 4-35,-4-4 21,0 4-22,4-4 42,-1 4-10,1-3 13,0 2-25,3-6 63,3 7-47,-3-4 52,0 1-56,3-1 40,4 0-31,-4 1 38,4-4-12,-1 3-7,1 0 14,3-3 5,0 0 31,0 0 37,0 0-15,7 0-16,-1 0 42,4-3-22,0 0 87,4-1-85,3-2 89,-1 2-61,1-6 96,6 7-50,-2-7-18,2 6-27,0-2-14,4-1-46,-3 0 48,2 4-43,5-4-9,-5 4-22,4-4-8,1 4 21,-5 0-11,5-4-6,-1 7-25,0-7 19,-3 4-35,-1 0 61,-2 3-68,3-4 21,-4 1 21,0-1-30,-2 4 41,-1-3-32,0 3 22,-4-3-24,5-1 21,-1 4 10,0-3-16,0 3 10,0-3-9,-3 3 1,6-4 0,-3 1 7,0 3 5,0 0-3,0-3 3,1 3-5,-1-4 6,-4 4-3,4-3 5,-3 3-5,3-3-1,-3-1 3,0 1-2,-1 3-3,1-3 2,-3-1-2,2 4 0,-2-3 3,-1 3-3,1-3 2,2 3-22,-6 0 15,7 0-17,-4 0 4,1 0 12,3 0-13,-4 0 16,0 0-28,4 0 19,0 0-22,0 0 24,-1 0-2,1 0-1,-4 0 1,4-4 2,0 4-2,0 0 3,-1 0 6,1 0-7,0 0 7,-4-3-8,4 3-5,-4 0 5,1 0-4,3 0-14,-4 0 17,0 0-17,4 0 18,0 0-44,-4 0 30,1 0-33,2 0 39,1 0-33,0 0 21,0 0-23,-4 0 28,4 0-2,-1 0 0,1 0-4,0 3-19,0-3 13,-1 4-15,-2-4 25,3 3-2,-4-3 4,0 0-5,1 3 13,-1-3-8,0 0 7,-2 4-11,-1-4 10,0 3-5,0-3 8,-4 0-35,4 0 14,-3 0-15,0 0 24,3 0-59,-3 0 46,-1 0-47,4 0 8,-3 3-7,0-3-15,3 0 18,0 4 4,0-4 25,-3 0-38,-1 0 36,4 0-8,-3 3 9,0-3-3,-1 0-40,1 0 52,-4 0-16,4 3 65,-4-3 0,4 0 0,-4 4 0,1-4 0,3 3 0,3 4 0</inkml:trace>
  <inkml:trace contextRef="#ctx0" brushRef="#br0" timeOffset="225">3000 6910 9502,'-24'0'-355,"11"-3"74,-4 3 113,4 0 154,-4-3 28,-3 3 60,0-4 42,-3 1-34,-4 3 9,0 0-11,-3-3 12,-4-1-38,1 4 42,-1-3-50,-2 3 69,-1-3-47,3-1 58,-3 4-107,1-3 33,2 0-24,-6 3 33,6-4-51,1 4-19,-1-3-11,1 3-29,0 0 30,-4 0 1,3 0-4,1 0-8,3 0 26,-4 0-36,1 0 41,-1 0-3,4 0-10,0 0 6,-4 0-40,4 0 41,-3 0-41,-1 3 46,1-3-23,3 4 14,0 2-13,-4-2 12,4-1 0,0 0 0,3 1-3,0-1-45,4 4-14,-1-4-4,4 0 14,0 4-140,7-4 147,-4 1-136,7-1 191,0 4 0,0-4 0</inkml:trace>
  <inkml:trace contextRef="#ctx0" brushRef="#br0" timeOffset="226">3033 6917 13907,'-13'0'585,"3"0"-467,-4 0-34,-2 0-63,-4 0 42,-7 0-45,-3 0 62</inkml:trace>
  <inkml:trace contextRef="#ctx0" brushRef="#br0" timeOffset="227">2374 6887 15438,'0'0'1,"-30"-3"-172,-4-1 61,1 1-121,3 0-17,3 3 94,7-4-13,0 4 97,6 0 62,1-3 0,-1 3 0</inkml:trace>
  <inkml:trace contextRef="#ctx0" brushRef="#br1" timeOffset="228">2863 6870 9502,'-4'0'-1228,"4"0"1156,-3 0 72,0-3 0,3 3 34,-4 0-23,1 0 26,3 0-42,-4 0 8,4 0-8,-3 0 10,0 0-5,-1 0 4,1 0-5,-4 0-26,4 0 23,-4 0-26,1 0 32,-1 0-2,-3 0 0,-3 0 0</inkml:trace>
  <inkml:trace contextRef="#ctx0" brushRef="#br1" timeOffset="229">2826 6877 10250,'0'0'2,"6"0"5,1 0-1,-4 0 2,4 0 0,0 0-3,-4 0 4,4 0-4,-4 0 7,4 0-5,-4 0 4,4 0-5,0 0 1,-1 0-1,-2 0 0,2 0 3,1 3-3,0-3 3,0 0-3,-1 0 6,1 0-3,-4 0 3,4 4-5,0-4-8,-1 0 8,-2 0-7,2 3 4,-2-3 1,2 0-3,-2 0-6,2 0 8,-2 3-8,3-3 9,-4 0-5,4 0 1,-4 4-2,4-4 4,-1 3-3,-2-3 1,2 0-2,-2 0 3,2 0-5,1 0 2,-4 3-4,4-3 7,-4 0-2,4 0 3,-3 4-2,2-4 3,-2 0-3,-1 0 4,4 0-6,-4 0 1,0 0 0,1 0 1,-1 3 4,0-3-3,4 0 3,-4 0 6,1 0-6,-1 0 6,0 0-8,4 0-4,-4 0 3,4 0-4,-3 0 6,2 0 8,1 0-6,-4 0 7,1 0-4,2 0-3,-2 0 4,2 0-4,-6 0-15,4 0 10,-1 0-10,0 0 13,1 0-61,-1 0-15,0 0-7,-3 0 19,7 0 56,-4 3 4,4-3 0,3 4 0</inkml:trace>
  <inkml:trace contextRef="#ctx0" brushRef="#br1" timeOffset="230">1232 6991 8206,'3'0'0,"-3"0"20,4-4-14,-4 4 15,3 0 42,0-3-42,-3 3 47,4 0-58,-1-3 13,1 3-8,-4 0 11,3-4-2,0 4-2,-3 0 4,4-3 0,-1 3 13,-3 0-3,3-3 6,1 3-12,-4 0-12,3-4 6,-3 4-6,3-3 20,1 3-12,-1 0 13,-3 0-15,3-3-14,1-1 11,-1 4-7,0-3 10,1 3-3,-1 0 1,4-3-5,-1 3-2,-2-4 6,3 4-6,-1-3 9,1 3-17,3-4 9,-3 4-9,3-3-19,0 3 23,0 0-26,0 0 31,0-3-32,0 3 23,0 0-24,0 0 20,3 0 3,-3 0-5,4 0 3,-4 0 15,3 0-12,-3 0 10,4 0-11,-4 0 6,0 0-4,3 0 6,1 0 7,-4 0-8,3 0 10,0 0-8,1 3 5,-1-3-2,-3 0 5,4 0-19,-4 0 7,3 0-9,-3 0 10,0 0-18,0 0 15,0 0-16,-3 0 18,0 0-20,3 0 13,-4 0-15,1 3 22,0-3-5,-1 0 4,1 0-8,3 0 27,-3 0-21,0 0 22,-1 0-5,1 0-13,0 0 17,3 0-19,-4 0-1,1 0 1,0 0 0,3 0 2,-3 0-22,3 0 16,-4 0-16,1 0 9,6 0-2,-6 0-3,3 0 1,-3 0 4,3 0 0,0-3-2,0 3-6,0-3 9,0 3-10,0 0 11,0-4 5,0 4-4,0-3 5,0 0-7,0-1 20,0 1-14,0 3 16,0-3-12,-3-1-4,3 4 5,-3-3-2,0 0-6,-1 3 5,1-4-5,0 1-3,-1 3 6,1-3-6,0-1 7,-1 4-3,1-3 0,0 3 0,-4 0 1,4-3 0,0 3 1,-4-4-2,4 4 10,-4 0-6,7 0 5,-7 0-8,4 0 17,3-3-11,-7 3 14,4 0-17,0 0 3,0 0-3,-1 0 4,-2 0-6,2 0 4,1 0-4,0 0 5,-4 0 5,7 0-2,-7 0 4,4 0-11,0 0 3,-1 0-5,1 3-6,0-3 7,3 0-7,-7 0 9,4 0-15,3 4 10,-3-4-12,-1 0 15,-2 3-7</inkml:trace>
  <inkml:trace contextRef="#ctx0" brushRef="#br0" timeOffset="231">2203 6914 10825,'-20'0'5,"-10"0"-92,0 0 63,-7 3-112,-3-3 25,6 3 3,-3 1-10,7 2 50,0-2-33,0-1 43,0 0-15,3 1 11,20-1 51</inkml:trace>
  <inkml:trace contextRef="#ctx0" brushRef="#br0" timeOffset="232">1771 6954 9788,'-20'0'-32,"-3"3"-7,13-3 18</inkml:trace>
  <inkml:trace contextRef="#ctx0" brushRef="#br0" timeOffset="233">1637 6964 9555,'-13'0'-17,"-4"0"-18,-3 0-32,3 0 28,-3 3-24,3-3 30,1 4-38,2-4 27,1 3-28,-1-3 29,1 3 2,3-3-6,0 4-40,7-4 72</inkml:trace>
  <inkml:trace contextRef="#ctx0" brushRef="#br0" timeOffset="234">1353 6991 9769,'16'-7'75,"4"-3"-36,4 3 25,-4-3-9,7 4 9,-4-5-9,4 5 8,3-1-61,0 0 35,0 1-38,-3 2-14,3 1 51,0 0-56,1-1 26,-1 1-17,0 0 2,0 3 2,0-4 34,4 4-5,-8 0 1,8 0-14,-11 0-23,4 0 12,-4 0-15,1 0-7,-1 0 30,-3 0-34,4 0 39,-7 0-69,6 0 50,-3 4-55,0-4 13,4 3-20,-4-3 0,3 0 2,1 0 9,2 3 17,-2-3-24,-4 0 38</inkml:trace>
  <inkml:trace contextRef="#ctx0" brushRef="#br0" timeOffset="235">3519 6917 9502,'-7'0'0,"0"0"4,4 0 1,-7 3 58,3 1 91,-6-4-4,-7 3 57,0-3-76,-7 3-45,-7-3 4,4 0-40,0 0 23,7 0 2,-1 0-35,-2 0-10,-5 0-8,1 0 9,0 0 33,0-3 1,-3 3-1,2 0 1,1 0-54,0-3-12,-3 3-24,3 0 9,-1 0 23,1-4 0,0 4 5,0-3 5,3 3-7,-3 0-4,7 0-23,-4 0-1,0-3 24,4 3 8,3 0 16,-4 0-2,1 0-69,3 0-13,-4 0-58,-6 0 1,-3 0-139,-8 0 61,5 0-85,-1 0 102,0-4-154,3 4 65,-2 0-123,5-3 221,-2 3 58,3-3 105,0 3 0,0-4 0</inkml:trace>
  <inkml:trace contextRef="#ctx0" brushRef="#br0" timeOffset="236">4265 7017 9392,'-6'0'308,"-1"0"-208,0 0 12,-3 0-1,-3 0-82,-7-3 60,-4 3-66,-2-7-9,-8 1-1,7-1-73,-3 0 58,7 4 11,3 0 35,-7-4-1,3 4-40,-2-4-7,-1 0-24,0 4 5,0-4 13,4 4 0,-4-1 11,4 1 3,-1 0-77,1-1-20,-1 1-101,-9 0 46,6-1-177,-10 1 107,10 0-119,4 3 197,10 0 54,3 0 86,3 0 0,0 3 0</inkml:trace>
  <inkml:trace contextRef="#ctx0" brushRef="#br0" timeOffset="237">2903 6940 8648,'3'0'69,"0"0"46,1 0-19,-4 0-15,3 0 40,-3 0-13,0 0 69,-3 0-53,-4 0 6,4 0-109</inkml:trace>
  <inkml:trace contextRef="#ctx0" brushRef="#br0" timeOffset="238">2022 6937 11200,'-30'0'-53,"0"-3"-1,-4 3 20,4 0-1,4 0-73,2 0-15,1 0-24,-1 0 11,1 0 57,-1 0 5,1 0-12,-4 0-179,-6 0 35,-1 0-95,4 0-58,3 0 117,4 0-13,3 0 144,0 0 135,6 0 0,1-4 0,3 4 0</inkml:trace>
  <inkml:trace contextRef="#ctx0" brushRef="#br0" timeOffset="239">1386 7064 9502,'0'4'573,"-3"-4"-413,3 3-29,0-3-12,0 0 10,-4 0-9,4 3-8,-3-3 14,3 0-15,-3 0 35,-1 0-52,1 0 42,0 0-45,-4 0 40,0 0-44,1 0 45,-1 0-45,0 0-16,0 0 32,-6 0-62,3 0 14,0 0-19,-3 0 2,-1 0 9,-3 4-8,1-4 29,-4 3-37,0 4 49,-1-4-78,1 4 7,-3 0-75,0-1 7,-1 4 0,4 0 15,-3-3 28,-1 0-3,1 3 1,3 0-18,-4 0 18,7-3-17,-3 3 41,0 0-43,0-4-1,20-6 35</inkml:trace>
  <inkml:trace contextRef="#ctx0" brushRef="#br0" timeOffset="240">901 7168 11836,'16'-10'-41,"11"0"-13,0 0 47,-4 3-47,4-3 53,0 0-25,-4 0 17,1 3-18,-1-3-8,-3 4 14,0-1-15,1 0 23,-5 1-36,4-1-13,-3 4-4,0-4 10,0 4 29,-4-1 7,4 4-11,-4-3-58,4 0 32,-4-1-38,1 1 53,-1 3-22,-3-4 13,7 1-19,-7 0-44,3 3 52,1-4-54,-4 1 67,3 3-21,0-3 14,-3 3-25,1-4 63,2 4-37,-3-3 38,-3 3-40,3-3 17,-4 3-17,1 0 16,-4-4 10,1 4-13,-1 0 27,0 0-30,1-3-22,-4 3 16,0 0-15,0 0 23,0-3 75,0 3-55,-4 0 51,-2 0-23,-4 0 5,0 0 9,-7 0-9,0 0 24,0 0-40,-3 3 45,-3 0-30,-4-3-18,0 7 32,-3-4-32,0 4 37,0 0-27,-7-4 30,0 4-30,7 0 7,0-1-17,7 1-1,-1-4-1,1 4 3,-1 0 9,1-4 0,-1 4-14,-2-1-2,2 1-30,-3 0-2,14-4 30</inkml:trace>
  <inkml:trace contextRef="#ctx0" brushRef="#br0" timeOffset="241">1564 6984 9425,'3'0'193,"0"0"-192,-3 0 94,0 0-125,-3 0 100,-7 0-42,-4 0 3,-2 0-6,-4 0-15,-7 0 13,0 3-29,-6-3 6,2 4-71,5-1 46,2 0 6,1 1 30,-1-1 3,1 0-39,-7 1-12,6-1-26,-2 4 6,-1-4 16,0 4-1,0 0-15,0-1-1,4-2-2,-4 6 3,0-4 7,4 1 1,0 0 7,-1-1 2,1-2-150,-4 6 133,0-3-115,0 3 172,4-4 0,-1 4 0</inkml:trace>
  <inkml:trace contextRef="#ctx0" brushRef="#br0" timeOffset="242">1045 7064 9502,'0'-6'164,"-4"6"-14,1-4 24,0 4 13,-4 0 35,-3 0-29,-4 0-42,-2 0-28,-4 4-21,-7-1 29,10 4-93</inkml:trace>
  <inkml:trace contextRef="#ctx0" brushRef="#br0" timeOffset="243">901 7158 12600,'0'0'0,"36"-13"-18,-2 3 17,-1-4-61,-2 4 20,-5 0-118,4-3-64,-3 3 53,0 3-70,-4-3 90,4 3-107,-7 1 49,7-4-90,-3 6 87,-1-2-9,0-1 2,-2 3-13,2 1-22,0 0 7,1-1 31,-4 1 1,0 3 126,0 0-46,0 0 50,-3-3 2,-4 3-3,1 0 11,-8 0 36,-2 0 15,2 0 47,-9 3-42,-4-3 150,-9 7-103,-4-4 145,-7 7-28,-7-3-67,8 0 42,-5-1-62,8-2 1,0 2 55,-1-2 16,-3 2 16,1 1-8,-5 0-50,1-1-2,0 1-10,0 3 0,-3-3 20,-1 3 6,1-3 3,-1 3-3,-6 0-22,6 0-1,8 0-16</inkml:trace>
  <inkml:trace contextRef="#ctx0" brushRef="#br0" timeOffset="244">1396 7007 9502,'-13'7'-46,"6"-4"119,-3 1-31,0-1 78,0 1-32,-3-1 43,-1 0 39,1 1-30,-7-1 45,0 0-110,-4 1-4,-3 2-15,-3-2 15,-3 2-60,-1 4 36,-3 0-110,7-3 63,3 3-38,7-3-6,-3 0-4,3-1 7,0 4 24,0-3 1,3 3 4</inkml:trace>
  <inkml:trace contextRef="#ctx0" brushRef="#br0" timeOffset="245">117 7369 9502,'-27'20'-155,"11"-13"53,2 3-82,4-3 60,-3 3 79,3-4-32,3-2 82,-3-1-57,7 0 28,-1-3-17,1 0 14,3 0 15,0 0 26,3 0-30,4-3 156,0 0-29,3-4 108,3 0-115,1 1 130,2-1-91,-2 0 106,2-3-13,5 3-43,-5-3 53,4 4-50,-3-4-39,3 0 11,0 3-48,0-7 40,0 4-84,1 0 15,-5 0-26,8 0-93,-1 0 63,4 0-125,0-3 121,0 3-89,3 0 81,0-4-105,3 4 22,4-3 28,0 0 13,0-1 44,-4 4-8,7-3-9,-3-1 1,3 1-4,-3 3-43,0-4 31,0 4-34,-4 0 55,1 0-136,-1 0 24,-6 4-122,-3 2-108,-4-2 71,-7 2-104,0 1 123,-3 0-153,-6-1 67,-1 1 4,-3 3 156,-3-4 164,-7 4 0,0 0 0,-7 4 0</inkml:trace>
  <inkml:trace contextRef="#ctx0" brushRef="#br0" timeOffset="246">968 7074 9502,'3'4'-49,"0"-4"57,-3 0-32,4 3 68,-4 0 191,3 1-15,-3-4 124,0 3-160,-3-3-32,-4 3-74,0 1 38,-6-1 14,-1-3-11,-6 4 11,0-1-55,-3 0-10,-1 1-4,-2-4 22,-5 6-12,-2-2-2,-4-1-14,0 4-96,-3-4 60,0 4-100,-4-1 82,14-2 2,-3 2-29,13-2-15,0-1-34,-4 4 8,4-4-6,-10 4 62,0-4-174,-10 7 102,6-3-120,1 3 58,6-3 30,4 3-15,6-4 7,3 1-14,4-4 19,4 4 10,-1 0 7,4-4 81,-1 1-23,4-1 34,-3 0 62,3-3-50,0 4 89,3-4-86,-3 0 85,4 0-66,6 0 90,0-4 73,6 4-23,1-6 50,3-1-48,0-3-24,4 3 12,-1-3 5,4 0-23,-4 0 36,4 0-2,0 0 27,0 0-96,0 3 19,3-3-57,0 3 41,3 1-76,-3-4-3,7 3-81,-3 4-55,3-7 32,-1 6-75,5-2 102,-8-1-85,7 4 73,-3-1-109,0-3 112,-4 1-52,1 2 95,-4 1-62,-7 0 85,1-4-55,-7 4 51,-4-1-52,-6 4 86,-1-3-58,-6 0 64,0 3-60,0 0-2,0 0 11,-3 0-6,-4 0 30,1 0-21,-4 0 22,-4 0-12,-3 0-8,1 3 7,-4 0-12,-4 4-8,-3 0 5,4-4-6,-4 4 6,0 3-39,-3 0 27,4-3-29,-5 3-8,-2 0 35,3 3-40,-7-3 52,10 0-3,0 0-31,7-3-8,-3 0-40,3 3 0,-4-4 31,4 1 9,0 3-23,-3-3-13,-1-1-34,4 4 7,-3-3 23,3 0 1,-4 3 23,4-3 5,-3 3-26,6-4-10,-3 1-73,-10 3-6,6 0-6,-9 7-39,6-7 52,0 0-12,4 3 99,9-6 36,-2 3 52,6 0 0,0 0 0</inkml:trace>
  <inkml:trace contextRef="#ctx0" brushRef="#br0" timeOffset="247">1091 7108 9502,'4'3'-432,"-4"-3"532,3 0-6,-3 4-46,0-4 176,0 0-34,0 3 155,-7-3-132,-3 3-13,-3-3-70,-7 0-2,-4 0-54,-2 4 30,-8-1-31,1 0-6,3 1-12,-1-1-52,11 0 0,-3 1 18,0-1 7,-4 0 27,3 1 1,1 2-30,-4-2-8,4 2-36,-4 1 0,3 0 31,-2-4 10,2 7-46,1-3-19,-1 0-47,1 3 9,-1-4 46,1 1 3,3 3 4,-7 0-145,-3 4 43,0 2-100,0-2 90,6-4-118,1 0 52,6 0-97,4-3 11,6-4-14,4-3 95,-1 3 30,1-3 180,3-3 0,3 3 0</inkml:trace>
  <inkml:trace contextRef="#ctx0" brushRef="#br0" timeOffset="248">248 7336 9502,'13'-4'-233,"-6"1"55,0 3 83,3-4 245,-4 4-23,4-3 190,0 3-107,4-3-37,-1-1-39,-3 4-17,7-3 22,-4 0-12,4-1 12,0 1-25,0 0-2,3-4 15,0 4-11,3-4-16,1 4 7,9-4-11,1-3-23,-4 3-3,-4 0-30,-2 4 7,3 0 13,-4-4-1,7 0-7,0 1 1,4 2-47,3-2-11,-4-1-26,7 0 7,4 1 19,-11-1 0,4 4-3,-10-1 20,3 1 6,0-4 20,0 4-88,1-1-21,-1 1-87,0 0 23,3 3 6,1-4 46,3 1 6,-1 0 23,-5 3 1,-1 0-450,0 0 361,3 0-330,1-4 472,-4 4 0,0-3 0</inkml:trace>
  <inkml:trace contextRef="#ctx0" brushRef="#br0" timeOffset="249">5939 4550 9502,'4'-3'-1075,"-4"3"1003,0 0 72,0 0 0,0 0 0,3 0 0,-3 0 0,0 0 0,0 0 0,0 0 0,0 0 0,0 0 0,0 0 0,3 0-11,-3 0 78,0 0-10,0 0 79,0 0-55,0 0 98,0 0-67,0 0 102,0 0 78,4 0 42,-4 0 174,0 0-129,0 0 1556,0 0-1349,0 0 1146,0 0-1601,-4 0-56,4 0-14,-3 0 14,3 0 4,-3 0 30,-1 0-24,4 0-1,-3 0-122,0 0 58,-1-4-93,4 4 52,-6 0-42,6 0 5,-4 0-58,1 0 46,0 0 41,-1 0 8,1 0 46,0 0-3,-1 0 4,1 0 7,0 0-11,-1 0-64,4 0 47,-3 0-46,-1 0 2,1 0 46,3 0-48,-3 0 55,-1 0-75,4 0 7,-3 0-64,3 0 6,-3 0-3,-1 0 12,4 4 24,-3-4-24,0 0-3,3 0-24,-4 0 23,4 3 85,-3-3-19,0 0 26,3 3 16,0-3 6,-4 0 10,1 4-11,3-4-1,-3 3-25,3-3 31,0 3 10,-4-3-9,4 4 31,0-1-29,-3-3 4,3 3-1,0-3 10,0 4 2,-3-4-19,3 3-3,0 0-3,0-3-16,0 4 11,-4-4-12,4 3 13,0 0-11,0-3 7,-3 4-8,3-4 11,0 3-2,0 1 2,0-1-4,-3-3 53,3 3-37,0-3 39,0 4-49,0-1 37,0-3-23,-4 3 27,4-3-27,0 4-5,0-1 9,0-3-30,-3 3 22,3-3-22,0 0 26,0 4-4,0-4 1,0 3-2,0-3-4,-4 3 28,4-3-23,0 4 22,0-4-34,0 0 8,0 3-8,0-3 11,0 3-25,-3-3 18,3 4-17,0-4-24,0 3 33,0-3-36,0 3 42,0-3 4,0 4-7,0-4 3,-3 3-8,3 0 52,0-3-41,0 4 42,0-4 7,-4 3 16,4-3 7,0 4-16,0-1-64,0-3 18,0 3-13,-3-3-12,3 4 24,0-4-27,0 3 42,0-3-19,0 3 13,0-3-18,0 4 13,0-4-21,0 3 16,0-3-20,0 3 9,0-3-6,0 4-1,0-4 9,0 3-66,0-3 55,0 0-58,0 3 28,0-3 27,0 0-34,0 4 39,0-4 2,0 3-2,0-3-1,0 3-5,0-3 18,3 0-13,-3 4 18,0-4-15,0 3-3,0-3 7,4 3-3,-4-3 3,0 0 5,3 4-2,-3-4-29,0 0 16,3 3-21,-3-3 26,0 4-28,0-4 20,4 0-22,-4 3 26,0-3-8,0 0 6,3 3-8,-3-3-31,0 0 24,4 4-27,-4-4 33,0 3 19,3-3-16,-3 0 16,0 3 0,0-3-11,3 4 11,-3-4-17,0 3 47,0-3 16,4 0 1,-4 3-7,3-3-6,-3 0 17,0 4 1,0-4 11,3 3-60,-3-3 26,4 0-20,-4 0-10,3 3 13,-3-3-17,0 0 22,3 4-69,-3-4 50,4 0-59,-4 3 50,3-3 2,-3 3-9,0-3 6,3 4-35,-3-4 19,0 0-23,4 3 32,-4-3 26,3 0-22,-3 3 19,3-3 49,-3 0-48,4 0 53,-4 4-66,3-4 73,-3 0 19,3 0 15,-3 0-21,4 0-5,-1 0-44,-3 0 54,3 3-77,-3-3 36,4 0-32,-1 0 42,-3 0-76,4 0 55,-1 0-54,0 3 38,-3-3 12,4 0-25,-4 0 21,3 0-43,0 0 27,1 0-26,-4 0 44,3 0-7,0 0 11,1 0-14,-1 0 46,0 0-33,1 0 37,-1 0-45,-3 0 51,3 0-37,1 0 44,-1 0-26,0 0-8,-3 0 13,4 0-12,-1 0-24,0 0 27,1-3-26,-1 3 23,-3 0-8,4 0 0,-1 0 0,0-3-15,-3 3 11,4 0-15,-1 0 21,0 0-9,1 0 11,-4 0-9,3-4 2,0 4-2,1 0-1,-1 0-14,0 0 15,-3 0-14,4 0 17,-1 0 17,0 0-15,-3 0 15,4 0-16,-1-3 59,0 3-42,1 0 47,-1 0-50,-3 0-4,3 0 11,1 0-8,-1 0-74,1 0 54,-4-3-60,3 3 33,0 0 30,1 0-32,-1 0 35,0 0-40,1 0-15,-1 0-10,0 0 3,1 0-2,-1 0 14,0 0-12,1 0 40,-1 0-4,0 0 7,1 0-12,-1 0 34,0 0-23,1 0 29,-1 0-48,0 0 13,1 0-12,-1 0 17,1 0-13,-1 0 12,0 0-12,1 0 16,-1 0-30,0 0 20,1 0-22,-1 0-6,0 0 21,1 0-27,-1 0 30,0 0-29,1 0 21,-1 0-23,0 0 10,1 0 8,-1 0-10,0 0 14,1 0-40,-1 0 27,1 0-29,-1 0 34,0 0-16,1 0 7,-1 0-10,4 0 0,-4 0 14,0 0-19,1 0 19,-1 0 0,4 0 1,-4 0-1,0 0 11,1 0-15,-1 3 14,4-3-13,-4 0 10,0 0-4,1 0 6,-1 0-7,1 0-27,-1 0 20,0 0-21,1 0 15,-1 3 6,0-3-10,1 0 8,-1 0 2,0 0-3,1 0 4,-1 0 29,0 0-21,1 0 23,-1 0-31,4 0 16,-4 0-11,0 0 13,1 0-14,2 0 42,-2 0-28,-1 0 35,4 0-49,-4 0 9,1 0-8,-1 0 10,0 0-3,4 0 4,-4 0-4,1 0-29,-1 0 22,0 0-26,1 0 32,-1 0-3,4 0 2,-4 0-4,0 0 3,1 0 10,-1 0-7,0 0 7,1 0 18,-1 0-22,1 0 22,-1 0-25,0 0-17,1 0 15,-1 0-14,0 0-11,1 0 19,-4 0-19,3 0 27,0 0-53,1 0 37,-1 0-46,0 0 50,1 0 2,-1 0-6,0 0 7,4 0 37,-4 0-32,1 0 34,-1 0-46,0 0 52,1 0-34,-1 0 42,1 0-69,-1 0 23,0 0-20,-3 0 29,4 0-23,-1 0 19,0 0-20,1 0 20,-1 0-37,-3 0 22,7 0-24,-4 0 24,-3 0-25,3 0 12,1 0-16,-1 0 59,4 0-21,-7 0 23,3 0-34,4 0 8,-4 0-5,0 0 11,1 0-12,-1 0 6,1 0-8,-1 0 9,0 0 6,-3 0-1,4 0 5,-1 0 17,0 0-22,1 0 22,-1 0-27,-3 0 12,3 0-7,-3 0 7,4-3-10,-1 3 25,-3 0-18,3 0 23,-3 0-14,4 0-3,-4-3 7,0 3-11,3 0 4,-3 0-3,3-4 3,-3 4-3,0 0 0,4-3 1,-4 3 1,3-3 7,-3 3-4,0 0 4,3-4-8,-3 4 36,0 0-25,4-3 28,-4 3-31,0 0-2,3-3 4,-3 3-3,3-4-3,-3 4 2,0-3-1,4 3 4,-4 0-4,0-3 2,0 3-4,3-4 39,-3 4-26,0-3 26,0 3-35,0 0 16,0-3-11,4 3 12,-4-4 7,0 4-18,0-3 21,0 3-22,0 0 5,0-3-1,0-1 1,0 4 2,0-3-3,0 3 1,0-4-3,0 1 1,0 3-3,0-3 4,0-1-3,0 4 24,0-3-15,0 0 16,0-1-16,0 4-3,0-3 5,0 0-4,0 3-15,0-4 9,0 4-12,0-3 21,0 0-3,0 3 1,0-4-4,0 1 14,0 3-10,0-3 12,0 3-15,0-4 3,0 1-2,0 3 4,0-3-21,0 3 17,0-4-17,0 4 22,0 0 0,0-3 0,-4 3 0,4-4-3,0 4-2,0 0-1,-3-3-1,3 3-26,0-3 20,-4 3-18,4-4 4,-3 4 14,3 0-16,-3-3 19,3 0 12,-4 3-8,4 0 8,-3-4-2,3 4-10,-3 0 8,-1-3-11,4 3-10,-3-3 9,3 3-9,-3 0 11,-1-4-15,4 4 12,-3 0-11,3-3 8,-3 3 4,-1 0-5,4-3 3,-3 3 4,0 0-4,-1-4 4,4 4 11,-3 0-11,0 0 12,3 0-13,-4-3 41,1 3-27,3 0 29,-3 0-34,-1 0-1,1-3 6,3 3-3,-4 0-28,1 0 17,0-4-21,-1 4 29,1 0-23,0 0 16,-1 0-20,4 0 22,-6 0-20,6 0 14,-4-3-19,1 3 20,0 0-10,-1 0 7,1 0-10,0 0 16,-1 0-6,1 0 7,3 0-5,-3 0 9,-1 0-6,1 0 5,3 0-11,-3 0 2,-1 0-3,4 0 4,-3 0-8,3 0 6,-4 0-6,4 0-6,-3 0 10,3 0-11,0 0 12,-3 0-2,3 0 0,0 0-139,0 0 127,0 0-124,0 0 157,0-3-13,3 3-3,-3-4 6,0 4-12,0-3 33,3 3-22,-3-3 25,0 3-26,4-4 2,-4 1 3,0 3-1,3-4-13,-3 1 4,0 3-7,0-3 10,0 3-11,4-4 8,-4 4-11,0-3-9,0 0 13,0 3-17,0-4 19,0 4-12,3-3 6,-3 0-7,0 3 0,0-4 12,0 4-12,0-3 12,0 0 5,0 3-5,0-4 6,0 1-9,0 3 11,0-3-7,0-1 8,0 4 3,0-3-8,0 3 9,0-3-10,0-1 0,0 4 1,0-3-1,0 0-9,0 3 6,0-4-7,0 1 10,0-1-3,0 1 1,-3 3-1,3-3 1,0-1 3,0 4-3,-4-3 2,4 0 1,0-1-2,0 4 3,-3-3-4,3 0 4,-4-1-2,4 1 3,-3 3-20,3-3 12,-3-1-13,3 4 16,-4-3 1,4 0-2,-3-1 2,0 4-3,-1-3 6,4 3-5,-3-3 5,0 3-6,-1-4-10,1 4 6,0-3-6,-1 3-2,1 0 8,0-3-8,-1 3 11,1 0 8,0-4-5,-1 4 5,4 0 1,-3-3-7,0 3 8,-1 0-11,4-4 13,-3 4-9,-1-3 10,4 3-9,-3 0 31,0 0-18,3-3 20,-4 3-12,4 0-13,-3 0 16,3 0-17,-3 0 7,3 0-2,-4-4 1,1 4-17,0 0 9,3 0-12,-4 0 16,1 0-30,0 0 21,3 0-25,-4 4 29,1-4-9,0 0 7,-1 0-9,4 0 9,-3 0-5,0 0 4,-1 3-4,1-3 6,0 0-6,3 0 6,-4 0-4,1 0-18,-1 3 13,1-3-13,0 0 14,3 0 1,-4 0-2,1 4 4,0-4-8,-1 0 4,4 0-6,-3 3 11,0-3-5,-1 0 5,4 0-6,-3 4-19,0-4 13,3 0-15,-4 3 21,4-3-20,-3 0 15,3 0-17,-3 3 11,3-3 6,0 0-10,-4 0 10,4 4-34,0-4 23,0 0-26,-3 0 40,3 0-15,0 0 39,0 3-27,0-6 33,0 3-19,0 0 5,0-4-6,0 4 4,0 0-4,0-3 3,0 3-17,0-3 11,0 3-13,0-4 13,0 4 3,0-3-5,0 3 4,0-4 14,0 4-10,0-3 12,0 3-15,0-3 20,0 3-15,0-4 17,-3 4-23,3-3 5,0 3-4,-4-3 6,4-1-6,-3 4 7,3-3-7,-3 3 6,3-3-46,-4 3 33,1-4-35,3 4 2,-4 0 29,1-3-36,3 3 41,-3-3 3,-1 3-2,1-4 1,3 4 19,-3 0-21,-1-3 22,4 3-26,-3-3 28,0 3-20,3 0 24,-4-4-25,1 4 6,0-3 1,-1 3 6,4 0-45,-3-3 30,0 3-37,-1 0 25,4-4-12,-3 4 3,0 0-3,-1 0 10,1-3 8,0 3-14,3 0 13,-4 0 14,1-3-10,3 3 13,-4 0-3,1 0-14,3 0 14,-3-4-12,3 4 29,-4 0-14,4 0 17,-3 0-9,3 0-13,-3-3 17,3 3-18,-4 0-19,4 0 14,-3 0-17,3 0 8,-3 0 11,3 0-12,-4 0 12,4-4 7,-3 4-8,3 0 7,-3 0-9,3 0 7,-4 0-6,4 0 5,-3 0 6,0 0-7,3 0 9,-4 0-10,1 0-12,0 0 9,3 0-7,-4 0 10,1 0-5,3 0 3,-4 0-7,1 0 9,0 0-3,-1 0 3,1 0-4,0 0 5,-1 0-3,1 0 3,0 0 0,-1 0-2,-2 0 4,2 0-4,1 0 10,0 0-6,-1 4 7,1-4-7,0 0-20,-1 0 13,-2 0-15,2 3 18,4-3-34,-7 0 23,7 0-25,-3 4 17,0-4 11,-1 0-15,1 0-7,0 3 12,-1-3-14,1 0 17,0 3 18,3-3-14,-4 4 11,1-4-15,0 0 36,-1 3-24,4-3 28,-3 3-32,0-3 53,3 4-32,-4-4 36,4 3-31,-3-3-15,3 3 20,-3-3-19,3 4 6,0-4-4,-4 3 2,4 0 31,0-3-21,-3 4 23,3-1-31,-3-3 12,3 3-7,0 1 8,-4-1 8,4 0-13,0-3 17,-3 4-20,3-1 27,-4 0-20,4 1 26,0-1-27,-3 1 45,3-1-34,0 4 35,-3-4-30,3 0-1,0 1 4,-4-1-7,4 4-54,0-4 37,0 0-38,0 4 12,0-4-13,0 1 0,0-1 2,0 0-271,0 1 54,0-1-198,0 0 247,4 1 99,-1-1 93,0 1 0,1-1 0</inkml:trace>
  <inkml:trace contextRef="#ctx0" brushRef="#br0" timeOffset="250">6231 4891 9502,'-4'0'-351,"4"0"86,0 0 128,-3 0 57,3 0 56,0 0 11,0 0 55,0 0-5,-3 0 1,3 0-1,0 0 45,0 0 156,0 0-46,0 0 148,0 0-33,0 0-23,-4 0 38,4 0 25,0 0-58,0 0 45,0 0-70,0 0-9,0 0-29,-3 0 31,3 4-62,0-4 31,0 0-67,-3 0 26,3 3-2,0-3-39,-4 4 53,4-4-62,0 3 20,-3-3-22,3 3 8,-3-3-74,3 4 62,-4-1-58,1 0 75,0 1-84,3-1-17,-4 0-18,4 1-10,-3-1 3,-1 0-33,4 1 7,-3-1-40,0 0 80,3 1-18,-4-1-17,4 4 7,-3-4-34,3 0 23,-3 1-37,3-1 68,0 1-68,-4-1 75,4 0-72,-3 1 50,3-1-53,0 0 64,0 1-51,-3-1 38,3 0-43,0 1 22,0-1 9,-4 0-12,4 1 15,0-1 13,0 0-14,-3 1 11,3-1 45,0 0-36,0-3 41,0 4-52,-3-1 36,3 0-26,0 1 34,0-1-53,0 1 16,-4-1-11,4 0 13,0 1-31,0-4 22,0 3-25,-3 0 10,3 1 15,0-4-18,0 3 15,0 0 29,0-3-26,0 4 25,0-4-7,0 3 17,0-3-4,0 3 0,0 1-12,0-4-11,0 0 19,0 3-18,0-3-27,0 3 20,0-3-20,0 4-25,0-4 42,3 0-45,-3 3 49,0-3-42,0 3 24,0-3-30,4 0 30,-4 4 7,0-4-14,0 0 11,3 3 20,-3-3-14,0 0 18,3 3-25,-3-3 26,4 0-18,-4 0 23,3 4-32,-3-4 8,3 0-7,1 0 12,-4 3-53,3-3 39,-3 0-40,3 0 46,-3 0 10,4 0-11,-4 0 5,3 0 24,-3 0-27,3 4 25,-3-4-29,4 0 34,-4 0-21,3 0 26,-3 0-43,4 0 8,-1 0-3,0 0 8,-3 0-34,4 0-13,-1 0-2,0 0 3,1 0 35,-4 0-2,3 0-6,0-4 5,1 4-12,-1 0 8,-3 0-11,3 0 44,1-3-34,-1 3 35,0-4 12,-3 4 14,4-3 9,-4 3-14,3-3 18,0 3-43,-3-4 52,4 4-62,-4-3 14,0 3-11,3-3 15,-3 3-43,3-4 33,-3 1-33,0 3 36,4-3-22,-4 3 15,0-4-17,3 1-16,-3 3 25,0-3-35,0 3 37,4-4-21,-4 1 16,0 3-15,0-3 15,3 3-5,-3-4 4,0 4-4,0-3 4,0 3 0,0-3 0,0 3 0,0-4 8,3 4-6,-3-3 7,0 3 8,0-3-12,0 3 13,0-4-16,0 4 0,0-3 2,0 3-1,0-4 3,0 4-10,0-3 8,0 3-7,0-3 8,0-1-11,0 4 7,0-3-8,0 3 6,0-3 3,0 3-5,0-4 4,0 1 23,0 0-16,0 3 18,0-4 4,0 1-18,0 3 19,0-3-22,0-1 29,0 4-15,-3-3 20,3 0-3,0 3-20,0-4 23,0 1-26,-3 3-5,3-3 3,0 3-4,0-4 9,-4 1-22,4 3 15,0-3-17,-3 3 8,3-4 7,-4 1-9,4 3 8,0-4 13,-3 1-11,3 3 11,-3-3 17,3-1-19,-4 1 21,4 3-28,-3-3 5,0-1-1,-1 1 4,4 3-36,-3-7 23,0 7-25,-1-3 35,1 0-89,0-1 22,-1 1-85,4 0 84,-3-1-158,3 1 77,-3 0-116,3-1-49,0 4 66,0-3-68,0 0 78,0 3-416,0-4 131,3 4-283,0-3-147,1 3 281,2 0-29,1 0 354,0-4 328,-1 4 0,1 0 0</inkml:trace>
  <inkml:trace contextRef="#ctx0" brushRef="#br0" timeOffset="251">5993 4898 9500,'0'4'294,"0"-4"-248,0 0 85,0 0-51,3 0 141,-3 0-74,0 0 74,0 3-10,0-3 81,0 0 143,0 0-58,0 0 7,0 0-183,0 0 37,0 0-28,0 0-11,0 3 69,-3-3-48,3 0-1,0 0-17,0 0-77,-3 0 5,3 4-4,0-4 5,-4 0-75,4 0 19,-3 3-50,3-3-54,0 0 49,-3 3-72,3-3 59,-4 4-37,4-1 34,-3-3-54,3 3-3,-3 1-7,-1-4-39,4 3 41,-3 0 25,3 1 15,-4-4 29,4 3 63,-3 0-41,3 1 53,-3-4-67,3 3 65,-4 0-44,4 1 55,0-1-64,-3-3-14,3 3 15,0 1-11,-3-4 20,3 3-38,0 1 24,-4-4-29,4 3-16,0 0-22,0 1 0,0-4-8,0 3 12,-3 0-38,3-3 15,0 4-37,0-4 85,0 3-41,0 0 59,0-3 28,0 4-16,0-4 17,0 3 24,0-3 19,0 3 7,0-3-7,0 4-28,0-4-11,0 3 21,0-3-25,0 3-13,0 1 20,0-4 6,0 3-57,0-3 45,0 3-59,0-3 17,0 4 24,0-4-33,0 3 36,0-3-7,0 3 4,0-3-10,0 4 6,0-4-8,0 0 7,0 3-2,0-3 6,3 0 0,-3 4 1,0-4 2,0 0-5,0 0 6,4 3-6,-4-3-13,3 0 12,-3 3-13,0-3 16,3 0-36,-3 0 25,4 4-29,-4-4 35,3 0-30,-3 0 22,3 0-23,-3 0 75,4 0-40,-1 0 40,-3 0-52,4 0 45,-1 0-32,0 0 33,1 0-37,-1 0 63,0 0-37,1 0 44,-4 0-80,6 0 14,-6 0-11,4 0 25,-1 0-54,-3-4 38,3 4-46,1 0 55,-1 0-60,-3-3 35,3 3-44,-3-3 40,4 3 35,-4-4-33,3 4 32,-3-3 16,3 3-29,-3-4 37,4 4-46,-4-3 50,3 3-34,-3-3 46,0 3-51,3-4 15,-3 4-12,0-3 14,0 0-54,4 3 42,-4-4-43,0 1 12,0 0 20,3 3-31,-3-4 33,0 1-6,0 3 4,0-3-4,0-1 2,0 4-10,0-3 7,0 3-6,0-3 3,0-1 4,0 4-3,0-3-13,0 3 11,0-3-13,0 3 18,0-4-18,0 4 12,0-3-16,0 3 2,0-3 9,0 3-11,0-4 13,0 4 21,0-3-17,0 3 16,0-4-19,0 4 27,0-3-19,0 3 20,0-3 5,-3 3-22,3-4 29,0 4-28,-4-3 14,4 3-8,0-3 10,-3-1-21,3 4 11,-3-3-6,3 3 7,-4-3-35,4-1 22,-3 1-25,3 3 30,-3-3-51,-1-1-15,4 1-6,-3 3-58,3-3 56,-3-1-61,3 1 51,-4 3-320,1-3 84,3 3-207,-3-4-377,3 1 258,0 3-319,-4-3 419,4 3 296,0-4 107,0 4 131,0-3 0,4-1 0</inkml:trace>
  <inkml:trace contextRef="#ctx0" brushRef="#br0" timeOffset="252">6422 4928 8849,'0'-3'307,"0"3"-229,0 0 60,0 0-16,0 0 33,0-3-5,0 3 92,0 0-98,0 0 98,0 0-95,0 0 167,0 0 3,0 0 614,0-4-483,0 4 307,0 0-620,0 0-20,0 0 8,0 0-22,-4 0-26,4 4 1,0-4-11,-3 3 25,3-3-55,-4 3 13,4 1-86,-3-4 80,3 3-37,-3 0 13,3-3 7,0 4-93,-4-1 79,4 0-97,-3 1 87,3-1-54,-3 0 38,3 1-23,-4-1-24,4 0 58,-3-3-20,3 4 30,0-1-15,-3 1 6,3-1-8,0-3 14,0 3-9,-4 1 6,4-4-8,0 3 40,0 0-20,0-3 20,0 4-27,-3-4 48,3 3 14,0-3 6,0 3 13,0-3-61,0 4 24,0-4-26,0 3-17,0-3 12,0 0-8,0 3 18,0-3-46,0 4 31,0-4-41,0 3 50,0-3-26,0 0 17,0 3-28,0 1 22,0-4-7,0 0 5,0 3-4,0-3 54,0 3-37,0-3 39,0 4-44,3-4 45,-3 3-25,0-3 30,0 0-50,0 3 4,4-3-2,-4 4-25,0-4 30,0 0-30,3 0 34,-3 3-25,3-3 14,-3 4-17,4-4 17,-4 0 13,3 0-14,-3 3 11,3-3-11,-3 3 1,4-3 1,-4 0-2,3 0 2,-3 0-2,3 4 6,-3-4-32,4 0 23,-4 0-22,3 0 28,-3 0-36,4 0 24,-1 0-27,-3 0 29,3 0 15,1 0-13,-1 0 9,-3 0-11,3 0-2,1 0 2,-1 0-2,-3 0 49,3-4-34,1 4 36,-4 0-24,3-3-14,-3 3 19,3-3-20,1 3 24,-4 0-17,3-4 18,-3 4-18,3-3 0,-3 3 0,0-4-2,4 4 31,-4-3-20,0 3 24,3-3-30,-3-1 10,0 4-9,3-3 7,-3 0 11,0 3-5,0-4 10,0 1-12,0 3-35,0-3 19,0 3-20,0-4 32,0 4-44,0-3 32,0 3-39,0-3 49,0-1-9,0 4 7,0-3-11,0 3 60,0-3-46,0-1 47,0 1-46,0 3-4,0-3 6,0-1-8,0 1 15,0 3-11,0-3 23,0 3-13,0-4-67,0 1 49,0 3-59,0-4 4,0 1 44,0 3-55,0-3 65,-3-1-74,3 4 52,0-3-59,-3 0 67,3-1-43,0 4 31,-4-3-36,4 0 39,0-1-10,-3 4 7,3-3-6,-3 0 15,3 3-10,-4-4 11,4 1-52,-3 0 29,3-1-30,-3 4 39,-1-3-183,4 3 42,-3-3-123,0 3-434,3-4 170,-4 1-329,1 3 353,0-3 287,3 3 89,-4-4 136,1 4 0,0-3 0</inkml:trace>
  <inkml:trace contextRef="#ctx0" brushRef="#br0" timeOffset="253">11407 2086 8847,'-4'0'-89,"1"0"433,3 0-44,0 0-156,0 0 34,-3 0-152,3 3 100,0-3-60,0 0 55,0 0 36,-4 0-22,4 0 1092,0 0-845,0 0 800,0-3-1068,4 3 17,-4 0-47,3 0 2,0 0-12,-3 0 25,4 0-40,-1-4 55,0 4-54,1 0 72,-1 0-54,0 0 12,1 0-29,3 0-43,-4 0 0,0-3-13,1 3 16,2 0 14,-2 0-9,2 0-12,-2 0-29,-1 0 71,4 0-32,-4 0 35,0 0-46,4 0-24,-4 0 6,1 0 1,-1 0-1,4 0-23,-4 0 2,1 0-54,-1 0 94,0 0-54,1 0 62,-1 0-68,0 0 46,1 0-59,-1 0 41,0 0 5,1 0-15,-1 0 24,0 0-10,1 0 8,-1 0-6,-3 0 5,3 0-41,1 0-7,-1 0-4,4 0-22,-4 0 56,0 0-23,1 0 22,-1 0 2,1 0-9,-1 0 4,0 0-12,1 0 57,-1 0-45,0 0 47,1 0-23,-1 0-14,0 0 19,1 0-22,-1 0-10,0 0 10,1 0-3,-1 0-32,0 0 31,1 0-34,-4 3 35,3-3 4,0 0-7,1 0 4,-1 0-24,0 0 17,1 0-21,-1 0 23,1 0-22,-1 0 17,0 0-20,1 0 22,-4 0 13,3 0-8,0 0 13,1 0-17,-1 0 31,0 4-22,1-4 24,-4 0 5,3 0-23,0 0 25,1 0-32,-1 0 15,-3 0-9,3 0 17,-3 0-26,4 0 12,-1 0-12,-3 0 12,3 0-5,-3 0 5,4 0-6,-4 0 4,3-4 45,-3 4-33,3 0 35,-3 0-1,4 0 11,-4 0 6,3-3-13,-3 3 12,4 0-36,-4 0 45,0 0-31,0 0 2,0 0 20,3 0 2,-3 0 61,0 0-50,0 0 84,-3-3-55,3 3 8,0 0-10,-4 0-77,1 0 22,-1 0-17,1 0 2,0 0 25,-1 0-20,1 0 27,0 0-26,-4 0 16,4 0-22,-4-4 20,4 4-42,-4 0-24,0 0 5,1 0-45,-1 0 38,0 0-12,0 0-38,1 0 70,-1 0-34,-3 0 43,3-3-6,1 3-3,-1 0-7,0 0 8,-3 0 12,4 0-5,2 0 8,-3-3-12,1 3 8,-1 0-6,0 0 12,4 0 14,-4 0-13,4 0 15,0 0-16,-4 0-6,4 0 6,-4 0-5,4 3-52,-1-3 38,1 0-42,0 0 52,-1 3-47,1-3 34,-1 0-41,1 0 49,0 0-7,-1 4 4,1-4-7,0 0 0,-1 0-5,1 0 2,-4 3-28,4-3 22,0 0-20,-4 0 27,4 0-16,-1 0 10,1 3-8,-4-3 12,4 0 13,0 0-9,-1 0 4,1 0 15,-1 0-20,1 0 20,3 0-22,-3 0 37,3 0-19,0 0 28,0 0-26,0 0 68,3-3 25,-3 3-1,3 0 98,1 0-94,-1 0 110,1 0-45,-1 0-40,4 0-12,-4 0-31,0 0-54,4-3 53,-4 3-49,4 0 55,-4 0-41,4 0 44,0 0-41,-4 0 34,4 0-73,-4 0 31,4 0-40,-4 0 37,4 0 16,0 0-21,-4 3-46,4-3 37,-4 0-39,4 0 62,-4 0-66,4 3 46,-4-3-51,4 0 57,-4 0-35,4 4-21,-1-4 5,-2 0-25,3 0 60,-4 0-31,0 0 31,4 3-5,-4-3 4,1 0-7,-1 0 45,4 0-40,-4 0 42,-3 0-42,3 0 16,1 0-9,-1 0 11,0 0-11,1 0-23,-4 0 19,3 0-15,0 0 19,-3 0-45,4 0 31,-1 0-36,-3 0 2,3 0 25,1 0-30,-4 0-10,3 0 36,1 0-43,-1 0 47,0 0-12,-3 0-16,4 0 6,-1 0-9,0 0 44,1 0-15,-4 0 18,3 0-25,0-3 64,1 3-46,-4 0 53,3 0-15,-3 0-30,3 0 36,1 0-39,-4-4 15,3 4-2,-3 0 6,3 0-21,-3 0 1,0-3-2,4 3 8,-1 0-20,-3 0 14,3 0-17,-3 0 21,4 0-27,-4-3 19,3 3-24,-3 0 26,3 0-15,-3 0 11,4 0-12,-1 0 26,-3 0-14,4-4 13,-4 4 18,3 0-22,0 0 26,-3 0-32,4 0 73,-4-3-48,3 3 53,-3 0-67,3-3 61,-3 3-44,4 0 58,-4 0-37,3-4-11,-3 4 19,0 0-27,3 0-36,1-3 29,-4 3-32,0 0-21,3 0 41,-3-3-49,3 3 56,-3 0-22,4-4 8,-4 4-12,3-3 3,-3 3 14,0 0-19,3-3 17,-3 3-14,4 0 55,-4-4 1,3 4 11,-3-3 55,0 3-86,3-3 59,-3 3-81,0-4 21,4 4-17,-4-3 27,3 3-64,-3-3 50,0-1-52,3 4 55,-3-3-33,0 0 22,0 3-26,0-4 19,4 4-39,-4-3 13,0 3-20,0-4 31,0 4 11,0-3-10,0 3 16,0-3-12,0 3 12,0-4-9,0 4 15,0-3-10,0 3 10,0-3-11,0 3-1,0 0 4,0-4 0,0 4-9,0-3 6,0 3-7,0-3 8,0 3 7,-4-4-7,4 4 6,0-3-14,0 3 5,-3-3-4,3 3 6,0-4-32,-3 4 24,-1-3-27,4 3 31,-3-3-15,3-1 10,-3 4-13,-1-3 16,4 0-2,-3 3 1,0-4-5,3 4 10,-4-3-10,1 3 10,3 0-7,-3-3 0,3-1 3,-4 4-3,1 0-14,3-3 10,-3 3-9,-1 0-32,4-4 34,-3 4-37,3 0 42,-3-3-65,3 3 43,-4-3-48,1 3 21,3 0 28,-3-4-35,-1 4 40,4 0 2,-3-3-1,-1 3-3,1 0-6,0 0 8,3-3-6,-4 3 10,1 0 6,0 0 0,-1 0 5,4 0-6,-3 0 39,0 0-34,3 0 37,-4 0-11,1 0-24,0-4 29,3 4-31,-4 0 9,1 0-3,3 0 4,-3 0-2,-1 0 10,4 0-2,-3 0 4,0 0-5,-1 0-7,4 0 6,-3 0-6,0 4-10,-1-4 7,1 0-8,3 0 11,-4 0 0,4 0 1,-3 0-2,0 3 61,3-3-43,-4 0 46,1 0-58,3 3 13,-3-3-6,3 0 9,-4 4-1,1-4-7,3 0 12,-3 3-11,-1-3 4,4 0-3,-3 3 3,3-3-11,0 0 10,-3 4-10,3-4 9,-4 0 12,4 0-12,0 3 12,-3-3-18,3 0 6,0 4-4,0-4 4,0 3-8,-3-3 8,3 0-6,0 3 8,0-3-34,0 4 23,0-4-24,0 3 3,-4-3 19,4 3-22,0 1 25,0-4-55,0 3 39,0-3-48,0 3 56,0-3-39,0 4 28,0-4-30,0 3 35,0-3-59,0 0 41,0 0-45,0 3 3,0-3 33,0 0-44,0 0 54,0 0 55,4 0 23,-4 0 4,0 0-15,0 0 8,3-3 16,-3 3 15,0-3-18,0 3-75,3-4 12,-3 4-10,4-3-34,-4 3 44,0-3-46,3-1 43,-3 4-2,3-3-10,-3 3 4,0-3-1,4-1 7,-1 4-4,-3-3 0,0 3 22,3-3-14,1 3 19,-4-4-24,3 4 6,-3-3-3,3 3 8,1-4-16,-1 4 12,-3-3-11,3 3 10,1-3 4,-1-1-4,1 4 4,-1-3 33,0 3-29,1 0 32,-1-3-41,0 3 51,1 0-32,-1 0 36,0 0-38,1 0 16,-1 0-4,0 0 7,1 0-8,-4 0-41,3 0 35,0 0-77,1 0 26,-1 0-9,0 0 7,-3 0 12,4 3 13,-1-3-17,0 0 16,1 3 4,-1-3-10,1 4 7,-1-4-12,0 3 23,-3-3-19,4 3 19,-1-3 0,0 4-9,1-4 13,-4 3-14,3-3-20,0 0 16,1 4-15,-4-4 18,3 3 1,-3-3-4,3 3 2,-3-3 10,4 4-8,-4-4 7,0 0-11,3 3 8,-3-3-7,3 3 8,-3-3 60,0 4-48,4-4 54,-4 3-62,0-3 35,3 3-16,-3-3 20,0 4-36,3-4 2,-3 3-2,0 0 7,0-3 6,0 4-6,4-1 5,-4 0-33,0 1 21,0-1-23,0 0 24,-4 1 2,4-1-58,-3 4 43,0-4-48,-1 1-173,1 2 38,0-2-142,-1-1-550,1-3 215,0 3-401,-1 1 454,1-4-465,0 3 730,-1-3-467,1 0 813,0 0 0,3 0 0</inkml:trace>
  <inkml:trace contextRef="#ctx0" brushRef="#br0" timeOffset="254">11323 2216 9522,'0'-3'262,"0"3"-218,0 0 15,3 0-65,-3 0 20,0 0 8,0 0 18,0 0 9,0 0 92,4-3 23,-4 3-6,0 0-4,3 0-21,-3 0-6,0 0 12,3 0 96,-3 0-52,4 0 106,-4 0-85,3 0-19,-3 0-38,3 0 2,1 0-69,-4 0 52,3 0-56,1 0 56,-1 3-62,0-3-1,1 0-23,-1 0 32,0 0-36,1 0 57,2 0-82,-2 0 55,2 0-19,-2 0 9,2 0 22,-2 0 4,2 0 3,1 0 0,-4 0-27,4 0 23,0 0-19,0 0 15,-1 0-35,1 0-20,0 0 4,-1 0-60,1 0 24,0 0-3,-1 0 11,4 0 18,-3 0 14,0 0-23,0 0-15,-1 0 0,1 0-16,0 0 14,-1 0 27,1 0 6,0 0-8,-1 0 2,-2 0 0,2 0 1,1 0 5,-3 0-46,2 0 31,-2 0-31,2 0 43,-2 0-49,2 0 35,-2 3-39,2-3 32,1 0 9,-4 0-14,4 0 5,-4 0 39,4 4-32,-4-4 30,4 0-33,-3 0 12,2 0-5,-2 0 11,-1 0-17,0 0 3,1 0 0,2 0 4,-2 0-4,-1 0 3,-3 0-3,7 0-10,-4 0 11,-3 0-11,3 0 9,4 0-7,-4 0 0,1 0-3,-1 0 4,0 0-16,4 0 12,-3 0-13,-1 0 2,4 0 12,-4 0-14,4 0 16,-4 0 20,4 0-15,-4 0 15,0 0 7,4 0-20,-4 0 23,1 0-26,-1 0 39,4 0-26,-4 0 28,0 0-32,1 0 1,-1 0 6,1 0-3,-1 0 5,0 0-51,1 0 38,-1 0-38,-3 0 0,3 0-12,1 0-9,-1 0 12,0 0-14,1 0 33,-4 0-35,3 0 41,0 0 4,1 0-2,-1 0-9,0 0 67,1 0-52,-1 0 55,0 0-26,4 0-20,-7 0 23,3 0-19,1 0 47,-1 0-25,1 0 31,-1 0-58,0 0 5,1 0-2,-1 0 10,0 0-56,1 3 38,-4-3-45,3 0 58,0 0-46,1 0 33,-1 0-43,0 0 19,1 0 10,-1 0-14,-3 0 19,3 0 3,1 3-7,-1-3 4,-3 0 29,3 0-21,1 0 25,-1 0-31,-3 0 55,4 0-39,-1 0 44,-3 0-53,3 0 7,1 0-4,-4 0 7,3 0-34,0 0 26,1 0-26,-4 0 32,3 0-27,0 0 17,1 0-20,-4 0 16,3 0 1,0 0-4,1 0-3,-4 0 40,3 0-32,0 0 32,1 0-35,-4 0 69,3 0-44,0 0 48,1 0-46,-4 0-11,3 0 18,0 0-16,-3 0-20,4 0 14,-1 0-16,-3 0-7,4 0 25,-1 0-26,-3 0 27,3 0-13,-3 0 3,4-3-6,-1 3 0,-3 0-9,3 0 2,1 0-5,-4 0 11,3 0-14,0 0 9,-3 0-11,4 0 21,-4 0-1,3 0 1,0 0 1,-3 0 0,4 0 0,-4-3 0,3 3 3,-3 0-4,3 0 5,-3-4-6,0 4 2,4 0 1,-4 0 0,3 0 2,-3-3-2,0 3 3,3 0-3,-3-3 9,4 3-8,-4 0 8,3-4-4,-3 4-3,0-3 3,3 3-4,-3-3 5,4 3-3,-4-4 3,3 4-4,-3-3-4,0 3 3,4-3-3,-4 3 19,0-4-10,3 1 11,-3 3-14,0-3 48,3-1-34,-3 4 37,0-3-8,4 3-28,-4-3 34,0-1-40,3 4 21,-3-3-15,0-1 19,3 4-17,-3-3-4,0 3 1,4-3-3,-4-1 7,0 4 41,3-3-31,-3 0 30,0 3-32,0-4-6,3 1 7,-3 3-3,0-3 3,4-1 2,-4 4-1,0-3-15,0 3 8,3-3-3,-3-1 8,0 4-56,3-3 37,-3 3-46,0-3 58,0-1-55,0 4 39,4-3-50,-4 3 35,0-3 5,0 3-9,0-4 12,0 4-6,3-3 3,-3 0-4,0 3 12,0-4-2,0 1 2,0 3-3,0-4 45,0 1-31,0 3 34,3-3-41,-3 3 21,0-4-11,0 4 14,0-3-16,0 0-4,0 3 5,0-4-2,0 4-28,0-3 20,0 3-23,0-3 14,0-1 8,0 4-9,0-3 7,0 3-18,0-3 7,0 3-10,-3-4 13,3 4-4,0-3 1,0 3-2,-3 0 1,3-3 6,-4-1-4,4 4 4,0-3-1,-3 3 1,3-3 0,-3 3 7,3-4-6,-4 1 7,4 3-8,-3-3 2,3-1-1,-3 4 2,-1-3-2,4-1-2,-3 4 3,0-3-2,3 3-1,-4-3 2,1 3-2,3-4 2,-3 4-3,-1-3 3,1 3-3,3-3 1,-4 3 1,1-4-2,3 4 2,-3-3-24,-1 3 17,1 0-17,3-3 6,-3 3 11,-1 0-12,1-4 12,3 4-22,-3 0 14,-1 0-18,1-3-5,0 3 21,-1 0-25,1-3 29,0 3-17,-1 0 11,4-4-14,-3 4 14,0 0 7,-1 0-3,1 0 6,0-3-10,-1 3-15,4 0 10,-3 0-12,-1 0 32,1 0-12,3 0 10,-3 0-18,-1 0 3,1 0-1,3 0 5,-3 0 10,-1 0-10,4 0 8,-3 0-11,0 0 38,3 0-26,-4 0 31,1 0-39,0 0 36,3 0-26,-4 0 28,1 0-13,0 0-9,3 0 10,-4 0-6,1 0-7,0 0 12,3 0-9,-4 3-10,1-3 5,0 0-9,-1 0 12,4 4-16,-3-4 12,-1 3-14,4-3 14,-3 3 9,0-3-8,3 4 8,-4-4 57,4 3-46,-3-3 50,3 3-60,-3 1 1,3-4 0,0 3 5,-4 0-13,4-3 16,0 4-13,-3-1 16,3 0-24,0-3 17,0 4-18,0-1 18,0 1 5,-3-1-8,3 0 7,0-3-9,0 4 2,0-1 0,0 0-1,0-3-8,0 4 6,-4-1-5,4 0 1,0-3 8,-3 4-7,3-1 7,0 0-36,0-3 24,0 4-26,0-1 28,-3 0-1,3-3-4,0 4 2,0-4 20,0 3-12,0 0 15,0-3-2,0 4-11,0-4 12,0 3-14,0-3-1,0 0 2,0 3 1,0 1 0,0-4-3,0 3 3,0-3-3,0 4-19,0-4-16,0 0 4,0 3-5,0 0-22,0-3 30,0 4-35,0-4 9,0 3 31,0-3-34,0 3 38,0 1 20,0-4-15,0 3 14,0-3-22,0 3 9,0-3-6,0 4 10,0-4 0,0 0-5,0 3 8,0-3-22,0 0 23,0 0-19,0 0 53,-4 0-31,4 0 24,0-3-19,0-1 0,0 4 3,0-3-2,0 0-5,0-1 10,-3 4-6,3-3 21,0 0-17,0-1 10,0-2-15,0 2 19,0 1-13,0-1 16,3 1-19,-3 0 11,0-1-8,0 1 12,0-4-45,4 4 27,-4 0-26,0-1-8,0 1 28,3 0-30,-3-1 34,0 1-22,3 0 9,-3-1-12,4 1 11,-4 0 8,0-1-11,3 1 7,-3 0 2,0-1 42,3 1-28,1-1 27,-4 1 13,3 0-38,-3 3 47,3-4-53,-3 1 8,4 0-5,-1 3 10,-3-4-32,3 4 25,-3-3-26,4 3 30,-4-3-31,3 3 20,-3 0-22,4-4 21,-1 4-35,-3 0 16,3 0-20,-3-3 19,4 3 13,-1 0-12,0 0 11,-3 0 22,4 0-16,-1 0 19,0 0-25,-3 0 73,4 0-52,-1 0 61,0 0-36,1 0-18,-1 0 22,0 0-26,1 0-15,-4 0 20,3 0-11,0 0 12,-3 3-33,4-3 17,-1 0-24,0 0-12,-3 4 28,4-4-32,-1 0-2,1 3 30,-1-3-35,0 3 40,1-3 5,-1 4-4,0-4 3,1 3 6,-1-3 13,0 3-5,1-3 5,-1 4 17,0-4-26,-3 3 28,4-3-18,-1 3-12,0-3 17,1 0-16,-4 4 1,3-4-2,0 0 3,-3 3 1,4-3 3,-1 0-2,-3 4-2,3-4-16,-3 0 10,4 3-9,-4-3 10,3 0-15,-3 3 8,4-3-11,-4 4 25,3-4-4,-3 3 7,0-3-10,3 3 41,-3-3-29,0 4 29,0-1-38,4-3 49,-4 3-33,0-3 40,0 4-49,3-4-31,-3 3 25,0-3-25,0 3-8,0-3 31,3 4-34,-3-4-3,0 3 30,0 0-33,4-3 32,-4 4-21,0-4 8,3 3-12,-3 0 9,0-3 4,0 4-7,3-4 6,-3 3 0,0 0-22,0 1 16,4-1-18,-4-3 12,0 4 10,0-1-13,0 0-5,3-3 12,-3 4-13,0-1 15,0 0 27,0-3-20,0 4 19,0-4-26,0 3 11,0 0-7,0 1 9,0-4 9,0 3-15,0-3 20,0 3-20,0 1-20,-3-4 15,3 3-17,0 0 18,0 1 4,-4-4-4,4 3 4,0 0 0,-3 1-2,3-4 1,-3 3-5,3 0-9,-4-3 6,4 4-6,-3-1 21,3-3-8,-3 4 9,3-1-12,-4-3 26,4 3-18,-3-3 21,3 4 4,-3-4-19,3 3 22,-4-3-28,1 3 29,3-3-21,-4 4 24,1-4-28,3 3 47,-3-3-33,-1 0 39,1 3-45,3-3 54,-3 0 6,-1 4 12,1-4-17,3 0 0,-3 3-31,-1-3 44,1 0-31,0 3 6,-1-3-3,1 0 24,0 0-27,-1 4 35,-2-4-37,2 0 64,1 0-49,-4 0 42,4 0-52,-4 0-26,4 0 20,-4 0-17,4 0-23,-4 0-11,0 0-6,4 0 17,-4 0-20,4 0 42,-4 0-48,4 0 8,-4 0-7,4 0-16,0 0 15,-4 0 14,3 0 18,1 0-28,0 0 22,-4 0 37,4 0 21,-4 0 6,4 0 37,-4 0-23,4 0-2,-4 0 5,0 0 17,1-4-41,-1 4 58,0 0-100,0 0 40,1 0-34,-1 0 46,-3 0-71,3-3-4,1 3-13,-1 0 12,4 0 2,-4 0-21,0 0-1,0 0 1,4 0 49,-4 0-11,4 0 4,0 0 35,-4 0 14,4 0 1,-1 0 24,1-3-57,0 3 25,-1 0-18,1 0-37,0-4 34,-1 4-31,1 0 49,0 0-57,-1 0 4,-2 0-17,2-3 5,-3 3-27,4 0 37,-4 0-64,4 0 49,-4 0 3,1-3-9,-1 3 18,0 0-7,4 0 5,-4 0 3,1 0-1,-1 0 2,4 0-2,-4 0 3,3 0 1,-2 0-1,2 0 1,-2 0 15,2 0-11,1 0 12,-4 0-15,4 0 51,0 0-36,-1 0 40,1 0-44,0 0 1,-4 0 4,4 0-4,-1 0-19,-2 0 12,2 0-12,-3 0 19,4 0-45,0 0 33,-4 0-38,0 0 44,4 0-30,0 0 21,-4 0-32,4 0 21,-1 0-4,-2 0 1,2 0 14,-2 0-2,2 0 4,1 0-7,0 0 20,-4 3-14,3-3 17,-2 0-21,2 0 23,-2 0-16,2 0 21,1 3-75,-4-3 42,4 0-42,0 0 52,-1 0-52,1 0 34,0 4-37,-1-4-3,1 0-13,0 0-11,-4 0 14,4 0 35,-1 0 8,1 3-14,-1-3 3,1 0 25,0 0-17,-1 0 21,1 0-70,0 0 26,-1 3-23,1-3 39,-4 0-41,4 0 32,0 0-37,-4 0-31,4 0 15,-4 0-69,4 0 54,-1 4-52,-2-4 60,2 0-42,1 0 41,-1 0 64,4 0-4,-3 0 25,3 0-23,-3 0 31,3 0-56,0 0 78,0 0-67,0 0 66,3 0 8,-3 0 7,3 0-9,1 0 58,3 0-16,-4 0 84,4 0-75,3 0 21,-4 0-50,4 0 13,4 0-23,-4 0-6,3 3 12,4-3-4,0 0-33,3 0-17,0 3 0,3-3-151,1 0 72,2 4-107,5-1 64,-8-3-268,4 3 63,-4 1-179,-3-1 198,0 0-640,-6 1 222,-1-4-192,-3 3 496,4 1 443,-4-1 0,0 0 0</inkml:trace>
  <inkml:trace contextRef="#ctx0" brushRef="#br0" timeOffset="255">11440 2350 9502,'4'0'-121,"-1"0"180,-3-3-32,0 3 60,0 0-12,3 0 24,-3 0 48,0 0-11,4-3 26,-4 3 3,0 0-12,0 0 9,0 0-31,0 0 47,3 0 26,-3 0-10,0 0 52,0 0-49,3 0 1,-3 0-14,0 0 11,4 0-48,-4 0 48,3 0-64,0 0-47,-3 0 35,4 0-20,-1 0-9,0 0-1,4 3-15,-4-3 12,1 0-16,2 0 47,1 0-49,0 0-10,-4 3-20,4-3-32,0 0 28,-1 0 8,1 0-1,0 0-14,-4 0 10,4 0-46,-1 0 62,1 0-54,0 0 33,-4 4 24,4-4-29,0 0 27,-4 0-68,4 0 49,-4 0-59,0 0 48,4 0 5,-4 0-12,1 0 11,-1 0-22,4 0 11,-4 0-15,0 3 20,1-3-35,-1 0 20,0 0-21,1 0 11,-1 0 21,1 0-24,-1 0 7,0 0 8,1 0-8,-1 0 12,0 0-26,1 0 17,-1 0-21,0 0 25,1 0-7,-1 0 2,0 0-4,1 0 2,-1 0 6,0 0-8,1 0 7,2 0 41,-2 0-30,-1 0 33,0-3-45,4 3 2,-3 0 0,-1 0 6,0 0-3,1 0 4,-1 0-5,0-4 6,1 4 10,-1 0-7,-3 0 7,7 0 1,-7 0-9,3 0 8,0 0-10,1 0 3,-4 0-1,3 0 2,0 0-25,1 0 17,-4 0-13,3 0 19,0 0-66,1 0 46,-1 0-52,0 0 64,1 0-52,-1 0 35,1 0-47,-1 0 98,0 0-42,1 0 39,-4 0-49,3 0 38,0 0-28,1 0 30,-1 0 26,0 0-40,-3 0 50,4 0-58,-1 0-1,-3 0 1,3 4 5,1-4 4,-4 0-49,3 3 34,-3-3-42,3 0-8,-3 0 39,4 0-44,-1 3 47,-3-3 2,3 0-8,-3 0 4,4 0-7,-4 4 14,3-4-15,-3 0 14,3 3 30,-3-3-26,4 0 33,-4 0-40,3 3 33,-3-3-23,0 0 30,4 4-33,-4-4 3,0 0-2,0 3 0,3-3-20,-3 3 17,0-3-18,0 4 11,3-4 7,-3 3-7,0-3 6,0 3 18,0-3-16,0 4 15,0-1-21,0-3 63,0 4-43,0-4 47,0 3-53,0-3-13,0 3 15,0 1-13,0-4-13,0 3 17,0-3-18,0 3 25,0-3-42,0 4 29,0-1-38,0-3 37,0 3-1,-3 1-3,3-4-1,0 3 9,-3-3-11,3 3 10,0-3 4,-4 4-5,4-1 8,0-3-10,0 3 3,-3-3-2,3 4 5,-4-4-4,4 3 35,0 0-26,-3-3 26,3 4-17,0-1-9,-3-3 11,3 0-12,0 3 35,-4-3-23,4 0 25,0 4-31,-3-4 35,3 0-19,0 0 22,-3 0-1,-1 3-26,4-3 28,-3 0-65,3 0 30,-3 0-28,-1 0 34,1 0-51,0 0-14,-1 0-4,1 0 12,0 0-5,-1 0 35,-2 0-49,2 0 54,1 0-23,0 0 15,-4 0-18,3-3 24,-2 3-15,2-4 13,1 4-14,-4-3-8,4 0 9,0-1-8,-1 4 7,1-3 5,0 0-9,-4-1 11,4 4 8,-1-3-6,1 3 8,3-3-11,-3 3-16,-1-4 11,4 4-13,-3 0 0,3 0 9,0 0 7,-3-3 50,3 3-18,3 0 25,-3 0-47,3 3 21,-3-3-15,4 0 21,-1 4-23,0-4 9,1 3-8,-1-3 11,0 3-13,4-3 10,-4 4-12,1-1-3,-1-3 9,4 3-17,-4-3 14,0 4-6,1-4 5,-1 3 1,0-3 1,4 3-2,-3-3 2,-4 4-2,3-4 0,0 0 1,1 3-1,-1-3 24,0 0-17,1 0 19,-1 4-24,0-4 2,1 0-1,-1 0 2,0 0 1,1 0-3,-1 0 4,0 0-4,1 0 4,-1-4-13,-3 4 10,3-3-11,1-1 3,-1 4 6,-3-3-8,3-4 52,-3 4-34,4 0 34,-1-1-42,-3-2-30,0 2 24,0 1-24,0-4 33,0 4-128,0-4 26,-3 1-112,-1 2-437,1 1 143,-4-4-323,4 4 482,-4-1 153,1 1 190,2 0 0,-2-1 0</inkml:trace>
  <inkml:trace contextRef="#ctx0" brushRef="#br0" timeOffset="256">14755 1617 8279,'0'-3'714,"0"3"-484,0 0-126,0 0 133,0 0-98,0 0 79,0 0-14,0 0 35,0-4-19,0 4 15,0 0 7,0 0 16,0 0 53,0 0-91,0 0 19,0 0-5,0 0-65,0-3 50,0 3-18,0 0-116,0 0 51,0 0-75,0 0 7,0 0 0,0 0-28,0 0 4,-4-3-58,4 3 98,0 0-63,-3 0 52,3 0-27,0 0 6,-3 0 1,3 0-23,-4 0 31,4 0-22,-3 0 28,0 0-52,3 0 33,-4 0-43,4 0 54,-3 0-53,0 0-17,3 0-5,-4 0 11,4 0-13,-3 0 46,0 0-58,3 0 4,-4 0 21,4 0-29,-3 0 34,3 0 14,-3 0-15,-1 0 13,4 0 34,0 0-25,-3 0 31,3 0-39,-4 0 51,4 0-36,-3 0 44,3 3-50,0-3 26,-3 0-18,3 3 25,-4-3-52,4 0 29,0 0-29,-3 4-18,3-4-13,0 0-5,-3 3 11,3-3-7,0 0-11,-4 0-14,4 3-43,0-3 73,0 0-46,-3 4 56,3-4 13,0 0-11,-3 0 9,3 3-17,0-3 42,0 0-26,-4 0 34,4 3-15,0-3-15,0 4 19,0-4-17,-3 0 24,3 0-10,0 3 15,-3-3-16,3 0 6,0 4 0,-4-4 2,4 0-10,0 3-5,-3-3 9,3 0-7,0 3 20,-3-3-16,3 0 13,-4 4-28,4-4 10,0 0-11,-3 3 13,3-3 4,0 3-3,-3-3 3,3 0-5,0 4 33,-4-4-23,4 0 24,0 3-35,-3-3 4,3 0 2,0 3 0,-3-3-21,3 0 15,-4 4-18,4-4 17,0 3 7,-3-3-9,3 3 5,0-3 5,-4 4-7,4-4 6,0 0-6,-3 3-4,3-3 1,0 3-1,-3 1 3,3-4-12,0 0 13,0 3-11,-4 0-8,4-3 16,0 0-19,0 4 5,0-4 10,0 3-14,-3-3 15,3 3 1,0-3 0,-3 4 1,3-4 46,0 3 12,0-3 3,-4 4-9,4-1-33,0-3-4,-3 3 8,3-3-2,0 4-3,0-1 10,-3-3-8,3 3-21,0-3 16,0 4-16,0-4 23,-4 3-31,4-3 20,0 3-27,0-3 7,0 4 11,0-4-15,0 3 13,0 0 70,0-3-53,0 4 55,0-4-63,0 3 35,0 0-24,0-3 26,0 4-3,0-1-21,0 0 28,0-3-28,0 4-28,0-1 20,0-3-15,0 3 27,0 1-61,0-4 40,0 3-52,0 1 1,0-4 40,0 3-55,0 0 63,0-3-25,0 4 20,0-1-15,0-3 42,0 3-23,0-3 21,0 4-31,0-4 57,4 3-37,-4-3 41,0 3-44,0-3 36,0 4-19,0-4 23,0 3 22,3-3-40,-3 0 45,0 3-52,0-3 49,0 0-38,3 0 42,-3 4-44,0-4 2,0 0 0,0 3 1,4-3-5,-4 0 6,0 3-1,0-3 3,3 0-48,-3 4 35,3-4-41,-3 0-28,0 3 56,4-3-65,-4 0 77,3 3-31,-3-3 20,3 0-26,-3 4 39,4-4-19,-1 0 18,-3 3-20,4-3 54,-4 0-39,3 4 42,-3-4-47,3 0-1,1 3 6,-4-3-4,3 0-35,0 3 30,-3-3-32,4 0-5,-4 4 29,3-4-35,-3 3 42,3-3-50,1 0 34,-4 0-44,3 3 51,0-3-5,-3 0 3,4 0-5,-4 4 1,3-4 13,0 0-8,1 0 13,-4 3-4,3-3-6,0 0 7,-3 3-7,4-3-11,-1 0 11,-3 0-10,3 0-2,1 4 6,-4-4-9,3 0 13,1 0-16,-1 0 10,0 0-12,-3 0 14,4 0-7,-1 3 4,-3-3-4,3 0 5,1 0 18,-4 0-13,3 0 15,0 0-19,-3 0 1,4 0 0,-4 3-3,3-3 2,0 0-2,1 0 4,-1 0-27,-3 0 19,3 0-20,1 4 26,-1-4-9,0 0 6,1 0-7,-1 0 12,1 3-4,-1-3 3,4 0-8,-4 0 25,0 0-19,1 0 21,-1 0-16,0 0-2,1 0 4,-1 3-1,0-3-36,1 0 28,-1 0-28,0 0 33,1 0-29,-1 4 18,0-4-21,1 0 21,-1 0-5,4 0-1,-7 0-9,7 0 16,-4 0-8,0 0 9,1 0-7,-1 0 0,0 0 0,1 0 3,2 0-5,-2 3 4,-1-3-4,0 0 5,4 0-12,-4 0 9,4 0-9,-4 0 16,4 0-3,-4 0 2,4 0-4,-3 0 23,-1 0-17,4 0 16,-4 0-1,0 0-14,1 0 16,-1 3-17,0-3-7,4 0 7,-4 0-6,1 0 8,-1 0-4,0 0 5,1 0-5,-1 0-1,0 0-2,4 0-2,-4 0 2,1 0-14,-1 0 14,1 0-16,-1 0-21,0 0 26,4 0-29,-4 0 38,1 0-22,-1 0 13,0 0-17,1 0 19,2 0 27,-2 0-18,-1 0 19,0 0-20,4 0-6,-4 0 7,1 0 12,-1 0-13,4 0 18,-4 0-22,1 0 7,2 0-5,-2 0 9,-1 0-5,0 0-21,1 0 14,-1 0-18,4 0 24,-4 0-22,0 0 16,1 0-22,-1 0 20,0 0-2,1 0 1,-1 0 0,0 0 19,1 0-18,-1 0 17,0 0 5,1 0-13,3 0 19,-4 0-24,0 0 18,1 0-12,-1-3 17,0 3-19,1 0-25,-1 0 19,0 0-22,1 0 0,-1 0 20,0-3-21,-3 3 23,4 0-16,-1 0 5,0 0-13,-3 0 15,4 0-2,-1 0 5,0 0-1,-3 0 41,4 0-28,-1 0 30,0 0 2,-3 0-29,4 0 37,-1 0-44,1 0 33,-4 0-23,3 0 28,0 0-29,1 0-10,-1 0 7,-3 0-7,3 0 7,1 0 5,-1 0-6,0 0 4,-3 0-16,4 0 10,-1 0-11,0 0 12,1 0 13,-1 0-12,0 0 11,-3 0-34,4 0 16,-1 0-16,0 0 38,1 0-12,-1 0 11,-3 0-14,3 0 12,1 0-8,-1 0 9,1 0-12,-1 0 8,0 0-4,1 0 5,-1 0-7,0 0 16,1 0-10,-1 0 13,-3 0-5,7 0-9,-7 0 13,3 0-12,0 0 3,1 0-2,-1 0 0,-3 0-16,3 0 11,1 0-11,-1 0 13,-3 0 2,3 0-1,-3 0 0,4 0-1,-1 0 9,-3 0-7,3 0 19,-3 0-17,4 0 9,-4 0-12,3 0 3,-3 3-1,4-3 3,-4 0-3,3 0-30,-3 0 22,3 0-25,1 0 32,-4 0-3,3 0 2,-3 0-4,3 0 2,1 0 30,-4 0-22,3 0 23,-3 0-30,3-3 7,-3 3-4,4 0 8,-4 0-6,3 0 3,-3 0-2,0 0-8,3 0 4,1 0-4,-4 0 8,3-4-15,-3 4 9,3 0-14,-3 0 17,4 0 64,-4-3-45,3 3 47,0 0-53,-3 0-6,4 0 8,-4-3-3,3 3-8,-3 0 7,0-4 0,3 4-25,-3 0 25,4 0-27,-4-3 31,3 3-39,-3 0 24,0 0-27,4-3 21,-4 3 6,3-4-11,-3 4 8,3-3 31,-3 3-20,4-3 25,-4 3-31,3-4 22,-3 4-15,3-3 19,-3 3-28,4-3 9,-4-1-8,3 4 15,-3-3 6,3 3-3,-3-3 3,4 3-31,-4-4 13,3 1-14,-3 3 19,3-4-4,-3 1 2,4 0-5,-4 3 5,3-4 0,-3 1 0,0 0 0,3 3-7,-3-4 4,4 4-4,-4-3 5,0 3-5,0-3 3,3 3-4,-3-4-5,0 4 8,0-3-7,0 0 4,3 3-2,-3-4-1,0 4-1,0-3 1,0 3 2,4-3-3,-4 3 4,0-4 22,0 4-15,0-3 16,3 3-21,-3-3-3,0 3 3,0-4-1,0 4-1,0-3 5,0 3-5,0-4-22,0 1 18,0 3-19,4-3 25,-4 3-26,0-4 17,0 4-21,0-3 25,0 3-9,0-3 7,0 3-11,0-4 10,0 4 8,0 0-5,0-3 8,0 3-12,0-3 6,0 3-3,0 0 6,0-4-9,-4 4 6,4 0-4,0-3 10,0 0-6,0 3 5,0-4-6,-3 4-2,3-3 0,0 3 1,0-3 0,0 3-1,0-4 0,-4 4 1,4-3 0,0 3 5,0-3-3,-3 3 4,3-4-20,0 4 11,-3-3-11,3 3 13,0-3-19,0-1 13,-4 4-14,4 0-31,-3-3 35,3 3-41,-3-4 46,3 1 0,-4 3-5,4-3 5,-3 3-9,3-4 57,-3 4-42,3-3 44,0 3-6,-4-3 12,4 3 8,-3-4 12,3 4-49,-3 0 13,3-3-10,-4 3-14,4 0 17,-3 0-12,3-3 18,-3 3-65,3 0 44,-4 0-48,1 0 50,3-4-34,-3 4 18,-1 0-26,4 0 29,-3 0 3,-1 0-5,1 0 14,3 0-12,-3 0 13,-1 0-12,4 0 13,-3 0-8,0 0 9,-1 0-8,1 0 1,3 0 2,-3 0 0,-1 0 2,1 0-4,3 0 4,-3 0-4,-1 0 1,4 0-1,-3 0 0,0 0 0,-1 0 0,4 0 0,-3 0 0,0 0 10,3 0-7,-4 0 9,1 0-11,0 0-1,3 0 1,-4 0-2,1 0 1,-1 0 1,4 0 0,-3 0-3,0 0 3,-1 0-3,1 0 4,3 0-32,-3 0 23,3 0-25,-4 0 31,4 0-12,-3 0 8,3 0-9,0 0 8,-3 0-10,3 0 7,0 0 7,0 0 0,0 0 15,3-3-16,-3 0 13,0 3-10,3-4 10,-3 1-10,4 3 6,-4-3-4,3-1 4,-3 1-5,3 0-2,-3-1 2,4 1-2,-1 0-29,-3 3 22,0-4-23,0 1 29,3 3-3,-3-4 0,0 1-1,0 3 7,0-3-6,0-1 5,4 4-9,-4-3 15,0 0-10,0 3 11,0-4-12,0 4 10,0-3-5,0 3 7,0-3-1,0-1-6,0 4 7,0-3-2,-4 0-2,4 3 4,0-4-6,-3 1-9,3 0 7,-3 3-6,3-4 8,-4 1-50,1 3 34,3-3-36,-3-1 43,3 1-40,-4 3 25,1-3-29,0-1 31,3 1 7,-4-1-12,1 1 40,0 3-28,3-3 28,-4-1-31,1 1 40,0 3-29,3-3 32,-4 3-33,1-4 9,3 1-1,-3 3 3,-1-3 1,4 3 5,-3-4 2,0 1 1,3 3-25,-4-3 8,1-1-12,-1 4 16,1-3-12,0 0 8,3 3-11,-4-4 13,1 4-1,0-3-1,-1 3 0,1-3 12,0 3-8,-1 0 9,4-4-13,-3 4 22,0 0-15,-1 0 20,1-3-20,3 3 3,-3 0-2,-1 0-3,4 0 1,-3-3-2,0 3 4,3 0-6,-4 0 3,1 0-4,3 0 6,-3-4-7,-1 4 5,1 0-7,-1 0 7,4 0-4,-3 0 3,0 0-1,-1 0 1,1 0 0,-4 0 0,4 0 6,0 0-4,-1 4 5,1-4-7,0 0 21,-1 3-14,1-3 16,0 0-21,-1 3 21,4-3-15,-3 0 17,0 4-19,3-4 10,-4 3-7,4-3-50,0 0 34,-3 3-41,3-3 54,0 0-35,0 0 24,0 4-30,0-4-38,0 0 43,0 0-91,0 0 93,0 0-38,0 0-10,0 3-23,0-3 57,0 0-24,0 0 129,0 0-70,0 0 25,0 0-26,3-3 59,-3 3-35,0-4 41,0 4-6,0-3-40,0 0 48,0-1-16,0 4-16,0-3 21,0 0-26,0-1 34,0 1-23,0 3 24,0-4-31,0 1 7,0 0-2,0-1 4,0 1-13,-3 3 1,3-3 3,-3-1 2,3 4-34,-4-3 22,1 0-30,3-1 28,-4 1 6,1 3-7,0-3 5,-1-1-7,1 4 1,0-3-3,-1 0 5,-2 3 0,2-4 0,1 4 0,0-3 1,-4 3-16,4-3 15,-1-1-12,1 4-18,0 0 22,-1-3-27,1 3 8,0-3 16,-1 3-21,1 0 25,-1-4-19,1 4 14,0 0-16,3-3 16,-4 3 11,1 0-8,3 0 11,-3-4-14,-1 4-2,4 0 2,-3 0-1,3 0-6,-3-3 7,-1 3-7,4 0-27,-3 0 26,0 0-28,-1 0 35,1 0-39,3 0 27,-3 0-33,-1 0 38,1-3 5,0 3-4,-1 0 0,1 0-4,0 0 14,-4 0-10,3-4 14,1 4 0,0 0-12,-1 0 14,1 0-9,0-3-6,-1 3 12,1 0-11,0 0 11,-1 0-8,1 0 7,0 0-7,-1 0 2,1 0-2,0 0 0,-1 0-4,1 0-4,0 0 2,-1 0-1,1 3 9,3-3-4,-3 0 4,-1 4-4,1-4 3,-1 0-2,4 0 2,-3 3-1,0-3-2,-1 0 3,1 3-3,3-3 21,-3 4-13,-1-4 15,1 0-17,3 3-5,-3-3 6,-1 0-6,1 4 6,0-4 35,-1 3-24,1-3 27,3 3-27,-3-3-6,-1 0 9,1 4 12,0-4-13,-1 3 16,4-3-19,-3 3 14,0-3-8,-1 4 9,4-4-7,-3 0-33,-1 3 25,1 0-26,3-3 29,-3 4 9,-1-4-10,4 3 10,-3 0-14,3-3 3,-3 4-2,-1-1 7,4 0-5,-3 1 7,3-1-7,-3-3-29,3 3 21,-4 1-23,4-1 15,-3 0 13,3 1-13,-3-1 15,3-3-40,0 4 27,0-1-35,-4 0 36,4 1-15,0-4 11,0 3-13,-3 0-23,3 1 21,0-1-25,-3 0 35,3 1-10,0-1 8,-4 4-10,4-4 11,-3 0-27,3 1 20,0-1-23,-3 0 26,3 1-14,-4 2 10,1-2-16,3-1 16,-3 1-7,-1-1 6,4 0 31,-3 1-23,3-1 25,0 0-30,-4 1-17,4-4 13,0 0-14,0 3 9,0-3 6,0 0-10,0 0 64,0-3-38,0 3 41,0-4 18,0 1-48,0 3 58,0-3-67,0-1-3,0 1 3,0 0 6,4-1 3,-4 1 22,0-4-17,3 4 24,1-1-75,-4-2-8,3 2-14,0 1 1,-3 0 55,4-4-11,-1 4 9,-3-1-17,3-2 12,1 2-11,-1 1 14,0 0-27,1-4 22,-1 4-22,0-1 29,1-3-68,-1 4 44,4 0-50,-4-1 77,0 1-10,1 0 5,-1-1-13,4 1 31,-4 0-22,1-1 28,-1 1-2,0 0-24,1 3 26,-1-4-27,0 4 10,1-3 1,2 0 3,-2 3 5,-1-4-29,0 4 23,1-3-23,-1 3 19,0-3-2,1 3-1,-1-4 25,0 4-20,1 0 21,-1-3-26,0 3 17,-3 0-11,4 0 13,-1-3-14,-3 3-3,4 0 4,-4 0-4,3 0 7,0 0-7,1-4 8,-4 4-7,3 0-5,0 0 6,1 0-9,-1-3 7,0 3 1,-3 0-1,4 0-2,-1 0 1,0 0-2,-3 0 2,4-4 2,-1 4-2,0 0 2,1 0-2,-1 0 2,0 0-2,1 0 2,-1 0-2,0 0 1,-3 0 0,4 0 0,-1 4 1,1-4 6,-1 0-5,0 0 6,1 0 28,-4 0 4,3 0 8,0 3-13,1-3-33,-1 0 4,-3 0-2,3 0 8,1 0-8,-4 0 6,3 4-6,0-4 79,1 0-49,-1 0 54,-3 0-68,3 0-4,1 0 3,-1 0-4,-3 0-25,3 3 24,1-3-22,-4 0 28,3 3-31,0-3 21,1 0-22,-1 4 31,-3-1-36,4-3 26,-1 0-36,-3 3 37,3-3 42,1 4-30,-4-4 30,3 0 24,0 3-48,-3-3 52,4 3-57,-4-3-5,3 4 12,0-4-8,-3 3 3,4-3-2,-4 3 7,3-3 6,-3 4-62,3-1 43,-3 0-55,4-3 10,-4 4 34,0-4-47,3 3 52,-3 0-34,0-3 25,0 4-27,3-4 18,-3 3 2,0-3-4,0 3 5,4-3-9,-4 4 6,0-4-7,0 3-33,0-3 32,0 4-36,0-4 44,0 3-5,0 0-14,0-3 7,0 4-9,0-4 0,0 3 12,0 0-15,0-3 30,0 4 1,0-4 2,0 3-1,0-3 36,0 3-35,0-3 37,0 0-42,0 4 4,3-4 3,-3 0 0,0 0 29,0 0-26,0 0 31,3 0-34,-3 3 19,0-3-15,4 0 16,-1 0 13,-3 0-19,0 0 21,3 0-27,-3 0-30,0 0 22,4 0-20,-4 0 27,0 0-71,0 0 50,3 0-54,-3 0 66,0-3-53,4 3 36,-4 0-59,3-4 63,-3 4-22,3-3 20,1 0 14,-4 3-10,3-4 11,-3 4-19,3-3 46,1 3-32,-1-3 40,-3 3-48,3-4 29,1 4-20,-1 0 28,0-3-36,-3 3 14,4 0-12,-1-3 11,0 3-11,1 0 8,-1 0-9,0-4 7,1 4 1,-1 0-3,0 0 2,1 0 15,-1 0-12,1 0 13,-1 0 5,0 0-14,1 0 16,-1 4-18,0-4 13,1 0-6,-1 0 8,4 3-9,-4-3-14,0 0 11,-3 0-9,7 3 6,-4-3 3,1 0-4,-4 0 4,3 4-12,0-4 7,1 0-9,-1 3 7,-3-3-2,3 0 1,1 3-2,-4-3-6,3 0 9,1 4-9,-4-4-30,0 3 27,3-3-29,0 0 36,-3 3 4,0-3-6,4 0 5,-4 4-8,3-4 8,-3 3-9,0-3 8,3 3-9,-3-3 19,4 4-14,-4-4 14,0 3 25,3-3-28,-3 3 34,0-3-21,3 0-8,-3 4 10,4-4-12,-4 3-8,0-3 6,3 3-4,-3 1 5,0-4-5,0 3 7,3 0-7,-3-3 7,0 4-13,0-1 7,0-3-9,4 4 35,-4-1-18,0-3 18,0 3-25,0-3 50,0 4-35,3-4 43,-3 3-33,0-3-7,0 3 10,0-3-11,0 4-23,0-4 21,0 3-21,0 0 27,0 1-31,0-1 21,0 0-21,0 1-38,3-4 38,-3 3-45,0 0 46,0 1-22,0-1 16,0-3-24,0 3 25,0 1 11,0-1-12,0-3 16,0 3 12,0 1-16,0-4 18,0 0-24,0 3 15,4-3-9,-4 4-6,0-4 0,0 3-9,0-3 15,0 3-54,0-3 38,0 4-44,0-4 55,0 0-48,0 3 33,0-3-40,0 3 47,0-3-37,0 4 26,0-4-33,0 0 35,0 3 33,0-3-23,0 3 24,0-3-96,3 0 42,-3 0-42,0 4 60,0-4-34,0 0 22,0 0-24,3 0 50,-3 0-13,4 0 12,-4 0-20,3 0 62,-3 0-46,3 0 48,1 0-18,-1-4 14,-3 4 2,4 0 49,-1-3-75,0 3 42,-3-3-37,4 3-29,-1-4 28,0 4-26,1 0 29,-4-3-47,3 3 33,0 0-35,1-3 38,-4 3-50,3 0-20,0 0 0,1 0-27,-1 0 74,-3 0-35,3 0 49,1 0-20,-1 0 18,0 0-23,1 0 52,-1 0-37,0 0 36,-3 0-40,4 3 31,-1-3-15,-3 3 22,4-3-23,-1 4-15,-3-4 17,3 3-15,-3-3 11,0 3-1,4-3 1,-4 0 17,0 4-10,3-4 10,-3 3-17,0 0 4,0-3-3,3 4 3,-3-4-4,0 3 9,0 0-6,0 1 8,4-4-6,-4 3 6,0 0-3,0-3 5,3 4-2,-3-1-4,0 0 5,3-3 2,-3 4-5,4-1 6,-4-3-8,3 4 10,0-1-6,-3-3 8,4 3-9,-1 1 3,0-4-4,-3 3 5,4-3-4,-1 3 2,-3-3-2,3 4 1,1-4 32,-4 3-23,3 0 25,1-3-32,-4 0 8,3 4-3,0-4 4,-3 3-24,4 0 13,-4-3-13,3 4 19,-3-4-37,0 3 26,0 0-28,3-3 36,-3 4-11,0-1 6,0 0-10,0 1 10,0-1-8,0 0 5,0 1-8,0 3 7,0-4 3,0 0-1,0 1 6,0-1-7,-3 0 2,3 1-2,0-1-2,-3 0 1,3 1 0,0-1 2,-4-3 6,4 3-4,-3 1 2,3-4-4,-3 3 7,3-3-4,0 3 6,-4 1 31,4-4-28,-3 3 31,3-3-38,-4 3 11,1 1-6,3-4 10,-3 3-7,-1 1 1,1-4 1,3 3 1,-3-3-21,-4 3 17,4-3-17,-1 4 19,1-4-21,0 3 14,-1-3-16,1 3 52,-4-3-25,4 4 24,-4-4-16,4 3-11,-1-3 14,-2 3-15,2-3 26,1 4-17,0-4 19,-1 3-20,1-3 18,0 0-7,-1 0 9,1 3 2,0-3-17,-1 0 21,4 0-21,-3 0 22,0 0-18,-1 0 16,1 0-46,0 0 25,-1 4-24,-2-4 32,2 0-14,1 0 8,-1 0-9,-2 0 8,-1 3-34,4-3 24,-4 0-27,0 0 29,4 0 4,-7 3-5,7-3-1,-4 0 50,0 4-39,1-4 41,-1 0 12,0 0-42,0 0 51,1 0-61,-1 3-4,0-3 4,4 0 3,-4 0 3,4 0-34,-4 0 24,1 0-28,-1 0 38,4 0-62,-4 0 43,0 0-53,0 0 40,1 0 4,-1 0-8,0 0 31,4 0-8,-4 0 7,1 0-16,-1 0-9,0 3 8,4-3-1,-4 0 3,0 0 23,4 0-17,-4 0 19,1 0-22,-1 0 46,4 0-33,-4 0 37,0 0 16,1 0-40,2 0 44,-2 0-53,2 0 7,-2 0 2,-1 0 0,0 0-31,4 0 16,-4 0-12,0 0 22,1 0-59,-1 0 39,0 0-52,1 0 7,-1 0 38,4 0-43,-4 4 15,0-4 25,0 0-35,1 0 39,-1 0-17,0 0 7,4 3-7,-4-3 2,1 0 34,-1 0-23,4 0 24,-4 0-25,0 0 6,4 0-3,-4 0 4,4 0 20,-4 0-18,4 0 21,-4 0-36,4 0 10,-4 0-9,4 0 11,-4 0-18,0 0 14,4 0-15,-4 0 17,1 0-23,-1 0 14,4 0-15,-4 0 18,3 0-2,1 0-1,-4-3-1,4 3-6,0 0 8,-1 0-10,1 0 12,3-4-5,-3 4 5,-1 0-4,1 0 36,0 0-26,-1 0 28,1-3-34,0 3 1,-1 0 2,1 0 0,0 0 1,-1-3-6,1 3 5,-4 0-7,4 0 10,-1 0-8,-2 0 6,2-4-6,1 4-9,-4 0 11,4 0-13,0 0 6,-1 0 5,1 0-8,0 0 8,-1 0 14,1 0-10,0 0 12,3 0-15,-4 0 0,1-3 1,3 3 0,-3 0 1,3 0-4,-4 0 2,4 0-3,-3 0 3,3 0 1,-4-3 1,4 3 3,-3 0-2,0 0 2,3 0-4,-4-4-6,1 4 6,0 0-7,-1 0 7,-2 0-74,2 0 53,1 0-56,0 0 71,-1-3-9,1 3 6,0 0-10,-1 0 25,1 0-18,3 0 16,-3-3-9,-1 3-6,4 0 6,-3-4-8,0 4 74,3 0-53,-4 0 61,1-3-74,3 3 8,-4-3-5,1 3 12,0 0-6,-1-4-5,1 4 3,0 0-8,-1-3-2,1 3 9,3 0-11,-3 0 7,-1-3 3,1 3-6,3-4 6,-3 4-23,3 0 14,-4 0-15,4-3 19,-3 3 15,3 0-10,0-3 11,0 3-14,-3-4 3,3 4-3,0-3 4,0-1-16,0 4 9,-4-3-9,4 3-43,0-3 38,0 3-41,0-4 53,0 1-39,0 3 23,-3-3-26,3 3 25,0-4-37,0 4 20,0-3-24,-3 0 53,3 3-8,0-4 7,0 1-15,0 0 47,0-1-36,0 4 43,0-3-7,0 0-24,0-1 31,0 1-34,0 0 0,0 3 5,0-4-2,0 1 4,0-1-32,3 1 25,-3 0-26,0-1 27,3 1-61,-3 3 40,0-3-44,0-1-18,0 1 46,4 0-52,-4 3 57,0-4 7,0 1-5,3 3-3,-3-3 34,0-1-25,0 4 24,0-3-26,0 0 46,0 3-31,0-4 37,0 4-39,0-3-1,0 3 5,0-3 7,0-1-10,0 4 12,0-3-10,0 3 19,0-3-14,0-1 14,0 4-17,0-3 18,0-1-12,0 1 13,3 0-1,-3 3-11,0-4 12,0 1-15,0 0 26,0-1-16,4 1 18,-4 0 13,0-1-27,0 4 30,3-3-36,-3 0 49,0-1-35,3 1 39,-3 3-46,0-3 9,0-1-5,4 1 9,-4 0-26,0 3 18,3-4-18,-3 1 22,3 3-23,-3-3 16,0 3-19,4-4 3,-4 4 12,3-3-16,-3 3 16,3 0-5,-3 0 2,0-4-4,4 4 6,-4 0-21,3 0 15,-3-3-13,3 3 16,-3 0-3,4 0 1,-4 0-1,3 0 0,1-3 42,-4 3-30,3 0 47,-3 0-48,3-4 11,1 4-12,-1 0-9,-3 0 8,3-3-7,-3 3 10,4 0-26,-1 0 22,0 0-22,-3-3-18,4 3 29,-1 0-36,-3 0 43,3 0-70,1 0 49,-4 0-57,3 0 86,0-4-24,1 4 22,-1 0-27,-3 0 27,3 0-18,1 0 19,-1 0-23,-3 0-27,3 0 21,1 0-19,-4 0 32,3 0-4,-3 0 4,4 0-3,-1 4-44,0-4 32,-3 0-37,4 0-10,-1 0 31,-3 0-42,3 0 51,-3 0 21,4 0-12,-1 0 11,-3 0-22,3 0 61,-3 0-44,0 0 51,4 3-60,-4-3 51,0 0-37,3 0 44,-3 0-77,0 0 33,0 0-27,0 0 63,3 0-19,-3 0 36,0 0-29,-3-3 5,3 3-7,-3-4-3,3 4 9,0-3-3,-4 0 13,4 3-51,0-4-2,0 4-10,-3-3-33,3 0 29,0-1-16,0 1 15,0 0 3,0-1 23,0 1-27,0 0 41,3-1-18,-3 1 19,4 0-19,-4-1 34,3 1-25,-3-4 27,3 4-15,1-1-10,-1 1 17,-3 0-13,3-1 28,1 1-15,-4 0 14,3-1-19,0-2-1,-3 2 2,4 1-1,-1 0-8,-3-1 3,4 1-4,-1 0-13,0-1 14,1 1-16,-4 3 18,3-7-31,0 7 22,-3-3-25,4-1 29,-1 4 5,0-3-8,-3 3 7,4-3-10,-1 3 40,0-4-29,1 4 29,-1-3-34,0 0 17,-3 3-10,4-4 21,-1 4-19,0-3 4,1 0-4,-4-1 57,3 4 20,4-3 0,-7 0-7,7-1-19,-4 1 18,0 0-2,1-1 1,-1 4-27,0-3 1,1 0 4,2-1-54,-2 1 29,2 3-26,-2-3-71,2 3 30,-2-4-105,2 4 99,1 0-237,-4-3 94,4 3-180,0 0 124,-4 0-573,4 0 174,0 3-153,-4-3 420,4 4 381,-1-1 0,1 4 0</inkml:trace>
  <inkml:trace contextRef="#ctx0" brushRef="#br0" timeOffset="257">14708 2026 9271,'0'0'-175,"0"-4"187,0 4 49,0 0 18,0 0 28,0 0 135,0 0 931,0-3-640,0 6 631,0-3-1017,0 0-12,0 4 12,0-4-12,0 3-3,0 0 4,0 1-48,0-1 33,0 0-32,0 1 42,0-1-45,0 4-17,0-4 5,-3 4 3,3-1-35,0-2 12,0 2-74,-4 1 60,4 0-71,0 0 39,0-4-84,-3 4 20,3-4-29,0 4 59,0-4-53,0 4 58,0-4-28,0 4 22,0-4-51,-4 0 30,4 1-95,0-1 88,4 0-75,-4 1 99,0-1-68,0-3 70,0 4 10,3-4-7,-3 0 8,0 3-79,0-3-26,4 0 0,-4 0 12,0 0 60,0 0 0,0 0 0,0-3-40,3 3 24,-3-4-29,0-3 36,0 4 58,0-4-39,0 4 34,0-4-59,0 1 46,0-4-33,0 3 44,0 0-45,0 1 32,0-4-26,0 3 40,0 0 18,0 0-22,0 1 31,0 2 17,0-2-51,0 2 56,0 1-68,0 0 31,0-1-20,0 4 24,0-3-20,0 3-6,0 0 14,0-3-12,0 3 18,0 0-66,0 0 48,0 0-49,0 0 315,0 0-171,0 0 190,0 0-145,0 0-31,0 3 106,0 0-97,0 1 85,0-1-40,0 0 26,0 4 25,0-4-68,0 4 11,0 0-17,0-4-75,0 4 1,0 0-11,0-1 28,0 1-95,0 0 38,0 3-127,0-7 107,0 4-95,-3-1 70,3-2-101,0 2-189,0-2 73,-4-1-158,4 0-374,0-3 164,0 4-296,0-4 497,0 0 214,0 3 205,-3-3 0,3 0 0</inkml:trace>
  <inkml:trace contextRef="#ctx0" brushRef="#br0" timeOffset="258">15026 2032 9502,'3'-3'-991,"1"3"1023,-4 0 104,0 0-5,3-3-87,-3 3 22,0 0-33,3 0 25,-3 0 8,0 0 2,4 0 1,-4 0-1,0-4 682,0 4-505,0 4 629,0-4-687,0 0 110,0 0-99,0 0 33,0 3-57,0-3 3,0 0-17,0 3-31,0-3-6,0 4-37,0-4 34,-4 3-34,4-3 60,0 3-71,0 1-5,0-4-27,0 3 22,0 0-8,0 1 7,0-1-35,0 0-27,0 1 55,0-1-26,0 0 115,0 1-37,0-1 44,0 0-63,0 4-30,0-3 17,0-1-12,0 4 37,0-4-36,0 0 31,0 4-38,0-4 30,0 1-47,0 2-21,0-2 4,0-1-67,0 4 37,0-4-16,0 0-16,0 1 30,0 2 12,0-2-16,0-1-17,0 1 34,4-1-38,-4 0 47,0 1-15,3-4-1,-3 3-8,0 0-11,3 1 29,-3-1-27,0-3 29,0 3-34,0 1 23,0-1-29,0 0-8,0 1 22,0-1-25,0 4 36,0-4-19,0 0 12,0 4-15,0-4 15,0 1 29,-3-1-23,3 1 24,0-1-29,0 4 12,0-4-11,0 0 10,0 1 24,0-1-23,0-3 30,0 3-28,0 1-18,0-1 15,3 0-15,-3 1-48,0-1 49,0-3-53,0 3 63,0 1-15,0-4 9,0 3-15,0-3 13,0 3-28,0-3 21,0 0-38,0 4 149,0-8-39,0 4 123,0 0-110,0-3 77,0-4-77,0 4 92,0-4-84,0 4-8,0-4-38,0 1 6,0-1-66,0 0 1,0 1-20,0-1 30,0 0-17,0 0 18,0 1-76,0 2 23,0-2-3,0-1 9,0 4 22,0-4-36,0 0 55,0 1-66,0-1 62,0 4-25,0-4 22,0 3-12,0-2 11,0-1 35,0 4-25,0-1 32,0 1 21,0-4-39,0 4 44,0 0 3,0 3-42,0-7 50,0 7-58,0-7-14,0 7 14,0-3-14,0 0 28,0-1-79,0 1-11,0 0-10,0-1-43,0 1 66,0-1-25,0 1 28,0 0-9,0-1 34,0 4-50,0-3 72,0 0-37,0 3 35,0-4-33,0 4 60,0-3-46,0 3 49,0-3-49,0 3 43,0 0-18,0-4 22,0 4-29,0-3 33,0 3 22,0 0-6,0 0 44,0-3-32,0 3 10,0 0 24,0 0 89,0 0-81,0 0 86,0 0-151,0 0 10,0 3-9,0 0 13,0-3-7,0 4 11,0-1-8,0 0 6,-3 1-13,3-1 7,0 0-14,0 4 15,0 0-13,-3-4 10,3 4-9,0 0 54,0-1-34,0 1 36,-4 0-1,4 3-30,0-4 36,0 1-44,0 3-24,-3 0 21,3-3-21,0 3 29,0 0-11,0 0 6,0 0-8,0 0 13,0-3-60,0 3 44,0 0-51,0 0-16,0-3 45,0 3-49,0-7 59,0 7 8,0-7-58,3 4-7,-3-7-12,0 3-206,4-3 83,-4 0-137,0 0-494,3 0 214,-3-3-160,3 0 400,-3-1 366,4-6 0,-1 4 0</inkml:trace>
  <inkml:trace contextRef="#ctx0" brushRef="#br0" timeOffset="259">15371 2056 9502,'3'0'-1237,"-3"0"1165,0 0 72,3 0 0,-3 0 0,0 0 0,0 0 0,0 0 0,4-4 0,-4 4 0,0 0 0,0 0 0,0 0 0,3-3 0,-3 3 158,0 0-30,0 0 102,0 0 36,0-3-74,0 3 69,4 0-70,-4 0 36,0 0-31,0-4 80,0 4-92,0 0 13,0 0-60,0 0 586,0 0-448,0 0 443,0 0-640,0 4 38,0-4-40,0 3 67,0 0-69,0 1-3,0 2-20,0-2-70,0 2 69,0 1-65,0 0 54,0 3-28,0-3-8,-4-1 13,4 4-37,0 0 40,0-3-16,-3 0 11,3 3-41,0-4-4,-4 1-16,4 0 5,0-4 21,0 4-16,0 0-1,0-4 15,0-3-31,0 3 41,-3-3-42,3 4-151,0-4 157,0 0-167,3-4 201,-3 1-26,0 0 12,0-1-29,4-2 19,-4 2-39,3-2 86,-3 2-10,4-3 32,-4 1 72,3-1-27,-3 0 60,0 1-12,3-1-120,-3 0 28,0 1-65,0-1-9,0 4-7,0-4-12,0 0 3,0 0-5,0 1 30,0 2-40,0-2 39,0 2 25,0-2-33,0 2 29,0-2 29,0 2-33,0 1 41,0 0-53,0-1 69,0 1-46,0 3 60,0-3-41,0 3-7,0 0-59,0 0 29,0 0 8,0 0 21,0 3 69,0-3-74,0 3 14,0 1-17,0-1 46,0 0-32,0 1 40,0 2-46,0 1 63,-3 0-45,3-1 54,0 1-61,-3 0 4,3 3-3,0-3-2,0-1-14,-4 1 15,4 3-15,0-3 22,0-1-44,0 1-7,0-4-7,0 4-62,0-4 23,0 4-17,0-7 23,0 4-196,0-4-122,0 3-361,0-3 89,0-3 187,0-1 238,0 1 234,0-4 0,-3 0 0</inkml:trace>
  <inkml:trace contextRef="#ctx0" brushRef="#br0" timeOffset="260">14638 2049 9502,'3'0'30,"-3"0"58,3 0-62,-3 0 41,0 0-74,0 0 80,0 0 99,0 3-24,4-3 68,-4 0 103,0 0-98,0 0 124,0 0-80,0 0-53,0 0 61,3 0 13,-3 0-35,0 4 59,0-4-112,0 0 36,0 0-56,3 0 1,-3 3-10,4-3 16,-4 0-1,3 3 12,0-3-66,-3 4-9,4-4-17,-1 3-71,0 0 35,1-3-104,-1 4 103,4-4-113,-4 3 77,0 0-109,1 1 59,3-1-47,-1 1 16,-2-1-41,-1 0 31,4 1-24,-4-1 56,4 0-41,-1 1 12,-2-1 11,-1 0-18,0 1 7,1-1-3,-1 0-10,0 1 15,1-1-23,-4-3 41,0 3-49,3-3 56,-3 0-91,0 4 66,0-4-70,0 0 144,-3 0 14,3-4 1,-4 4 36,1-3-49,0 0 21,-1-1-17,1 1 18,0 0 4,-1-4 16,-2 4-17,2-1-9,1 1-23,-4-4 32,4 4-25,-4 0-40,4-1-20,0 1-11,-4-1-57,3 1 86,1 0-47,-4-1 58,4 1 6,0 0-11,-1 3 8,1-4 3,0 4-4,3-3-1,-4 3-7,4 0 44,0-3 30,0 3 8,0 0-9,0 3-67,0-3 12,4 3-14,-1 1 82,0-1-43,1 0 42,2 1-55,-2-1 11,2 0-3,1 4 5,0-3-7,-4 2 23,4-2-16,0-1 19,-1 0-21,-2 4-103,2-7 27,-2 3-91,2 1-310,-2-4 101,-1 3-238,-3-3-426,3 0 686,1 0-442,-1 0 771,-3 0 0,7 0 0</inkml:trace>
  <inkml:trace contextRef="#ctx0" brushRef="#br0" timeOffset="261">15321 2056 8519,'-4'0'-181,"4"0"202,0 0-34,0 0 20,0 0 39,0 0-11,-3 0 43,3 0 578,0 0-456,0 0 585,0 0-633,0 3 122,0-3-109,0 0 73,0 0-102,0 0 60,0 3-28,0-3-14,0 0 11,0 0-34,3 4 43,-3-4-18,4 0 22,-4 3 8,3-3-5,4 3 0,-4 1-10,4-4-57,-4 3 12,4 0-11,-1 4-59,1-3 19,-4-1-65,4 4 89,0-4-142,0 0 78,-1 1-119,1 2 37,0-2 29,-1-1-20,1 0 13,-4 1-25,4-1 2,-4 0-27,1 1 24,-1-1-41,0-3 48,-3 3-19,0-3-47,4 0-85,-4 0 39,0 0-42,-4 0 227,4-3-59,-3 3 53,0-7-70,-1 4 61,1 0 11,0-1 11,-1 1-11,1-4 2,0 4-26,-1-4 33,-2 4 12,2-4 7,-2 4 29,2 0-23,1-1-6,-4-3-34,4 4 24,-1 0-60,1-1 30,-4 4-28,4-3 36,0 3-41,3-3-12,-4 3-3,1 0 5,3-4 42,0 4 11,0 0-9,0 0 3,0 0-21,0 0-97,0 0 20,0 0-82,0 0-513,3 0 471,-3 0-404,0 0 609,0 0 0</inkml:trace>
  <inkml:trace contextRef="#ctx0" brushRef="#br0" timeOffset="262">14775 2079 10333,'-3'-3'759,"3"3"-540,0 0-55,0 0-20,0 0 0,-4 0 9,4 0-46,0 0 7,-3 0-14,3 0 28,-4 0-85,1 0 6,0 3-86,-4-3 89,0 3-118,1 1 78,-4-1-89,3 1-9,-3-1 45,0 0-64,3 1 63,-3-1-45,3 0 67,1 1-27,-1-1-5,4 4 50,-4-7-60,4 3 63,3-3-59,-4 3-2,4-3-69,0 0 54,0 0-10,0 0 124,4 0 9,-1 0 10,0 0-20,1-3 31,-1 0-21,0 3 89,1-4-30,2 1 10,-2 0-30,-1-1 3,4 1-77,-4 0 42,4-1-42,-4 1 59,1 0-94,2-1 9,-2 1-29,2-1-54,-2 1 38,2 0-22,-2-1 25,2 1-6,-2 3 52,-1-3-64,4 3 79,-7-4-27,6 4 23,-6 0-29,4-3 79,-4 3-56,0 0 60,0 0-62,0 0-16,0 3 20,0-3-16,-4 4 31,1-1-12,-4 0 12,4 1-12,-4-1 58,1 0-43,-1 4 41,0-3-53,4 2 71,-4-2 18,1-1 10,-1 0-52,3 4-32,-2-4-30,2 1 45,1-1-233,0-3 59,-1 3-155,4-3-87,0 0 125,-3 0-132,3 0 136,-3 0 138,3 0 23,0 0 92,-4 0 0,1 0 0</inkml:trace>
  <inkml:trace contextRef="#ctx0" brushRef="#br0" timeOffset="263">15441 2082 8519,'0'-3'-75,"0"3"162,0 0-78,0-3 16,0 3-15,0 0 78,0 0 177,0 0-15,0 0 46,0 0-145,0 0 85,3 0-102,-3 0 187,0 0-161,0 0 347,0 0-304,0 0 229,0 0-420,-3 0-12,0 3-26,-1-3-23,1 3 33,0 1 4,-4-1-11,0 1 51,1-1-5,-1-3 11,0 7-37,1-4-23,-1 0 3,0 1-13,0-1 7,1 0 17,-1 1-22,0-1 37,4 0-18,0 1 8,-1-4-85,1 3 71,0-3-51,3 3 98,0-3 27,0 0-14,0 0 7,0 0-49,3-3 37,-3 3-21,3-3 25,1 3-23,-1-4 67,-3 4-40,3-3 48,1 3-40,-1-3-21,-3 3 28,3-4-52,1 4 27,-1-3-24,0 0 19,4 3-14,-4-4 6,1 1-11,-1 3 17,1-3 10,-1-1-8,4 1 8,-4 0 30,4 3-30,-4-4 29,4 1-59,-4-1 15,0 1-13,1 3 20,2-3-74,-2 3 53,-1-4-52,0 4 69,1 0-60,-1 0 41,0-3-56,1 3 64,-4 0-60,0 0 42,3 0-103,-3 0 91,0 0-36,-3 0 46,3 3 4,-4-3-9,-2 4 62,2-1-44,-2 0 51,-1 1-64,4-1 49,-4 1 11,0-1 9,-3 0-14,4 1-26,-1-1-11,-3 0 21,0 4-16,0-4 10,3 1-8,-3-1 29,0 0-22,3 1 24,1-1-28,-4 0 32,6 1-23,-3-1 27,4-3-33,3 3-41,0-3-7,-3 0-67,6 0 2,-3 0 30,3-3 10,1 0-185,3-1 44,-4 1-153,4 0-247,-4-1 171,0 4-241,1-3 384,-1 0 118,-3 3 159,3-4 0,1 4 0</inkml:trace>
  <inkml:trace contextRef="#ctx0" brushRef="#br0" timeOffset="264">15153 2089 9502,'0'-3'-970,"0"3"1165,4 0 120,-4 0-39,0-4-103,0 4 0,0 0-50,0 0 2,0 0 801,0-3-607,0 3 620,0 0-851,0 0 44,0 0-48,-4 3 44,4-3-64,-3 0-5,-1 4-12,4-4-23,-3 3 37,0-3-16,-1 4 17,1-4-15,0 3-14,-1-3-13,1 3-52,-4 1 14,4-1 10,-4 0-3,1 1 22,2-1-29,-2 0 7,-1 1-7,0-1 14,0 0-23,-3 1-1,4 2-34,-1-2 18,0-1 3,1 0 8,-1 4 11,0-4 13,1 1-20,-1-1-11,0 4 29,4-4-31,-4 1 31,4-1-43,-1 0-8,1 1-6,0-1 12,-1-3-49,4 3 17,0-3-79,-3 0 79,3 4-11,0-4 54,0 0-30,0 0-9,0 0 5,0 3-9,-3-3 34,3 0-4,0 0-5,0 0-3,-4 0 38,4 0 24,0 0 8,0 0-14,-3 0 3,3 0 10,0 0 141,0 0-50,0 0 79,0 0-110,0 0 50,3-3-65,-3 3 33,4-4-1,-1 1 2,0 0 19,1 3-19,2-4 9,-2 1-31,-1 0 30,4-1-21,-4-2-36,4 2 24,0 1-18,-4-1-37,4 1-7,-1 0-15,1-1 14,-4 1-3,4 0-6,0-1-16,-4 1-46,4 3 72,-1-3-39,-2-1 42,3 1-53,-4 3-40,4-3 13,-4 3-15,4-4 18,-4 1 19,4 0-31,-4-1 88,4 4-18,-4-3 22,4 0-31,-4-1 52,0 4-39,-3-3 46,7 3 11,-7-3-41,3 3 50,-3-4-53,0 4 19,0 0-3,0 0 66,0-3-58,0 3 72,0 0-76,0 0 29,-3 0-33,3 3 40,-7-3-27,7 4 32,-3-4-17,0 3-11,-1-3 11,-2 3-16,2 1-36,1-4 27,0 3-28,-1 0 36,-2-3-16,2 4 11,1-1-10,-4 0 12,4 1-14,-4-1 9,0 0-16,1 1-18,-1-1 20,0 4-23,1-4 8,-4 4 17,3-1-22,-3 1 26,3-3-1,1 2 1,-5 1 1,5 0-4,-1-4 45,0 0-31,4 4 34,-4-4-44,4 1-1,-4-1 1,4 0 6,0-3 2,3 4 4,-4-4-2,1 3-28,3-3-192,0 0 74,0 0-157,0 0-130,0 0 69,0-3-154,3 3 278,-3-4 109,4 4 113,-1-3 0,0 0 0</inkml:trace>
  <inkml:trace contextRef="#ctx0" brushRef="#br0" timeOffset="265">14936 2099 8847,'-4'-3'-271,"4"3"494,0 0-92,0 0-54,0 0-53,-3 0 37,3 0 17,0 0 40,0 0-50,0 0 80,0 0-55,0 0 60,0-3 46,0 3-27,0 0 108,0 0-10,0 0-43,0 0 44,0 0-102,0-4 137,3 4-83,-3 0 137,0 0-143,4 0 26,-4 0-105,3 0 25,-3 0-32,3 0 1,1 4 0,-4-4 1,3 0 8,0 3-7,1-3 8,-1 3 2,0-3-10,4 4 11,-4-4-14,4 3-66,-4 0 43,4 1-32,0-1 43,-4-3-37,4 7-37,0-4 3,-1 0 3,1 1 2,-4-1-43,4 0 16,0 1-99,-1-1 91,-2 0-101,2 1 29,-2-1-34,2 0 59,1 1-16,-3-1-4,2 1-1,-2-4-61,-1 3 58,0 0-46,1 1 58,-1-4-28,0 3 29,1 0-37,-1 1-47,0-4 21,1 3-53,-4 0 55,3-3-22,0 4 15,-3-4 43,4 0 4,-1 3-4,-3-3-36,3 3 12,-3-3-15,4 4 29,-1-4-40,-3 3 32,3 0-36,-3-3 38,4 4 10,-4-1-10,0-3 10,3 3 38,-3-3 9,0 0-5,0 4 46,0-4 74,0 0 14,0 0 68,-3 0-79,3-4 28,-4 4-28,1-3 62,0 3-88,-1-3 50,1-1-80,0 1 9,-4-4-17,4 4-5,-4 0 24,4-1-44,-4 1-18,4 0-12,-4-1 14,0 1-3,1 0-4,2-1-24,-6 1 20,3 0-12,1-1 35,-1 1-34,-3-1 37,3 1-16,1 0 11,-1-1-12,-3 1 14,3 0-4,0-1 4,1 1-1,-1 0 0,0 3 1,1-4-1,-1 1-72,4 0 51,-1-1-57,-2 1 72,2 0-69,1-1 50,3 4-57,-3-3 57,3 0-62,0 3-28,0 0-8,0 0 5,0 0 67,0 0-3,3 0 16,0 0-8,-3 0 29,4 0-25,-1 3 26,0 0-27,4-3 53,-4 7 25,1-7-5,2 7 65,1-4-36,-4 0 16,4 1-20,0-1-10,0 0 5,-1 4 13,1-4 45,3 1-71,-3 2 36,3-2-37,-4 3 19,4-4-2,-3 4 8,3-4-17,0 4-17,-3-4 13,3 0-12,-3 1 15,-1-1-45,1 0-7,-4 1-6,4-1-230,-4-3 91,1 3-162,-4-3-460,3 0 187,-3 0-149,3 0 375,-3-3 363,0 3 0,4-3 0</inkml:trace>
  <inkml:trace contextRef="#ctx0" brushRef="#br0" timeOffset="266">9160 2324 9281,'0'0'123,"-3"0"-58,3 0 241,0 0 225,0 0-137,0 0 92,0 3-357,0-3 32,0 0-21,0 3 35,0 1-40,0-1-31,0 0-25,0 4 0,0 0 11,0 3 6,0 0-22,0 3 1,0 4 1,0-4-33,0 4-12,0 0-13,0-1-69,0-2 74,0-1-77,3 1 26,-3-4 0,4 0 25,-4-4 17,3 1-76,0 0 31,-3-4-118,4-3 87,-4 4-53,0-4 14,3 0 23,-3 0-24,0-4 12,0 4-19,0-3-44,0 0 92,0-1-11,0-3 54,0 4-78,0-4 23,0 1-26,0-4 39,0 3 22,0-3-11,0 0 11,0-4-19,-3 4 46,3-3 10,0 3 5,-4-7 101,4 4-66,0-1 96,-3 1-98,3 0 95,0 3-73,0 0 108,0 0-12,0 3-6,0 4 20,0-1-50,0 4 55,0-3-36,0 6 58,0-3-46,0 4-65,-3-1-17,3 4-32,0-1 30,-4 1-92,4 0 40,0 3-114,-3-4 23,3 4 23,-3 4-43,3-4 93,0 3-17,0-3 57,0 4-38,0-1 84,0 0-11,0 1 27,0-1-20,0-3-70,3 0 15,0 0-9,-3 0 28,4-3-41,-1-3 53,0-1-37,-3-3-138,4 0 29,-4 0-125,3-3 13,-3-1 14,0-3-39,3-3 1,-3 0 50,0 0 2,4 0 24,-4-3 17,0-1 80,0 4-26,0-3 33,0 0-46,0-1 27,-4 4-26,4 0 49,-3-3-107,0 3 77,3 0-58,-4 0-73,4 3 7,-3 0-123,3 4 172,0 0 34,0-1 115,3 4 0,-3 0 0</inkml:trace>
  <inkml:trace contextRef="#ctx0" brushRef="#br0" timeOffset="267">9478 2622 9502,'-3'0'-92,"3"0"85,0 0 378,0 0-197,0-4 230,0 4-180,0 0-68,0-3 20,3-1-30,1 1-63,2 0-11,-2-1 0,2-2 26,4-4-64,-3 3 34,3-3-95,0 0-9,0 0 34,0 0-37,0 0 14,0 0 3,-3 0 2,0 0 28,-1 3-27,-2 4-8,-1-1-5,0 1-65,-3 3 46,0 0-23,-3 0-48,-4 7 98,4-4-51,-4 7 71,-3-3-77,4 3-14,-4 0-21,3 0 80,-3 0 10,0 3 54,-4-3-67,8 4 46,-4-1 0,0-3 10,0 0-7,0 4 66,3-4-12,0-4 90,0-2-13,7 2 31,-3-6-57,6 0 26,-3 0-103,4-6 40,3-1-104,3 0 72,-4 1-74,4-4 75,4-1-13,-4 1 6,0 0-8,0 0-6,0 0 43,0 0-43,0 0 41,0 0 35,-3 3 19,-1-3 8,-2 4-22,-1-1-58,0 0-1,-3 4 25,0 3-76,0-3 4,-3 3-21,0 3 22,-4-3-78,0 7 32,-3-1-123,4 4 110,-4-3-82,0 3 58,3 0-84,-3 4 41,3-4-265,0-4 84,4 4-56,-4 0 185,4-3 176,0 0 0,-1 3 0</inkml:trace>
  <inkml:trace contextRef="#ctx0" brushRef="#br0" timeOffset="268">8735 2494 9469,'0'0'830,"3"4"-631,-3-4-17,0 0-9,0 0 0,0 0-70,0 0 29,4 0-24,-4 0 28,0 0-13,0 3-1,3-3 1,-3 0 12,3 3-56,-3-3-2,4 4-16,-1-1 12,0 4-33,1-4-9,2 4-28,-2-1-37,3 5 90,-1-1-38,1 0-17,0 0-3,-1 0-30,1 0 32,3 0-24,-3 0-5,-1-3-26,1-1 29,0 1-29,0-4 68,-4 4-69,0-7 62,4 3-2,-4-3-6,-3 0-17,4 0 17,-4 0-17,3 0 25,-3-3 14,0 3-9,0-3 9,0 3-13,0-4 20,0 4-14,0 0 15,-3-3-18,3 3 60,-4-3-40,-2-1 44,2 4-69,-2-3 8,-1-4-2,0 4-58,0-4 53,1 4-55,-1-4 66,0 0-71,1 1-21,2-1-2,-2 0 6,-1 1 28,4-1 12,-4 0-21,4 1 11,3-1 21,-4 3-28,4 1 24,-3 0 58,3-1-44,0 4 51,0 0-43,0 0-15,3 0 22,-3 0-16,4 4-53,-1-1 44,0 0-42,4 4 56,0 0-39,-4 0 28,7-1-33,-3 4 28,-1-3 42,4 3-36,0-3 37,1 3 7,-5-4 15,4 1 5,0 0-56,-3 0-11,3-1-32,-3-2 53,-1-1-357,-2-3 87,-1 0-240,0 0 296,-3 0 103,0-3 109,4-1 0,-4-2 0</inkml:trace>
  <inkml:trace contextRef="#ctx0" brushRef="#br0" timeOffset="269">9133 2645 13789,'-3'3'397,"3"-3"-324,-3 0-55,3 4 68,-4-4-94,1 0 50,3 3-95,-3-3-1,-1 3 32,1-3-80,0 4 60,-1-4-4,1 3 48,0-3 27,-1 0-36,1 3-25,0-3 1,-1 4-7,1-4 22,0 0 17,-1 3-21,1-3 30,-1 3 4,1-3-5,0 4 3,-1-4-25,1 3 17,0-3-21,-1 3 24,1-3 13,0 0-9,3 4 15,-4-4 5,1 3-14,0-3 16,-1 0-22,4 4 7,-3-4-2,3 3 2,-3-3-3,-1 0-22,4 3 16,-3-3-16,0 4 18,3-4 2,-4 3-2,4-3 2,-3 0 7,3 3-6,-4-3 5,4 4-5,-3-4-3,3 3 4,-3-3-5,3 0-20,-4 3 15,4-3-14,0 4 22,-3-4-14,3 0 11,-3 3-12,3-3-9,0 3 11,-4-3-14,1 4 5,3-4 9,-3 3-9,3-3 8,0 3-2,-4-3 1,4 4-3,-3-4 5,0 3-4,3-3 3,-4 3-2,4 1 3,-3-4 25,0 3-18,3-3 20,-4 3-14,1 1-7,3-4 8,-3 3-8,-1 1 13,4-4-7,-3 3 10,0-3-12,3 3-1,0-3 3,-4 4-3,1-4-21,3 3 15,-4 0-18,4-3 25,0 4-22,-3-4 14,3 3-17,0-3 17,-3 3-2,3-3 0,0 4 3,-4-1-1,4 0 0,0-3-1,-3 4 17,3-1-12,0 0 16,0 1-20,-3-1 0,3-3 0,0 3 1,0 1 20,-4-1-12,4 0 12,0-3-16,-3 4 56,3-1-39,0 1 42,0-1-53,0 0 5,-3 1 3,3-4 4,0 3 29,0 0-21,-4 1 20,4-1-21,0 0 10,-3 1-2,3-1 6,0 0-11,-3 1-24,3-1 16,0 0-14,-4 1 28,4-1-7,0 0 6,-3 1 31,3-4-30,0 3 36,0 0-44,-3 1 23,3-1-17,0 1 16,0-1-17,0-3 12,0 3-5,0 1 7,0-4-3,0 3-4,0 0 7,0-3 0,0 4-37,0-1 25,0 0-30,0 1-22,0-4 37,0 3-35,0 0 42,0 1-16,0-4 5,3 3-12,-3 0 14,0 1-17,0-4 8,0 3-10,0 0 34,3 1-11,-3-4 12,0 3-17,0 0 54,4-3-39,-4 4 44,3-1-44,-3-3-3,0 4 15,3-1-13,-3-3-58,4 3 38,-1 1-47,-3-4 62,3 3-61,-3 0 43,4-3-50,-1 4 59,-3-4-32,3 3 22,1-3-30,-4 3 22,3-3-7,-3 4 3,3-4-5,-3 3 0,4-3 1,-1 3-1,-3-3-22,4 0 23,-4 4-24,3-1 30,0-3-6,-3 3 3,4-3-5,-1 4 5,0-4-1,1 3 0,-4 0-2,3-3 8,0 4-8,1-1 8,-1 0-4,0-3-1,1 4 2,-1-1-2,0 1-37,-3-4 26,4 3-28,-1 0 36,-3 1-2,3-1 1,-3-3-3,4 3 18,-4 1-14,3-4 12,0 3-15,-3 0 58,4-3-40,-4 4 45,3-1-55,-3-3 21,4 3-13,-4 1 26,3-4-19,0 3 6,-3 0-3,4-3 0,-4 4-29,3-1 22,-3-3-23,3 3 14,-3 1 6,4-1-8,-4-3 25,3 3-14,-3 1 12,3-1-17,-3-3-14,4 4 11,-4-1-10,0-3 15,3 3-9,-3 1 6,3-1-7,-3-3 11,4 3-3,-4 1 3,3-1-4,0-3-14,1 3 11,-4 1-13,3-1 5,0-3 4,1 3-6,-4-3 8,3 4-7,1-4 5,-1 3-5,-3-3 7,3 3-7,1-3 5,-1 4-5,0-4 4,-3 0 2,7 3-3,-7-3 1,3 0 2,1 0-1,-1 3 2,0-3 7,1 0-7,-1 0 8,0 0-9,1 4-4,2-4 4,-2 0-2,-1 0 2,0 0-54,1 3 39,-1-3-40,4 0 49,-4 0-17,1 0 10,-1 0-16,0 0 20,1 0 2,-1 0-3,0 0-1,1 0 24,-1 0-23,0 0 25,1 0-26,-1 0 0,0 0 3,1 0-1,-1 0-3,0 0 3,1 0-2,-1 0 4,0 0-37,1 0 25,-1-3-33,1 3 62,-1 0-21,0-4 18,1 4-24,-4 0 17,3-3-14,0 3 16,1 0 11,-4-3-18,3 3 24,0 0-28,1-4 16,-4 4-10,3 0 14,0-3-14,1 3-16,-1-3 11,0 3-15,-3 0 19,4-4-35,-1 1 25,0 3-30,-3-3 50,4 3-14,-1-4 12,0 1-7,1 3-6,-1-3 5,1 3-7,-1-4 23,-3 1-16,3 3 18,1-3-18,-1 3 5,-3-4 1,3 4 0,1-3-55,-1 3 34,-3-3-38,3 3 44,1-4 4,-1 1-6,0-1 2,-3 4 21,4-3-17,-1 0 16,0-1-21,1 4 15,-1-3-13,-3 0 12,3-1-13,1 1 41,-1 3-25,0-3 30,-3-1-14,4 1-18,-1 0 22,-3-1-23,4 4 5,-1-3-4,-3 0 4,3-1-40,1 1 28,-4 0-29,3-1 35,0 1-1,-3 0-2,4-1 0,-1 1-2,-3-1 5,3 1-6,-3 0 5,4-1 5,-4 1-6,3 0 6,0-1-33,-3 1 18,4 0-18,-4-1 24,3 1-48,-3-4 36,3 4-38,1 0 46,-4-1-34,3-2 21,-3 2-30,3-2 33,-3 2-18,4-3 15,-4 4-16,3-4 15,-3 4-20,0-4 15,3 4-16,-3-4 25,0 4-7,4 0 7,-4-4-5,0 4 0,0-1 2,0 1-2,0 0 19,0-4-14,0 4 11,0 3-16,0-4 21,0-3-14,0 4 21,0 0-17,0-1-1,0 1 2,0 0-3,0-1-2,0 1 3,0 0-5,0-4 1,0 4 0,0-1-1,0 1 5,0 0 16,0-1-14,0 1 12,0 0 15,0-1-21,0 1 25,-4 0-31,4-1 20,-3 1-11,3 3 13,0-4-13,-3 1-4,3 0 5,-4-1-3,4 4 8,0-3-6,-3 0 9,3-1-9,-3 4 10,3-3-9,0 0 6,-4 3 0,4-4-5,-3 4 6,3-3-7,-3 3-2,3-3 3,0 3-2,-4-4 0,4 4 1,-3-3-1,3 3 3,-3-3 18,3 3-14,-4-4 15,4 1-20,-3 3 13,3-3-8,-3-1 9,-1 4-11,4-3 1,-3 3 1,0-3 0,3 3-4,-4-4 2,4 1-2,-3 3-7,3-4 9,-3 4-9,3-3 10,-4 3-7,4-3 4,-3-1-4,3 4 2,-4-3-4,1 3 2,3-3-3,-3-1 6,3 4 1,-4-3-1,1 3 2,0-3 1,-1-1-2,4 1 3,-3 3 12,0-3-12,-1-1 12,1 1-14,0 0 19,-1 3-14,1-4 15,0 1-17,-1 0 49,1 3-32,0-4 36,-1 1-19,1 0-20,0 3 24,-1-4-28,1 1 9,-1 3-14,1-4 16,0 4-14,-1-3-1,1 3 6,0-3-6,-1 3-26,1 0 28,0-4-34,-1 4 37,-2 0-42,2-3 29,1 3-37,0 0 42,-1 0-19,-2-3 13,2 3-13,1 0 10,0 0-1,-1 0 0,-3 0 1,4 0 2,0 0-1,-1-4 0,1 4 43,0 0-31,-1 0 35,4 0-43,-3 0 67,0 0-48,-1-3 55,1 3-66,0 0 40,-1 0-28,1 0 38,0 0-41,-1 0-9,1 0 6,0 0-7,-1 0-42,1-3 46,0 3-47,-1 0 54,1 0-28,-1 0 11,1 0-15,0 0-12,-1 0 26,1 0-32,0 0 34,-4 0 27,4 0-19,-1 0 22,1 0-32,0 0 8,-1 0-4,1 0 10,-4 0-17,4 0 10,0 3-7,-1-3-21,1 0 22,0 3-25,-1-3 28,1 0-7,-1 4 3,-2-4-5,2 0-2,1 3 34,0-3-28,-1 3 28,1-3-31,0 4 49,-1-1 12,1-3 3,0 3-3,-1 1-46,1-1 15,0 1-51,-1-1 40,1 0-41,0 1 45,3-1-37,-4-3 26,1 7-29,-1-4 29,1 0 0,0 1-6,-1-1 4,4 0-15,-3 4 27,0-4-26,3 1 25,-4-1-13,1 0 1,3 1 5,-3-1-17,3 0 10,-4 4-10,1-3 13,3-1 4,-3 0-3,-1 1 2,4-1-4,-3 4 4,3-4-4,-3 0 5,-1 1-6,4 2 12,-3-2-9,3-1 10,-3 4-6,-1-4-2,4 0 4,-3 4-22,3-4 12,-3 1-13,3 3 19,-4-4-15,4 4 9,-3-4-12,3 4 13,-4-4-10,4 0 8,0 4-9,-3-4 21,3 4-11,-3-4 10,3 4-13,0-4-1,0 1 2,-4 2-1,4-2 3,0 3 14,0-4-8,0 0 10,0 1 10,0 2-17,0-2 21,0-1-26,0 0 13,0 1-8,0 2 11,0-2-2,0-1-4,0 0 3,0 4-6,0-4-1,0 1 3,0-1-1,4 4-7,-4-4 4,0 1-5,0-1 7,0 4-16,0-4 11,0 4-13,0-4-4,0 0 12,0 1-12,0-1 16,0 0 17,0 4-15,0-4 13,3 1 17,-3-1-21,0 0 24,3 1-31,-3-1 2,0 0-2,4 4 6,-1-3 2,-3-1 16,4 0-7,-1 1 6,-3-1-47,3 0 21,1 1-21,-4-1 29,3 0-3,-3 1 0,3-1-7,1 0-21,-4 1 18,3-1-20,-3 0 25,3 1 16,1-1-14,-1 0 14,0-3-18,1 4 33,2-1-23,-2-3 24,-1 3-27,0-3 59,4 4-33,-4-1 38,1-3-80,3 4 16,-4-4-18,0 3-21,1 0 41,-1-3-42,0 4 50,4-1-50,-4 0 31,1 1-33,-1-4 32,4 3-54,-4 0 30,4 1-38,-4-1 45,4 0-3,-4-3 1,4 4-7,0-1 5,-4-3 3,4 3-5,-1-3 5,-2 4-53,2-4 35,1 0-36,0 3 70,-4-3-13,4 0 12,-4 0-19,4 0 29,0 0-19,-4 0 24,4 0-31,-4 0 12,4 0-7,-4 0 11,4 0-32,-4-3 18,0 3-17,1 0 28,2-4-28,-2 4 21,-1 0-23,0-3-54,4 3 54,-4 0-63,1 0 77,-1-3-8,4 3 5,-4 0-7,1-4 3,-1 4 36,0 0-26,1-3 30,-1 3 6,0-3-32,4 3 35,-4-4 5,1 1-35,-1 3 42,4-3-49,-4-1 45,0 1-31,1 0 45,-1 3-46,4-4 2,-4 1-4,1 0 0,-1-1 6,0 1-27,1-1 17,-1 1-22,4 0 26,-4-1-5,0 1 2,1 0-7,-1-1 9,0 1-4,1 0 1,-1-1-2,4-2 1,-4 2-2,0 1 4,1-4-8,2 4 7,-2-4-7,-1 4 9,1-4 4,-1 4-3,0-1 2,1-2-5,2 2-2,-6 1 0,4 0-30,-1-4 23,0 4-22,-3-1 28,4-2-17,-1 2 12,0 1-14,-3-4 16,4 1-2,-1 2-2,0-2 1,-3-1-5,4 0 17,-1 4-14,0-4 14,1 0-15,-4 1 2,3-1-4,0 0 0,1 1 2,-4 2 0,0-2 8,3 2-36,-3-2 24,0 2-26,0 1 28,4-4-15,-4 4 9,0-4-13,0 4-10,0-4 15,0 4-18,0-4 42,0 0-11,0 4 15,0-4-26,0 4 39,0-4-29,0 1 35,0-1-37,0 3 48,0-2-35,-4 2 38,4-2-45,0-1 36,-3 4-24,3-4 29,0 4-25,-4-4 1,4 4 1,-3-1-2,3 1-31,-3-4 24,3 4-24,-4 0-10,1-1 27,3 1-33,-3-1 39,-1 1-12,1 0 6,3-1-10,-3 1 9,-1 0 37,1-1-26,3 1 28,-3 0 3,-1-1 11,1 1 2,3 0 43,-3 3-73,-1-4 43,1 1-48,0 0 9,-1-1-5,1 1 10,0 0-6,-1-1 18,1 1-12,-1 0 10,-2-1-10,2 1-5,-2-1 1,2 1-4,-2 0 6,-1-1-3,0 4 3,1-3-2,-1 0-29,0-1 20,1 1-21,2 3 20,-6-3 7,7 3-8,-4-4 7,0 4 9,1 0-9,2 0 9,-2 0-12,-1 0 11,0 0-11,1 0 11,-1 0 9,4 0-13,-4 0 18,0 0-22,0 0-4,1 4 4,2-4-3,-2 0 72,-1 3-44,0-3 47,1 3-63,-1-3 16,0 4-9,1-4 12,-1 3-12,0 0 1,0-3 5,1 4 1,-1-1-31,4-3 20,-4 3-23,0 1 28,4-4-1,-4 3 3,1 1-4,-1-4 37,4 3-30,-4-3 26,0 3-38,4 1-3,-4-4 3,4 3-2,-4 0 9,4 1-47,-1-4 36,-2 3-33,2 0 12,1 1 24,0-1-26,-1 0 29,1-3-6,0 4-7,-1-1 1,1 0-73,-1-3-10,1 4-27,0-1 28,-1 0-20,1 1 3,0-1-17,-1-3 21,1 3 103,0 1-32,-1 3 34,1-4-8,0 0 9,-1 1 7,1-1 16,0 4-52,-1-4 27,1 0-27,0 4 46,-1-4-33,1 4 38,0-4-39,3 4 30,-4-4-23,1 4 21,-1-4-24,4 4 20,-3-3-15,3 2 18,-3-2-29,3 2 9,-4-2-10,4 2-12,0-2 16,-3 2-16,3 1 22,0-4-13,0 4 8,0 0-12,-3-4 14,3 4-22,0 0 15,0-1-19,0-2 21,0 2-14,0 1 10,-4 0-11,4-4 10,0 4-1,0-4 1,0 4 1,0-4 0,0 4 0,0-4 0,0 4 14,0-4-11,0 4 12,0-4-14,0 4 0,0-4 1,0 4-1,0 0 2,4-4-4,-4 4 3,3-1-2,-3 1-2,3 0 4,-3-1-4,4 1 45,-1 0 11,-3 0 3,3-1-9,-3 1 14,4 0-35,-1-1 38,-3 1-43,4 0 59,-1-1-35,0-2 40,1 2-47,-1 1-6,0-3 17,1 2-11,2 1-57,1-4-24,3 4-4,-3 0-401,6-4 143,-3 4-266,4-1 245,-1-2-1048,0 2 984,1-2-851,-1-1 1240,4 0 0,0 4 0</inkml:trace>
  <inkml:trace contextRef="#ctx0" brushRef="#br0" timeOffset="270">9358 2702 14471,'0'0'-5,"-7"-3"-54,4-1 74,-1 1-38,1-1 38</inkml:trace>
  <inkml:trace contextRef="#ctx0" brushRef="#br0" timeOffset="271">9435 2786 14690,'0'-4'1,"-4"4"-27,1-3 20,0 0-21,-1-1 28</inkml:trace>
  <inkml:trace contextRef="#ctx0" brushRef="#br0" timeOffset="272">9756 2943 9502,'4'0'0,"-1"-3"26,0 3 21,1 0 51,-1 0-7,-3-4 103,3 4 15,1 0 16,-4 0-28,3 0-27,-3 0-33,3 0 19,-3-3-25,0 3-28,0 0-20,0 0 10,0 0-3,0 0 16,-3 0 18,-4 0 12,1-3-105,-1 3 34,-7 0-126,4-4-21,-3 4 37,0 0-61,-4 0 111,3-3-50,-2 3 49,-1 0-23,0 0 19,1 0-14,2 0 39,1 0-48,-1 0 48,4 0-31,0 0 26,7 0-20,-4 0 20,7 3-3,-3-3 2,3 0 3,3 4-37,-3-4 29,7 0-30,-4 3 4,4-3 21,3 0-29,-3 3 33,-1-3 18,4 4-13,0-4 16,1 0-24,2 0 43,-3 0 12,3 0 2,1 0 19,-1 0 14,4 0-33,-4 0 40,1-4-50,-1 1 1,0 3 7,-2-3 16,-1-1-30,-7 1 33,4-1-17,-7 4-121,3-3 31,-3 3-120,-3-3 113,-1 3-53,-2 0 29,-1 0-2,-7 0-124,4 0 92,0 0-98,-3 0 45,3 0-2,-3 0 38,2 3-18,-2-3 96,3 0-45,0 3 39,0-3-48,3 0 115,-3 4-30,7-4 99,-4 3-94,4-3 191,3 0-82,0 0 133,3 0-94,4 4-141,0-4 57,3 0-94,3 3-288,0 0 60,1 1-237,-1-1-292,4 4 538,-4-1-339,4 1 579,-4 3 0,4 3 0</inkml:trace>
  <inkml:trace contextRef="#ctx0" brushRef="#br0" timeOffset="273">8805 2936 9502,'-3'0'-911,"0"-3"1088,3 3 35,0 0 306,-4 0-142,4 0-90,-3 0 10,3 0-86,-3 0-15,3 0-41,-4 0-3,1 0 5,-4 0-12,0-3-13,1 3-1,-4 0 1,0 0-57,0 0 43,-4-4-42,4 4-43,-7 0 24,4 0-89,0 0 109,-1 0-143,1 0 87,0 4-130,2-4 69,1 3-46,4-3 23,-1 0-53,0 0 13,4 0 17,3 3-16,-3-3 44,6 0-29,-3 0 13,3 0-2,4 0-2,3 0 39,-3 0-2,6 4-1,-3-4 36,4 3-33,2 0 31,-2 1-33,2-4 76,1 3-57,0 0 59,0-3 2,-4 4 20,4-4 17,-4 3 45,1-3-54,-4 0 11,0 0-14,-7 0-4,0 0 28,1-3-10,-1 3 11,-6 0-11,-1-4 34,1 1-16,-4 0-5,-3 3-45,-3-4 13,3 1-1,-4 0-45,1-1-28,0 4-4,-1-3-38,1 3 42,0-3-6,2 3 6,1-4-11,-3 4 29,6 0-37,1 0 35,-1 0-135,4 0 13,-1 0-82,1 0 59,3 0-146,3 0 177,1 4-120,2-4 234,4 3 0,4 0 0</inkml:trace>
  <inkml:trace contextRef="#ctx0" brushRef="#br0" timeOffset="274">8979 3161 15496,'4'3'1,"-4"-3"-2</inkml:trace>
  <inkml:trace contextRef="#ctx0" brushRef="#br0" timeOffset="275">8993 3167 15495,'0'4'0,"6"-1"-2</inkml:trace>
  <inkml:trace contextRef="#ctx0" brushRef="#br0" timeOffset="276">9006 3177 15467,'0'0'-7,"7"4"-3,-4-4 5</inkml:trace>
  <inkml:trace contextRef="#ctx0" brushRef="#br0" timeOffset="277">9314 3184 15977,'4'-3'-3,"-1"-1"-45,0 4 37</inkml:trace>
  <inkml:trace contextRef="#ctx0" brushRef="#br0" timeOffset="278">9314 3177 15307,'4'0'0</inkml:trace>
  <inkml:trace contextRef="#ctx0" brushRef="#br0" timeOffset="279">9020 3184 15419,'0'0'-5,"10"7"4,-4-4-4,1 0 3,3 1-5,-3-1 20,-1 0-15,1 1 16,-3-4-10,2 3-6,1-3 8,-4 0-11,4 3 2,0-3 0,-4 0 2,4 0-1,-1 0 7,-2 0-5,2 0 5,1 0-23,0 0 13,-4 0-15,4 0-29,0 0 34,-1 0-40,-2 4 46,2-4-29,1 0 22,0 0-25,-1 0 27,-2 0 21,2 0-16,1 0 17,-4 0-13,4 0-9,-3 0 9,2 0 5,-2 0 21,2 0-8,-2-4 10,2 4 11,-2-3-30,2 0 34,-2-1-41,2 1 18,1 0-12,-4-1 18,4 1-12,0 0-4,-4-1 6,1 1-11</inkml:trace>
  <inkml:trace contextRef="#ctx0" brushRef="#br0" timeOffset="280">9056 3184 16750,'4'3'-9,"-1"-3"19,0 4-17,1-4 17,-1 3-21,-3-3 0,4 0 1,-1 3 1,0-3 20,1 4-13,-1-4 16,-3 0-19,3 0-30,1 0 22,-1 3-23,-3-3 30,3 0-38,-3 0 27,4 0-31,-4 0 37,3 3-5,0-3 3,-3 0-8,4 0 34,-4 0-24,3 0 23,0 4-16,1-4-10,-4 0 11,3 0-7,0 0-42,1 0 36,-4 3-36,3-3 45,0 0-37,1 0 25,-1 3-26,-3-3 47,4 0-13,-1 0 7,0 4-15,1-4 17,-1 0-11,0 0 14,-3 3 16,4-3-25,-1 0 27,0 0-29,1 0 12,-4 0 0,3 0 3,0 0-2,1 0 5,-1 0-2,0 0 4,1 0-2,-1 0-6,0-3 7,1 3-14,-1 0 6,0-4-8,1 4 8,-1 0-56,1-3 40,2 3-43,-2 0 52,-1 0 0,0-3-3,1 3 1,-1 0-5,0 0-1,1 0-3,2-4 1,-2 4-3,-1 0 24,0-3-20,1 3 20,-1 0 6,0-3-16,1 3 24,-1-4-32,0 1 8,1 3-4,-1-3 4,1 3 4,-1-4-4,0 1 3</inkml:trace>
  <inkml:trace contextRef="#ctx0" brushRef="#br0" timeOffset="281">8879 3221 9502,'7'-4'-268,"-7"4"247,3 0 27,0-3 42,-3 3 1,4 0 155,-4-3-19,3 3 99,-3-4-97,3 4 40,-3 0-49,0-3 1,4 3-10,-4 0 75,0 0-141,0 0 70,-4 0-97,1 3-87,0 1 86,-1-1-112,-2 0-18,-1 4 8,0 3-38,-3-3 64,0 3-33,0 3 30,-3-3-41,3 4 41,-4-1-44,1-3 64,0 4-33,-1-1 42,4-3-8,0 0-9,0-3-6,3-4 65,4 0-42,0-3 181,3 0-82,0 0 132,0 0-132,6-3-25,-2 0-51,2-4 0,1 0 18,3 4-22,-3-4 14,3 1-14,0-1 28,-3 4-44,3-7-22,0 6-1,-4-2-29,1-1 63,0 0-24,3 0-39,-7 1 53,4-1-63,-4 0 66,4 1-73,-7-1-5,3 0-8,1 4 17,-4 0-40,0 3 23,0 0-97,0-4 94,-4 8 12,1-4 41,0 3-8,-4 0-55,3 4 16,-2 0-20,-1-1 79,-3 4-24,3 0 18,-3 0-32,4 1 57,-4-1 25,3 0 15,0 0-21,-3 0 67,3 0-34,1 0 118,2-4-115,-2-2 115,6-1-77,-4 1 104,4-4-24,0 0-64,4-4 1,2 1-118,1-4 60,6-3-49,-2-3 85,-1-1-127,3 4 32,0-3-104,-3-1 82,4 4-59,-8 0 45,5 0-62,-5 0 32,1 4-298,-4 2 62,1 1-73,-4 3 178,0 3 197,0 1 0,0-1 0</inkml:trace>
  <inkml:trace contextRef="#ctx0" brushRef="#br0" timeOffset="282">9455 3221 9502,'0'-4'158,"0"4"-12,-4 0 47,4 0 61,0 0 812,0-3-610,4 6 533,-4-3-840,0 0 7,3 7-18,1-4 33,2 1-68,1 3 36,3-1-40,-3 1 33,3 3-54,0-3 3,3 3-15,-3 0 26,4 0-137,-4 0 39,0 0-123,-4-3-40,1 3 64,0-4-65,-4 1 50,0-4 33,1 4-16,-4-7 0,3 3-177,-3-3 127,0 0-146,-3 0 194,3-3-3,0 0 33,-4-1 63,4 1 32,-3-4 6,0 1-24,-1-1 6,1 0-52,0-3 69,-1 4-69,-2-5-16,-1 1 8,4 4-31,-4-4 37,0 0 2,1 3 13,2-3-8,-3 3-2,1 0-21,-1 1 18,4 2 22,-4-2-12,4 6 15,-1-4-31,1 1 86,3 3-19,-3 0 306,3 0-118,0 0 139,0 0-165,0 0-55,3 3-24,-3 1-20,3-1-50,4 4 38,-4-1-42,1 1 96,2 0-104,1 0 9,0 3-27,0-4 12,-4 4 111,4-3-57,-1 3 45,1-3-107,-4 0 39,1 3-39,2-4-97,-6-2 29,4 2-118,-1-2 135,-3-1-179,0-3 104,0 0-127,0 0 69,0 0-379,-3 0 361,3-7-295,-4 1 493,1-1 0,0-3 0</inkml:trace>
  <inkml:trace contextRef="#ctx0" brushRef="#br0" timeOffset="283">9170 3328 9502,'0'-3'-576,"0"-1"427,4 4 313,-4-3-18,0 3 216,0 0 123,0-3-239,0 6 150,3-3-196,-6 3 4,3 1 10,0 2 14,0-2-45,-4 2 0,1 4 76,0 0-34,-1-3 11,4 7-33,-3-4-79,0 3 5,3-3 10,0 7-4,-4-4-81,4 1 8,0-4-80,0 3 91,0-3-126,0-3 55,4-1-85,-4 1-129,3-4 98,-3-3-133,3 4-44,-3-4 69,0-4-75,4 4 98,-4-3 49,3-4-20,-3 1 21,0-1 14,0-3 49,0 0-3,3 0 18,-3 0 41,0-4 25,0 4 8,0-3 88,0 3-79,0-3 97,0 3-79,0-1 110,0 1-59,0 0 85,0 4-65,0-4 50,0 6-30,0 1 98,0 3-54,0 0-21,-3 3-15,3 4-65,0 0 33,-3 3-25,-1 3 29,4-3 29,-3 7-25,3-4 26,-3 1-60,3-1 5,-4 0-7,4 1 10,-3-1-160,3-3 37,0 0-104,0-3 80,0 0-432,0-4 114,0 0-161,0 1 300,3-4 247,1-4 0,-1 1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7T09:32:09.090"/>
    </inkml:context>
    <inkml:brush xml:id="br0">
      <inkml:brushProperty name="width" value="0.0375" units="cm"/>
      <inkml:brushProperty name="height" value="0.0375" units="cm"/>
      <inkml:brushProperty name="color" value="#90A126"/>
    </inkml:brush>
    <inkml:brush xml:id="br1">
      <inkml:brushProperty name="width" value="0.01875" units="cm"/>
      <inkml:brushProperty name="height" value="0.01875" units="cm"/>
      <inkml:brushProperty name="color" value="#90A126"/>
    </inkml:brush>
  </inkml:definitions>
  <inkml:trace contextRef="#ctx0" brushRef="#br0">12700 41 14349,'-2'-2'-2989,"2"2"2485,0 0 356,0 0 169,0-3 61,0 3-261,-3 0 207,3 0-189,0 0 226,0 0-5,0 0 6,-2 0-56,2 0 3,0 0 101,0 0-61,0 0 105,0 0-96,-3 0 19,3-3 60,0 3 286,0 0 713,-2 0-105,2 0 624,0 0-563,0 0 247,-2 0-30,2 0 310,0 0-390,0 0-459,-3-1-58,3 1-651,-3 0 903,3 0-466,-1 0 511,-2 0-732,3 0 473,0 0-597,-3 0 410,1 0-98,2 0-160,-2 0 44,-1 0-297,1-3 81,-1 3-47,3 0 166,-2 0-113,2 0-56,-2 0-58,-1 0-69,3 0 62,-2 0 122,0 0-189,2 0 125,-3 0-239,0 0 240,3 0-180,-2 0 238,0 0-255,-1 0 144,3 0 6,-2 0 7,0 0 169,-1 0-170,1 0 166,2 0-155,-3 0 147,1 0-159,2 0 84,-2 0-113,-1 0 23,0 0-29,3 0 26,-2 0-19,0 0 21,2 0-22,-3 0-2,3 0 6,-2 0-4,2 0-14,-2 0 9,-1 0-8,1 0 15,2 0-30,-3 0 21,1 0-26,2 0 13,-2 0 11,-1 0-41,3 0-28,-3 0-43,2 0-75,-2 0-24,3 0-427,-3 0-532,3 0-695,-2 0-447,2 0-156,-2 0 62,2 0 59,-3 0-2,1 0 445,2 0 501,-3 0 735,1 0 407,2 0 243,-2 0-54,2 0 66,0 0-12,-3 0 9,3 0-20,0 0-17,-3 0 10,3 0-13,0 0 24,-1 0 3,1 0-6,-3 0 3,3 0 20,0 0-14,0 0 20,0 0-22,-3 0 43,3 0-32,0 0 35,0 0-21,-2 0-10,2 0-37,0 0-51,0 0 5,-2 0 2,2 0 80,0 0-10,0 0 14,0 0-34,-3 0 14,3 0-11,0 0-10,0 0-21,0 0 5,-2 0-129,2 0 77,0 0-106,0 0-185,0 0 256,0 0-174,-3 0 320,3 0 0,0 0 0,0 3 0,0-3 86,0 0 123,0 0 332,0 1 561,0-1-327,0 0 242,0 0-605,0-1 8,0-2-84,0 3-94,0-3-248,0 3-36,0-2-100,0 2 80,0-2 8,0 2 43,0-3 2,0 3 52,0-2-52,0 2-23,3-3-218,-3 3-50,0-2-143,0 2 44,0-2-26,0 2-42,0 0 40,0-3 37,2 3 172,-2 0 100,0 0 85,0-2 21,0 2-2,0 0 3,0 0 2,3-2-60,-3 2 44,0 0-45,0 0-73,0 0 49,0-3-192,0 3 13,0 0 90,0 0-1,2 0 184,-2 0 0,0 0 0,2 0 0,-2 0 0,3 0 0,-3 0 0,3 3 0,-3-3 0,1 0 0,-1 0 0,3 0 0,-3 0 0,3 0 0,-3 0 0,0 0 0,2 0-20,-2 0 16,0 0 55,0 0 37,0 0 4,2 0-12,-2 0-7,0 0 15,0 0 15,0 0 31,3 0-27,-3 0-3,0 0 9,2 0-41,-2 0 12,0 0-5,3 0 6,-1 0 19,-2 0 1,2 0 5,1 0-71,0 0 20,-3 0-30,1 0 42,2 0-50,0 0-23,-1 0-2,-2 0-47,2 0 35,1 2-1,-3-2 3,2 0 11,1 0 15,-1 0-24,-2 0-41,2 0 61,-2 0-70,3 0 76,-3 0-58,2 0 41,0 0-43,-2 0 48,3 0-29,0 0 21,-3 0-22,2 0 0,-2 0 14,2 0-16,1 0 20,-3 2 3,2-2-4,-2 0 3,3 0 1,-1 0-2,0 0 1,-2 0-3,3 0-16,-1 0 13,0 0-13,-2 0 16,3 0-9,0 0 7,-3 0-6,2 0 4,0 0 2,-2 0-1,3 0 0,-1 0 9,-2 0 74,0 0 98,2 0 129,1 0 181,-3 0 137,2 0 190,1 0 161,-1 0 162,-2 0 89,2 0 82,-2 0-6,3 0-20,-3 0-69,3 0-77,-3 0-171,1 0-139,-1 0-202,3 0-127,0 0-196,-3 0-101,0 0-139,2 0-8,-2 0-41,0 0 34,2 0-27,-2 0 0,0 0 2,3 0 241,-3 0-96,0 0 339,0 0-345,0 0 53,0 0-277,2 0-35,-2 0-50,0 0 1,0-2 0</inkml:trace>
  <inkml:trace contextRef="#ctx0" brushRef="#br0" timeOffset="1">12693 7 26659,'2'-2'1382,"1"2"-691,-1 0 0</inkml:trace>
  <inkml:trace contextRef="#ctx0" brushRef="#br0" timeOffset="2">12700 5 20308</inkml:trace>
  <inkml:trace contextRef="#ctx0" brushRef="#br0" timeOffset="3">12702 3 26114,'-2'0'-2763,"2"0"517,-2 0 303,2 0 240,0 2 507,0-2-267,0 0 29,0 0-138,0 0 332,0 0 718,-3 0 360,3 2 268,0-2 1,0 0-25,3 0-34,-3 0 17,0 0-16,0 0-46,0 0 49,2 0-55,-2 0 67,2 0-44,-2 0 30,0 3-27,3-3 35,-3 0-52,3 0-17,-3 0-14,0 0-11,1 0 57,-1 0-14,0 0 14,3 0-44,-3 0 24,3 0-29,-3 0-1,2 2 37,-2-2-43,0 0 47,2 0-34,-2 0 25,3 0-27,-1 2 29,-2-2 25,3 0-18,-3 0 19,2 0-20,-2 0-6,2 0 6,1 0-5,-3 0-5,0 0 7,3 0-5,-3 3-16,1-3 15,-1 0-17,3 0 23,-3 0-40,0 0 28,3 0-32,-3 2 38,0-2-10,0 0 6,2 0-13,-2 0 43,0 0-30,0 0 30,2 3-32,-2-3 9,0 0-5,0 0 8,0 0-7,3 0 2,-3 0 1,0 0-2,0 0-4,0 2 4,2-2-6,-2 0 8,0 0-48,0 0 34,0 0-37,0 2 40,3-2-20,-3 0 8,0 0-10,0 0 31,0 3-7,0-3 8,2 0-13,-2 0-3,0 0 3,0 3-1,0-3 0,0 0 0,0 1 1,0-1 5,2 0-16,-2 0 14,0 0-14,0 3-22,0-3 25,0 0-29,3 0 35,-3 0-4,0 0 2,0 3-6,3-3 23,-3 0-18,0 0 20,0 0-21,0 0-50,0 0 35,0 0-37,1 0 48,-1 0-90,0 0 67,0 2-186,0-2 118,3 0-255,-3 0 148,0 0-26,0 0 152,0 0 92,0 2 0,0-2 0,0 0 0,0 0 0,0 0 216,0 0-135,0 3 171,0-3-192,-3 0-7,3 0-54,0 2 30,0-2-34,0 3 47,0-3-50,-1 2-15,1-2-15,0 2 17,0 1-51,0-3 26,0 3-88,-3-2 21,3-1 6,0 3-12,0-3 35,0 3 34,-3-3 22,3 0 64,0 0-25,0 2 40,0-2 0,0 0-14,0 0 86,-2 0-80,2 0 43,0 0-60,0 0 54,-2-2 14,2 2 14,-3 0 35,3 0-80,-2 0 41,-1-3-55,1 0 8,-3 3-47,2-1-11,-1-2 2,-1 0-48,3 3 29,-3-2-11,0 0-32,0-1 70,1 1-28,-2-1 17,2 1-53,-1 0-10,2-1-48,-1 0-76,1 3 39,0-1-62,2-2 71,-2 3 74,3 0 15,0 0 52,0 0 0,0-3 0</inkml:trace>
  <inkml:trace contextRef="#ctx0" brushRef="#br0" timeOffset="4">12702 5 28009,'-2'0'-1312,"2"0"1373,0 0 406,0 0-187,-2 0-66,2 0 62,0 0-284,0 0-2,0 0-660,0 2-148,0-2-501,-3 3-128,3-3-229,0 2-375,0 0 353,0 1-161,0-3 486,0 2 54,0 1 175,0-3 421,-2 2 264,2-2 316,0 2 0,0-2 0</inkml:trace>
  <inkml:trace contextRef="#ctx0" brushRef="#br0" timeOffset="5">12679 22 9502,'1'-3'-26,"-1"1"-56,0 2 77,0 0-145,3-3 65,-3 3 62,0 0 16,0 0 68,-3 0 3,3 0-3,-1 0 0,-2 0-8,-2 0-37,3 0 27,-6 0-29,4 0-19,-1 0-12,-3 0-28,1 0-25,0 0 17,0 0 18,-1 0 6,4 0-26,-1 0 8,-2 0-80,2 0 76,3 0-58,-1 0 34,0 0-21,3 0 20,0 0 20,3 0 21,-3 0-24,5 0 44,0 0-30,0 0 28,2 0 18,-3 0-28,4 0 40,-3 0-47,2 0 62,-2 3-44,-1-3 49,2 0-58,-4 0 68,0 0-47,3 0 55,-5 0-63,2 0 83,-2 0-56,-2 0 65,2 0-71,-2 0 0,-3 0-3,-3 0-2,4 0 8,-1 0-3,-2 0 15,2 0-12,-3 0 9,4 0-10,-1 0 0,0 0-1,-2 0-5,5 0 4,-1 2-7,-1-2 7,1 0-3,0 0-39,3 0-11,-2 3-53,2-3 43,0 0 0,0 0 28,2 0 14,-2 0-25,3-3 25,0 3 10,-2 0-6,2-2 6,-3 2-16,3 0 51,-1-3-36,0 3 45,-2 0 47,3-2-17,-3 2 89,2 0-34,-2-2 7,3 2 11,-3 0-46,0 0 10,-3 0-44,1 0-38,-1 0-8,1 0-20,0 0 22,-4 0-59,2 2 17,1-2-88,-1 2-8,-1-2 29,2 0-52,-1 3 79,1-3-8,3 0 49,-3 2-12,3-2-34,0 0 16,0 0-22,0 0 35,3 0-35,0 0 25,-1 0-27,3 0 36,0 0 59,-3 0-40,0 0 42,1 0 9,0 0-45,-2 0 46,2 0-14,-3 0 31,0 0-2,0-2 4,0 2-41,-3 0 26,2 0-10,-2 0 14,0 0-26,1 0 22,0 0-14,-1 0 16,1 0 32,2 0 12,-3 0 12,3 0-87,-2 0-159,4 0 55,-2 0-58,0 0 154,3-3 0,-1 3 0</inkml:trace>
  <inkml:trace contextRef="#ctx0" brushRef="#br0" timeOffset="6">12724 36 12785,'3'0'-3123,"-3"0"2708,0 0 190,2 0 81,-2 0 44,0 0-167,2 0 181,-2 0-132,3 3 218,-3-3 0,0 0 0,3 0 0,-3 0 0,0 0 0,1 0 0,-1 0 0,3 0 0,-3 0 0,0 0 0,0 0 0,3 0 0,-3 0 0,0 0 0,0 2 0,2-2 0,-2 0 0,0 0 0,2 0 0,-2 0 0,0 0 0,0 0 0,0 0 0,3 0 0,-3 0 0,0 0 0,2 0 0,-2 0 0,0 0 0,0 0 0,0 0 0,3 0 0,-3 0 0,0 0 0,0 0 0,0 0 167,0 0-60,0 0 65,0 0-92,0 0-73,-3 0 41,1 0-89,2 0-5,-3 0-18,3 0 26,-2 0-18,2 0 17,0 0-79,-2 0 58,2 0-17,0 0 55,0 0-13,0 0 35,0-2 0,0 2 64,0 0-39,0 0 49,0 0-10,0-3 16,0 3 53,0 0 0,0 0-32,0 0-25,-3-3-23,3 3-10,0 0 18,-3 0-58,2 0-6,-2 0-11,3 0 13,-3 0-11,1 0 31,0-1-35,-1 1 34,3 0-60,-2 0 28,2 0-36,-3 0 2,3-3-1,0 3-18,0 0-33,0 0 69,0 0-34,0-3 48,0 3-6,3 0 7,-3 0-3,2-2-2,-2 2 69,0 0-52,3 0 52,-3 0 9,0 0-56,0-2 67,0 2-22,0 0 36,-3 0-9,3 0 32,-2 0-80,-1 0 40,3 0-38,-2 0-37,0 0 24,2-3-32,-3 3-11,3 0-87,-3 0 42,3 0-45,0 0 119,0-2 0,0-1 0</inkml:trace>
  <inkml:trace contextRef="#ctx0" brushRef="#br0" timeOffset="7">12666 19 9502,'-2'0'-26,"-1"0"8,3 0 87,-2 0-148,0 0 75,-1 0-135,1 0-33,-3 3 52,2-3-82,-1 0 134,-1 0 10,0 0 66,0 0-8,1 0 0,-2 2 0</inkml:trace>
  <inkml:trace contextRef="#ctx0" brushRef="#br0" timeOffset="8">12652 24 9502,'-2'0'0,"-1"0"-12,0 0 12,1 0 48,0 0-89,-1 0 75,1 0-103,0 0 96,-3 0-144,2 0 75,1 0-140,-3 0 24,0 0 40,3 0 14,-3 0 62,0 0 42,3 0 0,-3 2 0</inkml:trace>
  <inkml:trace contextRef="#ctx0" brushRef="#br0" timeOffset="9">12748 41 9502,'0'-2'-106,"0"2"28,0 0 100,0-3-53,0 3 38,0 0-4,0-3-83,0 3 79,-2 0-89,2-1 81,-2 1-81,-1-3 61,0 3-84,2 0 85,-2 0-40,0-3 41,1 3-17,0 0-3,-1 0-8,3 0 4,-2 0-11,2 0 42,-3 0-5,3 0 11,0 3 39,0-3 20,3 3 4,-3-2-7,2-1 20,1 0 25,-3 3 11,2-3-21,0 3-49,-2-3-14,3 0 30,-3 0-21,3 0-18,-3 2 9,0-2-16,1 0-16,-1 0 10,0 0-29,0 0 17,-1 0 23,-2 0 7,0 0-3,1 0 8,0 0 16,-1-2-17,1 2 19,-1 0 19,1 0 12,2 0 7,-2 0-13,-1 0-25,3 0 3,0 0 0,0 0 5,5 0 33,-5 0-32,5 0 34,-3 0-45,1 0-26,-1 0 20,0 2-21,1-2-4,0 0 20,-2 0-17,2 0 25,-3 2-80,3-2 13,-3 0-153,0 0 123,0 0-58,0 0 110,-3 0-18,0 0 60,2 0 0,-2-2 14,3 2 30,-3 0-33,1-2 8,2 2 0,-2 0-25,2-3-3,0 3 14,-3-3-20,3 3 7,0 0-175,0 0 105,0 0-189,0 0 159,3 0-153,-3 0 60,0 0 7,2 0 80,-2 0 89,2 0 0,1 3 0</inkml:trace>
  <inkml:trace contextRef="#ctx0" brushRef="#br0" timeOffset="10">12751 39 9502,'2'-3'-931,"-2"0"1086,0 3-60,0 0 139,0 0-120,-2 0-160,2 0 25,-3 0-5,1 0 9,0 0-9,2 0-13,-3 0-6,0 0-34,2 0 42,-2 0-5,3-1-19,-3 1-47,1 0 57,2 0-56,-2-3 107,2 3 0,-3 0 0</inkml:trace>
  <inkml:trace contextRef="#ctx0" brushRef="#br0" timeOffset="11">12753 41 9502,'0'-2'-510,"0"2"109,0 0 237,0-3 92,0 3 72,0-3 53,3 3 37,-3 0 54,0-1-32,0 1 25,0 0-44,0-3 646,0 3-472,0 0 452,0 3-625,0-3 10,0 1-5,0 2-24,0 0 17,0-3-27,0 2 33,0 0-39,0 1-16,0-1-61,0 1 39,0 1-4,0-1 49,0 1-28,0-1-28,0 2 11,0-3-13,0 3 9,0-2-23,0 1 12,0-1-6,-3 1 24,3-1-2,0 2-7,0-3-7,0 3 25,-2-2-26,2 1 29,0-1-13,0 0 7,0-2-7,0 2-21,-3 0 15,3 1-16,0-1 25,0-1-55,0 3 40,0-5-42,0 5 52,0-2-52,-2-2 36,2 2-48,0 0 26,0-1 6,0 3-10,0-5 45,0 5-15,0-3 16,0 0-25,0 1 55,-2 0-39,2-2 44,0 5-54,0-4 21,0 0-14,0 1 22,0-1-20,0 1-7,0-1 4,0 0-7,0 1-5,0-1 16,0-2-17,0 2-1,0 1-3,0 0-11,0-1 11,0 0 31,0 1-12,0-1 11,-3 0-18,3 3 14,0-2-10,0-1 16,0 0-18,0 1-6,0 0 4,0-2-5,0 2-17,0 0 22,0-1-22,0 0 27,-3 1-31,3-1 19,0 1-20,0-1 5,0-2 15,0 2-21,0 1 21,0 0-26,0-2 16,0 2-15,0 0 15,0-1-15,0 0 11,0 1-8,0-1 14,0-2 4,0 3-5,0-1 9,0 0-6,0 1 7,0 0-10,0-3 3,0 1-3,0 2 4,0 0-1,0-1 14,0-2-9,0 2 9,0 1-10,0-1 8,0-2-2,0 3 3,0-1-3,0-2-5,0 2 5,0 1-4,0 0 1,0-2 0,0-1 1,0 3-14,0-3 10,0 3-9,0-1 10,0-2-18,0 2 12,0-2-13,0 3 16,0-1-22,0-2 13,0 3-16,0-1 24,0-2-2,0 2 0,3-2 39,-3 3-32,0-3 32,0 3-40,0-3 34,0 1-22,0 2 26,0-3-26,3 3-3,-3-3 7,0 2-4,0-2 6,0 2-21,0-2 17,0 3-17,0-3-6,0 2 13,0-2-17,0 3 23,0-3-6,0 2 3,0-2-9,0 0 19,0 2-13,0-2 14,0 0-12,0 0 4,0 3-2,0-3 5,0 0-5,0 0-6,0 0 4,0 3-4,0-3-1,0 0 6,0 1-7,0-1 7,0 0 0,0 0-2,0 0 1,0 3 3,0-3-3,0 0 2,0 3-29,0-3 18,0 0-21,0 0-55,0 0 17,0 2-77,0-2 7,0 0 14,0 0-21,0 2-80,0-2 39,0 0-79,0 3 77,0-3-107,0 0 51,0 0 20,0 2 104,0-2 122,-3 3 0,3-1 0</inkml:trace>
  <inkml:trace contextRef="#ctx0" brushRef="#br0" timeOffset="12">12748 46 9502,'0'-3'-319,"3"1"317,-3 2 44,0 0-5,0 0-10,0-2-15,0 2-1,0 0-58,0-3 40,-3 3-14,3 0 13,-2 0-67,2-3 28,-2 3-113,-1 0 119,3 0-131,-4 0 86,4-1-60,-3 1 80,0 0 66,1 0 0,2-3 0</inkml:trace>
  <inkml:trace contextRef="#ctx0" brushRef="#br0" timeOffset="13">12731 39 9056,'0'2'92,"0"-2"-43,0 0-11,0 0 72,0 2 16,0-2 5,0 0-8,0 0-96,0 3 32,0-3-40,0 0-159,0 0 57,0 0-118,-2 0 144,2 0-23,0 0 0,-2 0-36,-1-3 8,3 3 69,-2-2-8,-1 2 22,1-2-11,0-1 46,-1 3 25,0-3 0,3 3 39,-1-1-41,1 1 4,0 0 34,-3 0-68,6 0 35,-3 0-25,1 0 4,-1 0-17,3 1 11,2-1-20,-3 0 17,1 3-65,-1-3 41,-2 0-46,3 3 2,-3-3-11,2 0-4,-2 0 5,2 0 59,-2 0-13,0 0-11,0 2-2,0-2 43,0 0-24,0 0 45,-2 0-44,2 0 50,-2 0 29,2 0-8,0 0 50,-3 2-47,3-2 16,0 0-21,0 0-33,0 0-20,-2 0 17,2 0-7,0 3 32,0-3-17,0 0-5,0 0-7,0 0-20,0 2 22,2-2 19,-2 0-14,0 0 18,0 0-24,0 0 46,0 0-31,3 0 37,-3 3-38,0-3 0,0 0 18,0 0 80,0 0-63,0 0 54,0 0-67,0 0-22,0 0 25,-3 0-29,3 0-10,0 0 17,0 0-89,-2 0-1,4 0-84,-2-3 1,3 3 0</inkml:trace>
  <inkml:trace contextRef="#ctx0" brushRef="#br0" timeOffset="14">12702 41 9502,'-4'0'-911,"4"0"747,-3 0 92,3 0 72,-2 0 0,2-2 0,0 2 0,-3 0 0,3 0 0,-2 0 0,0-3 0</inkml:trace>
  <inkml:trace contextRef="#ctx0" brushRef="#br0" timeOffset="15">12693 36 9502</inkml:trace>
  <inkml:trace contextRef="#ctx0" brushRef="#br0" timeOffset="16">12693 33 9502,'0'6'-1075,"0"-6"1003,0 0 72,0 2 0,0-2 0</inkml:trace>
  <inkml:trace contextRef="#ctx0" brushRef="#br0" timeOffset="17">12693 36 9502,'2'0'-1147,"1"3"1147,-3-3 0,0 0 0,2 0 0,-2 2 0</inkml:trace>
  <inkml:trace contextRef="#ctx0" brushRef="#br0" timeOffset="18">12712 43 9502,'-3'-2'-169,"3"2"132,0 0 18,0 0-107,0 0 130,-1 0-3,1 0 124,0 0 48,0 0-41,0 0 41,0 0-113,-3 0 20,3 0-20,0 2-4,0-2-20,0 0 21,0 3-24,0-3 20,0 2-1,0 1-7,0-3 7,0 2-13,0 0 7,0-2-9,0 3 12,0 0-65,0-2 44,0 5-42,0-4 48,0 0-39,0 1 19,0-1-30,-3 1 44,3-1 8,0 3-9,0-2 45,0-2-37,0 2 33,0 0-43,0-1 3,0 3 1,0-3 0,0 1 8,0-1-38,0 0 31,0 4-27,0-5 38,0 2-54,0 0-14,0 1-7,0-1-62,0-1 91,0 3-52,0-3 35,0 1 22,0 0-22,0-2 15,0 5-3,0-4-3,0 0 1,0 1 7,0-1-3,0 1 3,0-1-1,0 0 1,0 1 7,0 0-5,-2-2 6,2 2 0,0 0-4,0-1 4,0 0-1,0 1-3,0-1 5,0 1-7,0-1 1,0 0-1,0 1 2,0-1 0,0 3-27,0-2 19,0-1-22,0 0 27,0 1 5,0-1-3,0 0 7,-2 1-10,2-1 3,0 1-4,0-1 16,0 0-10,0 1 12,0 0-17,0-2 12,0 2-8,0 0 11,-3-1-11,3 0 6,0 1-5,0-1 5,0 1-3,0-1-3,0 0 2,0 1-2,-2 0-2,2-2 3,0 2-4,0 0-7,0-1 9,0 0-11,0 1 12,0-3-17,0 2 13,0 1-14,0-1 16,0 0 3,0 1-3,0 0 4,0-3 2,0 1-5,0 2 6,0-3-8,0 3 1,0-1 1,0-2 1,0 2-7,0 1 7,0-1-7,0-2 9,0 3-43,0-3 29,0 2-31,0 0 34,0-2-8,0 3 1,0 0-4,0-3 14,0 1-2,0 2 3,0-3-6,0 0 21,0 3-14,0-3 17,0 2-33,0-2 10,0 2-9,0-2 14,0 3-24,0-3 20,0 2-19,0-2 23,0 3-41,0-3 23,0 2-26,0-2 39,0 2-1,0-2 0,0 3 17,0-3-22,0 3 22,0-3-25,0 1 34,0-1-20,0 3 22,0-3-24,0 3 35,0-3-21,0 0 26,0 2-30,0-2 15,0 2-11,0-2 13,0 0-17,0 3 12,0-3-3,0 2 10,0-2-44,0 3 26,0-3-29,0 2-5,0-2 25,0 2-32,0-2 38,0 0-43,0 3-8,0-3-10,0 3 12,0-3-18,0 1-5,0-1-14,0 3 18,-3 0-4,3-3-4,0 2-21,0 0 37,0-2 29,0 3 31,-2-3 0,2 2 0</inkml:trace>
  <inkml:trace contextRef="#ctx0" brushRef="#br0" timeOffset="19">12572 53 8523,'-2'0'21,"2"-2"95,0 2-70,0 0 5,0 0 9,0 0-8,-3 0 438,3 0-343,0 0 340,0 0-450,0 0 14,0 2-17,0-2 11,0 2-8,3-2 12,-3 3-11,0-3 17,0 3-12,0-2 9,0 2-7,0-3-15,2 3 11,-2-3-61,0 2 46,0 0-39,0-2 47,0 3-50,0-1 33,0-2-40,0 3 50,0-1 14,0 0-11,0 1 11,0 0 14,0-3-26,0 1 25,0 2-30,0 0 0,0-1 2,0 0 0,3 1-7,-3-3 6,0 2-2,0 1 9,0-1-26,0 0 19,0-2-23,0 3 25,0 0-41,0-2 30,0 2-36,0-3 33,0 3-2,0-1-3,0 0-10,0 1 14,0-1-14,0-2 16,0 3-2,0-1 0,0 0-2,0-2 3,0 3-1,0 0 1,0-2 0,0 2-2,0 0 34,0-3-23,0 2 25,0 0-31,0 1-23,0-1 16,0 1-16,0-3-2,0 2 18,0 0-19,0 1 12,0 0 7,0-3-9,0 4 10,0-1 5,0-1-5,0 0 4,0-2-7,0 3 3,0-1-1,0 1 2,0-1-1,0 0 25,0 1-15,0-1 17,0 0-44,-3 1 15,3 0-15,0 1 13,0-1 3,0-1-6,0 0 6,0 1-9,-2-1 6,2 1-7,0-1 7,0 0-6,0 1 4,0 0-4,0-2 3,-3 2-9,3 0 3,0-1-4,0 3 35,0-3-17,0 1 20,0-1-9,0 0-12,-2 1 13,2 0-14,0 1-3,0-1 4,0-1-3,0 3 4,0-3-11,0 1 12,-2-1-12,2 0 16,0 1-30,0 0 20,0 1-21,0-1 4,0-1 13,-3 0-17,3 1 13,0-1-1,0 1-1,0-1 4,0-2 0,0 5-1,0-5 1,0 4-1,0-1 1,0-3 0,0 3 0,0-1 0,-3 0 1,3 1-1,0-1 0,0 1-4,0-1 3,0 0-3,0 1 2,0-3 1,0 3-1,0-2 2,-1-1-1,1 3 0,0 0 0,0-3 0,0 0-8,0 0 6,0 2-6,0-2 7,0 0-9,-3 0 6,3 2-7,0-2 12,0 0-4,0 0 4,0 3 2,0-3-3,0 0 2,0 2-4,0 1 16,-3-1-11,3-2 12,0 2-15,0-2 18,0 3-13,0 0 15,-2-3-11,2 1-1,0-1 2,-2 3 38,2 0-31,0-1 33,0-2-42,0 2 34,0 1-23,0-3 29,0 2-35,0-2 25,0 3-18,0-3 21,0 2-22,0-2-41,0 2-12,0-2-2,0 0-164,0 0 79,0 3-114,0-3-221,0 0 121,-3 2-189,3-2 197,0 2-92,0-2 253,0 3-111,0 0 278,-2 1 0,2 1 0</inkml:trace>
  <inkml:trace contextRef="#ctx0" brushRef="#br0" timeOffset="20">13086 394 9502,'-2'0'-657,"2"0"1071,0 0-106,0 0-38,-3 0-53,3 0-74,0 0-87,0 0-8,0 0 15,0 0 46,-2 0 4,2 0-7,0 0 13,0 0-7,0 0 5,-2 0 12,2 0-18,-3 0 21,3 0-26,-2 2-30,0-2 22,2 0-15,-3 0 26,0 0-48,3 0 30,-2 0-46,0 0 57,-3 2-46,3-2-21,-1 0-3,-2 0-36,3 0 31,-3 0 3,2 0-11,-1 0 49,-1 0-22,0 3 18,3-3-54,-3 0-3,0 0-4,1 0 9,1 0-33,-2 0 50,0 2-63,3-2 73,-3 0-43,3 0 31,-4 0-47,5 0 31,-5 0-5,4 0 4,-3 0 1,3 0 5,-1 0-6,-1 0 4,1 0 24,-1 0-15,1 0 18,0 0-20,1 0 27,-3 0-19,3 0 18,-1 0-23,1 3-35,0-3 27,-1 0-27,0 0-2,2 0 25,-2 0-27,0 0 9,1 0 14,0 0-17,-1 0 17,1 0 4,-1 0-7,1 0 6,2 0-11,-2 2-7,-4-2 2,5 0-3,1 0 2,-3 0 8,0 0-7,1 0 9,0 0-10,-1 0 7,1 0-6,-1 0 14,1 0-5,2 0 6,-2 0-9,-1 2 18,1-2-14,0 0 14,-1 0-15,3 0 25,-3 0-15,1 0 17,2 0-20,-2 0 3,-1 0 2,3 0 1,-2 0 12,0 0-13,-1 0 17,3 0-14,-2 0 1,-1 0-1,1 0-2,0 0-31,-1 0 25,0 0-28,3 0 32,-2 0-31,0 0 19,-1 0-19,1 0 24,0 3-21,-1-3 15,1 0-22,-1 0 13,1 0 1,2 0-3,-2 0 21,-1 2-8,0-2 7,3 0-12,-1 0 25,-2 0-16,3 0 20,-3 0-24,1 0 6,0 0-5,2 0 8,-3 0-7,1 0 7,-1 0-5,3 0-1,-2 0 0,0 0-3,-1 0 6,3 0 4,-3 0-4,2 0 1,-2 0-4,0 0-12,3 2 10,-2-2-9,2 0 11,-2 0-14,-1 0 10,1 0-12,2 0 15,-3 0-13,1 0 9,2 0-9,-2 0 25,-1 0-12,3 0 12,-3 0-16,2 0 1,-2 0 0,3 0 0,-3 0-5,1 0 4,0 0-3,-1 0 5,1 0-7,2 0 4,-3 0-4,1 0 7,0 0-8,-1 0 6,0 0-8,2 0 8,-2 0-2,0 0 1,3 0-1,-2 0-1,0 0 1,-1 0 1,1 0-2,2 0 2,-5 0-1,5 0 1,-2 0-2,-1 0 1,0 0 0,2 0 0,-2 0-1,0 3 1,1-3-1,2 0 0,-2 0 1,-3 0 0,5 0-8,-3 0 6,1 0-6,0 0 8,-1 3-1,1-3 0,0 0 1,-1 0-2,0 0 29,3 0-20,-2 0 22,0 0-26,-1 0-3,1 0 3,0 2-2,-1-2-2,1 0 3,-1 0-3,1 0-5,0 0 7,-1 0-7,0 0 8,1 0-18,0 0 11,-1 0-13,1 0 14,0 0 2,-1 0-4,1 0 2,-1 0 0,1 0 6,2 0-5,-2 0 11,-1 0-10,0 0 5,2 0-6,-2 0-3,3 0 3,-3 0-1,1 0 2,0 0 1,2 0 1,-3 0-1,1 0-1,-1 0 3,1 0-2,0 2 2,-1-2-1,0 0-2,2 0 2,-2 0 2,0 0-3,1 0 3,0 0-3,-1 3 2,1-3-1,-1 0 3,1 0-3,0 2 1,2-2-1,-3 0 1,0 0-1,2 0 0,-2 0 0,0 0 0,1 2 0,0-2 0,-1 0 0,1 0 0,-1 0 0,1 3 0,0-3 1,-1 0-2,3 0 1,-4 0 0,4 0 1,-3 0-2,0 0 1,1 0 0,0 2 0,-1-2-4,1 0 3,-1 0-3,1 3-6,0-3 6,-1 0-6,0 0 5,2 0 2,-2 2-3,-2-2 4,3 0-11,-1 0 8,1 2-9,-3-2 9,5 0-5,-5 0 2,3 0-2,0 0 4,-1 3-10,0-3 7,1 0-7,2 0 20,-2 0-7,-1 0 8,1 0 15,2 0-20,-2 0 21,-1 0-25,1 0 25,2 0-17,-3 0 19,1 0-20,2 0-2,-2 0 4,-1 0-3,0 0 7,3 0-13,-4 0 12,4 0-11,-3 0-20,1 0 20,0 0-24,-1 0 24,1 0 1,-1 0-2,1 0 0,0 0 9,-1 0-7,0 0 6,2 0-8,-2 0 45,0 0-32,1 0 35,0 0-41,-1 0 0,3 0 4,-2 0-3,-1 0-1,3 0 1,-2 0 1,0 0-12,-1 0 13,3 0-12,-3 0 13,2 0-11,1 0 7,-3 0-8,0 0 7,1 0 25,2 0-20,-2 0 19,2 0-25,-3 0 4,1 0 0,-1 0 1,1 0 25,2 0-19,-2 0 21,-1 0-7,3 0-8,-3 0 12,2 0-16,1 0-13,-3 0 9,0 0-10,1 0 15,2 0-17,-2 0 12,-1 0-12,1-3 12,-1 3-8,1 0 6,2 0-9,-2 0 7,-1 0-1,0 0-2,2 0 0,1 0 4,-6 0-5,4 0 4,0 0 1,-1 0-1,-2 0 2,5 0-1,-2 0-17,0 0 11,-1 0-13,-1 0 16,1 0-10,0 0 7,3 0-8,-2 0 10,0 0-8,-1 0 5,1 0-7,-1 0 7,1 0-3,2 0 3,-2 0-4,-1 0 0,3 0 0,-2 0-1,0 0 6,2 0-2,-3 0 3,3 0-3,-3 0 1,1 0 0,2 0 1,-2 0-1,2 0-10,-3 3 7,1-3-7,2 0-15,-2 0 17,-1 0-17,3 0 12,-2 0 7,-1 0-10,1 0 8,2 0-17,-2 0 12,2 0-14,-3 0 18,3 0-37,-3 0 24,2 0-25,1 0 22,-3 0 8,0 3-8,3-3 7,-2 0-22,2 0 15,-2 0-15,2 0-21,-3 0 27,3 0-32,-2 0 38,2 1-4,-3-1 1,3 0 1,-2 0-1,2 0 11,-2 0-11,2 0 10,0 0 47,-3 0-40,3 0 44,-3 3-58,3-3 22,0 0-15,0 0 21,-1 0-7,1 0-2,0 0 2,-3 3-3,3-3-12,0 0 4,-3 0-2,3 0-214,0 0 129,0 0-132,0 0 121,0 0 81,0 0-47,0 0 10,3 0-15,-3 2-8,0-2 13,3 0-263,-3 0 73,0 0-210,0 0 276,0 0 89,1 2 117,-1-2 0,3 0 0</inkml:trace>
  <inkml:trace contextRef="#ctx0" brushRef="#br0" timeOffset="21">13118 396 8519,'-3'0'-164,"1"0"164,2 0 0,0 2 0,0-2 0,0 0 0,-3 0 0,3 0 0,0 0 0,0 0 0,0 0 0,-2 3 0,2-3 10,0 0-2,0 0 101,-2 0-72,2 0 234,0 0-111,0 0 110,0 0-31,0 0-77,0 2 28,0-2-79,0 0-10,0 0-29,0 0-53,2 0 49,-2 3-47,2-3 62,-2 0-57,0 0 37,3 0-39,-3 0 7,0 0-17,2 2-6,-2-2 7,3 0-9,-3 2-4,2-2-13,-2 0 12,0 0-8,2 3 31,1-3-39,-3 2-11,0-2 32,3 0-35,-2 2 47,-1-2-40,3 3 24,-3-3-29,0 3 36,2-3-40,-2 0 23,3 2-27,-3-2-37,2 2-13,-2-2-16,2 0 23,-2 3-207,0-3 66,0 0-90,0 0 163,3 2 146,-3-2 0,0 0 0</inkml:trace>
  <inkml:trace contextRef="#ctx0" brushRef="#br0" timeOffset="22">13100 398 8847,'-1'0'-411,"1"0"450,-3 0 53,3 0-39,0 0-13,0 0 21,0 0-6,-3 0-8,3 0 9,0 0-3,0 0-7,0 3 12,0-3-12,-2 0 31,2 0-24,0 0 28,0 0-32,0 2 60,0-2-46,0 0 43,-2 0-25,2 3-4,0-3 13,0 0-7,0 0-15,0 2 5,0 0-1,0-2-6,0 3 12,0-3-9,0 2 7,0-2-41,0 2 24,0 1-26,0 0 37,0-1-29,0 0 19,0 1-22,0-1 16,0 0-58,0 1 45,0 2-48,0-3-8,0 0 46,0 1-62,0 1 3,0-4 43,0 6-48,0-4 57,0 0-49,0 1 26,0-1-31,0 1 43,0-1-34,0 0 20,0-2-24,0 3 29,0 0-41,0-2 24,0 2-27,0-3 33,0 5-29,0-5 14,0 2-18,0 1 26,0-1 5,0-2-6,0 3 4,0-1 17,0-2-12,0 2 13,0-2 48,0 3-48,0-3 53,0 0-60,0 3 10,0-3 1,0 0 3,0 1 1,0-1-16,0 0 16,0 0-13,0 3-25,0-3 22,0 3-26,0-3 5,0 2 18,0-2-21,0 2 23,0 1-15,0-3 8,0 2-13,0 1 16,0-3-60,0 1 42,0-1-44,0 3 55,0-3-76,0 0 39,0 3-62,0-3 56,0 0 0,2-3 1</inkml:trace>
  <inkml:trace contextRef="#ctx0" brushRef="#br0" timeOffset="23">13128 410 9502,'-6'0'-401,"6"0"92,-2 0 144,2 0 49,-2 3 61,2-3 8,-3 2 64,3 0-38,-2 1 27,2 2-31,-3 0 22,3-3 9,0 3-10,-2 0 12,0-1 0,2 2-1,0-5 0,0 5-4,-3-4 1,6-2-4,-3 2 0,2-2 0</inkml:trace>
  <inkml:trace contextRef="#ctx0" brushRef="#br0" timeOffset="24">13147 427 8976,'0'-2'-57,"0"2"71,0 0 108,0 0-77,-3 0 2,3 0 26,0 0-18,0 2 18,0-2-33,0 3 38,0-1-20,0-2 25,0 2-23,0-2-9,0 3 5,0-1-5,0 1-22,0-3 16,0 2-15,0 0 22,-3 1-70,3 0 50,0-2-54,0-1 26,0 3 26,0 0-33,0-1 30,0 0-53,0-2 35,0 3-45,0-1 58,0 1-52,0-1 38,0-2-53,0 2 55,0 1-17,0-3 18,0 3-7,0-3 5,0 1-6,0 2 5,0-3 4,0 3-3,0-1 5,0-2-9,0 2-3,0-2 4,0 3-1,0-3 6,0 2-1,0-2 1,0 0-10,0 3 7,0-3-7,0 2 8,0-2-44,0 2 31,0-2-35,0 3 44,0-3-66,0 0 47,0 0-52,0 3 62,0-3 0,-2 1-2,2-1-2,0 0 21,0 3-23,0-3 23,0 0 21,0 3 9,0-3 6,0 2-13,0-2-16,0 2-15,0-2 25,0 0-25,0 3 16,0-3-11,0 0 13,0 2-9,0-2-50,0 3 37,0-3-42,0 0 0,0 0 36,0 1-42,0-1 46,0 0-10,0 3 5,0-3-14,0 3 22,0-3-11,0 2 5,0-2-9,0 0 21,0 2-15,0-2 20,0 3-17,0-3-6,0 2 9,0-2-9,0 0 12,0 3-29,0-3 20,0 0-21,0 2 23,0-2-2,0 0-1,0 2 12,0-2-9,0 0 8,0 3-11,0-3 7,0 0-5,0 3 8,0-3-8,0 0 1,0 1 2,0-1 0,0 0 3,0 3-3,0-3 3,0 0-2,0 0 5,0 3-4,0-3 3,0 2-2,0-2 6,0 0-3,0 0 41,0 0-35,0 2 45,0-2-24,0 0 2,0 0-10,0 0-9,2 0-6,-2 0-174,0 0 118,0 0-144,0 0 159,3 0 0,-3 0 0</inkml:trace>
  <inkml:trace contextRef="#ctx0" brushRef="#br0" timeOffset="25">13122 427 8199,'-2'-2'0,"2"2"0,0 0 0,0 0 0,0 0 0,0 0 0,-2 0 0,2 0 0,0 2 0,0-2 0,0 0 0,0 3 0,0-3 0,-3 2 0</inkml:trace>
  <inkml:trace contextRef="#ctx0" brushRef="#br0" timeOffset="26">13125 432 9502,'0'5'-379,"0"-5"333,-3 2-60,3 1 25,0 1-100,-2-1 51,2 0 71,0-2 2,-2 2 74,-1 2-70,3-3-15,-2 1-9,-1 2 5,3-3 69,0 0-8,0 1 11,0 0 0,0-3 0,0 1 0</inkml:trace>
  <inkml:trace contextRef="#ctx0" brushRef="#br0" timeOffset="27">13115 434 9502,'-2'0'-602,"2"0"471,-3 0 62,3 0 46,0 0 18,0 0 22,-2 3 13,2-3-16,-2 0 22,2 2-34,0 1 25,0-3-28,-3 2-29,3 0 42,0 1-42,-3 0 54,3-2-55,-1 5-24,1-4 0,0 3-76,0 0 72,0-3-75,0 0 79,0 4 12,0-5 43,0 2 0,0 0 0,0-1 0,0-2 0,1 0 0,2 0 0,0 0 0,1 0 0,-4 0 0,3-2 0,-1-1 0,1 3 0,-3-3 68,2 2-10,-2 1 62,0-3-55,0 3 57,2 0-71,-2 0 44,-2 0-46,2 3-82,-2-3 68,-1 4-68,3-1-5,-2-1-26,-1 0-11,1 3-20,0-2 37,-1-1-43,3 3 8,-3-5 32,3 4 36,0-4 25,0 3 0,0-3 0,0 0 0,3 0 0,0 3 0,1-6 0,-1 3 0,-1 0 0,1-3 0,-3 3 0,2-1 0,0 1 64,-2-3 26,0 3-4,3 0 135,-3 0-168,0 0 111,-3 0-124,3 0-30,-2 3 26,0-2-20,2-1-26,-3 3-12,3 0-6,-2-1-62,2 0 28,-3-2-12,3 3 18,0-1 16,0 1-5,-2-3-20,2 1 17,0-1-16,0 3 39,0-3-42,0 0 43,2 0 49,-2 0-34,3 0 39,-3 0-54,2 0 44,-2 0 14,3 0 80,-1-3 9,-2 3-25,0-1-23,2 1-6,-2 0 5,0 0 125,3 0-129,-3 0 29,-3 0-109,3 1-55,0-1 76,-2 3-41,2 0-11,-2-1-10,2-2-17,0 2 19,0-2-9,-3 3-6,3-3-23,0 2 22,0-2 16,0 0 27,0 0-28,0 3 73,0-3-46,0 0 46,0 0 3,0 2-33,0-2 42,0 0-53,0 0 36,0 0-20,0 0 25,0 2-29,0-2 52,0 0-38,0 0 52,0 0-49,0 0 29,0 3-19,0-3 15,0 0 1,0 0-14,0 3 20,3-3-11,-3 0-9,0 0 9,0 0-11,0 0-40,0 1-10,0-1-2,2 0 8,-2 0-37,0 0 13,0 0-67,0 0 69,0 3 10,2-3 35,1 0 0,-3 3 0</inkml:trace>
  <inkml:trace contextRef="#ctx0" brushRef="#br0" timeOffset="28">13129 434 9502,'-1'3'-1139,"-2"-1"1048,0 1 19,1-3 72,2 0 0,-2 2 0,2-2 18,0 0-13,0 0 15,0 0-22,0 0 3,2-2-3,-2 2 4,0 0 1,0 0-1,0 0-1,0-3 10,0 3-7,0 0 7,0 0-12,0 0-33,0-2 27,0 2-29,0 0 37,0 2-4,-2-2 2,2 0 2,0 3 0,-3-3 3,3 0-3,0 2 3,-2-2-3,2 2-1,0-2 13,0 0 55,0 0-34,-3 0 78,3 0-91,0-2 36,3 2-43,-3-2-6,0 2 5,0-3 1,0 1-32,0 2 33,0 0-34,0 0 24,0 0 6,0-3-61,0 3 46,-3 0-44,3 0 52,-2 3-64,2-3-11,-2 2-2,2 1 16,-3-1 57,3 0 0,0 1 0,-3-3 0,3 0 0,3 3 0,-3-2 0,0-1 0</inkml:trace>
  <inkml:trace contextRef="#ctx0" brushRef="#br0" timeOffset="29">13028 442 9390,'0'2'201,"0"0"-176,0-2 32,0 3-15,0-3 9,0 3-15,0-2-15,0 2 6,0 0-8,-2-1-30,2 0-10,0 1-6,0-1 16,0 1-79,0-1 31,0 0-123,0 1 121,0 0-192,0-3 104,0 0-71,0 0 115,2 0 105,-2 1 0,0-1 0</inkml:trace>
  <inkml:trace contextRef="#ctx0" brushRef="#br0" timeOffset="30">12977 449 9528,'0'0'273,"3"0"-222,-3 0 80,0 0-131,0 0 33,0 0-121,0-3 109,0 3-210,0 0 106,0 0-291,0 0 255,0-2-50,0 2 169,0 0 0,0-2 0</inkml:trace>
  <inkml:trace contextRef="#ctx0" brushRef="#br0" timeOffset="31">12831 456 9856,'2'-3'-139,"-2"3"137,0 0-56,2 0 23,-2 0 36,0 0-44,0 0 42,3 0-10,-3 0 3,0 0-56,0 0 41,2 0-40,-2 0 57,0 0-14,0 0 8,0 0-11,3 0 8,-3 0 37,0 0-27,0 0 24,0 0 16,2 0-35,-2 0 39,0 0-32,0 0-7,2 0 16,-2 0-14,0 0 13,0 3-21,0-3 27,0 0-5,0 0 8,3 0 36,-3 0-11,0 3 4,0-3 0,0 0-6,0 0-10,0 0 22,0 0-20,0 2-4,0-2 12,0 0-8,0 0-47,0 0 32,0 2-83,0-2 68,0 0-26,0 0 27,0 0-20,0 0 9,-3 3-12,3-3 14,0 0-3,0 2-1,0-2 1,0 3 23,-2-3-12,2 2 16,0-2-22,0 2 9,-2-2-5,2 3 7,0-3-5,0 3-2,0-3 3,0 0-2,0 1 1,-3 2-1,3-3 0,0 0 0,0 3 7,0-1-5,0-2 3,0 0-18,0 2 6,0-2-7,0 0 13,0 3-6,0-3 4,0 0-5,0 2-32,0-2 28,0 0-30,0 0 36,0 0-7,0 3 4,0-3-6,0 0 4,0 0 21,0 0-18,0 2 76,0-2-59,0 0 45,0 0-23,0 0-14,0 0 19,0 0 26,3 0-28,-3 0 26,0 0-41,0 0-4,0 0-31,0 0 26,2 0-21,-2 0 23,0 0-17,0 0 9,2 0-12,-2 0-6,0 0 17,0 0-20,0 0 21,3 0-26,-3 0 18,0 0-23,0 0 23,0 0-2,0 0 2,2 0-10,-2 0 9,0 0-9,0 0 11,0 0-7,0 0 5,2 0-7,-2 0 1,0-2 1,0 2-2,0 0 3,0 0 11,0-3-7,3 3 7,-3 0-10,0-2 17,0 2-11,3-3 13,-3 3 11,0-2-19,2 2 22,-2-2-8,0-1-18,0 0 18,2 2-19,-2 1-5,0-3 10,3 0-8,-3 1 11,0 0-58,0 2 39,0-5-44,0 5 52,0-3-46,0 3 28,2-2-32,-2 0-15,0-1 44,0 0-51,0 3-5,0-1-24,0 1 2,0-3 6,0 3-126,0-3 31,0 3-124,0-2 82,0 2 127,-2 0 12,2 0 88,0 0 0,-3 0 0</inkml:trace>
  <inkml:trace contextRef="#ctx0" brushRef="#br0" timeOffset="32">13129 449 9502,'0'4'-179,"0"-1"50,0 0-107,0 1 106,0-1 100,-1-1 9,-2 3-2,3-3 31,-3 4-40,1-5 48,0 2-69,2 2-17,-3-3-7,1 1 16,2-1 8,-3 1 39,3-1-43,0-2 49,0 0 0,0 0-3,3 0 0,-1-2 1</inkml:trace>
  <inkml:trace contextRef="#ctx0" brushRef="#br0" timeOffset="33">12968 449 9738,'0'3'117,"0"-3"-213,0 0 0,2-3 1</inkml:trace>
  <inkml:trace contextRef="#ctx0" brushRef="#br0" timeOffset="34">13035 456 9477,'3'0'482,"-3"0"-57,-3-3-389,3 3-40,-2 0 2,0 0-98,2 0 106,-3 0-222,1 0 102,2 0-157,-2 0 155,2 0 71,-3 0 45,3 0 0,-2 0 0</inkml:trace>
  <inkml:trace contextRef="#ctx0" brushRef="#br0" timeOffset="35">13057 456 9493,'3'0'-25,"-3"0"72,0 3-37,0-3 37,0 0-39,0 0-63,0 0 35,-3 0-7,3 0 21,0 0 1,0 2-10,-2-2-43,2 0-20,0 0 59,-2 0-17,2 0 48,0 2-34,-3-2 24,3 0-24,0 0 20,0 3 2,0-3-5,0 0 2,0 2 55,0 1-38,0-3 41,0 0-47,0 2 53,0-2-34,0 0 39,0 2-46,0-2 41,3 0 26,-3 3-6,2-3 46,-2 0-40,0 3 15,0-3-54,2 0 52,-2 0-131,0 0 123,0 0-93,0 0-64,-2 0 22,0 0-59,-1 0 57,1 0 45,-3 0 0,3 0 0</inkml:trace>
  <inkml:trace contextRef="#ctx0" brushRef="#br0" timeOffset="36">12925 468 8932,'0'-2'-107,"-3"2"297,3 0-40,0-3-75,0 3-127,0 3 55,0-3-31,0 0 37,0 2-35,0 1 21,0-3-24,0 2 7,-3-2 23,3 0-31,0 2 31,0-2-13,0 3 10,0-3-9,0 3 7,0-3 21,0 0-15,0 1 16,0-1-10,0 0-8,0 3 10,3-3-11,-3 0 62,0 0-42,0 0 44,0 3-43,3-3-10,-3 0 15,0 0-14,0 0 12,2 0-4,-2 0 4,0 0 0,2 0-35,-2 0 25,0 0-25,0 0 2,0 0 18,0 0-22,3 0 25,-3-3-25,0 3 16,0 0-20,2-3 11,-2 3 6,0-1-6,0 1 7,0 0-19,0-3 12,0 3-15,0 0 19,0-3-43,0 3 29,0-2-31,0 2 24,0 0 6,0-2-11,0 2 12,0 0 14,0 0-16,0 0 41,0-3-43,0 3-28,0 0 22,0 0-45,0 0 67,0 3 14,0-3-16,0 2 18,0 0-21,0-2 19,0 3-12,0-3 14,0 3-14,0-3 19,0 0-8,0 1 11,0-1 8,3 0-21,-3 3 21,0-3-25,0 0 69,2 0-48,-2 0 55,0 3-83,0-3 18,2 0-16,-2 0 21,0-3-9,3 3 7,-3 0-7,0 0 7,0-3-10,3 3 5,-3-1-7,1 1 33,-1-3-20,0 0 19,3 3-30,-3-2 16,0 0-10,0-1 12,0 1-170,0 2 35,0-3-107,0 3 129,0-2 46,0 2 43,0-2 0,0 2 0</inkml:trace>
  <inkml:trace contextRef="#ctx0" brushRef="#br0" timeOffset="37">13005 463 8802,'1'0'277,"-1"0"-237,0 0-1,0 3-39,0-3 28,0 2-30,0-2 38,0 3 10,0-3-8,0 2 12,0-2-14,0 2-5,0-2 1,0 3-48,0-3 33,0 0-92,0 0 14,0 0 2,0 0-66,3-3 114,-3 3-67,0-2 74,0 0-32,0 2 22,0-3-31,0 1 60,0-1-35,0 3 35,0 0 13,0-2-31,0 2 31,0 0 385,0-2-296,0 2 184,0 0-367,3 2-130,-3-2 137,2 0-99,-2 0 93,0 0-126,2 0 121,-2 0-5,3-2 75,-3 2 0,0 0 0</inkml:trace>
  <inkml:trace contextRef="#ctx0" brushRef="#br0" timeOffset="38">12751 466 8376,'0'-3'-161,"0"3"161,0-2 0,0 2 0,0 0 0,0 0 46,0 0 142,0 0-87,0 0 86,0 0-151,2 0-12,-2 0 22,0 2-21,0-2-1,0 0 0,0 0-3,0 3 0,0-3 9,0 2-9,0-2-14,-2 3 13,2-1-20,0-2 23,0 2-40,0 1 29,0 0-31,0-3 36,0 1-39,-3 2 27,3 0-29,0-1 34,0 0-26,0-2 19,0 3-25,0-1-38,0 1-19,0-3-8,0 2 19,0-2 11,0 2 41,0-2-33,0 3 49,0-3 0,3 0 0</inkml:trace>
  <inkml:trace contextRef="#ctx0" brushRef="#br0" timeOffset="39">12970 463 9061,'0'0'157,"0"0"-99,0 0-40,3 0 38,-3 0-70,0 0 54,0 0-21,0 0 0,0 0-29,3 0 29,-3 0-33,0 0 43,0 0-29,0 0 19,0 0-23,0 0 22,1 0-18,-1 0 10,0 0-18,0 0 28,3 0-6,-3 0 4,0 0-30,0 0 17,3 0-20,-3 0 27,0 0-22,0 0 17,2 0-16,-2 0 19,0 0 10,0 0-8,0 0 7,0 0-11,0 3 14,0-3-9,0 0 9,0 0-16,0 0 1,0 2-1,0-2 7,0 0-15,0 3 14,0-3-13,0 0-28,0 2-12,0-2-5,0 2 11,-2-2 16,2 0 15,0 3-22,0-3 21,-3 0 33,3 3-24,0-3 24,0 0 29,0 0-48,0 1 52,0-1-59,-3 0 28,3 3-12,0-3 16,0 0 11,0 0-12,0 3 18,0-3-52,3 0 12,-3 0-25,0 0 33,0 0-67,3 0-19,-3 0-11,2 0-194,-2 0 98,0 0-67,2 0 124,-2 0 117,0 0 0,3 0 0</inkml:trace>
  <inkml:trace contextRef="#ctx0" brushRef="#br0" timeOffset="40">12679 468 8678,'-3'0'172,"3"-2"-47,0 2-144,3 0 28,-3 0-46,0 0 50,0 0-12,1 0-5,-1 0 7,0 0-26,0 0 21,0 0-7,0 2 9,3-2 18,-3 0-12,0 0 13,0 0-14,0 0-4,3 0 4,-3 3-5,0-3 38,0 0-24,0 0 27,0 0-30,0 0 2,0 2-1,0-2 0,0 0 21,2 0-13,-2 2 15,0-2-17,0 0-18,0 0 13,0 3-13,0-3 16,0 0-10,0 3 7,0-3-9,0 0 9,0 0-30,0 1 21,0-1-23,0 0 6,0 3 13,0-3-13,0 0 3,0 3 12,0-3-15,0 2 16,0-2-1,0 2 0,0-2 0,0 3-1,0-3-3,0 2 3,0-2-1,0 0-19,0 0 14,0 3-14,0-3 19,0 2-2,0-2 0,-2 0 0,2 0 8,0 2-6,0-2 6,0 3-8,0-3 19,0 0-13,0 0 15,0 0-19,0 0 2,0 3-1,0-3 4,0 0-19,0 1 14,0-1-13,0 0 16,0 0-4,0 0 2,0 3 1,0-3-1,0 0 2,0 0-4,0 0 59,2 0-39,-2 0 42,0 0-48,0 3-9,0-3 12,0 0-8,0 0-1,0 0 1,0 2 8,0-2 0,0 0 27,0 0-25,0 0 11,0 0-17,0 0 29,0 0-15,-2 0 19,2 0-23,0 0-3,-3 0 9,3 0-8,-3 0-201,3 0 39,0 0-80,-1 0 122,1 0 100,-3-2 0,3 2 0</inkml:trace>
  <inkml:trace contextRef="#ctx0" brushRef="#br0" timeOffset="41">12896 473 8847,'2'0'-370,"-2"0"499,0 0-43,0-2 4,0 2-36,2 0-1,-2 0 24,0 0 10,0 0-30,0 0 31,0 0-33,3 0-2,-3 0 4,0 2-13,0-2 6,0 0-4,0 2 6,0-2 7,0 0-9,0 3 6,0-3-7,0 3-64,0-3 46,0 0-45,0 1 14,0-1 32,0 3-41,0-3 45,0 0-122,0 0 78,0 0-98,0 0 107,0 0-29,0-3 22,0 2-24,0 1-15,0 0 27,0 0-30,0-3 40,0 3-11,0-3 6,-3 3-7,3 0 16,0-2-6,0 2 3,0 0-8,0 0 73,0-2-58,0 2 109,0 0-37,0 0-6,0 0 21,0 0-82,0 0 17,0-3-15,3 3 0,-3 0 7,0 0-9,0 0 14,2 0-108,-2 0 23,0 0-101,3 0 104,-3 0-212,0 0 220,2 0-165,-2 0 220,0 0 0,2 0 0</inkml:trace>
  <inkml:trace contextRef="#ctx0" brushRef="#br0" timeOffset="42">12886 478 9281,'0'-3'-333,"0"3"277,0 0 124,0 0 1,0 0-28,0-2 45,0 2-33,0 0-4,0 0 49,0 0-34,0 0-4,0 0-10,0-2-53,-3 2 11,3 0 20,0 0-22,0 0 27,-2 2-52,2-2 31,0 0-36,0 0 43,0 0-35,-2 2 19,2-2-24,0 0-5,0 3 31,-3-3-35,3 3 21,0-3 8,0 0-11,0 0 14,-2 1-6,2-1 3,0 0-5,0 3 7,0-3-2,0 0-1,0 0 0,0 3-1,0-3 5,0 0-3,0 2 4,0-2 32,0 0-25,0 0 27,0 2-33,0-2 44,0 0 10,2 0 7,-2 0 35,0 3-71,3-3 39,-3 0-45,0 0-21,0 0 16,2 0-12,-2 0 22,0 0-22,0 0 14,2 0-21,-2 0-12,3 0 24,-3 0-28,0 0 52,3-3-14,-3 3 10,0 0-17,1-2 9,-1 2-5,0-2 9,0 2-12,3-3-29,-3 3 22,0-3-17,0 3-32,0-1 45,3 1-47,-3 0 54,0-3-145,0 3 22,-3 0-92,3-3-146,0 3 101,-3 0-44,3 0 151,-1 0 142,-2 0 0,3 0 0</inkml:trace>
  <inkml:trace contextRef="#ctx0" brushRef="#br0" timeOffset="43">12976 478 9502,'1'0'-554,"-1"-3"424,3 3 181,-3 0-42,0 0 112,0 0-72,3 0 267,-3 0-195,0-2 136,0 2-278,-3 0-4,0 0 14,3 0-13,-1 2-20,1-2-24,-3 0 25,3 0 15,0 0 36,-3 3-46,3-3 26,0 0-11,-2 3 5,2-3-3,0 0 59,0 0-43,0 1 45,0-1-19,0 0-16,0 3 22,0-3-25,0 0-18,0 3 14,0-3-15,2 0 23,-2 0-118,3 0 26,-3 0-111,3 0 120,-3 0 12,1 0 65,2-3 0,0 3 0</inkml:trace>
  <inkml:trace contextRef="#ctx0" brushRef="#br0" timeOffset="44">12676 478 9079,'0'-3'-147,"0"3"241,0 0-84,-3 0 9,3 0-61,0 0 51,0 3-38,0-3 45,0 0-32,0 0 16,0 3-19,-2-3 20,2 0-14,0 0 5,0 1-9,0-1-19,0 3 27,0-3-31,0 3 36,-2-3 1,2 2 0,0-2 2,0 2 51,0-2-42,0 0 44,0 3-54,0-3 65,0 2-42,0-2 47,0 0-56,0 0-9,0 0 14,0 3-11,0-3-10,0 0 12,0 2-8,0-2 16,0 0-29,0 0 19,0 2-28,0-2 10,0 0 13,0 3-16,0-3 15,0 0 11,0 0-13,0 3 11,2-3-10,-2 0 5,0 0-2,0 0 4,0 1-3,0-1 37,0 0-24,0 0 27,0 0-51,0 0 11,2 0-9,-2 0-98,0 3 83,0-3-87,0 0 108,0 0-1,0 0 0,0 3 0</inkml:trace>
  <inkml:trace contextRef="#ctx0" brushRef="#br0" timeOffset="45">12534 478 9763,'0'3'234,"0"-3"-191,-3 1 30,3-1 7,0 3-7,0 0-66,0-1 38,0 0-50,0 1 63,0-1-50,0 1-14,0-1-4,0 0 8,0 1-17,0 0-14,0-2-13,0-1 18,0 3-34,0 0 22,0-3-92,0 2-425,0-2 314,0 0-284,0 0 460,0-2 67,0-1 0,0 0 0</inkml:trace>
  <inkml:trace contextRef="#ctx0" brushRef="#br0" timeOffset="46">13129 481 8858,'0'0'-438,"0"0"676,0-3-82,0 3-3,0 0-73,-1 3-24,1-3-12,-3 1-38,3 2 44,-3 2-46,1 0 7,2-3-19,-2 3-5,-1-3 13,3 1 1,-2 1-21,2-1 3,-3 0-7,3-1-33,0-2-28,0 2-15,0-2-36,0 0 43,3-2 9,-1 2-8,1-2 58,-1-1-6,0 0 44,1 2 13,0-2 4,-2 3-24,-1-3 21,3 1 5,-3 2 17,2-2 118,-2 2-131,0 0 153,0 2-156,-2-2 53,2 2-52,-3 1-2,3 0 2,-1-2-28,-2 2 24,3 0-15,-3-1 23,3 0-47,-2 1 34,2-3-41,0 2 45,0-2-157,0 3 90,0-3-105,0 0 121,2 0 18,-2 0 20,3 0-14,-3 0 15,0 0-23,0 0 48,0 0-36,3 0 104,-3 1-95,0 2 58,0 0-64,-3-1-78,3-2 14,0 2-31,0 1 53,-3-1 42,3 1 0,0-1 0</inkml:trace>
  <inkml:trace contextRef="#ctx0" brushRef="#br0" timeOffset="47">12169 481 9920,'3'0'1010,"-3"0"-508,0 0-437,0 0-8,0 1-16,0 2-33,0-3 4,0 3 14,-3-1-8,3 0 6,0 1-26,0-1 12,-3 1-6,3 1 11,0-1 13,0 0-29,-1-2-9,1 2 0,0 2-24,0-3-41,-3 1 70,3-1-35,0 1 48,0-2-25,0 2 13,0 0-17,0-1 22,0-2-10,0 2 3,0 1-7,0-3 14,0 2-42,0-2 31,0 3-31,0-1 23,0-2 9,0 0-11,0 2 9,0-2-4,0 0 0,0 3-2,0-3 21,0 3-9,0-3 10,3 0-15,-3 0-6,0 1 4,0-1-3,1 0 5,-1 3-22,0-3 17,0 0-16,0 3 18,0-3 2,3 2-3,-3-2-10,0 0 10,0 2-13,0-2 13,0 3-11,0-3 8,0 2-9,0-2 9,0 3 32,0-3-23,0 2 26,0-2-4,0 2-19,0-2 22,0 3-23,0-3 15,0 3-9,0-3 11,0 1-26,0-1 8,0 3-4,0-3 7,0 3-52,-3-3 38,3 0-44,0 2 55,0-2-52,0 2-10,0-2-14,-1 3-51,1-3 15,0 0 6,0 2 0,0-2-32,0 0 0,-3 3-96,3-3-9,0 0 25,0 2-34,0-2 98,0 0-71,0 2 159,0-2-52,0 0 125,0 0 0,0 3 0,0-3 0,0 0 0,0 0 0,0 3 0,0-3 0,0 0 0,0 0 0,0 0 0,0 1 155,0-1-48,0 0 122,0 0-66,0 0-23,0 0-25,3 0-18,-3 0-6,0 0 24,0 0-8,1 0 3,-1 0-7,0 0 31,3 0-12,0-1 12,-3 1-30,2 0 0,0 0 7,1-3 13,-1 3-25,1-3 22,1 3-25,-1-2-43,0 2-9,1-2 10,-1 2-76,-1-3 28,3 3-24,-3-2 20,3 2-2,-3-3-15,1 3-19,-1-2 20,3 2 6,-2-2 0,-1 2-21,3 0-1,-3 0 28,0-3 3,3 3-4,-2 0 3,-1 0-3,0 0 3,1-3-10,0 3 16,1 0-15,-1 0 18,-1 0 42,0 0-30,1-1 31,2 1-3,-3 0-28,0 0 30,1 0-34,0-3-3,-2 3 6,2 0-3,0 0-5,-1 0 5,0 0-2,1 0 9,-1 0-39,1 0 28,-1 0-35,3-3 41,-2 3-53,-2 0 38,2 0-48,0 0 35,-1 0 3,0 0-7,1 0 25,2 0 37,-3 0-25,0 0 22,1 0 3,1 0-33,-1 0 39,0 0-47,-1 0 54,0 0-37,3 0 46,-2 0-52,-1 0-11,0 0 14,4 0-16,-5 0-26,2 0 32,2 0-37,-3 0 49,1 0-50,-1 0 34,1 0-46,1 0 41,-1 0-4,0 0 2,1 0-2,-1 0 42,-1 0-33,3 0 32,-3 0-35,3-2 32,-3 2-19,1 0 22,-1 0-22,3 0-29,-2 0 25,-1-2-23,0 2-1,3 0 17,-3 0-20,1 0 1,2 0 16,-3 0-18,0 0 17,1 0 6,0-3-10,1 3 8,-1 0-10,1 0 15,-1 0-10,-1 0 9,1 0-7,-1 0-5,0-2 5,1 2-4,0 0-3,-2 0 5,5 0-5,-6 0 7,4 0-19,-1 0 13,-1-3-15,1 3-3,-1 0 13,0 0-15,1 0 17,0 0 2,-2 0-2,2 0 0,0 0-1,-1 0 6,3 0-5,-3 0 3,1 0 19,-1-2-17,0 2 20,1 0-11,1 0-4,-1 0 9,0 0-11,-1 0 0,0 0-1,1-2 1,-1 2 0,1 0-31,-1 0 22,0 0-25,1 0 31,1 0-3,-1 0 1,0 0-5,-1 0-7,0 0 3,1 0-5,2 0 17,-3 0-4,0 0 3,1 0-6,-1 0 34,0 0-23,4 0 26,-4 0-34,0 0 36,1 0-25,-1 0 31,3 0-35,-3-3-1,1 3 0,1 0 1,-1 0-20,0 0 20,1 0-20,-4 0 23,5 0-12,-3 0 7,1 0-9,-1 0-19,3 0 21,-3 0-28,1 0 31,0 0-8,-2 0 6,5 0-6,-4 0 4,0 0 9,1 0-6,-1 0 8,1 0 29,1 0-27,-4 0 30,3 0-36,0 0 6,-2 0-3,2 0 8,0 0-13,-1 0 7,0 0-4,1 0 5,-1-3-49,1 3 35,-1 0-40,0 0 47,1 0-5,0 0-1,-2 0-1,2 0-4,0 0 13,-1 0-13,0 0 22,1 0-17,-1 0 12,1 0-11,-1 0 5,0 0-1,1 0 3,0 0 1,1 0 0,-1 0 2,-1 0-2,0 0-2,1 0-28,-1 0 19,1 0-19,-1-1 20,0 1 4,1 0-6,0 0 13,1 0-8,-1 0 6,-1 0-8,0 0 9,1 0-6,-1 0 7,1 0-9,1 0 5,-1 0-2,-1 0 3,0 0 5,1 0-7,0 0 9,-1 0-8,0 0 3,1 0-4,-1 0 3,1 0-30,-1 0 20,3 0-21,-3 0 26,0 0-28,1 0 18,0 0-21,-1 0 24,3 0 13,-3 0-11,0 0 10,1 0-13,-1 0 6,1 0-8,-1 0 6,0-3-6,4 3 25,-5 0-16,2 0 19,0 0-22,-1 0 2,0-3 1,1 3-2,-1 0 1,1 0-3,1 0 4,-4 0-19,6 0 13,-5 0-13,2 0 16,0 0-39,-1 0 29,0 0-33,1 0 26,-1 0 5,1 0-7,-1 0-11,0 0 17,1 0-20,0 0 22,-2 0-19,2 0 14,0 0-17,-1 0 17,0 0 24,1 0-16,-3 0 22,2 0-28,1 0-14,-1 0 11,0 0-9,-2 0-13,3 0 20,-3 0-21,3 0 9,-3 0 12,1 0-14,2 0 17,0 0 9,-3 0-7,2 0 1,-2 0-7,2 0 36,-2 0-24,3 0 30,-3 0-39,2 0 49,-2 0-34,0 0 42,3 0-29,-1-2-6,-2 2 10,2 0-12,-2 0 15,3 0-9,-3 0 12,3 0-21,-2 0 5,-1 0-5,3 0 5,-3 0-8,3 0 5,-1 0-4,-2 0 4,2 0 2,-2 0-1,3 0 0,-3 0 0,2 0 9,-2 0-7,3 0 3,-3 0-6,0 0-3,2-2 5,-2 2 3,2 0-2,1 0 2,-3 0-2,2 0-4,-2 0 3,0 0-3,2 0 2,-2 0 7,3 0-5,-3 0 5,3 0 0,-3 0-4,2 0 4,-2-3-1,2 3-2,-2 0 3,3 0-4,-3 0-16,2 0 12,-2 0-14,0 0 17,3 0-19,-1 0 14,-2 0-14,0 0 15,2 0-24,-2 0 14,3 0-15,-3 0 13,2 0 7,-2 0-10,0 0 23,2 0-13,-2 0 15,0 0-16,3 0 4,-3 0-4,0 0 5,0 0-3,3 0 21,-3 0-15,0 0 17,2 0-20,-2 0 8,0 0-5,0 0 2,2 0-5,-2 0-1,0 0 4,3 0 3,-3 0-3,0 0 3,0 0-3,2 0-11,-2 0 8,0 0-10,0 0 11,0 0-11,0 0 9,2 0-10,-2 0 22,0 0-8,0 0 9,0 0-6,0 0-4,3 0 6,-3 0-7,0 0 0,0 0 6,0 0-4,0 0 6,2 0 4,-2 0-8,0 0 11,0 0-8,0 0 0,0 0-137,3 0-39,-3 0-141,0 0 0,0 0 0</inkml:trace>
  <inkml:trace contextRef="#ctx0" brushRef="#br0" timeOffset="48">12767 481 8753,'3'0'71,"-3"0"7,0 0 117,0 0-219,-3 0 37,3 0-46,-1 0 54,1 0-55,-3 0 39,3 0-44,-3 0 31,3 1 3,-2-1-7,2 0-5,-2 3 18,2-3-18,-3 0 18,3 3-7,0-3 6,-2 0-8,2 2 6,0-2-12,0 0 9,0 0-6,0 0 9,0 0 3,2 0 20,-2 0-17,0 0 18,3 0-23,-3 0 21,0 0-14,0 0 18,2 0-21,-2 0 8,0 0-3,0 0 4,2 0-16,-2 0 8,0 0-10,3 0 13,-3 0-8,0 0 7,3 0-9,-3 0 7,0 0 34,1 0-24,-1 0 23,0 0 31,3 0-43,-3 0 46,0 0-52,0 0 14,3 0-3,-3 0 6,0 2 4,0-2-16,0 0 18,0 3-14,0-3-28,0 2 20,0-2-24,0 0-20,0 3 33,0-3-34,0 2 38,0-2-41,0 0 24,0 0-29,0 2-21,0-2 2,0 0-57,0 3 14,0-3 0,0 0 0</inkml:trace>
  <inkml:trace contextRef="#ctx0" brushRef="#br0" timeOffset="49">12777 485 8208,'3'0'267,"-3"0"-121,0 0 76,0 0-99,0 0-51,0 0 78,2 0-106,-2 0 39,0 0-49,3 0 4,-3 0-46,0 0 32,0 0-31,0 0 8,2 0 28,-2 0-31,2 0 32,-2 0-47,0 0-10,0 0-13,3 0 18,-3 0-36,0 0 54,0 0-63,0 0 49,0 0 3,3 0-16,-3 0 32,0 0-19,0 0 64,0-3-49,0 3 42,-3 0-43,3 0 25,0 0-13,-3 0 17,3 0-14,-2 0 20,0 0-10,2 0 14,-3 3-16,1-3 8,2 3-3,-3-3 4,3 2-8,0-2 39,-2 2 15,2 1-1,0-1 63,0-2-91,0 3 59,0-3-113,0 2 38,0-2-36,2 2 49,1-2-87,-3 3 23,2-3-52,1 0 49,1 0 25,-1 0 0,0-3 0</inkml:trace>
  <inkml:trace contextRef="#ctx0" brushRef="#br0" timeOffset="50">12727 482 8928,'0'3'120,"0"-3"-73,0 3-19,0-3 19,0 0-22,0 2-38,0-2 27,0 0-30,0 2 27,0-2 7,0 3-9,0-3-1,0 2 9,0-2-12,0 0 13,0 3-50,0-3 35,0 2-39,0-2 47,0 0-45,0 2 31,0-2-38,0 3 45,0-3-24,0 0 18,0 0-22,0 0-3,0 0 9,0 0-48,0 0 48,2 0-27,-2 0 35,0 0 5,0 0-6,0-3 5,0 3-10,0 0 20,0-2-15,0 2 15,0 0-29,0 0 10,0-2-8,0 2 10,0-3-1,0 3 0,0 0 2,0 0 11,0-2-6,0 2 5,0 0-11,0-3 13,0 3-10,0-2 11,2 2 24,-2 0-27,0 0 31,0-2 10,3 2-28,-3 0 33,0-3-39,0 3 9,0 0-3,0 0 5,0 0-6,3 0-6,-3-3 6,0 3-5,0 0 7,0 0 4,1 0-3,-1 0 3,0 0-10,0 0 3,3 0-4,-3 3 53,0-3-36,0 0 37,0 0-46,3 0-2,-3 0 5,0 3-3,0-3 5,0 0-12,0 2 11,0-2-10,0 0 13,0 2-21,0-2 13,0 0-14,0 3 1,0-3 11,0 2-12,0-2-1,0 0-16,0 3 6,0-3-9,0 2 14,0-2 5,0 0-8,0 2 13,-3-2-7,3 3 5,0-3-7,0 0 6,0 0-35,0 3 26,0-3-27,0 0 33,0 0-257,0 0 173,0 0-191,0 0 234,3 0 2,-3 0 18,0-3 4,2 3 21,-2-3 0,2 3 0</inkml:trace>
  <inkml:trace contextRef="#ctx0" brushRef="#br0" timeOffset="51">12488 490 9502,'0'-2'227,"2"2"-147,-2 0-100,0 0-13,0-3-68,0 3-166,0 0 101,0 0-30,0 0 114,0 0 82,2 0 0,-2-3 0</inkml:trace>
  <inkml:trace contextRef="#ctx0" brushRef="#br0" timeOffset="52">12698 492 9502,'2'0'-699,"0"0"661,-2 0 53,0 0 25,0 0 51,0 0-43,0 0 25,0 0-60,0-2-10,3 2 45,-3 0-120,0 0 97,0 0-78,0 0 74,3 0-7,-3 0 9,0 0 17,0 0-26,0 0 29,1 0-23,-1 2-34,0-2 31,0 0-31,0 0 3,0 0 17,0 0-23,3 0 12,-3 0 16,0 0-20,0 0 5,0 0 2,3-2-12,-3 2 14,0 0 0,0 0-1,0 0 26,0 0-20,2 0 21,-2 0-1,0 0-15,0-2 17,0 2 1,-2 0-13,2 0 15,0 0-18,0-3 5,-3 3-1,3 0 2,0 0-3,0 0-1,-3 0 2,3 0 0,0 0 4,-1 0-3,1 0 2,0 0-30,0 3 19,-3-3-19,3 0 24,0 0-25,0 2 16,-3-2-19,3 0 22,0 0-17,0 2 12,0-2-16,0 3 12,-2-3 3,2 0-6,0 2 4,0-2-20,0 0 11,0 0-11,0 3 8,0-3 8,0 2-9,0-2 11,0 0 4,0 2-3,0-2 3,0 0-6,0 3 52,0-3 15,0 0 4,2 0 46,-2 0-86,0 0 41,0 0-52,3 3 0,-3-3 9,3 0-4,-3 0-53,1 0-23,-1 0 2,3-3 12,-3 3-87,3 0 28,-3 0-104,2 0 76,-2-3 72,0 3 13,2-2 44,-2 2 0,3-2 0</inkml:trace>
  <inkml:trace contextRef="#ctx0" brushRef="#br0" timeOffset="53">12611 492 10680,'0'0'-95,"0"0"6,0 0 55,0-2 23,0 2-39,0 0 120,0 0-61,0 0 108,0 0 106,0 0-122,0 0 167,-3 0-237,3 0 53,0 2-34,0-2 9,0 0-3,0 0-2,0 3-27,0-3 19,0 0-15,0 0-20,0 2 24,0-2-32,3 0 32,-3 0-29,0 0 24,0 0-26,2 0 31,-2 0-70,2 0 48,-2 0-52,0 0 65,3-2-79,-3 2 57,0 0-67,0 0 22,3-3-29,-3 3 7,0 0-2,-3 0 58,3-2-14,0 2 9,-3 0 30,3 0-22,0 0 26,-2 0-37,0 0 63,2 0 21,0 2 11,-3-2 39,3 0-33,0 3-5,0-3 8,-2 0-53,2 2 14,0-2-5,0 0 54,2 0-47,-2 3 52,0-3-61,3 0-5,-3 0 11,2 0-15,0 0 21,-2 0-71,3 0-15,-3 0-9,3 0-91,-3 0 77,0 0-101,2 0 103,-2 0-59,0-3 87,0 3-68,0 0 57,0 0-22,0 0 25,-2 0-29,2-2 71,-3 2-13,0 0 25,3 0-15,-2 0 61,2 0-13,-2 0 87,2 0 20,0 0-34,0 2 64,-3-2-37,3 0 30,0 0-53,0 0 5,0 0-14,0 3-18,0-3 24,3 0-23,-3 0 56,0 0-27,2 0 36,-2 0-55,2 0-143,-2-3 38,3 3-112,-3 0-598,3 0 518,-3 0-492,2-2 673,-2 2 0,0-3 0</inkml:trace>
  <inkml:trace contextRef="#ctx0" brushRef="#br0" timeOffset="54">12495 490 9376,'0'0'-217,"3"0"-113,-3 0 0</inkml:trace>
  <inkml:trace contextRef="#ctx0" brushRef="#br0" timeOffset="55">12536 497 9502,'2'0'-221,"-2"0"224,0 0 18,0 0 49,3 0 37,-3 0 20,0-2 10,0 2-26,0 0 71,0 0 50,0 0-46,0 0 38,0-3-115,0 3-81,-3 0-20,3 0 10,-2 0 6,2 0-82,-2 0 16,2 0-101,-3 0 68,3 0-189,-3 3 45,2-3-128,1 0 143,0 0-32,-3 0 21,3 0 27,0 0 67,-3 0 121,3 2 0,0-2 0</inkml:trace>
  <inkml:trace contextRef="#ctx0" brushRef="#br0" timeOffset="56">12565 495 8586,'2'0'665,"-2"0"-491,0 0 196,0 0-71,3 0-137,-6-3 42,3 3-209,0 0-63,-2 0 7,2 0-1,-2 0 15,2 0 21,0 0-24,-3 0 57,3 0-66,-3 0 59,3 0-14,-1 3 7,1-3-5,-3 0 20,3 0-12,0 0 13,-3 2-9,3-2 0,0 0 1,0 0 0,-2 0-8,2 0 5,0 3-5,0-3 8,0 0-52,0 0 37,0 2-41,0-2 4,0 0 31,0 0-35,0 0 39,0 0 17,0 2-19,2-2 17,-2 0-25,0 0 60,3 3 6,-3-3 9,0 0 19,3 0-33,-3 0 6,1 0 40,-1 0-56,3 0 31,-3 3-31,0-3 10,3 0 1,-3 0 1,0 0-9,2 1-15,-2-1 11,0 0-12,0 0 8,2 0 5,-2 3-5,0-3 8,0 0 64,0 3-49,0-3 51,0 2 1,0-2-47,0 2 61,0-2-71,0 0 39,0 0-29,0 3 27,0-3-42,0 0-13,0 0 10,0 2-54,0-2 54,0 0-41,-2 0-88,2 0 19,-2 0-118,2 0 100,-3 0-299,3-2 96,-3 2-79,2 0 180,-2-3 200,0 3 0,1-2 0</inkml:trace>
  <inkml:trace contextRef="#ctx0" brushRef="#br0" timeOffset="57">12423 495 9168,'-3'0'-44,"3"0"60,0 0 42,0 0-97,-2 0 82,2 0-183,0 0 114,0 0-64,0 0 35,-3 0 46,3 0-15,0 0 13,0 0-2,0 0 7,0 0 8,0 0-5,0 2 10,0-2-12,0 0 25,0 0-16,0 3 17,0-3 9,-2 0-22,2 2 24,0-2-31,0 2 6,0-2-5,0 3 8,0-3-10,0 0 0,0 3-2,0-3 2,0 1-7,0-1 10,0 0-11,0 3 10,0-3 70,0 0-52,0 3 54,0-1-25,0-2-30,0 0 37,0 2-65,0-2 24,0 3-21,0-3 30,0 2-26,0-2 22,0 3-21,0-3 27,0 0-75,0 1 50,0-1-56,0 3 53,0-3 29,0 3-32,0-3 28,0 0 35,0 2-38,0-2 45,0 0-64,0 2 8,0-2-5,0 3 14,2-3-37,-2 2 28,0-2-27,0 0 36,0 3-19,0-3 15,0 0-16,0 2-4,0-2 12,0 2-23,0-2 13,0 0-25,0 0-195,0 3 146,0-3-133,0 0 211,0 0 0</inkml:trace>
  <inkml:trace contextRef="#ctx0" brushRef="#br0" timeOffset="58">12512 511 8816,'0'0'272,"0"0"-261,0 3 17,0-3-21,0 0-12,0 3 31,0-3-33,0 2 40,0-2-47,0 2-10,0-2-5,-3 0-30,3 3 65,0-3-58,0 0 51,0 0-23,0 0 85,0-3-44,0 1 47,0 0-58,0-1 53,0 0-34,0 3 37,0-1-1,0-2-35,0 0 42,0 1-46,0 2 8,0-2-6,0 2 12,0-3-6,0 3 141,0 0-109,0 0 103,3 0-130,-3 0 28,0 0-16,2 0 17,-2 3-75,0-3-9,3 0-7,-3 0 15,0 0-155,2 0 45,-2 0-134,2 0 153,-2 0 52,0 0 51,3 0 0,-3 0 0</inkml:trace>
  <inkml:trace contextRef="#ctx0" brushRef="#br0" timeOffset="59">12347 497 9282,'3'0'60,"-3"0"-23,0 0-71,3 0 49,-3 0-61,0 0 74,0 0-64,0 3 44,2-3-53,-2 0 42,0 0 1,0 0-4,0 0 2,2 2-6,-2-2-1,0 0-2,0 0 30,0 2-10,0-2 14,0 0-20,0 3 30,0-3-21,3 0 25,-3 0-30,0 0-1,0 3 1,0-3 1,0 0-14,0 1 15,0-1-15,2 0 18,-2 3-5,0-3 3,0 0-4,0 3-5,0-3 6,0 2-9,0-2 8,0 0-6,0 2 5,0-2-6,0 0 5,0 3-15,0-3 12,0 2-18,0-2 15,0 0-2,-2 3 3,2-3 2,0 0 0,0 1-1,0-1 0,0 0 11,0 3-10,0-3 9,0 0-11,0 0-18,0 3 14,0-3-14,0 0 20,0 2-66,0-2-18,0 0-3,0 0-155,0 0 170,0 0-130,0 2 149,0-2 0,0 0 1</inkml:trace>
  <inkml:trace contextRef="#ctx0" brushRef="#br0" timeOffset="60">12346 538 8742,'-3'0'105,"3"0"-65,0 0 16,-3 0-15,3 0-37,0 0 48,0 0-90,0 0 68,0 0-101,-2 0 32,2 0-15,0 0 16,0 0 30,0 0 4,0 0-5,0-2 16,0-1-13,0 3 12,0 0-6,0-3-6,0 3 7,0-1-6,2 1 4,-2-3-13,0 3 12,3-2-11,-3 2-6,0-3 11,3 3-14,-3-2 17,0 2 3,0 0-3,0-2 0,1 2-1,-1-3-29,0 3 20,0 0-22,0 0 45,3-3-16,-3 3 17,0 0-19,0 0 9,3-1-5,-3 1 7,0 0 10,0 0-14,2-3 16,-2 3-19,0 0 35,0 0-25,2 0 28,-2 0-30,0 0 3,0-3-1,0 3 1,0 0-2,0 0-4,3-2 4,-3 2-31,0 0 3,0 0-27,0 0 1,0 0 0</inkml:trace>
  <inkml:trace contextRef="#ctx0" brushRef="#br0" timeOffset="61">12490 502 9545,'2'0'-48,"-2"0"0,-2 0 48,2 2 0,0-2-7,0 0 5,-2 0-5,2 3-33,0-3 25,0 0-31,0 0 4,0 0 25,-3 0-41,3 0 37,0 0-16,0 0 33,0 0-4,0 3 16,0-3 6,0 0-19,-2 0 16,2 0-14,0 0 3,0 0 0,0 0-4,0 1 17,0-1-11,0 0 12,0 0-9,0 0 34,0 0-19,0 0 23,0 0-26,0 3-64,0-3 37,0 0-54,0 0 58,0 0-10,0 0 11,0 0-151,0 0 83,0 3-114,2-3 118,-2 0 1,0 0 0</inkml:trace>
  <inkml:trace contextRef="#ctx0" brushRef="#br0" timeOffset="62">12437 504 9380,'0'3'201,"0"-3"-160,0 0-50,0 3 37,0-3-44,0 0-11,0 1 46,0-1-52,0 3 63,0-3-66,0 0 45,0 3-53,3-3 62,-3 2-31,0-2 22,0 2-33,0-2 68,2 0-42,-2 3 43,0-3-43,0 0 20,0 0-10,2 2 12,-2-2-9,0 0-9,0 0 10,3 0-9,-3 0-16,0 0 15,0 0-18,2 0 1,-2 0 15,0 0-17,0 0 17,0-2-5,2 2-2,-2-3 0,0 3 0,0 0-34,0-2 22,0 2-24,3-2 32,-3-1-67,0 3 44,0 0-48,0-3 48,0 3 14,0 0-19,0-1 54,0 1-32,0 0 31,0-3 52,0 3-56,0 0 73,0 0-80,0 3 5,0-3-5,0 1-13,-3-1 8,3 3-11,0-3 1,0 0 10,0 3-9,0-3 10,0 2-6,0-2 4,0 0-5,0 2 5,0-2 6,0 0-5,0 0 5,0 3 14,0-3-15,0 2 17,0-2 29,0 3-36,0-3 40,0 0-49,3 0-4,-3 1 5,0-1-2,2 0 6,-2 0 3,3 0-3,-3 0 1,0 0-12,2 0 10,-2 0-10,0 0 10,2-1-26,-2 1 16,0 0-17,0 0-38,0-3 45,3 3-49,-3-2 58,0 2-14,0-3 10,0 3-11,0 0 10,0 0-10,0-2 8,0 2-14,0 0 31,0 0-22,0 0 8,0 0-62,0-2 30,0 2-26,0 2 52,3-2 13,-3 0-9,0 0 6,0 2-19,0-2-43,0 0 32,1 0-33,-1 0 0,0 0 28,3 0-36,-3-2 46,0 2-72,0 0 67,0-2-49,3-1 79,-3 0 0,2 2 0</inkml:trace>
  <inkml:trace contextRef="#ctx0" brushRef="#br0" timeOffset="63">12490 507 9304,'0'0'27,"2"0"-20,-2 0 8,0 0-10,0 0 7,0 0-3,0 0 2,0 0-1,3 0 1,-3 0 12,0 0-8,0 3 12,0-3-14,0 0 1,0 0-2,0 1 3,0-1-7,0 0 7,0 0-5,3 0 3,-3 3 2,0-3-4,0 0 2,0 3-1,0-3 1,0 0 0,0 2 0,0-2-12,0 0 9,0 0-9,0 2 8,0-2-8,0 0 3,0 0-23,0 0 22,0 3-13,0-3 17,0 0 0,0 0-51,0 0 36,0 2-234,0-2 126,0 0-95,1 0 143,-1 0 68,0 0 0,3 3 0</inkml:trace>
  <inkml:trace contextRef="#ctx0" brushRef="#br0" timeOffset="64">12425 511 9910,'-2'-1'270,"2"1"-248,0 0-6,-3 0 15,3 0-62,0 0 22,-2-3-108,2 3-147,-3 0 55,3 0-50,-2 0 137,0 0 122,2 0 0,-3 0 0</inkml:trace>
  <inkml:trace contextRef="#ctx0" brushRef="#br0" timeOffset="65">12227 507 8847,'-3'0'-290,"3"0"373,0 0 109,-2 0-126,2 0 56,0 0 6,0 0-9,0 0-91,0 3 12,0-3-48,-2 0 69,2 0-13,0 1 4,0-1-10,0 0-1,0 0-30,0 3 22,0-3-26,0 0 23,0 3 0,0-3-8,0 2 6,0-2-29,0 2 25,0-2-23,0 3-9,0-3 28,0 2-31,0 1 38,0-3-51,0 0 32,0 1-38,0 2 43,0-3 3,0 3-5,0-3 4,0 2-9,0-2-16,0 0 5,0 2-8,0-2-10,0 3 23,0-3-24,0 0-38,0 2 44,0-2-47,0 0 59,0 0-47,0 3 29,0-3-34,0 0 40,0 0-6,0 2 118,0-2-84,0 0 107,0-2-118,0 2 12,0-3-4,0 3 4,0-2-46,2 2-17,-2-3-3,0 3 11,0-2 19,0 2 19,0 0-32,0-2-3,0 2 7,0-3-13,0 3 13,0 0 25,0 0-25,2-3 23,-2 3 10,0 0-12,0 0 20,0-1-25,0 1 35,0 0-24,0 0 29,3 0-11,-3 0-12,0 0 14,0-3-19,0 3 9,3 0-2,-3 0 6,0 0 34,0 0-28,0 0 64,0 0-62,0 0 31,2 0-17,-2 0-10,0 0 15,0 0-23,0 0 37,0 0-26,0 3 44,2-3-44,-2 0 15,0 0-16,0 0 2,0 0-14,0 1 14,0-1-14,3 0-2,-3 0 9,0 3-12,0-3 18,0 0-43,0 0 26,0 0-30,0 0 38,0 3-28,0-3 21,0 0-29,0 0 56,0 2-24,0-2 24,0 0-32,0 0 5,0 0-4,0 0 5,0 2-13,0-2 11,0 0-11,0 3 16,0-3-18,0 0 13,0 2-15,0-2 15,0 0-36,0 0 22,-3 3-25,3-3-25,0 2 43,-2-2-49,2 0 40,0 2 8,0-2-12,0 0 12,0 3 16,-2-3-16,2 0 15,0 3-20,0-3 74,0 0-54,0 1 58,0-1-65,0 0 46,0 0 19,0 0-2,0 3 53,0-3-86,0 0 54,0 3-85,0-3 33,0 0-30,0 2 35,0-2-61,0 0-11,0 0-6,0 2 11,0-2 7,0 0-36,0 0-171,0 0 131,0 0-76,2 0 184,-2 0 0,2 0 0</inkml:trace>
  <inkml:trace contextRef="#ctx0" brushRef="#br0" timeOffset="66">12194 511 9260,'0'0'22,"0"0"65,0-1 7,-3 1-13,3 0-39,0 0-11,0 0 4,0 0-57,0 0 26,-3 0-12,3 0 9,0 0 11,0 0 15,0 0-26,-2 0-19,2 0-3,-2 0-19,2 0 20,0 0-4,-3 0-1,3 0-14,0 0 13,-2 0-15,2 0 38,-3 0-42,3 0 47,0 1-64,-2-1 47,2 0-49,0 0 30,0 0 15,-2 0-21,2 3 21,0-3-2,0 0 0,-3 0-4,3 0 27,0 3-21,0-3 22,0 0-20,0 0 0,0 2 0,0-2 5,-3 0 17,3 0-10,3 0 35,-3 2-35,0-2 19,0 0-2,0 0-11,3 0 13,-3 0-16,0 0 11,0 0-6,2 3 8,-2-3 3,0 0-10,2 0 12,-2 0-13,0 0 6,0 0-5,3 0 3,-3 2-14,0-2 9,2 0-9,-2 0 10,0 0-6,0 0 3,0 0-3,3 0 4,-3 0-2,0 3 2,0-3-2,0 0-1,2 0 2,-2 0-2,0 0 2,0 0-1,0 0 0,2 0-21,-2 0 16,0 0-16,0 0 21,0 0-1,0 0-1,0 1 5,0-1-6,3 0 6,-3 0-2,0 0-3,0 0 3,0 3-4,0-3 58,0 0-41,0 0 46,0 0-30,0 0-14,0 3 18,0-3-19,0 0-6,0 2 7,0-2-7,0 0 9,0 0 13,0 0-8,0 2 11,0-2-23,0 0 5,0 3-2,0-3 1,0 0 3,0 2 3,0-2-4,0 0 5,0 0 60,0 3-45,0-3 49,0 0-6,-3 2-42,3-2 50,0 0-57,0 0 57,0 2-41,0-2 47,0 0-67,0 0 17,0 0-11,0 0 31,0 0-11,0 0 13,0 3-71,-2-3 33,2 0-39,0 0-56,-2 0 25,2 0-97,0 0 99,-3-3-1,3 3 50,-2 0-8,2 0 0,-3-2 0</inkml:trace>
  <inkml:trace contextRef="#ctx0" brushRef="#br0" timeOffset="67">12492 511 9238,'0'0'-435,"3"0"307,-3 0-79,0 0 0</inkml:trace>
  <inkml:trace contextRef="#ctx0" brushRef="#br0" timeOffset="68">12376 514 8607,'0'0'776,"0"0"-722,0 0 155,0 0-167,0 0-29,0 3 21,0-3-20,0 2-18,0-2-2,0 2-15,0-2 14,0 3-36,0-3 54,0 2-61,0 1 70,0-3-51,0 0 34,0 1-42,0-1 30,0 3 2,3-3-4,-3 0 11,0 3 36,0-3-27,3 0 27,-3 2-33,0-2 32,0 0-22,2 0 28,-2 0 6,0 0-21,0 0 26,0 0-21,0 0 1,2 0 4,-2 0-42,0 0 18,0 0-29,3 0 37,-3 0-57,0 0 41,0-2-50,0 2 59,0 0-45,0-3 30,0 3-36,0 0 37,0 0-7,0-3 4,2 3-8,-2 0 36,0-1-27,0 1 27,0 0-4,0 0-17,0 0 22,0 0-24,3-3 4,-3 3-1,0 0 4,0-2-3,0 2-39,0 0 27,0-3-30,0 3-4,0 0-13,0-2-2,0 2 4,0 0-10,0 0-29,0-2 5,0 2-182,0 0 100,0 0-56,0-3 115,0 3 109,0 0 0,0 0 0</inkml:trace>
  <inkml:trace contextRef="#ctx0" brushRef="#br0" timeOffset="69">12495 514 9196,'0'0'107,"3"0"97,-6 0-11,3 0-204,0 0-11,-3 0 13,3 0 3,-2 0-7,2 0-20,0 0 18,-2 0-24,2 3 44,0-3-48,-3 2 53,3-2-16,0 0 11,0 2 10,0-2-7,0 0 12,-2 3-16,2-3-2,2 2 1,-2-2 1,0 0 2,0 3-66,3-3-17,-1 0-6,-2 0 17,2 0 63,-2 0 2,3 0 1,-3 0 0,3 0 0</inkml:trace>
  <inkml:trace contextRef="#ctx0" brushRef="#br0" timeOffset="70">12273 526 8204,'0'-2'373,"0"2"145,0-3-227,0 6-7,0-3-268,0 0-47,0 2 55,0-2-29,0 3 22,0-3-34,0 0 34,0 1-42,0 2 32,0-3-30,0 0-8,0 3 28,0-1-30,0-2 39,0 0-8,0 2 4,0-2-6,0 3-7,0-3 6,0 0-8,0 2 1,0-2 6,2 0-3,-2 0 3,0 0 1,0 0 0,0 0-1,3 0 1,-3 0 9,0 0-6,0 0 8,0 0 14,2 0-16,-2 0 17,0 0-23,0 0 53,0 0 16,2 0 2,-2 0-3,0 0-38,3-2 1,-3 2 4,0 0-37,0-3 16,0 3-16,3-2 2,-3 2 1,0 0-7,0 0 7,0 0-16,0-2 21,0 2-26,0 0 23,0-3-16,0 3 5,1 0-9,-1 0 15,0 0 3,0 0-2,0-3 1,0 3-5,0 0 4,0 0-4,0-1-8,0 1 8,0 0-9,0 0 12,0 0-19,0 0 12,3-3-13,-3 3 17,0 0-14,0 0 9,0-2-10,0 2 10,0 0-5,0 0 2,0-3 4,0 3 0,0 0 7,0 0-7,0 0 0,0 0 2,0-2-6,0 2 24,0 0 4,0 0 68,0 0-39,0 0 26,0 0-67,0 0 5,-3 2-8,3-2 11,0 0-17,0 3 12,0-3-16,0 2 17,0-2-11,0 3 8,-1-3-10,1 1 35,0-1-20,0 3 21,0-3-10,0 3-10,0-1 13,0-2-16,0 0 0,0 2 0,0 1 2,0-3 0,0 2-29,0-2 20,0 0-22,0 0 31,1 3-115,-1-3 25,0 0-112,3 0-68,-3 0 38,3 0-57,-3 0 155,0-3 62,2 3 65,-2 0 0,2-2 0</inkml:trace>
  <inkml:trace contextRef="#ctx0" brushRef="#br0" timeOffset="71">12362 521 9502,'-2'-2'4,"-1"2"0,3 0 26,0 0-21,-2 0 35,2 0-59,0 0 53,-2 0-19,2 0 25,0 0-83,0 0 27,-3 0-120,3 0 127,0 0-92,0 0 86,0 0-76,-3 0 51,3 0 21,0 2 0,0-2 0</inkml:trace>
  <inkml:trace contextRef="#ctx0" brushRef="#br0" timeOffset="72">12304 530 8886,'0'-1'408,"0"1"-210,0 0-69,0 0-59,3 0-57,-3 0 60,0 0-111,0 0 40,2 0-29,-2 0 14,0 0-28,0-3 50,0 3-57,0 0 35,2 0 9,-2 0-15,0 0 25,3 0 2,-3 0-3,0 0-1,0 0 12,0 0-9,3 0 12,-3 0-14,0 0 22,0 0-8,1 0 2,-1 0-3,0 0-29,0 0 24,0-2-2,0 2 1,0 0 7,0 0 28,0 0-30,0 0 33,0 0-37,-1-3-17,1 3 17,0 0-16,0 0 3,-3 0 7,3 0-8,0 3 1,-3-3 16,3 0-16,-2 0 15,2 0 11,0 0-16,-2 2 17,2-2-22,0 0 8,-3 3-5,3-3 4,0 0 1,-2 0-7,2 1 9,0-1-7,0 0-17,0 3 14,-3-3-16,3 3 23,0-3-12,0 2 7,0-2-12,0 0 86,0 2-57,3-2 60,-3 0-74,0 3 58,2-3 17,-2 2 2,3-2-4,-1 0-47,-2 0 7,2 0-1,1 3 13,0-3-111,-2 0 37,-1 0-89,3 0-234,-3-3 85,3 3-89,-1 0 190,-2 0 156,0-2 0,2-1 0</inkml:trace>
  <inkml:trace contextRef="#ctx0" brushRef="#br0" timeOffset="73">12246 526 9064,'3'0'42,"-3"0"-29,2 0-30,-2 0 41,0 0-63,2 0 41,-2 0-45,0 0 47,0 0-41,0 0 22,3 0-27,-3 0 31,0 0 9,0 0-12,3 0 40,-3 0-30,0 0 29,0 0-12,0 0-8,1 0 48,-1 0-26,0 0 22,0 3 24,0-3-38,3 0 8,-3 0-29,0 0-13,0 0-13,0 0 26,0 0-28,0 0 27,0 1-17,0-1 11,0 0-12,0 0-8,0 3 16,-3-3-22,3 0 24,0 0-17,0 3 12,0-3-14,0 0-2,-1 2 9,1-2-9,0 0 14,0 0 0,0 2 0,0-2-1,0 0 0,0 3 3,0-3-4,0 0 3,0 0-3,0 2 6,0-2-3,0 0 5,0 0-128,0 3 92,0-3-90,0 0 122,0 2 0,0-2 0</inkml:trace>
  <inkml:trace contextRef="#ctx0" brushRef="#br0" timeOffset="74">12210 530 9706,'-2'-1'445,"2"1"-371,0 0-50,0 0-56,0 0 70,-3 0-95,3 0 96,0 0-86,0 0 63,0 0-113,-2 0 104,2 0-84,0 0 59,0 0-34,-2 1-30,2-1 67,0 0-22,0 3 25,-3-3 19,3 3-23,0-3 21,0 2 21,0-2-14,0 2 17,0 1-25,0-3 62,0 2 17,0-2 9,0 3-8,0-3 0,0 2 29,3-2-8,-3 2-59,2-2-73,-2 0 11,0 0-320,2 3 130,-2-3-223,3 0 252,-3 0 98,0 0 79,2 0 0,-2 0 0</inkml:trace>
  <inkml:trace contextRef="#ctx0" brushRef="#br0" timeOffset="75">12256 536 9743,'0'-3'-7,"0"3"-5,-3 0 28,3 0-80,0 0 67,0 0-83,-2 0 19,2 0-30,0 0 42,-2 3-8,2-3 52,0 0-7,0 2-4,0-2-15,-3 0 56,3 0-45,0 2 45,0-2 8,0 3 16,0-3 4,0 0-11,0 2-2,0-2-25,0 0 33,3 0-71,-3 0 36,0 0-35,2 3 48,-2-3-118,0 0 29,2 0-104,-2 0 96,0 0 18,0 0 48,3 0 5,-3 0 0,3-3 0</inkml:trace>
  <inkml:trace contextRef="#ctx0" brushRef="#br0" timeOffset="76">12929 579 9502,'12'-2'-887,"-5"2"655,-1-3 147,-2 1 15,1 2 74,0-3-4,-3 1 44,-2 2 12,3-2-16,-3 2 7,3 0-48,-3-3-12,0 3 25,-3 0-29,3 0 27,-3 0-35,1 3 26,0-3-27,-1 2 12,1 0 13,-1-2-17,1 3 16,0-3 3,2 2-13,-3-2 9,3 3 5,-3-3-2,3 0 14,0 0-16,0 0 5,0 0-4,3 0 4,0 0-3,-1 0 4,3 0-3,0-3 0,-1 3-1,2-2 0,-2-1-1,3 3 1,-2-2-1,-2 0 2,1 2-2,-1-3 1,1 3-1,-1 0 4,-3-3-2,3 3 3,-3 0 22,2 0-20,-4 0 21,2 0-25,0 0-53,-3 0 40,3 0-43,-3 0 32,3 3 13,0-3-15,-1 3 15,1-3 7,0 2-2,0-2 6,0 2-2,1-2 0,-1 3 0</inkml:trace>
  <inkml:trace contextRef="#ctx0" brushRef="#br0" timeOffset="77">13086 569 9502,'0'-2'-297,"0"0"283,0 2-91,0-3 42,0 3-121,0 0 78,0 0 57,0-3 19,0 3 61,-2 0-59,2 0 39,-5 0-46,3 0 54,-3 0-45,0 3 31,0-3-33,0 3 42,1-3-53,-1 2-30,0 0 4,0-2-43,2 3 96,-1-1-32,1-2 44,1 3 0,0-3 0,2 0 0,0 0 0,0 2 0,0-2 0</inkml:trace>
  <inkml:trace contextRef="#ctx0" brushRef="#br0" timeOffset="78">13048 569 9502,'2'-2'-224,"-2"0"229,3 2-69,-1 0 20,-2-3-69,0 3 100,0 0 41,-2 0 26,-1 0-53,1 3 42,-3-3-44,0 2 54,0-2-58,0 2-13,1-2-5,-1 0-23,0 3 16,-3-3 11,4 2-75,-1-2 36,0 0-16,3 0 20,-3 0-6,3 0-8,-1 0-22,0 0 21,2 0-11,1 0 37,0 0-34,1 0 44,2 0 3,2 0 17,-3 0 23,3 0-16,0 0 15,0 0-5,-1 0-24,2 0 29,-2 0-29,-1-2 66,2 2 23,-3 0-3,0-3-8,1 3-12,-1 0 27,-2 0-2,0-2 13,0 2-1,0 0-24,0 0 4,-5 0-26,1 0-33,-1 0 39,0 0-76,-3 0 53,4 0-56,-3 0 66,-1 0-35,1 0 18,0 0-23,0 0 18,-1 2-30,4-2-26,-2 3 9,2-3-12,-1 0-6,3 2-35,-1-2 13,3 0-56,0 0 46,0 0-18,3 0 73,-1 0 5,3 0 48,-1 0-40,2-2 43,-2 2-28,-1 0 25,2-3-52,-3 3 53,0 0-35,1-2 40,-3 2 10,3 0 21,-3 0 15,1-2 28,-1 2-36,-1 0 8,1 0-13,-3 0-25,0 0-11,-1 0 9,-1 0-40,0 0 31,0 0-31,-2 0 33,2 0-23,0 0 14,0 0-16,-2 0 14,3 0-37,-2 0-23,2 0-3,1 0-32,1 2 23,-1-2 8,1 2-57,2-2 79,-2 0-53,4 0 60,-2 3 24,2-3-15,1 0 17,-1 0-27,3 0 50,-3 0-35,4 0 43,-5 0-54,2-3 52,0 3-36,-1 0 79,0-2-37,-2 2 13,3 0-14,-3-2 28,2 2 7,-2-3 16,0 3-19,-2 0-57,2 0 5,-3 0-6,-1 0 15,1 0-52,-1 0 36,-2 0-41,2 0 54,-1 3-78,0-3-19,0 2-13,1-2-27,-2 2 88,2-2-26,1 3-34,1-3 55,-1 0-70,3 2 76,-2-2-3,4 0 34,-2 0-15,0 0 14,3-2-19,-1 2 35,1 0 19,-3 0-1,2-3 32,-2 3-18,0 0-5,0 0 36,2 0-68,-4 0 38,2-2-39,0 2 9,-2 0-6,-1 0-30,1 0 21,-1 0-26,1 0-16,0 0-13,-1 2-8,-1-2 15,1 0-29,0 0-14,-1 3-19,4-3 29,-3 0 57,1 2 14,0-2 0,2 0 0,0 0 22,-3 0-12,3 0 9,0 0 53,0-2-58,3 2 66,-3 0-71,0-3 10,0 3-4,-3 0 3,3 0-13,0 0 13,-2 0-13,2 0 18,-3 0-36,1 0 25,2 0-28,-2 0 10,-1 0 2,0 0-12,1 0 11,0 0-48,-1 3 43,1-3-47,0 2 56,2-2-3,-3 0 4,1 0 0,2 3 0,-3-3 0,3 0 0,0 0 0,-2 0 0,2 0 0,0 0 0,-2 0 0,2 0 0,0 0 0,-3 0 0,3 0-33,0 0 22,-3 0-17,3 0 73,-1 0 24,1 0 1,-3 0-9,3 0 1,-3 0-36,3 0 40,-2 0-40,0 0 25,-1 0-16,1 0 21,-1 0-24,1 0-22,2 0 19,-2 0-19,-4 0-51,5 0 12,-2 0-72,0 0-40,1 0 33,2 0-7,-2 0 63,2 0 52,0 0 0,0-3 0,0 3 0,0 0 0,0 0 0,0-2 0,0 2-38,0 0 235,0-3-167,0 3 192,0 0-185,0 0-31,-3 0-5,1 0 1,-1 3-28,3-3 47,-2 2-29,0-2 30,-1 3-68,0-3 51,2 2-58,1-2 66,-3 0-56,0 2-6,3-2-12,-2 0 4,2 0 10,-2 0 22,2 0 158,0 0-74,0 0 130,0 0-155,0 0 9,2 0 1,-2 0 1,0 0-2,-2 0-63,2 0 30,0 0-33,-3 0 39,1 0-45,-1 0 27,3 0-30,-2 0 36,2 0-41,-2 0-190,2 0 131,0 0-126,0 0 264,0 0 2,0 0 22,0 0-18,-3 0 41,3 0-60,0 0 57,-3 0-71,3 0 10,0 0-4,0 0-219,0 0 149,-1 0-175,1 3 200,0-3 1,0 3 0</inkml:trace>
  <inkml:trace contextRef="#ctx0" brushRef="#br0" timeOffset="79">13072 565 8858,'-2'-3'-236,"2"3"600,-3 0-293,3 0-16,-3 0-191,3 0 71,-2 0 46,0 0 29,-1 0 38,1 0-46,-3 0-17,3 3-6,-3-3 11,3 2-35,-4-2 15,2 2-69,-1-2 70,0 3-83,3-3 47,-1 2-95,-1-2 93,1 0 6,0 3 61,3-3 0,-1 0 0,1 2 0,0-2 0,0 2 0</inkml:trace>
  <inkml:trace contextRef="#ctx0" brushRef="#br0" timeOffset="80">13134 569 9502,'-2'-2'-807,"2"2"1145,0 0-230,-3 0 7,3-2-160,0 2 72,0 0-49,-1 0 81,1 0-51,0 0 60,-3 0-63,3 0 39,0 0-42,-3 0 58,1 0-9,2 0 7,-2 0-10,2 0-4,-3 0 3,1 0 3,-1 0-1,1 0 8,0 0-9,-1 0 0,0 0 5,2 0 3,-2 0-1,0 0 0,-1 0-48,1 2 30,1-2-30,-1 0 45,-1 0-46,1 0-5,1 0-15,-3 0-45,2 0 73,1 2-38,0-2 45,-1 0 8,1 0-17,0 0 10,-1 0 4,1 0-2,-1 0 3,1 0-9,0 0-9,-1 0 7,0 3-2,3-3 4,-2 0-10,0 0 8,-1 0-7,1 0-28,2 0 32,-2 0-32,-1 0 18,3 0 11,-2 0-17,2 0 18,-3 0-11,1 0 7,2 0-9,-2 0 7,-1 0 45,3 0-31,-3 0 36,3 0-45,-1 0 17,-2 0-12,0 0 16,1 0-43,0 0 26,-1 0-25,1 0 43,-1 0-14,3 0 11,-4 0-14,1 0 21,0 0-15,2 0 12,-2 0-19,0 0-6,-1 0 4,1 0-1,1 0 5,-1 0 4,-1 0 2,1 0-3,0 0 15,2 0-9,-2 0 10,0 0-10,1 0-11,0 0 4,-1 0-9,1 0-12,-1 0 13,1 0-14,0 0 20,-1 0 4,0 0-5,2 0 5,-2 0-10,0 0-22,1 0 12,-3 0-15,3 0 23,-1 0 0,1 0-2,0 0 0,-1 2 23,0-2-13,2 0 14,-2 0-28,0 0 5,1 0-5,0 0 8,-1 0-13,1 0 9,-1 0-9,1 0 14,0 0 6,2 0-4,-3 0 4,1 0-9,0 0-12,-1 0 7,3 3-8,-3-3-5,1 0 12,0 0-15,-1 0-8,1 0 17,2 0-19,-2 0 23,-1 2-2,1-2 0,2 0-2,-3 0 1,1 0 37,2 0-29,-2 2 28,2-2-34,-3 0 19,0 0-13,3 0 17,0 0-22,-2 0 6,2 0-2,-2 0-7,2 0 9,-3 0-8,3 0 9,-2 0-14,0 0 11,2 0-13,-3 3 14,1-3-12,-1 0 7,3 0-12,-2 0 2,0 0 4,-1 0-5,3 0 10,-3 3 1,2-3-2,-2 0 2,3 0 0,-3 0-1,3 1 2,-4-1-2,4 0 5,-3 0-4,1 3 5,2-3-6,-3 0 14,1 0-10,2 0 12,-2 0-13,-1 0-1,3 0 1,-3 0 0,2 0-13,1 0 11,-3 0-11,0 0-5,3 0 12,-2 0-14,2 0 18,-2 0-16,2 0 11,-3 0-15,3 0 16,-2 3 3,-1-3-1,3 0 1,-2 0-4,2 0 9,-2 0-7,2 0 10,-3 0-3,3 0-4,-3 0 7,3 0 1,-1 0-7,1 0 10,-3 0-12,3 0 6,-3 0-4,3 0 2,-2 0-2,2 0-2,0 0 2,-2 0-1,2 0 1,0 0-10,-3 0 7,3 0-7,0 0-55,0 0 47,-2 0-51,2 0-116,0 0 96,-3 0-142,3 0 142,0 0 0,0 0 1</inkml:trace>
  <inkml:trace contextRef="#ctx0" brushRef="#br0" timeOffset="81">12910 574 9502,'2'-5'-93,"1"5"50,-3-2-147,3 2 69,-3-2-136,0 2 151,0 0-72,0 2 142,0-2-7,-3 0 10,0 2-26,3-2 43,-2 3-47,0-1 58,2-2-16,-3 0 14,1 3-11,2-3 18,0 0 0,-3 2 0,3-2 0,0 0 0,-2 2 0</inkml:trace>
  <inkml:trace contextRef="#ctx0" brushRef="#br0" timeOffset="82">13070 567 9502,'7'0'-812,"-5"2"672,3-2 140,-3 3 0,1-1 0</inkml:trace>
  <inkml:trace contextRef="#ctx0" brushRef="#br0" timeOffset="83">12767 594 9502,'8'0'-495,"-3"-3"107,0 3 159,-1 0 137,2 0 20,-2-3 68,-1 3 3,-1-1 44,0 1-31,1-3 35,-1 3-43,-2 0 69,3 0 117,-3-3-64,-3 3 76,3 0-161,-2 0 11,-1 0-1,1 0-50,0 3 1,-1-3-8,0 0 12,2 3-11,-2-3 26,0 0-36,1 1 30,0-1-70,2 0 5,-3 0-96,3 0 57,-2 3-165,2-3 171,0 0-93,0 0 164,2 0 10,1 0-9,1 0 11,2 0 26,-5 0-33,5 0 20,-2 0-30,4-3 37,-4 3 18,1-1 78,-3 1-28,4-3 57,-4 3-87,0 0 53,1-3-82,-1 3 51,-2 0-50,0-2-9,3 2 6,-3 0-5,0 0 16,0-2-57,0 2 37,-3 0-52,3 0 63,-2 0-45,-1 0-10,1 0-11,0 0-48,-1 0 66,0 0-32,1 2-22,2-2 57,-2 0-64,2 2 72,-3-2-32,3 3 22,0-3-35,0 0 7,0 0 6,0 0-10,3 0 27,-1 0 14,0 0-9,4 0 13,-2 0-18,1 0 3,0 0-1,0-3 36,-1 1-26,4 0 27,-3 2-34,-1-3 1,-1 1 0,-1 2 3,1-3 3,-1 3 25,0 0-19,-2 0 30,0 0-25,0 0 6,-2 0 20,0 0-25,-1 3 17,1-1-22,-1-2 16,-1 3-9,1-3 11,1 2-10,0-2 16,-1 0-7,3 2 10,-3-2-13,3 0-16,0 0-46,0 0 29,0 0-29,3 0 52,2 3 0,0-3 0</inkml:trace>
  <inkml:trace contextRef="#ctx0" brushRef="#br0" timeOffset="84">12729 594 8847,'2'-3'-398,"-2"3"447,0 0-15,0-3 18,3 3-23,-3 0 62,0 0-38,0-1 45,0 1-54,0 0 26,3 0-22,-3-3 25,0 3-25,0 0-69,0 0 53,0 0-51,0-3 18,0 3-12,0 0-11,0 0 0,0 0 44,0 0-66,0 0-6,-3 0-17,3 0 20,-3 0-16,1 3-7,0-3-17,2 3 18,-3-2 11,3 2 32,-2-3-35,2 0-24,0 3 52,0-3-7,0 0 34,2 0 21,1 0 9,-1 0-41,0 0 50,1 0-59,1-3 79,2 3 13,-4-3 15,0 3-9,1-1-4,-1 1-28,1-3 30,-1 3-47,-2 0-33,2 0-43,-2 0 24,0 0-87,0 0 100,0 3-45,0-3 42,-2 1-30,2 2 23,-2-3-19,2 3 47,-3-3 0,1 0 0,2 2 0</inkml:trace>
  <inkml:trace contextRef="#ctx0" brushRef="#br0" timeOffset="85">12693 613 9502,'0'-3'-1161,"0"3"1217,0-2-41,0 2 62,-3 0-89,3-2 32,0 2-36,-2 0 43,2 0-66,0-3 43,0 3-48,0-2 26,0 2 22,0 0-24,0 0 18,0-3 7,0 3-11,0-2 11,0 2 22,0 0-15,0-2 18,0 2-25,0-3 34,0 3-24,0 0 38,2-3-39,-2 3 14,0-1-15,3 1 10,-3 0-26,0-3 21,0 3-30,0 0 27,0 0-3,0 3 3,0-2 1,0 2-7,0 0 6,0-1-2,0 0 6,0 1-8,0 2-8,-3-3 5,3 3-45,-2-2-5,2-2-3,0 5 11,0-4-19,-2-2-13,2 2-32,0-2 28,0 0 20,0-2 80,2 0-50,-2-1 48,2 0 22,1 2 21,-3-5 9,2 4-19,-2 0-4,3-3-46,-3 5 66,2-3-69,-2 1 68,0 0-48,0 2 42,2 0-45,-4 0 5,2 0-72,-2 0 56,2 2-60,-3 0 12,1 1-21,-1 2-2,1-3 10,0 3-5,2-2 31,-3 1-41,0-1 36,2 1-35,1-1-34,0-1 10,0-2 15,0 3 57,0-3 13,0 2 0,1-2 0,-1 0 0,6-2 0,-4-1 0,0 3 0,1-5 0,-1 3 0,3 0 0,-3-4 0,-2 5 0,3-2 0,0 0 22,-3 1 33,0 0-21,1-1 32,-1 1 18,0-1 1,0 3 114,0 0-96,0 0 27,0 0-130,-1 3 28,1-1-29,-6 1-11,6 1-13,-4 2-6,1-2 2,1 1-17,-3 0 3,3 2-63,-1-2 48,0 2-39,-1-2 55,4 0-24,-3 2 28,3-5-28,-2 3 28,2-3-17,0-2 55,2 3 0,1-3 0,0-3 0,-2 3 0,5-4 0,-4 1 0,3-2 0,-3 1 0,1-1 0,1 0 0,-4 2 0,3-1 0,-3 1 0,3 1 81,-3-3 11,0 5 78,0-2-9,0 2-18,0-3-60,0 3-9,0 3-40,-3-1 16,0 1-39,3 1-22,-2 1 6,0-3 6,-1 4-44,1-2 13,-1 3-103,1-2 24,0 0 1,-1 0-11,0-1 14,3 4 42,-1-3-12,-2 0 50,3-3-48,0 0 50,0 1-25,0 0 48,0-2 0,0-1 0,3 0 0,-2 0 0,2 0 0,0-1 0,-1-2 0,0 0 0,1 1 0,-1 0 0,1-1 61,-3 1 21,2-1 4,-2 3-19,2 0 27,-2-2-26,0 2 134,0 0-105,0 0 44,0 0-90,0 2-38,0 1-22,-2 2 5,0-3 16,-1 3-43,1-1 20,2 2-97,-5 1-30,3-2 14,2 2-73,-3-3 75,0 4 8,3-3 53,0-3 32,0 3 18,0-3 11,0 1 0,3-3 0,0 0 0,-1 0 0,0 0 0,1 0 23,-1-3-30,1 1 22,-1-3 29,0 5 32,-2-5-5,3 3 7,-3 0-31,3-1 33,-3 3-14,0-3 16,0 3 79,0 0-60,1 0 40,-1 0-76,-1 3-52,1 0-6,0-1-23,-3 3-4,3-3-56,-3 3 26,3 0-1,-2 2 3,0-2 8,2 0-33,-3 0 6,3-1-9,-2 2 22,2-2-34,0 1 14,0-3-10,0 1 21,0-1 8,0 1-13,0-3 24,2 0 25,-2 0 1,3 0 22,-3 0-2,2 0 3,0-3-5,-2 3 30,3-2 10,-3-1-12,3 3-1,-3-2 9,1 2 28,-1 0-4,0 0 9,0 0-33,0 0 5,0 0 3,0 2-5,0 1-12,0-1 8,0 3 4,0 0-68,0-1 50,-1 2-54,1 1 10,-3-2-15,3 2-13,-3-3 16,3 2-38,0-2-13,0 1-16,0 0 22,0-3 66,0 1 10,0-3 4,0 2 0,0-2 0,0-2 0,3 2 0,0-3 0,-2 1 0,-1-1 0,3 1 0,-3 2 0,0-2 0,3-1 0,-3 3 65,0-2 6,2 2 79,-2 0 6,0 0-50,0 0 9,0 0-129,0 2 54,0 1-52,0-1 7,0 0 33,0 1-28,0-1 42,-2 3-81,-1 0 9,3-1-89,-3-1 88,3 2-108,-1 0 73,1-3-114,-3 1 106,3 1 4,0-1 64,0-3 6,0 3 0,0-3 0,0 0 0,0 0 0,3 0 0,-3 0 0,1 0 0,-1 0 0,0 0 0,0 0 0,3-3 0,-3 3 46,0 0 129,0 0-31,0 0 59,0 0-149,3 3-14,-3-3-21,0 1 20,0 2-32,-3 0-14,3 1-3,0-1-64,-3-1 13,3 3-4,-1 0-3,1-2 30,-3 1 12,3-1-21,-3 1 20,3-1-23,0-1-37,0 1 16,0-1-12,0 0 99,0-2-49,0 3 50,0-3 16,0 3-45,0-3 54,0 0-19,3 0 20,-3 0 0,3 0 3,-3 0-25,0 0 0,0 0 24,1 0-12,-1 0 1,0 0-6,0 0-4,0 1 9,0 2-5,0 0 6,-1-3-39,1 2 16,-3 3-18,3-3-33,-3 1 40,3 1-43,-2 2 53,0-5-41,2 5-14,-3-4 0,3 0 1,0 1 12,-2-1 8,2 1-14,0-1 10,0-2-32,0 2 14,2-2-20,-2 0 57,0 0-11,3 0 15,-1 0 30,0 0 16,-2 0 2,3-2-9,-3 2 16,3-2 19,-3 2 15,1 0-21,-1 0 21,0 0-45,0 0 47,3 0-45,-3 0-17,0 2 24,0 0-79,-3 1 57,3 1-59,-1-1 21,1 2-12,-3 0-13,0 0 16,3-1-26,-2 1-5,2-3-19,-2 4 19,2-4-19,0 0 48,0 1-55,0-1 61,0-2 4,0 2-2,0-2 2,2 0 1,0 0-13,-2-2 12,3 0 15,0 2-17,-2-5 24,2 5-29,0-5 59,-3 2 10,2 3 11,-2 0-15,2-2 0,-2 2 17,0 0-1,0 0 72,0 2-101,0-2 65,0 3-90,0 2 28,0 0-24,-2-1-28,0 1 30,-1 2-37,0-1 53,2 1-58,1-3-13,-3 4-16,0-4 18,1 2-25,2-2 12,-2-1-65,2-1 44,0-2-70,0 2 87,0-4-44,0 2 92,0-2 9,2-1 0,0-1 0,-2 1 0,3 0 0,-3 1 45,3 0-45,-3 2 39,1-3 10,-1 3 7,0 0 61,0 0-61,0 3 47,0-1-78,0 0 15,0 4-22,-1-2-23,1 1 40,-3 0-60,0 2 41,3-2-41,-2 2 43,0 0-18,2-2 0,-3 2-8,3-1 3,-2-2-59,2 1 34,0-3-40,0 1 53,0-1-51,0 1 29,0-3-43,0 0 58,0 0-3,2 0 54,-2-3-39,0 3 38,0-2-47,3 2 71,-3-3 20,0 3 6,0 0 39,0 0-85,0 0 62,0 0-44,0 3 5,0-1-52,0 1 17,0-1-23,0 3-21,0-1 39,-3 2-41,3-2 44,-2 1-34,2 2-23,0-1 3,0-2-3,0 1 17,0-3 6,0 1-10,0-1 10,0 1-28,0-3-25,0 0 1,0 0 30,2-3 14,-2 1 27,3-3 15,-3 3 12,2-4 0,0 5-8,-2-5 20,3 2 17,-3 1 12,3-2-17,-3 5 8,0-2 6,0 2 53,1-2-41,-1 2-39,0 2-18,0 0-16,-1 1 26,1 2-61,-3-1-19,0 2-9,1-2 18,0 3-18,-1 1-16,1-4-22,2 3 25,-3-1 7,1-2 42,2 1-50,-2-3 50,2 3-55,0-5 16,0 3-19,0-3 39,0-3 27,2 3 14,-2-5 0,2 3 0,1-3 0,-1 1 44,-2-2 4,3 4 3,-1-3-25,-2 3 33,2 0 14,-2-1 19,0 1-21,3 2 13,-3-3-49,0 3 60,0 0-62,0 0-26,0 3 20,0 2-25,-3-3 33,3 3-70,-2-1-16,0 2-16,2-2 8,-3 3 0,1-2-29,-1 0 13,3 3-37,-2-4 46,0 1-12,2-3 21,0 3 37,0-2 20,0-1 0,0-2 0,0 0 0,0 0 0,2 0 0,0-2 0,1-1 0,-1 1 0,1-3 0,1 0 0,-4 2 0,3-1 0,0-1 0,-2 3 90,-1-1-11,3 1 99,-3-1-46,0 3-11,0 0-42,3 0-17,-3 0-24,-3 3 19,3 2-57,-3-1 48,2 2-46,-2 1 62,0-3-95,1 4 22,0-1-82,-3 0 49,5-2-54,-5 0 27,5 2-50,-2-5 1,-1 4-4,3-5 17,0 2 35,0-3 47,0 0 23,0 0 0,3-4 0,-1 1 0,0 0 0,1-1 0,-1-1 0,1 2 0,-1-1 0,0 1 0,-2 0 24,3 2 44,-3-2 39,3 3 50,-3-3 1,0 3-46,0 0-20,0 3-45,0 0-46,0-2 2,-3 5-6,3-4 8,-3 5-51,1-2 13,0 0-96,-1-1 49,1 2-25,-1-2 56,1 1-56,2 0 37,-2-3-1,2 1 14,0 0 55,0-2 0,0-1 0,0 0 0,0 0 0,2 0 0,0-1 0,1-2 0,-1 0 0,1 1 0,-1-3 0,0 0 0,-2 3 63,0 0 8,3-1 77,-3 0-32,0 3-11,3-1-32,-3 1-18,0 0-8,0 1-71,0 2 45,-3 0-43,0 1 64,3 1-72,-4 0 6,1 0-80,1 2 79,-1 0-125,1-2 54,0 0-42,-1 3 62,0-4 76,2 1 0,1 0 0,1-3 0,-1 1 0,3-1 0</inkml:trace>
  <inkml:trace contextRef="#ctx0" brushRef="#br0" timeOffset="86">12463 596 9502,'0'-2'-386,"3"2"429,-3-3 16,0 3-65,0 0-52,0 0 10,0 0-86,0-3 89,-3 3-40,1 3 52,0-3-8,-1 0-74,-2 3 66,1-3-75,1 2 78,-1 0-36,-2-2 28,4 3-1,0-1 10,-1-2 45,1 3 0,2-3 0,-2 0 0,2 2 0,0-2 0,2 0 0,-2 0 0,2 0 0,1-2 2,-1 2-6,0-3 11,1 1-12,0 2 95,-1-3-26,0 1 82,1 0-56,-3 2-22,0-3-22,2 3-16,-2 0 5,0 0 7,0-3-4,0 3 13,-2 0-59,-1 0 50,1 0-50,0 3 4,-4-3-18,4 0-5,0 3 15,-3-1-37,0-2-15,3 2-32,-1-2-27,1 3 35,0-3 12,-1 0-3,3 0 68,-3 0-7,6 0 18,-3 0 0,3 0 0,-3 0 0,2 0 0,0 0 0,-2-3 18,3 3 28,-3-2-15,2 2 6,-2-2 5,0 2 12,3 0 15,-3 0 47,0-3-72,0 3 41,-3 0-58,3 0-6,-2 0 6,-1 0-6,1 0-22,-3 0 30,2 3-31,-1-3-13,1 2-17,-1-2-13,1 2 15,-2 1-29,3-3-10,2 2-16,-2-2 20,-1 3-20,3-3 66,0 0-56,0 0 75,0 0 0,3 0 0,-3 0 0,2 0 0,-2-3 0,0 1 0,2 2 0,-2 0 0,0-3 3,3 3 65,-3-2-33,0 2 37,0-2 8,0 2 1,0 0 20,0 0-16,0-3-7,-3 3-34,3 0 39,-2 0-94,2 0 51,-2-3-45,-1 3 7,0 0 33,2 3-40,-5-3 44,4 0-106,0 3 27,-1-1-103,1-2 101,-1 2-123,1 1 80,0-3-129,2 0 133,0 2 1,-3-2 80,3 0 40,0 0-44,3-2 36,-3 2 11,0-3-27,2 1 39,-2 2-22,0 0 40,0-2 24,0 2 40,0 0-35,0 0 9,-2 0-33,2 0-3,-3 0-7,0 0-62,3 0 55,-1 0-102,-5 0 36,4 2-12,0-2 2,-1 2-9,1 1-24,-1-3 3,1 2 0,2-2 17,-2 3 13,-1-3-21,3 2-191,0-2 151,0 0-115,0 0 161,3-2 51,-3 2-58,2 0 62,-2-3 10,0 1 8,0 2-8,0 0 92,0 0-47,0 0 89,0 0-108,0 0 0,-2-3-21,-1 6 21,0-3-80,2 0 37,-2 0-46,0 2 62,1 1-69,-3-1-17,3-2-13,-1 2 17,-1 1-7,1-3-17,0 3-15,2-3 16,-2 1-4,0-1 48,1 0-63,0 0 76,2 0-37,-3 0 31,3 0 39,-2 0-34,2 0 44,-3-1-58,3 1 38,0-3 13,-2 0 10,2 3-11,-2-2 9,2 2-33,-3-2 39,0 2-41,3-3 19,-1 3-13,-2-2 15,0 2-5,3 0-2,-2 0 4,0 0-9,2-3 14,-3 3-10,1 0 10,-1 0-21,3 0 6,-2 0-5,2 0 6,-2 0 12,2 0-9,-3 0 11,1 0-12,2 0 14,0 0 33,0 0-20,-2 0-28,2 0-51,0 0-6,2 0 11,-2 0 40,0-2 43,0 2-38,0 0 37,-2 0-35,2 0 1,-3 0 4,0 0 31,3 0-20,-2 0 23,0 0-17,2 0-45,-3 0 31,3 0-30,-2 0-10,2 0 29,0 2-37,0-2 24,-2 0-35,2 0 17,0 0-16,2 0 29,-2 0 7,2 0-8,3 0 7,-3 0-10,6 0 4,-1-2-5,0 2-9,0 0 14,3 0-16,-3 0 63,3 0-34,-1 0 37,-1 0-44,2 0-48,-3 0 34,-3 0-36,4 0 48,-3 2-64,0-2 46,-1 3-49,-1-1 69,0 1 2,-2-3 7,2 2 0,-3 0 0,3 1 0</inkml:trace>
  <inkml:trace contextRef="#ctx0" brushRef="#br0" timeOffset="87">12659 598 9502,'0'0'-963,"0"-2"933,0 2 125,0 0-29,0 0-26,0-2 36,0 2-40,0 0-12,0 0 6,0 0-11,0-3 34,0 3 36,0 0 20,2 0-15,-2 0-16,0 0-46,0 3 28,0-3-23,0 2 15,0 0-22,0-2 47,0 3-33,0-1 39,0 1-34,0-1-7,0 0 9,3-2-4,-3 6-32,0-5 27,0 2-28,0 0-11,0-1 27,0 0-24,0 1 35,0-1-41,2 1-16,-2 1-11,0-1 13,0-1-1,0 0 28,0 1-35,0 2 47,0-3-17,0 3 15,0-3-17,0 3 26,0-2-19,0 1 19,0-1 5,0 1-18,0 2 26,0-4-29,0 3 54,0 0-39,0-3 41,0 3-47,3-1 51,-3-1-34,0 0 35,2 1-88,-2-1 31,0-1-34,0 3 51,0-3-68,0 1 49,0 0-55,2-2 11,-2 2 32,0 0-34,0-1 38,0 0-11,0 1-1,0-1-5,0 1-1,0 1 48,0-1-39,0 0 38,0 1-38,0-1-3,0 1 8,0-1-7,0 2 27,0-1-14,0-1 14,0 1-2,3 2 5,-3-4 0,0 3-1,0-3 13,0 3-17,0-3 20,0 1-25,0 1-17,0-4 14,0 6-13,0-4 23,0 0-49,0 1 39,0-1-41,0 1 6,0-1 23,0 0-34,0 3 24,0-3 5,0 1-8,0 2 9,0-3-1,0 3-4,0-3 2,0 1 1,0 2 2,0-1-1,0-1 2,0 1 0,0-1 13,0 2-8,0 0 10,0-3 18,0 3-20,0 0 20,0-2-28,0-2 1,0 5 0,0-4 2,0 3-15,0-3 10,0 1-10,0 1 15,0-1-17,0 0 12,0 1-14,0-1 15,0-1-13,0 0 9,0 1-14,0-1 15,0 1-6,0 1 4,0-1-4,0 0 7,0 1-3,-3-1 4,3-1 3,0 3-5,0-3 6,0 1-7,0 1 22,0-1-15,0 0 16,0-2-20,0 5 26,0-4-18,0 0 16,0 3-29,0-2 3,0 1-1,0-1 9,0 1-10,0-1 9,-2 2-9,2-3-9,0 3 12,0-2-14,0-1 17,0 3-16,0-3 12,0 0-15,0 1 15,0 2 11,0-3-8,0 3 12,0-3 1,-2 1-10,2-1 12,0 3 10,0-3-19,-3 4 20,3-5-23,0 2-1,0 2 1,0-3 2,0 1 3,0 2 1,0-3 1,0 0-3,0 4-22,0-5 16,0 2-19,0 2 4,0-3 10,0 3-13,0 0 18,0-3 6,0 4-7,0-2 6,0 1-9,0 0 50,0 2-36,0-2 38,0-2-46,0 4 34,0-3-22,0-1 26,0 2-26,0-1-2,0-1 8,0 1-5,0-1-39,0 2 26,0-3-28,0 1-27,0-1 47,0 1-51,-2-1 54,2 0-19,0 1 6,0 0-11,0 1 13,0-1 7,0 1-11,0 1 9,0 0 2,0-3-3,0 5 6,0-1 29,0-2-25,0 1 27,0 0-31,0 0 14,-3-1-7,3 2 10,0-2-12,0-1 20,0 1-13,0-1 16,0-1-21,0-2 27,0 3-19,0-3 18,0 2-20,0-2-12,0 2 9,0 1-8,0-3 9,0 3 3,0-2-2,0 2-50,0 0 36,0-1-43,0 3 53,0 0-51,0-3-8,3 3-11,-3-1 15,0 2 71,0-2-21,0 1 21,0 2-33,0-1 53,0-2-37,0 1 46,0 0-43,0 0-3,0-1 6,0-1-4,0 1-5,0 2 9,0-4-6,0 3-12,0-3 10,0 1-9,0-1 14,0 3-23,0-2 15,0-2-25,0 5 15,0-4 3,0 3-5,0 0 6,0-3-16,0 3 10,0 2-12,0-2 17,0 0-3,0 2 2,0-2-3,0 2 23,0 0-15,0 0 15,2 1-19,-2-4 47,3 6-33,-3-5 36,0 0-45,2 2 16,-2-2-10,0-1 15,0 1-56,0-2 34,0-1-31,0 0 24,0 1 11,0-3-13,0 3 14,0-2-29,0 2 16,0-3-20,-2 3 17,2-1 11,0-2-14,0 2 13,-3 1-4,3 2 1,0-3 4,0 0 4,0 1-5,0 1 6,0 2-7,0-4 3,0 3-2,0-3 3,0 3-3,0 0 0,0-1 0,0-1 1,0 2-2,0-3 27,0 3-19,0-2 20,0-1-33,0 3 6,0-2-6,0-2 2,-2-1 6,2 3-7,0 0 8,0-3-5,0 2 3,0 0-4,0 1 3,0-1 13,-3-2-11,3 3 10,0-1-14,0 0 3,0 3-1,0-3 1,0 4 1,0-4-1,0 0 1,-2 3-4,2 0 5,0-3-5,0 3 5,0 0 14,0-2-10,0 1 10,0 1-14,0-3-6,-2 3 4,2 0-3,0-3 4,0 4 0,0-5 0,-3 2 1,3 2 1,0-3-3,0 1 1,0-1-1,0 1-5,0-1 5,-2 0-4,2 1-1,0 0 5,0-2-7,-2 2 7,2 0-3,0-3 2,0 4 0,0-1 0,0-1-12,-3 1 8,3-1-9,0 0 12,0 1 0,0 0 0,0-2 1,0 5-1,0-4-1,0 0 2,0 3 26,0-2-19,0-1 21,0 3-27,0-2 1,0-2-1,0 2 2,0 2 0,0-3-4,0 1 3,0-1-1,0 1 2,0-1-5,0 0 3,0 1-6,0 0 13,0-2-6,0-1 6,0 3-9,0 0 27,0-1-20,0-2 21,-3 2-15,3 1-6,0-1 8,0-2-8,0 3 9,0-1-7,0 0 10,0 1-10,0-3-12,0 2 8,0 0 2,0 1 5,0-3 10,0 3-12,0-1-8,0 0 3,0 3-6,0-3 9,0 1-14,0-1 10,0 1-10,0-1 12,0 0-10,0 1 6,0 0-7,0-2 1,-2 2 7,2-3-8,0 3 7,0-1 6,0-2-4,0 2 6,0-2 27,0 3-23,0-1 25,0-2-34,0 3-6,0-3 7,0 2-6,0 0 11,0 1-23,0 0 18,0-2-16,0 2 3,0 0 11,0-1-12,0 0 3,0 1 7,0 2-7,0-3 6,0 0 58,2 1-43,-2 0 43,0-2-57,0 2 15,0 0-8,0-1 11,0 0-8,3 1 4,-3-3 3,0 2-1,0 1-17,0-1 7,3 0-9,-3-2-28,0 3-9,0-3-5,0 0-259,0 0-26,0 0-269,0 0-1,0 3 1</inkml:trace>
  <inkml:trace contextRef="#ctx0" brushRef="#br0" timeOffset="88">12473 613 8847,'0'-3'-492,"0"3"492,0-2 0,3 2 0,-3-2 0,0 2 0,2 0 0,-2-3 0,0 3 0,0-2 0,2 2 0,-2 0 0,0-3 0,3 3 0,-3 0-12,0-2 72,0 2-47,2 0 56,-2 0-54,0-2-3,0 2-8,0 0 32,0 0-21,0 0-3,0 0 0,-2 0-29,2 0 29,-3 0-50,1 0 36,0 0-36,-1 2-25,-1-2-20,1 2-2,0-2 16,1 3 67,0-3 2,2 2 0,-5 1 0</inkml:trace>
  <inkml:trace contextRef="#ctx0" brushRef="#br0" timeOffset="89">12451 608 9502,'3'-5'-866,"-3"5"831,0-2 40,0 2 5,0-3-4,0 3 4,0 0-16,0 0 8,0 0-9,-3 0 11,1 0-8,0 0 6,-1 0-7,1 3 8,-3-3-50,0 5-14,0-3-2,3 0-34,-3 4 84,0-5-33,3 2 46,0 0 0,-1-1 0,0 0 0</inkml:trace>
  <inkml:trace contextRef="#ctx0" brushRef="#br0" timeOffset="90">12727 598 8658,'-3'3'174,"3"-3"-84,0 0-12,0 0-16,0 2-21,0-2 25,0 0-16,0 0 19,0 0-44,0 3 19,0-3-13,0 0 21,0 0-18,0 2 9,0-2-14,0 2 3,0-2 13,0 3-13,0 0 14,0-2-24,0 2 13,0 0-17,0 1 24,0-1-17,0-1 13,0 3-13,0 0 10,0-1 24,0-1-18,0 2 19,0 0-34,0-3 6,0 3-7,0-3-18,0 3 21,0-3-21,0 1 27,0 1-29,0-1 20,0 2-21,0-3 27,0 1-30,0-1 20,0 3-28,0-3 31,0 1 23,0 0-17,0-2 18,0 5-28,0-4 0,0 0 1,3 1 7,-3-1-3,0 1 6,0 1-6,0-1 7,0 0-6,0-2 9,2 2-17,-2 0 2,0-1-5,0-2 3,0 2-21,0 1 20,0-1-24,0 1 9,0-1 10,0 0-12,0 1 18,0 0-19,0-2 12,0 2-15,0 0 12,0-1-16,0 0 9,0 1-10,0 2 43,0-3-17,0 0 17,0 1-26,0 0 35,0 1-23,-2-1 26,2-1-16,0 0-11,0 1 12,0-1-10,0 1-35,0-3 28,0 2-27,0 0 34,0 1 0,0-3-1,0 0 2,0 3-26,0-3 0,0 1-10,0-1 11,0 0-15,0 3 23,0-3-29,0 3 19,-3-3 1,3 2-4,0-2 9,0 2-10,0-2 8,0 3-9,0-3 9,0 2 0,0 1-2,-2-3 0,2 2 2,0-2 11,0 2-8,0 1 9,0-3-12,0 2 31,0-2-20,-3 2 22,3-2 21,0 0-37,0 3 41,0-3-43,0 0 0,0 0 5,0 3-6,0-3-2,0 0 5,0 0-5,0 2 6,0-2-30,0 0 20,0 2-25,0-2 9,0 0 13,0 3-15,0-3 14,0 2-38,0-2 20,0 0-23,0 2 4,0-2 26,0 3-27,0-3 30,0 2 9,-2-2-7,2 3 5,0-3-11,0 2 40,0-2-27,0 2 31,0-2-12,0 0-16,0 3 18,0-3-19,0 3 5,0-3 1,0 0 3,0 1-13,0-1 2,0 3-1,0-3 5,0 3-14,0-3 10,0 2-15,0-2 18,0 2-16,0 1 11,-2-3-14,2 2 24,0-2-2,0 3 3,0-3-4,0 0 19,0 2-19,0-2 20,0 0-7,0 2-11,0-2 16,0 0-18,0 3-10,0-3 8,0 0-6,0 0-1,0 3-1,0-3-3,0 0 4,0 1-11,0-1 14,0 3-17,0-3 18,0 3 11,0-3-10,0 2 9,0-2-10,0 2-2,0 1 5,0-3-4,0 2 32,0-2-20,0 3 22,0-3-25,0 0-8,0 2 8,0-2-6,0 2 17,0-2-10,0 3 11,0-3-13,0 0 5,0 3-4,0-3 3,0 0 45,0 0-33,0 1 34,0-1-44,0 3-11,0-3 13,0 0-11,0 0 18,0 3-29,0-3 22,2 2-24,-2-2 28,0 0-12,0 2 8,0-2-24,0 3 16,2-1-8,-2-2 9,0 3-3,0-3-2,3 2-2,-3-2 5,0 2-6,2 1 6,-2 0-6,0-3 7,0 1-4,0 2 3,3 0-2,-3-3-9,0 2 9,0 0-12,0 1 34,0-3-13,0 2 15,2 1-17,-2-1-13,0 0 6,0 1-5,0-3 7,0 3 0,0-2 0,0 2 0,0 0 1,0-1-2,0 0 1,0 1 1,0 2 20,0-3-15,0 0 15,0 1-24,2 0 21,-2 1-12,0-1 15,0-1-17,0 0-1,0 1 2,0-1 0,0 1-27,0-1 19,0 0-21,0 1 28,0-1-39,0 0-10,0-2-8,-2 3-3,2 0 36,0-1-4,0-2 4,0 5 7,0-5-11,0 2 8,-2 0 35,2 1-24,0-1 30,0-2-39,0 3 24,0-1-17,0 0 24,-3 1-26,3 0 6,0-2-5,0 2 8,0-3-15,0 3 11,0 1-12,0-4 15,0 3-4,0-1 3,0 1-4,0-1 4,0 0-2,0 1 1,0 0-4,0-2-6,0 2 5,0-3-3,0 3-1,0-1 4,0 0-5,0 1 7,0-3-8,0 2 6,0 1-7,0-1 4,0-2 1,0 2-1,0 1-1,0 0 2,0-2-3,0 2 2,0 0 1,0-1-16,0 0 12,0 1-11,0-1 2,0 1 11,-2-1-13,2 0 14,0 1 5,0 0-4,0 1 5,0-1 19,0 1-20,0-1 22,0-1-28,0 3 6,0-3-2,0 1 4,0 0-2,0 1-27,0-1 23,0-1-24,0 0-1,0 1 19,0-1-24,0 1 28,0 1-11,0-1 8,0 0-12,0-2 12,0 2-8,0 0 5,-3-1-7,3 0 22,0 1-14,0 2 15,0-3-16,0 0 16,0 1-9,0 1 10,0-1-11,0 0 3,0 1-1,0-1 4,0 1 25,0-1-22,0 2 24,0-3-30,0 0 3,0 4-1,0-5 2,0 5-44,0-4 30,0 0-32,0 1 42,0-1-75,0 1 53,0-1-61,0 3 63,0-2 1,0-2-6,0 2 2,0 2 9,0-3-13,-2 1 12,2 2 27,0-1-24,0-1 27,0 1-36,-2 2 42,2-4-28,0 3 36,0 0-41,0-1 33,0-1-24,0 1 28,0-1-24,0 2 2,0-3-1,0 3 0,0-2-4,0-1 4,0 0-2,0 1-1,0 0 1,0-2-2,0 2 2,0 0-1,0-1 1,0 0 0,0 1-1,0-3 0,0 2 0,0 1 0,0-1 1,0 3 0,0-2 1,0-2 52,-3 5-39,3-4 43,0 0-54,0 3 6,0-2-1,0-1 3,0 0-3,0 1-2,0-1 1,0 0 4,0 1 2,0-3-26,0 3 20,0-1-24,0 0 27,0-2-43,0 3-14,0-1-1,0 0-34,0 1 69,0-1-37,0 1 39,0-1 11,-3-2-9,3 5 9,0-2-14,0-2-5,0 2 2,0 0-1,0-1 8,0 3-1,0-3 4,0 1 2,0 1 26,0 2-15,0-5 17,0 5-7,0-2-17,0-1 19,0 2-23,0-3 22,3 3-15,-3-1 18,0 1-27,3-2 9,-3 1-7,0-1 10,2 1-33,-2 2 25,0-4-26,0 3 29,0 0-40,0-3 24,0 0-28,0 4 41,0-5-3,0 5 1,0-4-6,0 0 14,0 3-9,0-2 11,0 1-6,0-1-7,0 1 8,0-1-5,0 0-15,0 1 16,0-1-14,0 2 19,0-3-14,0 3 9,0-2-12,0 1-38,0-1 29,0 4-33,0-5 28,0 3 12,0 0-16,0-1 18,0 2 14,0-2-11,0 1 10,-2 0-15,2 0 32,0-1-22,0 2 28,0-5-34,0 5 43,0-4-31,0 0 42,0 1 9,0-1-26,0 3 32,2-3-62,-2-2 7,0 3-6,0 1 13,0-1-21,0 0 14,0-3-17,2 2 23,-2 3-39,0-5 26,0 5-33,0-5 38,3 2-26,-3 0 17,0 1-23,0-3 33,0 3-11,0-2 9,0 2 2,0 0 2,0-3 2,0 2-2,0 0 7,0 1-11,0-1 13,0 1-15,0 1 29,0-1-20,0 0 22,0-2 9,0 2-21,0 2 24,0-3-30,0 1-22,0-1 17,0 1-14,0 1 11,0-1 6,0 0-7,0-2 7,0 2-1,0 0 0,0-1-3,0 0 0,0 1-5,0-1 0,0-2-1,0 3 7,0-1-1,0 0 4,0 1-11,0 0 6,0-2-6,0 2 9,0 0-30,0-1 21,0 0-22,-3 1 26,3-1 8,0 3-9,0-3 7,-2 1-10,2 1 25,0-1-19,0 0 19,0-1 20,0 0 11,0 1 5,0-1-23,0 3-26,0-3-9,0 1 18,0-3-27,0 2 23,0 0-23,0 1 26,0-3-31,0 3 22,2-2-23,-2 2 26,0-3-12,3 3 3,-3-1-5,0 0 0,0 1-9,0-1-2,2-2-1,-2 5 11,0-3 5,0-2-2,0 6 4,0-5-4,0 2 3,0 0-3,0-3-51,0 2-15,0 0 0,0-2 9,0 3-454,0-1 382,0-2-378,0 3 509,3-3 0,-3 0 0</inkml:trace>
  <inkml:trace contextRef="#ctx0" brushRef="#br0" timeOffset="91">12476 606 8747,'2'-3'389,"-4"3"-778,2 0 406,-3 0-21,3 0-31,-3 3 39,2-3-42,-2 2 52,0-2-78,1 2 9,0 1-72,-1 0 71,1-2 11,-1-1 44,1 3 1,0 0 0,-1-1 0</inkml:trace>
  <inkml:trace contextRef="#ctx0" brushRef="#br0" timeOffset="92">12155 610 9502,'0'0'-173,"0"-2"235,0 2 133,0 0-88,0 0-59,0 0 52,0 0-55,2 0 67,-2 0-53,0 0 28,2 0-31,-2 0-12,3 2-21,0-2 3,-2 3-8,-1 0 7,3-2-27,0 2-1,-3 0-14,2-1 39,0 0-22,1 1 0,-1-1 0</inkml:trace>
  <inkml:trace contextRef="#ctx0" brushRef="#br0" timeOffset="93">12365 616 9502,'2'0'-888,"0"0"658,1 0 171,0 0 1,1 0 94,-1 0-26,1 0-23,4 0 15,-4-3-16,2 3 13,1 0 4,0 0-4,-2-3-12,2 3 11,-3 0-12,-1 0 14,2-2 0,-3 2 0</inkml:trace>
  <inkml:trace contextRef="#ctx0" brushRef="#br0" timeOffset="94">12430 608 9502,'-5'0'-235,"5"0"68,-2 0 82,2 0 44,-3 0 36,3 0-22,-2 0 73,2 0-27,-3 2 33,3-2-57,-2 0-14,0 3-2,-1 0 9,0-3-46,3 1 17,-4-1-88,4 0 92,-3 3-94,1-3 67,2 3-106,-2-3 99,2 0 7,0 0 59,-3 0 5,3 0 0,0 0 9,0 0-20,-2 0 5,2 0 76,0 0-19,0 0 108,0 0-70,-3 0 34,3 0-55,-2 0 4,2 0-11,0 0-90,-2-3 73,-1 3-72,3 0 31,-3 0 21,3 0-37,-1 0-27,-2 0 35,0 0-43,1 0 45,2 0-31,-2 3-31,-1-3 14,3 2-9,-2-2 15,-1 0-26,1 2 11,0-2-4,2 0 45,-3 3-14,3-3 43,-3 0-32,2 0 33,1 0-37,0 0 49,-3 0-36,0 0 38,3 0-40,0 0 21,-2 0-5,2 0 9,-2 0-6,2 0 22,0 0-10,-3-3 14,3 3 8,-2 0-29,2 0 31,-3 0-36,1-2 3,2 2-3,0 0 2,-2 0-37,-1 0 29,0 0-30,3 0 38,-1 0-43,-2 0-12,0 0-2,1 0 2,2 0 46,-2 0-3,-1 0 6,1 2 0,2-2 0,-3 0 0,1 0 0,2 0 0,-2 0 0,-1-2 0,0 2 0,3 0 0,-1 0 0,-2 0 0,0 0 39,1 0-30,0-2 30,-3 2-30,2 0 16,1 0-7,0 0 14,-1 0-37,-1 0 18,1 0-15,0 0-35,1 0-14,0 0-5,-1 0 10,1 0 48,-1 0-2,3 0 0,-2 0 0</inkml:trace>
  <inkml:trace contextRef="#ctx0" brushRef="#br0" timeOffset="95">12241 610 9502,'-7'0'-916,"3"0"987,1 0 190,-2 0-159,3 0-42,-1 0-62,1 0 17,-3 3 43,0-3 13,3 0-14,0 3 16,-1-3-104,-1 0 22,1 0-67,0 1 52,1-1 24,-3 0 0,3 3 0</inkml:trace>
  <inkml:trace contextRef="#ctx0" brushRef="#br0" timeOffset="96">12509 620 9502,'-2'0'-1075,"0"0"1003,2 0 72,0 3 0,0-3 0,-3 0 0,6 0 0,-3 0 0,0 0 0,0-3 0,2 3 0,-2 0 0,2 0 0,-2 0 0,0-3 0,3 3 0,-3 0 0,0 0 0,0 0 0,2 0 0,-2 0 0,0 0 0,0 0 0,0 0 0,3 0 0,-3-1 0,0 1 0,0 0 0,0 0 0,0 0-69,2 0 52,-2 0-15,0 0 42,0 0 31,2 0 26,-2-3-34,0 3 40,0 0 71,0 0 282,0 0-176,0 0 149,0-3-354,-2 3-19,2 0 42,-2 0-25,2 0 25,0 0-29,-3 0-10,3 0 9,-2 0-4,2 3 10,-3-3-21,3 0 13,-2 0-18,0 0-16,-1 3 31,3-3-32,-3 0 36,2 0-65,-2 0 42,0 1-53,1-1 58,-3 0-52,3 0 30,-1 0-30,-1 3 29,1-3 13,-1 0-16,1 0 31,0 3-17,1-3 17,-3 0-18,3 0-6,-3 0 8,3 0-7,-1 0 11,1 0-21,0 0 14,-1 2-13,0-2 18,1 0-4,2 0 3,-2 0-4,-1 0 13,1 0-8,0 0 8,-1 0-11,1 0 4,-1 0-3,1 0 4,0 0-6,2 0 5,-6 0-5,5 0 7,-2 0-14,0 0 11,3 0-10,-2 0 10,0 0-21,-3 0 13,2 0-16,1 0 4,2 0 11,-5 0-12,2 0 14,2 0-22,-2 0 15,0 0-18,3 0 22,-2 2-4,0-2 3,-1 0-3,1 0 33,-1 0-24,3 0 24,-2 0-29,0 0 1,-1 0 1,0 0 1,3 0 1,-1 0-4,-2 0 6,0 0-2,1 0-2,0 0 4,2 0-5,-3 0 32,1 0-19,-1 0 20,1 0-28,2 0 11,-2 0-8,-1 0 9,0 0-10,3 0-10,-1 0 9,-2 0-7,0 0 10,1 0-9,2 0 8,-2 0-8,-1 0-12,1 0 14,-1 0-17,3 0 13,-2 0 12,0 0-16,2 0 15,-3 0 24,0 0-22,2 0 28,1 0-34,-3 0-2,0 0 2,1 0-1,0 0-20,2 0 20,-3 3-20,1-3 25,-1 0-20,1 0 13,2 0-13,-2 0-24,-1 0 27,3 0-33,-3 0 39,2 0-22,-2 0 15,0 0-18,3 0 19,-2 0 12,0 0-8,-1 0 12,3 0 15,-2 0-23,-1 2 26,1-2-29,2 0 6,-2 0-1,-1 0 3,1 0-2,0 0-1,-1 0 2,0 0 2,3 0-52,-2 0 37,0 0-40,2 0 44,-3 0 1,3 0-4,-2 0 3,2 0 25,-2 0-19,2 0 21,-3 0-29,3 0 18,-2 0-10,2 0 13,0 0-16,0 3 6,-3-3-4,3 0 12,0 0-31,-2 0 23,2 0-23,0 0 22,-2 0-23,2 0 14,0 0-17,-3 0 19,3 2 0,-3-2-4,3 0 3,-1 0-30,1 0 23,0 0-21,-3 0-49,3 0-20,0 0-66,-3 0 1,3 0 8,0 0 0</inkml:trace>
  <inkml:trace contextRef="#ctx0" brushRef="#br0" timeOffset="97">12514 627 9502,'0'-2'-1147,"0"2"1147,0-2 0,0 2-19,0 0 68,0-3-46,3 3 62,-3 0-24,0-3-13,0 3 16,0 0-44,0 0 17,0 0-43,0 0 4,0-1 8,2 1-1,-2 0-1,0 0 23,0 0-45,2 0 75,-2 0-39,0 0 37,0 1-26,0-1-6,0 0 10,0 0-7,3 0 50,-3 3-37,0-3 41,0 0-49,0 3 63,0-3-46,0 0 51,3 0-18,-3 2 21,0-2-3,0 0 4,0 0 17,0 2-30,0-2 37,0 0-54,0 0-6,0 0 16,0 0-8,0 3-15,0-3 6,0 0-20,0 0 25,1 0-52,-1 2 36,0-2-43,0 0 21,0 0 14,0 0-13,0 0 12,0 3-17,0-3 4,0 0-13,0 2-7,0-2 28,0 2-27,0-2 32,0 0-37,0 3 25,0-3-31,0 0 36,0 2-9,0-2 7,0 2-6,0-2 24,0 3-14,0-3 16,0 0-5,0 3-11,0-1 11,0-2-16,0 2 31,0 1-19,0-3 24,0 2-28,0 0 31,0-2-24,0 3 28,0-3-23,0 2-1,0 1 4,0-3-7,0 2-59,0-2 43,0 2-43,0-2 2,0 3 37,0 0-42,0-3 47,0 1-19,0 2 7,0-3-11,0 3 5,0-1-17,0 0 5,0-2-10,0 3 63,0-1-27,3-2 29,-3 3-39,0-1 40,0 0-27,0-2 36,0 3-53,0 0 14,0-2-11,0-1 15,0 3-18,0-3 19,0 3-18,0-3 22,0 2-41,0 0 27,0-2-31,0 3 29,0-3 2,0 2-10,0 1 6,0-1 14,0 0-9,0-2 15,0 3 8,0 0-16,0-2 19,0 2-23,0 0 8,0-1-2,-3 0 4,3 1-3,0-1-10,0 1 8,0-1-7,0 0-9,0 1 10,0 0-13,0-2 16,0 2-27,0 0 20,0-1-21,0 0 2,0 1 15,0-1-16,0 1 17,0-1-11,-1 0 6,1 4-9,0-5 12,0 2-7,0 0 6,-3 1-6,3 1 5,0-2-2,0-1 2,0 3-2,0-2 29,0-2-20,0 5 20,0-4-3,0 0-15,0 1 18,0-1-21,0 1 37,0-1-26,0 0 31,0 1-38,0 1-6,0-4 5,0 3-3,0 0-16,0-1 21,0 0-22,0 1 23,0-1 1,0-2-2,0 2 3,0 1-26,0-1 16,0 1-18,0-1 21,0 0-11,0 1 7,0 0-9,0 1 9,0-1 16,0 1-11,0-1 14,3 2 43,-3-1-41,0-1 43,0 1-55,0-1-9,0 2 10,0 0-9,0-3 1,0 1 6,0-1-4,0 3 8,0-5-35,0 3 24,0-2-28,0 2 37,0 0-47,0-1 33,0 0-42,0 1 40,0-1-2,0 1-5,0-1 8,0 0 19,0 1-13,0 0 17,0-2-9,0 5-7,0-4 8,0 0-8,0 1 48,0 2-30,0-1 34,0-1-38,0 0-17,0-2 16,0 5-12,0-4 13,0 0-30,0 1 21,0-1-23,0 1 0,0-1 18,0 0-22,0 1 26,0 0-19,0-3 12,0 1-16,0 2 14,0-3-4,0 3 2,0-1-1,0 0 12,0 1-8,0-1 8,0 1-8,0-1-2,0 0 2,0 3-1,0-3-1,0 1 2,-3 2-2,3-3 3,0 3 35,0-3-26,0 3 28,0-2-34,0-1 56,0 3-41,0-2 47,0-2-65,0 2 14,0 0-11,0-1 18,0 0-40,0 1 31,0-1-30,0 1-5,0-1 24,0 0-29,0 4-4,0-5 28,-3 2-30,3 0 30,0-1-5,0 3 0,0-3-5,0 1 8,0-1 5,0 0-3,0 4 6,0-5 4,0 2-7,0 2 8,0-3-9,0 1 25,0 2-16,0-3 17,0 0-22,0 1 0,0 1 1,0-1 0,0 2-8,0-3 6,0 1-6,0-1 7,0 3-8,0-3 5,0 1-7,0 0 4,0 1 1,0-1-3,0-1 3,0 3 0,0-3 0,0 3 1,0 0-1,-2-2 1,2 1 0,0-1 0,0 1 4,0 1-3,0 0 4,0 0-5,0-1 13,0 2-8,0-2 9,0 1-7,0 0-3,0 0 4,2-1-5,-2 2 22,0-5-15,0 5 16,0-4-24,0 0 3,0 1-2,3-1 6,-3 1-68,0-1 50,0 0-55,0 1 66,0 0-44,0-2-15,0-1-1,0 3-56,0 0 86,-3-1-55,3 0 61,0 1-6,0-1 3,0 3-6,0-3 58,0 1-45,0 1 47,0 2-57,0-4 29,0 3-15,0 0 21,0-1-16,0 2 31,0-5 1,0 7 108,0-6 104,0 3 171,0 0 205,0-3 167,0 4 182,0-5 202,0 5 177,0-4 101,0 0-16,0 1-51,0-1-159,0 1 45,0-1-241,-2 0-25,2 1-352,0 1-224,0-4-187,-2 6-138,2-4 1,0 3 0</inkml:trace>
  <inkml:trace contextRef="#ctx0" brushRef="#br0" timeOffset="98">12514 632 8355,'0'-2'0,"0"2"0,0 0 0,0 0 0,-2-3 0</inkml:trace>
  <inkml:trace contextRef="#ctx0" brushRef="#br1" timeOffset="99">12652 642 8355,'-2'0'113,"2"0"-69,0 0 138,0 0-96,0 0-51,0 0 29,-3 0-60,3-3 24,0 3-14,0 0-12,-3 0 14,3 0-18,0 0 5,0 0 6,0 0-7,0 0 10,-2 0-1,2 0-2,-2 0 0,2 0 1,-3 0-8,3 0 5,0 0-6,-2 0-5,2 0 10,-2 0-11,2 0 15,-3 0-6,1 0 4,2 0-5,0 0 8,-3 0-4,1 0 5,2 0-7,-2 0 0,2 0 0,-3 0-1,0 3 2,3-3 17,-2 0-12,2 0 13,-2 0-8,2 0-6,0 0 7,-3 0-6,3 0 7,-2 0-5,2 0 4,0 0-20,0 0 10,-2 0-8,2 0 12,0 0-18,-3 0 12,3 0-15,0 0 19,-2 0-19,2 0 13,0 0-17,-3 0 26,3 2-8,-2-2 7,2 0-9,0 0 9,-2 0-8,2 0 8,-3 0 16,3 0-17,0 0 21,0 0-25,-3 0 10,3 0-7,-1 0 8,1 0-7,-3 0-2,3 0 1,-3 0-1,3 0-8,0 0 9,0 0-9,-2 0 9,2 0-6,0 0 3,-2 0-3,2 2-4,0-2 7,-3 0-9,3 0 9,0 0-10,-2 0 7,2 0-8,-3 0 9,3 0-9,0 0 6,-2 0-7,2 0 3,0 0 3,-2 0-4,2 0 4,0 0-1,0 0-1,-3 0 0,3 0 3,0 0 0,0 0-1,-3 0 1,3 0 1,0 0-1,-1 0 2,1 0-2,0 0 1,-3 0 0,3 0 0,0 0-1,0 0 5,0 0-3,-3 0 2,3 0-3,0 0 22,0 0-15,-2 0 16,2 0 1,0 0-16,-2 0 19,2 0-23,0 0 3,0 0-2,0 0 5,-3 0-8,3 0 8,0 0-7,0 0 0,-2 0 3,2 0-4,0 0 5,0 0-39,0 0 27,-3 0-31,3 0 39,0 0-41,-2 0-9,2 0-8,0 0-71,0 0 50,0 0-71,-2 0 64,2 0-34,0 0 3,0 0 27,0 0 4,-3 0 72,3 0 0,0 0 0</inkml:trace>
  <inkml:trace contextRef="#ctx0" brushRef="#br1" timeOffset="100">12650 652 9502,'-6'-3'-900,"6"3"770,0 0 82,-2 0 97,2 0-66,-2-3 32,-1 3-40,3 0 47,0 0 45,-2 0-31,0 0 35,2 0-44,-3 0 56,3 0-39,-2 0 46,2 0-56,-3 0 41,1 0-30,2 0 34,-2 0-70,2 0 33,-3 0-31,0 0 5,1 0 18,2 0-21,-2 0 34,2 0-74,-3 0 53,3 0-66,-2 0 72,2 0-60,0 0 45,-2 0-53,-1 0 57,3 0-8,0 0 4,-2 3-4,2-3 3,-3 0-6,3 0 6,-2 0 7,2 0-7,0 0 9,-2 0-8,2 3-10,-3-3 8,3 0-7,-3 0 8,3 0-19,-1 2 15,1-2-17,-3 0 21,3 0-33,-3 0 21,3 0-26,-2 0 42,2 0-10,-2 0 10,2 2-14,0-2 24,-3 0-18,3 0 19,-2 0-27,2 0 6,-3 0-5,3 0 7,-2 0-12,2 0 12,-2 0-11,2 0 15,0 0-30,-3 0 20,3 0-21,-3 0 4,3 0 15,0 0-19,-1 0 20,1 0 30,-3 0-22,3 0 26,0 0-32,-3 0 1,3 0 0,0 0 1,-2 0-16,0 0 14,2 0-13,0 0 16,-3 0-11,3 0 9,-2 0-9,2 0-61,-3 0 50,3 0-57,-2 0-57,2 0 22,0 0-110,-2 0 126,2 0 18,0 0 70,0-2 0,-3 2 0</inkml:trace>
  <inkml:trace contextRef="#ctx0" brushRef="#br0" timeOffset="101">12722 654 9502,'0'5'-1140,"0"-5"1191,0 2 1,-3 0 200,3 1-191,0-1-30,0 1-74,-2-1 20,2-2 4,0 2 39,-2 4-44,2-5-18,-3 2-17,3 2-9,-3 0 16,2-3-10,1 3 50,0 0-56,-3-2 68,3 1 0,-3 1 0</inkml:trace>
  <inkml:trace contextRef="#ctx0" brushRef="#br0" timeOffset="102">12717 717 9195,'2'2'-111,"-2"0"241,0-2-11,0 3-66,0-1 2,0-2 2,0 5 6,0-3-82,0 1-14,0 1-16,0-1 17,-2 2 13,2 0-11,-2-3-116,-1 5 35,0-4-50,2 1 99,-2 2-134,3-4 78,-3 0-49,3 1 85,0-1 82,0 1 0,-2-1 0</inkml:trace>
  <inkml:trace contextRef="#ctx0" brushRef="#br0" timeOffset="103">12715 775 9502,'0'2'-728,"-3"-2"1064,3 2-71,0-2-160,0 0-25,0 0-50,0 3-56,0-3 31,0 2-4,0 1 8,0-3-12,0 2-19,-3 0-3,3 1 13,0 0 17,-1 1-20,1 1-6,-3 0-131,3-3 85,-3 5-109,3-4 71,0 1-36,0 2 28,-2-4-69,2 3 69,0-3 34,2-2 6,-2 3 50,0-3 37,3 0 5,-3 0 20,3 0 17,-2 0-28,-1 0 0,0 0 16,3 0-6,-3 0 53,3 0-22,-3 0 89,0 0-113,0 0 39,0 0-48,0 2-30,-3 0-21,3 1 30,-3 1-40,3-1 3,-1 0-21,1-1 2,-3 3 2,0-3-27,3 0-26,0 1 1,0-1 5,-2 1 2,2-1 33,0-2-44,0 2 72,0-2 11,2 0 12,-2 0 0,0 0 0,3 0 0,-3 0 0,3 0-9,-3 0-5,0 0 2,0 0 0,1 0 50,-1 3 15,0-3-8,0 3 6,0-2-12,0-1 31,0 6-10,0-4 4,0 0-22,-1 1-5,1-1-26,0 1 11,0-1-33,0 0 41,0 1-46,0 0-8,0-2-7,0 2 7,0 0-23,0-3-18,0 2-15,0 0 21,0 1-25,0-3 59,0 2-52,0-2 71,0 3 6,0-3 0,0 2 0,0 0 0,0 1 0</inkml:trace>
  <inkml:trace contextRef="#ctx0" brushRef="#br1" timeOffset="104">12657 784 8985,'-3'0'-496,"3"0"450,0 0 95,0 0-15,0 0 29,0 0 1,0 0-16,-2 0 79,2 0-78,0 0 50,0 0-65,-2 0 27,2 0 8,0 0 2,0 0-26,0 0-8,-3 0-12,3 0 20,0 0-40,0 0 27,-3 0-35,3 0 26,0 0 6,0 0-8,0 0-36,-2 0 35,2 0-44,0 0 50,-2 0-30,2 0 22,-3 0-21,3 0 22,-2 0-21,2 0 14,-2 0-17,-1 0 21,3 0-27,-2 0 20,2 0-23,-3 0 4,1-2 12,2 2-15,-2 0 13,-1 0 6,0 0-8,3 0 8,-2 0-8,2 0 6,-2 0-10,2 0 10,-3 0 6,1 0-5,2 0 8,-2 0 0,-1 0-5,3 0 6,-2 0-8,2 0 18,-3 0-12,1 0 13,2 0-1,0 0-12,-2 0 13,-1 0-14,3 0 0,0 0-1,-3 0 4,3 0-1,-1 0-7,1 0 5,-3 0-8,3 0-1,0 0-1,-3 0-3,3 0 4,0 0-2,-2 0 6,2 0-8,0 0-4,-2 0 7,2 0-9,-3 0 12,3 0-15,0 0 10,-2 0-11,2 0 13,-3 0-1,3 0-1,-2 0-1,2 0 1,-2 0-9,2 0 4,0 0-6,-3 0 11,3 0 0,-3 0 0,3 0 12,0 0-10,-1 0 11,1 0-13,-3 0 3,3 0-2,-3 0 3,3 0-2,0 0-1,-2 0 1,2 0 0,-2 0 1,2 0-18,0 0 13,0 0-13,0 0 1,-3 0 11,3 0-15,0 0 20,0 0-5,-2 0 4,2 0-5,0 0 8,0 0-8,-3 0 7,3 0-6,0 0 8,-2 0-5,2 0 6,0 2-8,0-2 2,0 0-151,0 0-35,0 0-150,-2 0 0</inkml:trace>
  <inkml:trace contextRef="#ctx0" brushRef="#br1" timeOffset="105">12657 791 9502,'-3'-2'-1140,"1"2"1200,0 0-3,-1 0 218,3 0-103,-3 0-24,3-2-51,-2 2-21,0 0-60,-1 0 51,3 0-51,-2 0 34,2 0 12,-2 0-22,-1 0 28,3-3-70,-2 3 48,2 0-54,-3 0 67,1 0-66,2 0 45,-2 0-49,-1 0 17,0 0 24,3 0-29,-2 0 24,0 0-23,-1 0 17,1 0-20,2 0 14,-2 0 10,-1 0-15,1 0 17,-1 3 6,1-3-4,0 0 3,-1 0-7,3 0-17,-4 0 12,4 0-11,-3 0-19,0 0 25,1 2-28,0-2 33,-1 0-37,3 0 26,-2 0-31,-1 0 12,1 0 13,2 0-16,-2 0 18,2 0 22,0 0-19,-3 0 18,3 0-23,0 0 10,-3 0-7,3 0 7,0 0-4,-1 0-6,1 0 7,-3 0-7,3 0-5,0 0 7,-3 0-8,3 0-35,-2 0 34,2 0-36,-2 0 42,2 2-47,0-2-16,-3 0 0,3 0 2,-2 0-114,2 0 22,0 0-97,-3 0 135,3 0 59,-2 0 56,2 0 0,0 0 0</inkml:trace>
  <inkml:trace contextRef="#ctx0" brushRef="#br0" timeOffset="106">12715 1195 9061,'-3'0'-486,"3"0"450,0 0 45,-3 0-11,3 0 15,0 0-12,0 0-4,-1 2 5,1-2-6,0 2 8,-3 1-4,3-3 5,-3 2-7,3-2-50,0 3 36,-2-1-37,2-2 49,0 2-78,0-2 57,0 0-63,0-2 71,0 0 21,2-1-24,-2-2 32,3 1-23,0-3 60,-2 1 21,2 2-11,-3-1 3,3 0-18,-1 0 35,-2 2-11,0-1 18,0 1-23,0 3 38,0-2-58,0 2 33,0 0-81,-2 0 50,-1 0-79,0 2 55,2 1-58,-2 0 64,0-2-31,-1 2 13,1 2-15,1-3 13,2 1-47,-3 2 23,1-3-31,2 0 34,-2-2-41,2 3 2,0-3-13,0 0 30,0-3 41,2 1-14,-2-3 13,5-2-18,-5-1 26,5 1-19,-3 0 19,0-2-22,-2 2 11,3-3-4,0 2 7,-3 1-3,0 0-50,0 2 38,0 0-39,0 0 34,0 5 6,0-2-9,-3 2 26,0 0-14,3 2 10,-2-2-14,0 3 41,-1-1 11,3 3 4,-2-3-10,2 4 19,0-5 15,-3 2 14,3-3-18,0 3-33,0-1-14,0-2 13,0 0-73,0-2-15,0-4-6,0 5 15,3-7 1,-3 3-12,2 0-21,1-2-2,-3 0 57,2 0-9,-2 0 37,2 2-18,-2-2 5,0 1-15,3 2 59,-3 1 23,0 1 8,0 0-17,0-1-6,0 3 11,0-2 18,0 2-18,0 0-3,-3 0-29,3 0 35,0 0-81,0 0 45,-2 0-46,2 0-6,-2 0-16,2 0-6,0 0 15,-3 0 2,3-3 33,-2 3-47,2 0 50,0-2-71,-3 2 50,3-2-58,0-1 63,0 0 1,-2 2-7,2-2 11,0 0-22,0-1 62,0 1-41,0 1 46,0-3-47,0 3 56,0-1-32,0 0 59,0 2-26,0-5-13,0 6 14,0-2-21,0 0-4,0 2 9,0-3-10,0 3 12,0 0-3,0-2 6,0 2-8,0 0-26,-2-3 21,2 3-20,0 0-23,0 0-14,0 0-3,0-2 9,0 2-12,-3-2 2,3 2-24,0-3 9,0 3 35,0-3-5,0 2 3,0 1 32,0-3-32,0 0 29,0 1-38,0 0 99,0-1-23,3 1 85,-3-1-70,2 1 37,-2 0-6,2-4-26,-2 5-54,3-2-30,-3 0-37,2-1 57,1-1 0,-3 2 0</inkml:trace>
  <inkml:trace contextRef="#ctx0" brushRef="#br1" timeOffset="107">12659 929 8692,'0'0'172,"-2"-2"-63,2 2-30,0 0-8,0 0-21,-3 0 12,3 0-2,0 0 5,0 0-1,0 0-5,-2 0 0,2 0-1,-2 0-35,2 0 23,0 0-23,-3 2-10,0-2 27,3 0-30,0 0 39,-2 0-38,0 0 25,-1 0-29,3 0 25,-2 0-61,0 0 40,-1 0-70,1 0 77,2 0-16,-3 0 12,1 0 7,0 2-36,-1-2 26,0 0-29,1 0 24,0 0 0,2 0-1,-3 0 5,1 0-21,0 0 16,-1 0-18,3 0 21,-2 0-9,-1 0 6,1 0-11,2 0-12,-2 0 12,2 0-13,-3 0 21,3 0-14,0 0 9,-3 3-11,3-3 12,-1 0 1,1 0-3,-3 0 1,3 0 12,0 0-8,-3 0 10,3 0-10,0 0-1,-2 0 2,2 0-1,-2 0-1,2 0 2,-3 0 0,3 0-14,-2 0 9,2 2-10,0-2 13,-3 0-24,3 0 18,-2 0-21,2 0 24,0 0-19,-2 0 13,2 0-15,0 0 29,0 0-10,-3 0 9,3 0-13,0 0 34,0 0-24,-3 0 26,3 0-18,0 0-9,0 0 13,-1 0-15,1 0 23,-3 0-16,3 0 21,0 0-23,-3 3 0,3-3 0,0 0-1,-2 0-7,2 0 9,-2 0-10,2 0 11,0 0-11,0 0 8,-3 0-10,3 0 2,0 0 3,0 0-4,-2 0 5,2 0-33,0 0 20,0 0-46,0 0 47,0 0-50,-3 0 44,3 0-26,0 0-19,0 0-10,-2 2-9,2-2 12,0 0 39,0 0 6,0 0-13,-2 0-84,2 0 3,0 0-6,-3 0 54,3 0 73,0 0 0,0 0 0</inkml:trace>
  <inkml:trace contextRef="#ctx0" brushRef="#br1" timeOffset="108">12661 941 9502,'-2'0'-176,"0"0"171,2 0-49,0 0 102,-3 0-26,3 0 63,0 0-21,-2 0 33,2 0-72,-2 0 51,2 0-60,-3 0 66,3 0-5,-3 0 11,3 0-8,-2 0 5,0 0-7,-1 0-16,3 0-21,-2 0 22,0 0-18,-1 0 38,1 0-68,-1 2 39,1-2-42,-3 0 60,2 0-52,-1 0 38,1 3-43,-1-3-10,1 0-13,-2 0-10,3 3-18,-3-3 67,2 0-31,2 0 33,-5 1-30,4-1 24,0 0-24,-1 3 25,1-3-41,-3 0 28,3 0-27,2 0 36,-3 3-18,0-3 13,2 0-13,-2 0 3,0 0 8,3 0-9,-2 0-17,0 2 19,2-2-24,0 0 27,-3 0-39,3 0 29,0 0-521,0 0 293,0 0-292,0 0 411,-2 0 106,2 0 0,-3 2 0</inkml:trace>
  <inkml:trace contextRef="#ctx0" brushRef="#br0" timeOffset="109">12717 997 9502,'2'0'-656,"1"2"442,-3-2 94,0 2 26,2-2-5,-2 0 31,0 3 14,0-3 54,0 3-5,0-3 8,0 1 18,0 2-17,0 0 18,0-3 40,0 2-49,0 0 45,0-2-64,-2 3 68,2-1 22,0 1 20,0-3-23,0 0-37,0 0-5,0 2-51,0-2 39,0 0-52,2 0 11,-2 2-11,0-2-11,0 0-24,0 3 54,0-3-20,0 3 18,0-2 7,0 2-14,0 0 11,0-1-8,0 3 17,0-3-11,0 3 12,-2-3-10,2 3-30,0-3 21,0 1-21,-3 2-5,3-5 25,0 2-28,0 1 49,0-3-14,0 2 12,0-2-19,0 0 24,3 2-19,-3-2 21,0 0-23,0 0 24,0 3-16,0-3 18,0 2-16,0-2 58,0 3-34,0-3 39,0 2-53,0 0-5,0 1 8,0 0-56,0-3 43,0 1-44,0 2 53,0 0-64,-3-1-18,3 0-3,0 1 5,0-3 68,0 2-4,0 1 8,0-1-1,0-2 1,0 2 0,0 1 19,0 0-24,0-3 14,0 1-21,0 2 40,0-3-20,0 3 23,0-3-26,0 2-17,0-2 21,0 2-16,0 1 17,0-1-13,0-2 9,0 3-11,0-1 6,0 0 8,0-2-7,0 3 5,-2 0 64,2-2 18,0 2 4,0 0 51,0 1-51,0-4 18,0 3-22,0 2-69,0-5 8,0 2-3,0 0 18,0 1-42,0 0-25,0-2 2,0 2 9,0 0-36,0-3 17,0 2-90,0-2 31,0 2 21,0-2 18,0 3-31,0-3 59,0 2-71,0-2 72,0 0 22,0 3-14,0-1 25,0-2-36,0 2 60,0-2 20,0 3 9,0 0-16,0-2-13,0-1 7,0 3 20,0 0-67,0-3-36,0 2-13,0 0 23,0 1-14,0-3-10,0 2-8,0 1 13,0-1 51,-2 0 0,2 1 0</inkml:trace>
  <inkml:trace contextRef="#ctx0" brushRef="#br0" timeOffset="110">12715 1253 9502,'-3'2'-375,"3"0"90,-3 1 133,3-1 81,0 1 42,-1-1 36,1 0 33,0 1-17,-3-1 9,3 0-15,0 4 18,-3-4-60,3 0 42,0 1-45,0-1-12,0 0-16,0 1-6,0-1 9,0-2 61,0 3-8,3-1 0,-3 0 0</inkml:trace>
  <inkml:trace contextRef="#ctx0" brushRef="#br0" timeOffset="111">12717 1315 9502,'0'5'-48,"0"-5"3,0 2 122,0 1-194,0-1 85,0 1-133,0-1 92,0 0-2,0 1-5,0 1 23,0-1-112,0 0 151,0 1-98,-2-1 116,2 2 0,-3-1 0</inkml:trace>
  <inkml:trace contextRef="#ctx0" brushRef="#br0" timeOffset="112">12717 1378 9502,'0'2'-7,"0"1"0,0-1 98,0 1-173,2-1 71,-2-2-151,0 2 149,0 1-110,0 0 99,0-3-117,0 1 104,0 2-110,0 0 77,0-1-110,-2 0 111,2-2 14,0 3 55,0-1 0,-2 3 0</inkml:trace>
  <inkml:trace contextRef="#ctx0" brushRef="#br0" timeOffset="113">12709 1419 9502,'-4'0'-829,"1"2"952,3 1 238,-2 0-102,0 1-288,2-1 27,-3 1-173,3-1 94,-2 2-4,2-1 20,-3 2-43,3-5 1,-2 5-9,2-4 31,0 0-54,0 3 123,-2-2-54,2-3 70,0 2 0,2 0 0,-2 1 0,2-3 0,1 0 0,-1 0 0,1 2 0,-1-2 0</inkml:trace>
  <inkml:trace contextRef="#ctx0" brushRef="#br0" timeOffset="114">12719 1434 9502,'0'2'-881,"-2"0"1051,2-2-93,0 3-12,0-3-67,0 2 74,0-2-75,0 3-16,0-1-12,0-2 20,0 2-2,0 1-10,0-3-11,0 4 12,0-4-25,0 3-17,0 0-8,0-1 13,0 0 65,-2 1-6,2-1 0,0 1 0</inkml:trace>
  <inkml:trace contextRef="#ctx0" brushRef="#br0" timeOffset="115">12517 1475 20841,'0'9'1284,"0"-4"-778,0 0 260,0 0-340,0-1-178,0-1 7,0 2-139,0 2 55,0-3-122,0 2 14,0-2-50,0 4 16,0-6-28,0 3 7,0-1-58,0 2 6,0-2-55,0-1 25,0-1-64,0 3 9,0-3-45,0 1 5,0 0 27,0-2-15,0 4 48,0-2 10,-3-1 86,3 0 94,0 1 79,0 1 65,0 2-23,0-4-33,-2 3-3,2 0-117,0-1-7,0 2-241,0-5 88,0 5-234,0-2 121,0 1-69,0 0 19,0 0 136,0-2-51,0 1 183,0-1-96,0-1 219,0 0-110,-3 3 187,3-2-112,0-1 56,0 0 17,0 1 28,0 0 77,-2-2 28,2-1 81,0 3-147,0 0 165,-2-1-176,2 0 13,0 1-57,0-1-176,-3-2-73,3 3-108,0 1 49,0-1-192,0-1 87,0 0-177,0 4-44,-3-4 75,3 3-99,0-3 127,0 3-73,0 0 199,0-3-81,0 3 234,0-1-99,0 2 166,0-2-36,0-1 66,0 2 33,0-1 8,0 2 71,0-2 16,0 1 40,0 0 39,0 2 12,0-2 25,0-2-42,0 4-79,0-3-112,0-1-136,0 2-86,0-1-80,0 2-35,0-5-44,0 5-35,3-2 19,-3-1-43,0-1 66,0 3 44,0-3 63,0 1 106,0 1 54,0-1 98,0 2 51,0-3 111,0 3 15,0-2 5,0 1-12,0 2-69,0-5 131,0 5 36,0-2 201,0-1 1,-3 2 3,3-1-152,0-1-116,0 1-213,0 2-195,0-4-170,0 3-238,0-3-35,0 3-50,0-3 139,0 3 112,0-3 169,0 4 51,0-5 76,0 5 32,0-4 43,0 0-47,0 1 61,0 2-104,0-3 106,0 0-21,0 1 52,0 0 6,0 1-3,0-4 63,0 5-33,0-3 114,0 1-106,0-1 41,0 1 16,0-1 58,0-2 205,0 2-19,0 1 277,-1-3-230,1 3 308,0-3-199,0 0-36,0 1 49,0-1-494,0 0 131,0 3-518,0-3 260,0 0-332,0 3 226,0-3-101,0 2-73,0-2 263,0 2-101,0 1 231,0-3-14,0 2 13,0 1-83,0-1 13,0-2-74,0 2-83,0-2-221,0 3 389,0-3-50,1 0 560,-1-3 0,3 1 1</inkml:trace>
  <inkml:trace contextRef="#ctx0" brushRef="#br0" timeOffset="116">12698 1484 9502,'-5'5'-204,"5"-2"72,-3-1 106,3 0-92,-2 3 42,2 0-125,0-3 84,-2 3 55,2 0 24,0-1-20,0-1 5,0 2-27,0-3 34,0 3 44,0-2 2,0-1 0,0 0 0,2-2 0,0 0 0,1 3 0,-1-3 0</inkml:trace>
  <inkml:trace contextRef="#ctx0" brushRef="#br0" timeOffset="117">12717 1486 9502,'-2'6'-190,"2"-4"125,0 0 29,0-2-34,0 3 91,0-1-60,0 0 98,0 1-49,0-1 59,0 1-89,0-3 11,0 2-84,0 0-17,0 1 32,0 0-48,0-3 91,0 1-62,0 2 28,0 0-40,2-1 1,-2-2 53,0 2 4,0-2 9,0 3 78,0-3-62,0 2 59,2-2-69,-2 0 77,0 0-48,0 0 55,0 3-55,0-3 41,0 0 38,0 2-15,0-2 71,0 2-106,0 1 64,0 0-48,0-3-2,0 4 7,0-1-10,0-1-41,0 0 30,0 1-27,0-1 31,0 1-48,0-1 29,0 0-35,0 1 22,3 0 15,-3-2-16,2 2 12,-2-3-37,3 2-22,-3-2 6,2 3-24,-2-3 63,0 0-27,0 0 36,2 0-15,-2 0 13,0 0 28,0 0 13,0 2 4,0-2-10,0 2 11,0-2 10,0 3 35,-2 0-30,2-2-10,0 2-32,-2 0 44,2-1-31,0 3 36,0-3-39,-3 3-45,3-3 32,0 4-35,0-5 49,0 5-53,0-4-18,0 0-10,0 3 17,0-2-2,0-1-9,0 3-15,0-5-26,0 3 54,0-2-17,0 2-9,0 0 35,0-3-39,-2 2 40,2 0-4,0-2 0,0 0 2,0 3 31,0-3-24,0 0 29,0 2-33,0-2 21,0 3 11,0-3-2,0 2 46,0-2-16,0 2 11,0 1-13,0 0-14,0-2-15,0 5 23,0-4-28,0 3 18,0 0-7,0-1 6,0 1 3,0-3-5,0 6 5,0-3-4,0-1-13,0 1-8,0 0 0,0 0-20,0-2 27,0 1-17,0-1 18,0-1-16,0 0 9,0 1-11,0-1 15,-3-2-10,3 0 5,0 3-58,0-3 42,0 0-75,0 2 71,0-2-26,0 0 40,0 2-2,0-2-1,0 3 58,0 0-49,0-2 52,0 2-60,0 0 53,0 1-36,0 1 40,0 0-44,0 0 16,0 2-1,0-2 6,0 2 16,0 0-20,0-1 25,0 1-26,0-3-16,0 1 7,0 2-8,0-1-35,0-2-11,-2 3-5,2-2 7,0 0 3,0 0-19,0-1 1,0-1-2,0 2 56,0-3-21,0 3 16,0-2 28,0 1 16,0-1 1,2 1 47,-2-1-24,3 2 4,-3 0-4,0-1-21,0 1-23,0 2 24,0 0-38,0 1 0,-3-1 0</inkml:trace>
  <inkml:trace contextRef="#ctx0" brushRef="#br1" timeOffset="118">12650 1508 8262,'-3'0'485,"3"0"-329,0 0 306,0 3-406,-3-3-50,3 0-24,0 0 25,0 0-58,0 0 23,0 0 28,0 0-43,-2 0 52,2 0-12,0 0 9,0 0 57,-2 0-40,2 0 47,0 0-60,0 0 21,-3 0-14,3 0 21,0 0-36,0-3 19,-2 3-16,2 0-35,0 0 37,-2 0-43,2 0 53,-3 0-65,3 0 46,-2 0-59,2 0 68,-3 0-68,3 0 47,-2 0-55,2 0 61,-2 0-24,-1-2 17,3 2-15,-3 0 21,3 0-7,-2 0 4,2 0 11,-2 0-13,2 0 15,0 0-15,-3 0 34,3 0-23,-2 0 26,2 0-27,0 0 14,-2 0-7,2 0 9,-3 0-5,3 0-8,-2 0 9,2 0-10,0 0 2,-3 0-2,3 0 2,-2 0-11,2 0 9,0 0-9,0 0 10,-2 0-17,2 0 10,0 0-11,0 0 14,-3 0 0,3 0-1,0 0-1,0 0 10,0 0-6,-3 0 5,3 0-7,0 0 7,-1 0-5,1 0 6,0 0 1,-3 0-5,3 0 6,0 0-6,-3 0-24,3 0 18,0 0-19,0 0 23,-2 0 0,2 0-2,0 0 2,0 0 4,-2 0-4,2 0 4,0 0-6,0 0 33,-3 0-23,3 0 25,0 0 6,0 0-25,-2 0 28,2 0-32,-3 2-9,3-2 11,0 0-5,-2 0 6,2 0-27,-2 0 17,2 0-21,0 0 29,-3 0-19,3 0 13,-3 0-18,3 0 1,0 0 5,-1 0-7,1 0 13,-3 0 2,3 0-3,-3 0 1,3 0 7,0 0-5,-2 0 6,2 0-7,0 0 7,-2 0-5,2 0 8,0 0-4,-3 0-1,3 0 1,0 0-2,0 0 6,-2 0-4,2 0 5,0 0-9,0 0 1,-3 0 0,3 0 1,0 0-21,-2 0 14,2 0-16,0 0 5,0 0 9,0 0-9,0 0 10,-2 0-76,2 0 119,0 0-100,0 0 160,0 0-80,0 3 30,2-3-17,-2 0-22,0 0 17,0 0-25,0 0 14,0 2-18,0-2 9,0 0-12,0 0 25,0 0-4,0 0 3,0 2-2,0-2-8,0 3 6,0-3-4,0 0-7,0 0 7,0 3-6,0-3 9,-2 1-12,2-1 11,0 3-10,0-3-11,0 3 14,0-1-19,0-2 15,0 2 6,0-2-6,0 3 6,0-1 22,0-2-19,0 3 20,0-3-24,0 2 3,0 0-2,0-2 4,-3 3-2,3-3-12,0 3 10,0-3-9,0 1 24,0 2-8,0-3 8,0 3-13,0-3 0,0 0 0,0 2 0,0-2 5,0 2-4,0-2 6,0 0-6,0 3-14,0-3 11,0 2-11,0-2 14,0 3-33,0-3 24,0 2-27,0-2 24,0 0 2,0 0-4,0 2 3,0-2 3,0 0-5,0 3 4,0-3-1,0 0 1,0 3 1,0-3-2,0 0-30,0 0 22,0 0-21,0 1 28,0-1-20,0 0 13,0 3-17,0-3 25,0 0-7,0 2 7,0-2-26,0 0 13,0 3-15,0-3 18,0 0-24,0 0 18,0 0-20,-3 2 24,3-2 1,0 0-2,0 0-4,0 0 31,0 0-29,0 2 53,0-2-51,0 0 30,0 0-23,0 0 10,0 0-17,0 3 10,0-3-21,0 0 18,0 0-15,0 0 29,0 0-22,0 3 62,0-3-45,0 0 79,0 0-61,0 0 30,0 1-47,0-1 1,0 0 9,0 0 19,0 3-3,0-3 53,0 0-12,0 0 9,0 0-11,0 0-76,0 0 32,3 0-32,-3 0-9,0 0 27,0 0-30,3 0 38,-3 0-20,0 3 12,2-3-20,-2 0 21,2 0 5,-2 0-3,3 0 2,-1-3-7,-2 3-7,3 0 6,-1 0 0,0 0-4,-2 0 8,3 0-7,0 0-9,-2 0 10,-1 0-11,3 0 15,0 0-27,-3 0 19,2 0-24,0 0 28,-2 0-12,3 0 8,-1 0-10,-2 0 10,3 0-3,-1 0 3,-2 0-2,2 0 2,-2 0-2,0 0 3,3 0 2,-3 0-2,3 0 3,-3 0-4,1 0 21,2 0-16,-3 0 17,0 0-20,3 0 18,-3 0-12,2 0 15,-2 0-18,2 0 10,-2 0-6,3 0 9,-3 0-24,2 0 12,-2 0-11,0 0 13,3 0-10,-3 0 8,2 0-10,-2 0-48,0 0 38,2 0-42,-2 0 49,0 0-61,3 0 38,-3 0-43,0 0 65,0 0-1,2 0-2,-2 0-7,2 0 29,-2 0-20,0 0 23,3 0 6,-3 0-25,3 0 26,-3 0-27,2 0 7,-2 0 2,0 0 2,2 0 3,-2 0-4,0 0 7,3 0-6,-3 0 3,0 0-7,2 0 4,-2 0-4,3 0-2,-3 0 2,0 0-2,2 0-2,-2 0 4,0 0-3,2 0 2,-2 0-15,0 0 12,0 0-13,3 0 16,-3 0-17,0 0 10,0 0-11,2 0 13,-2 0 6,0 0-8,0 0-7,2 0 4,-2 0-31,0 0 27,0 0-16,0 0-1,0 0 15,0 0-15,3 0 19,-3 0 19,0 0-15,0 0 20,0 0-22,3 0 3,-3 0 26,0 0-24,0 0 29,0 0-31,0 0 10,2 0-5,-2 0 0,0 0 0,0 0-1,2 0 1,-2 0 1,0 0 16,0 0-13,0 0 13,0 0-12,0 0-3,3 0 4,-3 0-1,0 0-2,0 0 5,2 0-4,-2 0-21,0 0 15,0 0-33,0 0 32,0 0-10,0 0 12,0 3 52,2-3-38,-2 0 39,0 0-51,0 0 18,0 0-12,0 0 23,0 2-15,0-2 8,0 0 0,0 0 190,0 0-141,0 0 146,0 0-192,0-2-22,0 2 10,0 0-16,0-3 12,0 3-17,0-3 8,0 3-10,0-1 17,0-2 5,0 3-5,0-3-3,0 3 2,0-2-2,0 2 6,0-2-9,0 2 7,0-3-6,0 3 6,0-2-6,0 2 2,0-3-4,0 2-8,0 1 12,0 0-12,0-3 4,0 0 5,0 3-7,0-2 7,0 2-3,0-2 3,0 2-3,0-3 3,0 1-1,0 2 0,0 0 0,0-3 1,0 3 0,0-2 0,0 2 0,0-2 0,0 2 0,0 0 0,0-3 0,0 3-8,-2-3 5,2 3-5,0-1-18,0 1 18,0-3-20,0 3 25,0-3 4,0 3-4,0 0 1,0-2-2,0 2 6,0 0-4,0-2 5,0 2 2,0 0-8,0-3 9,0 3-10,0-2 5,0 2-1,-2-3 2,2 3 1,0 0-27,0-2 21,0 2-22,0-2 15,0 2 5,0-3-9,0 3 10,0-3 5,0 3-3,0-1 3,0 1 4,0 0-9,0-3 9,0 3-10,0 0 4,0-3-2,0 3 3,0-2-16,0 2 9,0 0-6,0 0 11,0-2-51,-3 2 36,3 0-52,0 0 63,0 0-7,0-3 13,0 3 0,0 0 0</inkml:trace>
  <inkml:trace contextRef="#ctx0" brushRef="#br0" timeOffset="119">12700 1530 9502,'-5'5'-203,"5"0"214,-2-3-144,2 0 48,0 4-117,-3-2 102,3-1 13,-2 1-8,2-1 31,0 2 16,0-3 15,0 0 31,0 1-93,0 0 79,0-3-43,0 0 53,0 0-35,0 0 29,2 0-25,1 0 37,-3 0 0,2-3 0,-2 0 0,3 3 0,-3-2 0,2 2 0,-2 0 0,0 0 76,0-2-50,2 4 53,-2-2-7,0 2-50,-2 1 56,2 0-64,0-2 29,-2 4-19,2-2 23,-3 1-22,3-1-15,-2 4 9,2-4-11,0 1 20,0-1-23,0 2 16,0-3-26,0 0-33,0 4-20,0-6-2,0 1-119,0-1 135,0 0-94,0 0 102,0-1 46,0 1-41,0-3 49,0 0 22,0 3-34,0-2 41,0 2 131,0 0-116,0 0 169,0 0-179,0 2 2,0 1-6,0 0-81,-3 1 61,3-1-58,-2-1-11,2 3 51,-2-3-64,2 3 26,0-3-21,0 1 4,-3 0-4,3-2-5,0 2-31,0-3-55,-3 0 49,3 0 20,0 0 76,3 0-19,-3-3 25,0 2 38,3-2-43,-3 0 50,0 1 27,2 0-16,-2-1 91,2 3-80,-2-2 52,0 2-77,3-3 38,-3 3-23,0 0-29,0 0 38,0 0-78,0 3 44,0-1-37,0 3-21,0-3-22,0 4-8,-3-2-56,1-1 49,0 1-22,-1 1 22,0 0-9,3 0-3,-1-2-17,-2 1 19,3-1-24,0-3-3,-3 2-19,3-2 37,3 0 49,-3 0 22,0-2 0,3 2 0,-2-6 0,5 5 0,-4-5 0,3 4 10,-3-3-21,1 0 17,-1 3 44,0 0 26,1-1 10,0 0-27,-3 3 1,0 0 21,1-1-3,-1 2 32,0-1-79,0 3 32,0 0-31,-1-1-4,-2 3 0,0 0-4,3-1-57,-2 2 49,0-5-55,-1 5 3,1 1 44,-1-5-53,1 3 63,0-3-48,-1 3-5,0-3-15,3 1 15,-1 0 20,1-3 4,0 2-70,0-2 8,0-2-53,1-1 4,2 0 61,0 1-5,-1-3 66,0 3 23,1-3-32,2 3 29,-3-1-34,0-1 79,-2 4-17,3-3 69,0 0-22,-3 3 25,0 0-20,1 0-20,-1 0-8,0 3-39,0 0 34,0-3-59,-1 4 32,-2 1-28,0 0-25,1 0-14,0-1-6,-3 2-2,2-2-24,1 1 1,0-3-65,-4 3 55,5 0-56,-2-3 35,3 1-3,0 0 38,-3-3 54,6 0 0,-3-3 0,3 0 0,1 1 0</inkml:trace>
  <inkml:trace contextRef="#ctx0" brushRef="#br0" timeOffset="120">12708 1715 9502,'-3'6'-113,"0"-4"-42,3 0 53,0-2-98,-2 5 105,0-3 20,2 1-3,-3-1 30,1 1 16,2 1 9,-3-1 26,1 1-30,0-1 33,2 0-41,-3-1 29,3 0-30,-3 1-28,3-3-16,0 2-2,0-2 17,0 0 65,6-2 0,-4-1 0,3 1 0</inkml:trace>
  <inkml:trace contextRef="#ctx0" brushRef="#br0" timeOffset="121">12709 1735 9502,'-1'5'12,"1"-3"52,0 3-183,-3-2 89,3-2-125,-3 2 92,3 0-31,-2 1 22,0-1-66,2-1 101,-3 3-43,1-3 36,-1 1-8,1 0-58,0-2 97,2 2-52,-3 0-10,0-3 57,3 2-56,-1-2 74,1 0 0,0 0 0,1 0 0,2 0 0,0 0 0</inkml:trace>
  <inkml:trace contextRef="#ctx0" brushRef="#br0" timeOffset="122">12698 1858 9502,'0'2'-150,"0"1"137,2-3-131,-2 3 88,0-2-6,0 2-9,-2 0 25,2-1 19,0 0 8,-3 1-11,1-1-9,2 3-28,-5-3 35,3 4-2,2-5-75,-3 2 16,0 0-19,2-1 22,1-2 75,-3 2 8,3-2 7,0 0 0,3 0 0,-2-2 0,-1 2 14,6-2-22,-4-1 8,0 3 29,1-3 12,-1 2 17,1 1-3,-1 0-12,0-3-20,-2 3 34,3 0-42,-3 0 44,0 0-24,3 0 18,-3 0-10,0 0-65,0 3 45,0-2-44,0-1-7,0 3 40,-3 2-54,0-3 16,3 1 22,-2 2-24,0-1 31,-1-1-61,1 1 38,-1 2-45,1-4 58,0 3-24,-1-3 10,0 0-14,3 1 17,-1-1-65,1 1 41,0-3-37,0 0 66,0 2 13,0-2 0,1-2 0,2 2 0,0 0 29,-3 0-28,2 0 19,-2-3-30,2 3 54,1 0 25,-3 0-2,0 0 3,0 0-45,0 0 10,0 3-1,0-3 8,0 2-47,0-2 38,0 5-38,0-2-13,-3-2 31,1 2-35,0 0 0,-1-1-15,0 3-2,2-3-3,-2 1-10,0 1-31,1-4 7,2 6 11,-2-6 62,2 1 3,-3 2 0,3-3 0,0 0 0,0 0 0,0 0 0,3 0 0,-1 0 0,-2 0 0,0 0 0,2 0 0,1 0 0,-3 3 100,0-3-20,3 0 99,-3 0-100,0 0-7,0 2-51,0-2 10,0 2 1,0-2-13,0 3 7,0-1-4,0 1-33,-3-3 1,3 2-16,-3 0-60,1 1 22,0 0-21,-1-3 25,1 1-23,-1-1 66,3 3-59,-2-3 76,2 0 0,0 0 0,0-3 0,2 2 0,1 1 0,-1-6 0,1 2 0,-1-1 0,0 0 0,1 0 9,0 1 32,-2-2 33,5 2-20,-6-1 49,2 0-80,-2 3 50,0-4-46,0 5-35,0-5 26,0 4-31,-2 0 45,2-1-60,-3 1 39,0-1-50,3 1 17,-1 0 22,1-1-28,-3 3 2,3-2 25,0 0-27,0 2 31,0-3-39,0 0 28,3-1-33,-3 1 37,1 1-21,5-3 12,-4 3-11,0-3 11,3-3 8,-2 4-6,1-1 3,2-2 16,-5 2-15,2 0 16,0 1-8,-1 1-5,-2-2 6,0 3-5,0 2 14,0 0-8,0-3 10,-2 3-11,-1 0 35,0 0-23,2 3 26,-2-3-31,0 2 7,1-2-3,0 2-9,-1 1 3,1-3-13,-1 3 16,1-2-41,0-1 29,2 0-29,-3 3 35,3-3-16,-3 0 3,3 0-21,0 0 13,0 0 1,0-3 2,0-1-8,3 1 5,0 1-6,-3-3 34,2 0-14,0 3 15,1-3 9,-3 1 5,2-2 5,-2 4-5,0 0 30,3-3-36,-3 5 40,0-3-49,0 1 22,0 0-6,0 2 10,0 0-6,-3-3-1,3 3 6,-2 0-4,2 0-49,0 0 27,0 0-32,-3 0-13,3 0 37,0 0-42,0-3 50,0 2-68,0-2-20,3-2-12,-3 0 20,0-2 62,2 2 6,1-5 2,-1 1 0,3-1 0</inkml:trace>
  <inkml:trace contextRef="#ctx0" brushRef="#br0" timeOffset="123">12695 1783 9502,'-7'5'-904,"5"-5"887,2 2 76,-3 1 217,3 2-110,-3-3-184,3 0-34,-1 1-124,-2 0 82,3-2-35,0 2 29,-3 0-61,3-1 99,-2 0 12,2 1 50,0-3 0,0 2 0,2-2 0,-2 3 0</inkml:trace>
  <inkml:trace contextRef="#ctx0" brushRef="#br0" timeOffset="124">12686 1822 9502,'-3'0'-222,"3"0"152,-3 0 30,3 0-85,0 2 112,-1-2-94,1 3 71,-3-1-100,3 0 93,-3 1-63,1 0 29,2-2-10,-2 5 19,2-4 67,-3 0 1,3 1 0,0-1 0,0 1 0,0-1 0,3 0 0</inkml:trace>
  <inkml:trace contextRef="#ctx0" brushRef="#br0" timeOffset="125">12688 1848 9502,'-5'3'-292,"5"-1"62,-3-2 95,3 3 28,0-1 42,0 0-1,-1 1 46,1-3 17,0 3-9,-3-2 12,3 2-17,0-3 2,0 3-3,0-1-63,-3 0 47,3-2-51,-2 3 64,2-3 10,0 2 1,0-2 10,0 0 0,0 3 0,2-3 0,1 0 0,0-3 0,-2 3 0</inkml:trace>
  <inkml:trace contextRef="#ctx0" brushRef="#br0" timeOffset="126">11662 2145 9502,'-2'3'-36,"0"-1"48,2 0 60,0-2 0,0 0 169,0 3-95,0-3 139,0 0-154,2-3 37,0-1-48,4-1-8,-2 0-2,1 0-9,2-2-19,0 0 14,0 0-9,3 0 35,0-1-60,-1 3 39,4-2-31,-1-1-43,0 4 29,0-3-95,3 2 80,-1 2-63,-2-1 37,2-2-28,-2 5 28,1-2-21,-1 0 49,-2 1-54,1 0 35,-1 2 3,-1-3-7,-1 1 12,2 2-22,-3-3 18,3 1-19,-3 2 9,2-2 11,-2-1-15,3 0 17,0 2-27,-1-2 19,-1 0-25,4 3 29,0-2-68,-2 2 48,2-2-52,-1 2 17,4 0-18,-3 0 1,0-3 1,0 3-3,-2 0 27,-3 0-33,2 0-13,-3 0-13,-2 0-11,-1 0 17,-1 0-53,-2 0 75,0 0-80,-2 0 75,-3 0 13,-3 0-33,1 3-2,-2-3 10,-4 2-19,2 0 34,-4 1 30,1-3-28,-1 3 31,1-3-72,-1 0 29,-1 0-22,1 1 36,-2-1-20,3 3 17,-3-3-18,2 3 14,-1-1 34,1-2-27,1 2 20,1 1 15,-1 2 5,2-3 11,2 0-11,3 1 26,-1 0 6,4-2 20,1-1 18,3 3-30,-2-3 12,4 0 67,1 0-38,1 0 65,2-3-65,1 3 58,-2-4-44,2 1 61,0-1-26,0-1 3,-2 2-20,5-1-18,-3-2 16,0 5-16,1-5 19,2 4-49,-3-3 7,5 3-22,-2-1 36,-1 1-59,3 0-17,0 2-10,-2-3 10,4 0 10,-2 3-15,3-1-7,-1 1-21,1 0 47,-1 0-10,1 0 4,-1 0-12,2 0 6,-1 0-9,2 0-21,-2 0 33,4 0-36,-5 0 43,3 0-27,0 1 19,0-1-21,0 0 25,0 0-30,-1 0 21,-1 3-26,-1-3-2,4 0 16,-4 0-19,-2 0 26,1 0-18,-2 0 10,1 0-11,-2 3 14,2-3-57,-2 0 38,2 0-44,-5 0 27,5 0 22,0 0-27,-2 0 31,2 0 14,-2 0-13,2 0 12,-2 0 22,-1 0-30,1 0 34,0 0-37,-3 0-3,0 0 7,0 0-4,1 0 8,-4 0-22,1 0 21,0 0-21,2 0-31,-5 0-18,3 2-5,0-2 14,0 2 5,0-2 18,2 0-26,-2 3 19,-1-3 5,2 0-8,-2 2 4,1-2 68,2 0-40,-2 3 46,0-3-15,-1 0-28,4 0 31,-3 2-32,0-2 31,-1 0-11,3 0 18,-1 2-18,1-2-68,-2 0 49,2 0-51,0 0 62,-2 0-64,5 0 44,-3 0-50,0 0 2,0 0 38,1 0-49,2 0 54,-3 0 27,0 0-20,2 0 17,-2 0 14,3 0 5,-2 0 11,1 0-4,-4 0-8,5 0-17,-6 0 21,4 0-19,-1 0 39,-3 3 31,2 0-11,-4-3 32,0 1-76,1 2 37,-3 0-36,2-1 2,-2 0-3,0-2-1,0 3-8,-2-3 12,-1 2-13,-1 1 12,-2-1 40,2-2-29,-3 0 30,-1 2-41,4-2 31,-6 0-24,3 0 30,-3 0-32,1 0 65,-1 0 13,-2 0 55,-1-2-47,-1 2-6,2 0-53,-5-2-9,1-1 5,-4 1-8,1-1 16,0 1-33,-3 2 23,-2-2-31,-1-1 38,2 3-22,-5-3 14,5 2-18,-2 1 18,1 0-36,0 0 26,-3 0-28,6 0 32,-3 0 0,4 0-1,-2 0-15,1 0 10,-1 0-14,6 0 16,-4 0-42,3 0 31,-2 0-34,4 0 40,-4 0-3,5 0 0,-1 0 0,1-3 22,-1 3-17,1-3 18,-4 3-32,7 0 7,-4 0-7,1 0 10,2 0 8,-3 0-6,1 0 9,2 0-10,-2 0-7,1 3 5,-1 0-6,-1-3-22,3 1 22,-2 2-25,2 0-17,-1-1 35,2-2-40,1 2 48,1 1-29,-4-1 20,6 1-22,2-3 18,-2 2-71,2 0 44,3-2-47,-1 3 58,1-3-31,2 0-23,0 0 7,2 0 0,1 0 47,1 0-9,2 0 7,1 0-8,2 0 57,1 0-41,-3 0 40,3 0-49,2 0 23,-2 0-11,2 0 18,-2 0-21,1 0 56,-1 0 26,-1 0-3,4 0 5,-4-3-19,1 3-13,0-2 23,2 2-33,-2-2-11,-1-1 8,3 3-38,-3-2 28,6 2-27,-3-3 32,0 3-16,5-2 9,-3 2-12,6 0 9,-1 0-10,0-2 1,3 2-3,5 0 3,-4 0-9,5 0 7,1-3-8,-3 3 21,0 0-5,3 0 5,-4 3 46,-1-3-37,-5 0 41,3 2-52,-5-2 52,-1 0 14,1 2 2,-2-2-1,-1 0-6,1 0 19,-1 0 8,3 0-16,0 0-28,0 0-5,0 0 16,5 0-25,-3 0 21,3 0-26,-1 3-39,1-3-12,0 2-11,2 1 20,-2-1-137,2 0 41,-3 1-129,4-3 94,-4 0-254,1 3 84,-3-3-71,1 0 201,-1 0 179,-2-3 0,0 3 0</inkml:trace>
  <inkml:trace contextRef="#ctx0" brushRef="#br0" timeOffset="127">2092 5009 10443,'5'-2'-2,"4"0"5,-1-1-6,-1 1 3,3-1-4,-3 1 5,0 0 15,3-1-11,-3-1 12,1 1-4,-1 3-7,-3-3 9,4 1-9,-1 2 2,-3-2 0,4 2 2,-3-3-13,2 3 7,-2-2-7,-1 2 9,2 0-11,-2 0 9,1 0-10,2 0 11,-1 0-3,-2 0 2,3 0-4,-2 0 41,0 0-30,3 0 31,-4 0-38,1 0 7,2 0-2,-2 0 4,0 0-11,-1 0 5,2 0-4,-2 0 6,-1 0-14,4 2 9,-5-2-11,3 0 16,-3 3-19,4-3 13,-4 0-18,3 0 9,-1 2 5,-1-2-8,2 0 7,-1 2 11,2-2-9,-2 0 11,1 0-8,2 3-1,-2-3 2,0 0-2,-1 3 30,4-3-20,-1 0 21,-2 0-25,3 0 11,-1 0-6,-3 0 10,4 0 17,-1 0-22,3 0 25,-3 0-30,0 0 34,1 0-23,-1 0 26,2 0-41,-2 0 9,3 0-10,-3 0 13,1 0 1,-1 0-1,-3 0 0,4 0 0,-1 0-42,-2 0 30,0 0-31,-1 0 33,2 0-32,-2 1 18,1 2-23,0 0-18,0 1 39,-1-1-43,-1-1 50,1 1-43,4-1 31,-4 3-34,2-5 39,1 3-8,0-2 6,-2 2-6,2-3 3,0 3-4,0-3 3,-2 2 3,2-2-2,0 0 4,-1 0-4,1 0-32,0 0 22,1 2-23,-4-2 31,3 0 21,1 0-16,-4 0 15,6 0 1,-5 0-14,2 0 15,0 0-20,0 0 26,1 3-18,-1-3 21,0 0-25,3 2 14,-3-2-10,3 0 19,-3 3-8,1-3 2,1 2-1,1-2 11,0 2-15,-3-2 14,2 0-17,-2 3 6,3-3-4,0 3 5,-3-3-5,2 0 1,-1 1-1,2-1 1,-3 0 1,3 3-12,-3-3 8,2 3-9,-2-3 11,3 2-6,-3-2 4,1 0-7,-1 0-1,3 0 3,-6 0-4,4 0 0,-1 0 6,0-2-6,3-1 6,-3 0-2,2-4 2,-1 3-2,-1-4 2,0 1 17,3 0-12,-3 0 13,-2-1-17,2 1 0,-1 0 1,1 2 0,-3 0-1,1 0 1,0 1 0,0 1-4,-2 1 5,1 0-6,1-1 6,0 3 23,0-3-17,2 3 18,-3-2-23,4 2 10,-1 0-8,-2-2 9,2-1-4,2 1-3,-1-1 5,-1-1-20,3-1 13,-3 0-14,3 0 17,-3 0-10,1-2 7,-1 2-8,-3-2 4,4 3-21,-4-4 12,2 3-14,-5 0-12,7 1 25,-6-2-28,3-1 32,0 5 7,-3-3-5,4 0 5,-2 1 29,1-3-28,0 4 30,2-2-37,-2 0 26,-1 0-16,4 1 19,-1-2-21,-2 2-2,2-3 8,1 2-5,-1-2 11,0 0-8,0-1 6,1-2-6,-1 3-2,0-5 1,0 2-3,1-1-35,-1-1 26,-3-3-27,4 3 33,-4-3-34,3 1 24,-1-1-29,-2-1 36,1 2-18,2-1 12,-4 2-16,4-1 16,-4 5-6,1-4 5,-4 6-7,5 0 5,-2 2-5,-1 1 5,-2 1 20,2 0-14,-2 1 17,3 2-21,0 0 18,-3 0-12,0 0 13,1 0-16,2 0 14,0 0-9,-1-2 12,0 2-14,3-3 7,0 1-5,0-3 6,-1 0-6,4-2 2,-3 0-1,2 0 0,0-3-2,3-2 1,-3 2 0,0-5 0,0 4 0,0-1-1,3-1 1,-5 1-1,2-2 1,-2 4 0,2-2 0,-2 0-29,3 2 21,-7 0-23,5 3-13,-2 0 28,1 0-31,-2 2 37,1 3 0,-1 0-6,0-1-1,1 0 22,-1 3-18,1 0 22,1-2-26,-2 2 22,1 0-15,2 0 16,1-2-8,-3 2-15,4-3 17,-4 1-18,2-3 2,1 0 5,-3 1-8,1-2 11,0 2-12,0-3 7,-1-1-11,2 4-9,-2-3 12,-1-1-14,2 3 17,-3-2-64,0 2 42,3 1-47,-3-2 72,1 4-5,2 0 3,-3-3-11,3 5 50,0-3-37,0 3 38,-1 0-47,2 0 48,-2 3 13,3-1 10,-2 1 41,2 1-72,0-1 35,1 1-37,-1 2-11,0-4 20,0 3-16,3-3 7,-2-2-30,2 3 17,-1-3-14,-2 0-27,3 0-13,-3 0-10,3-3 15,-1 3-4,-2-5-19,1 3 1,-1 0 3,3-4 47,-3 2 1,0-1-12,0 3 51,-2-3-39,2 2 39,1 1-45,-1 0 32,-2 2-24,2-3 36,1 3 3,-1 0-12,0 0 19,-2 3-22,2-1 48,0 0-28,-2 3 33,2 0-38,0 0-14,-1-2 15,1 1-15,-3-1-11,4-1 8,-1 0-7,0-2-37,-2 0 36,2 0-37,0 0 30,0 0 11,1 0-16,-1 0 17,-2 0-13,2 0 8,1 0-13,-4-2 11,3 2-5,1-2 4,-4 2-2,2 0 16,-2 0-12,3 0 12,1 0-12,-4 0 26,3 0-15,1 0 17,-3 0-21,2 0-3,-2 0 4,5 0-2,-3-3-1,0 3 2,1-3-1,1 2 3,1-2-13,0-2 10,-3 3-11,2-3 6,1 0 4,0 3-6,-1-4 5,1 5-2,0-5 1,-1 4 0,1 2 0,0-2 1,-3 2 0,5-3 0,-5 3 0,3 0 0,-1 0 1,1 3-1,0-1 11,2 0-7,-2 4 8,1-5-11,-1 5 4,2-4-2,-2 3 2,2 0-5,0-3 1,0 0-1,-3 1 3,4 0-1,-1-2 0,-1 5 0,1-6-4,1 4 3,-4-4-3,4 5 3,-2-2-9,4-1 6,-3 0-8,0 1 9,0 0-3,0 1 2,2-1-3,1-1 4,-1 3 1,-1-3-1,1 1-1,1 1 29,-1-1-19,1 0 20,-3-2-23,2-1-2,-2 3 5,1-3-4,1 3-19,-2-3 14,0 0-14,0-3-8,0 0 20,3 2-22,-4-5 25,2 2-47,-4-4 29,4 1-35,-4 3 37,3-4 15,-2 1-17,-1 2 14,3-3 9,-5 4-11,3 1 15,0-1-21,-1-1 25,1 2-17,-2 1 22,2 0-16,-1 2 10,-2-3-4,0 0 6,3 2-14,-3 1 5,1-3-3,-1 0 1,0 1-4,0 0 3,1-1-2,-4-2-10,1 3 8,0-3-10,2 1 13,-2-4-51,0 1 37,0 0-41,-1 0 50,-1-3-19,2 0 12,0 1-16,-1-1 20,-1 0-8,2 1 6,-3-1-7,3 0 6,-1 3-5,-1-1 4,2 1 22,-3 3-17,1-1 21,-1 2-25,3 1 39,-3 0-28,1 2 33,1-3-25,-1 3-5,2 0 8,0 0-11,0 3 1,-3-3 2,3 2 1,-1-2-1,2 2-12,1-2 8,-2 0-9,2-2 11,-3 2-12,4-5 9,-3 1-12,4-4-7,-3-2 11,1 0-14,-3 1 16,4-1-22,-4 0 13,3-1-15,-1 3 13,-4-1 6,3 1-8,-1-1 9,-1 4 10,2 0-6,-1 3 8,-1 0-13,2-1 23,0 3-16,-1 0 19,4 0-4,-1 0-10,0 0 11,0 3-10,3 1 43,-1 1 22,-1 0-3,2-3 0,1 3-20,-1 0-12,0-2 18,-1-1-54,4 0 14,-1 1-10,-2-3 20,2 2-44,-3-2-18,3 0-6,0-2-43,-2 2 81,2-3-41,-2-1 39,-1-2 10,3 2-21,-3 1 15,1-2-7,-2 3 6,2-3-2,-3 3-2,2 0 26,-2-1-17,0 3 22,1 0-20,2 0 18,-3 0-7,3 0 9,-3 3 48,2-1-50,-2 0 53,3 3-64,0 0 21,-1-3-15,-1 3 19,1-3-27,-1-2 13,-1 3-12,3-3-44,-3 0 37,0-3-41,2 1 55,-1-3-42,-1-2-10,-2-5-11,3 0 14,-4 0-29,1-3 46,-3 1-57,1-3 47,-1 3-1,1-3-2,-3-1 6,2 4 37,-2-2-28,0-2 29,0 4-9,0-1-17,0-1 21,0 4-26,0 0 49,0-3-36,0 4 42,0-2-45,2 4 63,-2-4-46,3 4 52,0-4-40,-3 4-6,4-3 10,-1 4-11,-1-3-9,0 3 8,1-2-7,2 1 5,-1 2 8,-1 0-4,1 0 5,2-1 12,-2 3-14,1 0 14,2 1-23,-1-1 40,-2 3-25,3-1 28,-2 0-18,2 3-13,0 0 15,-1-2-14,1 2 10,0 0-8,-2 0 14,2 0-12,-2 0-42,2 0-16,0 0-6,-2-2 12,3-1 0,-1 1-10,0-3-11,0-2-8,1-1 41,-1 1-7,-3 0 4,4-2 16,-1-4-17,-3 4 13,4-4 9,-3 2-9,0-1 11,2-1-14,-4 4 13,1-1-10,1 3 15,0-3-17,-3 5 23,1-2-15,1 3 17,2-2 1,-5 4-11,5-3 12,1 3-18,-2-1 32,-1 3-22,6-2 23,-5 0 9,4-1-28,-4 1 33,8-3-38,-6 2-1,0-1 6,2-1-5,-2-2-36,1 2 28,2-4-33,-3 1 44,0-2-77,0-1 54,1 1-63,-1-2 39,0-1 17,-2 4-22,2-5 22,-2 4 13,3-2-18,-4-1 14,1 1 18,2 1-16,-2 1 17,0 0-25,2-2 36,-2 2-24,0 1 33,0-1-39,-1 3 31,1 0-21,0-3 25,0 2-21,0 1 2,-3 0 0,3 0-3,-3-1-29,3 1 21,0 0-21,-2 0 25,1-1-17,-1 1 11,1 0-13,1 2 6,-2-2 8,1 0-11,-1 2 10,1 0 11,2 3-8,-4-1 8,3 1 25,0 0-27,-1 2 28,2 0-34,-2 0 48,1 0-34,2 0 42,-2 0-34,3 0 2,-4 2 3,3 0-3,1-2-2,-4 3 0,3-3 1,1 2 1,-3-2-30,2 3 22,1-3-22,-1 0 25,0 0-34,-2 2 22,2-2-24,0 0 26,0 0-32,0 0 17,1 0-21,-4 0 24,4 0 6,-1 0-6,0 0 5,0 0 3,0 0-2,-2 2 2,2 1 4,0 0-6,1 1 7,-1 1-6,0 2 57,0-2-38,1 3 42,-1-1 1,0 0-40,0 0 45,1 2-54,-1-3-15,0 1 12,0 2-10,1-3 0,-1 1 0,3 0-5,-3-2 7,0-1-28,1 2 29,1-5-33,-1 5 33,1-4-26,-2 0 11,0 1-16,3-1 15,0-2-27,-3 0 14,2 3-18,-1-3 29,-1 0 4,3 0-2,-3 0 1,3 0 24,-3 0-16,2 0 14,-1 2 50,2 0-53,0 3 59,-3 3-70,0-1 29,2-3-19,-2 6 28,1-1 21,2 1-22,-3 2 26,0 1-33,3-4-9,-3 4 10,0-4-8,3 1-12,-3 0-15,0-1 5,3-4 0,-3 0-35,0-1-12,3-1-12,-2 0 15,1-3-16,-2 1 47,3-1-58,-3 0 65,0 0-17,1 0 13,-1-1-20,0 1 45,0 0-36,1-3 36,-4 3-35,3 0 47,1 0-28,-3 0 30,0 3-2,2-2-28,-3 2 36,4 2-36,-3-3 30,-1 3-22,4 2 21,-4-1-12,2-2-6,1 1 7,-3 0-9,1 0-1,0 2 2,0-3-1,-1-1 2,4 4-9,-3-2 7,0-3-7,2 3-1,-3 0 6,2-3-8,-2 4 9,4-5-7,-4 5 3,3-4-5,-1 3 10,3 0-3,-4-3 4,3 3-4,-1-1 2,0-1-1,0 0 2,1-1-2,-1 0-2,2-2 2,-2 0-1,3 0-50,-3 0 37,0 0-40,3-2 47,0-3-26,-3 2 15,3-1-19,-3-1 37,0 0-7,3 3 5,-5-1-11,2 1 19,0 2-13,0-2 16,1 2 5,-4 0-17,3 0 18,1 2-17,-1-2 5,-2 5 3,3-3 0,-1 5 0,-3-1 12,4-2-8,-1 1 9,0 0-10,0 0-6,1-1 8,-1 2-7,0-5-28,0 2 20,0-3-21,3 0 27,-3 0-42,3 0-15,-3-3-1,3-1 2,-3-3 44,2-1-4,-2-2-4,3 3 8,-5-2-8,5-4 1,-6 4 33,2-1-31,1 1 32,-2-1-32,-3 1 21,3-1-10,-2 1 14,1-1-3,-4 2-12,5-2 13,-5 3-13,2-2 8,1 2-6,-1 0 3,1-3-4,-1 2 4,0 1-3,1 0 3,0-3 9,1 3-9,-1-2 9,-1 1-10,3-2 1,0 0 1,-3 3-1,3-2-2,-1-1 1,-1 3 0,2-3 1,0 3-4,-3 0 3,5-1-3,-4 1 4,1 0-4,2 2 2,-2 1-2,1-2 1,0 2 0,0 1 0,2 1 1,-2-3 0,2 3 0,-2-3 0,4 3 0,-2-1 0,1 0 0,-1-1 0,0 1 0,3-1 0,-3 4 0,3-5 0,-2 2 0,-1 3 0,2-2 0,-2 0 0,3-1 0,-3 3 0,1 0 0,-1 0 0,3-3 0,-3 3 0,2 0 0,-2 0 0,3 0 0,-2 0 0,-1 0-23,3 0 16,-3 0-16,0 0 13,0 0 6,1 0-8,-1 0 8,0 0-11,0 0 8,1 0-10,-1 0 11,-3 0 12,4 0-9,-1 0 10,0-1-13,-2 1 17,2 0-12,0-3 16,-1 3-14,1-3 0,0 3 1,0-2-1,1 2 25,-4-2-15,3 2 17,1 0-20,-1 0-4,-3 0 6,4 2-6,-1 0-11,-2 1 7,2 1-10,1 2 13,-4 1 24,3-2-18,1 5 18,-4-3-12,3-3-7,1 4 7,-1-1-8,0-3-4,0 4 2,1-3 1,2-3-14,-3 3 15,5-5-15,-5 0 17,6 0-30,-4 0 20,1-2-23,1-3 23,-1 0-14,0-4 5,-1-1-7,-1 0-33,1 1 36,-1-6-37,-1 2 43,0 2-7,0-4 5,1 1-8,-4-1-1,3 1 1,-1-1-4,-2 3 5,-1-2 19,2 0-15,-1 1 16,-1 1-2,0 0-11,-3 2 14,1-1-16,2 1 26,0-2-18,-1-1 20,-2-1-23,2 2 24,1-3-17,-1-1 18,-2 2-11,3-1-4,-3 3 6,0-3-8,2 1 0,-2-1 1,0 3-1,0 1-27,0-2 19,-2 1-20,2 0 25,0 2-13,-3 0 7,3-1-10,0 3 9,-2-2 9,2 1-8,-3 2 7,3 0-1,-2-3-3,2 5 4,0-2-6,0 0 11,0 0-7,0-1 10,0 1-7,0 2 1,0-2 0,0 2 0,0-2 2,0 2-3,0 0 3,0 0-5,0 1 10,2-2-5,1 2 6,-1-1 6,1 3-11,-1-3 11,3 2-13,-2 1 3,-2 0-2,5-1 3,-4 0-8,3 2 5,0-2-6,-1 0 7,2-1-7,-2 1 5,1 1-4,2-1 4,-2 1-5,0 0 1,2-1-3,-2 0 2,2 3 3,-3-1-4,2 1 3,1 0 1,-2-3-1,2 3 1,-3 0 0,2 0 0,1 0 1,-2 0-1,-1 0 0,1 3 0,0-2 0,0 2 1,0 2-1,2-3 0,-2 3 0,-1-2 0,2 1 0,-2 2 0,1-2 0,0-1 0,0 4 0,-1-5 0,-1 3 0,1 0 0,2-1 0,-2 2 0,-1-2 0,2 4 0,-3-4 1,3 3-1,-2-1 14,1 1-10,-1 0 12,1 0-10,-1 1-2,2-1 2,-1 0-2,2 0 17,-5-2-10,5 2 12,-2-2-3,1 0-8,0 0 10,3-1-12,-4-1-1,1 0 0,0-2 0,0 5-19,-1-4 15,1 0-17,0 1 19,2-1-15,-2 1 11,0-1-12,0 0 11,-1 4-3,4-5 0,-3 5-5,-1-2 17,4 4-9,-4-4 9,3 3-10,1 1 60,-1 2-40,0-3 44,0 3-51,3-1 18,-2 1-8,2-3 12,-1 0-42,-2 1 15,0-1-15,3-3 22,0-1-38,-3 2 27,2-3-30,-1-2-16,2 0-21,-1 0 0,1 0-8,0 0 52,-1-2-13,1-3 8,-1 0-9,1 0 40,-1 1-30,1-1 31,-2 0 1,2 3-18,-3-4 23,0 5-27,0-2 25,1 0-17,-4 1 24,3 0-20,-2 2 4,2-3-1,-1 3-2,1 0 11,-3 0-9,1 0 9,0 0-11,0 3 23,2-1-15,-2 3 17,0 2-4,0-2-14,2 2 16,-3 0-18,4 0 2,-3 1-2,2-1 5,-2 0-21,2-2 16,0 3-16,0-4 17,1-1-29,-1-1 20,0-2-22,-2 2 24,2-4-48,0 0-20,-1-4 3,-2-3-44,1-1 86,0-1-46,-3-4 50,1 1 6,-1-1-5,3-2-1,-5 3 5,0-1-15,3 1 16,-3 2-11,0-1 38,0 4-27,0 2 34,0 0-21,0 1-3,0 2 7,0 1-11,-3 1 57,3 2 16,0 0 5,3-3-10,-2 3-57,2 0 21,2 0-14,0 0 18,0 0-16,-1 0-22,3 0 14,1 0-17,-3 0-32,2 0 41,-2 0-44,5-2 51,-6-3-22,4 2 8,-1-1-13,0-1 5,0 0 13,-2 0-16,2 1 14,0-1 7,-1 3-4,1-6 7,0 3-11,0 3 32,1-5-22,-1 4 27,-3-1 4,4-2-22,-1 2 25,0 1-29,0-1 27,-2 1-16,0 1 20,3-1-33,-1 1 2,-3 2 3,1-2 5,0 2-23,3 0 17,-4 0-22,1-3 7,2 3-1,-3 0-7,4 0 7,-3 0-16,0 0 21,2 0-24,0 0 26,-2 3-6,2-3 4,0 0-4,0 2 67,3 3-47,-2 0 49,-1-1-60,0 3 44,3 1-28,-1-1 32,1 3 15,0 0-39,-3-1 50,5 1-56,-5 1 15,3-1-11,-1 2 15,1-2-10,0 2-44,-1-2 32,1-3-37,0 3 46,-1-3-40,1 1-10,0-4-11,-3 1-31,2-3 14,-1 1 5,-1-1-3,3-2-14,-6 0 29,4 0-36,-1-2 22,-2-3 23,2 3-30,-2-5 26,-1-1 38,4 3-25,-3 0 28,0-2-36,-1 3 47,2-2-32,-2 4 38,1 0 27,0-1-48,-3 1 54,3 2-58,0 0 22,-1 0-13,2 0 22,-2 0-29,4 2 7,-6 1-4,3 1 5,2 2-1,-2-2 0,2 3-2,-2-2 1,3 2-17,-1-1 11,0 1-13,0-3-4,0 1 14,1 0-16,-1 0 19,0-1-13,2 2 9,1-4-10,0 3 5,-1-3 2,-2 1-3,6-1 4,-4-2 3,1 0-5,2 0 5,-5 0-4,6 0 25,-4 0-17,1-5 18,0 3-45,-3-3 17,2-3-18,-2 1 24,1 0-23,2-2 16,-3 2-18,0-3-17,0 0 26,-2 1-29,2-1 33,-2-2 5,3 2-7,-4 0 6,3 1-10,-2-1-2,0 0 0,3 1-1,-4 2 5,1-3 1,0 3 1,2-1 22,-2 1-17,2 3 20,0-4-23,1 6 19,-1-3-12,0 0 14,0 3-17,1-1 12,2 0-8,-1 2 10,-2-2 12,6 0-15,-4 1 16,1 2-19,-1-2 8,3-1-4,-2 1 5,2-1-8,-2 1-5,-1-3 6,1 2-6,0 2-1,-1-5 4,-2 2-5,3-4 8,-3 4-30,1-2 20,-1-1-23,-3 0-35,2 2 43,1-2-47,-5-3 55,2 3-17,2 0 8,-4-2-12,0 1 25,1-2-5,-1 1 1,1-1-4,-1 1 22,0-1-17,-2 2 19,3-1-27,-3 2 33,0-3-19,3 3 23,-3 0-2,0 2-19,0 0 23,0 0-24,0 1 42,1 1-31,-1-2 30,3 3-37,0-1 62,-3 1-44,4 2 50,1-3-39,-2 3-7,1-2 11,3 2-9,-1 0 25,1-2-13,-2 2 17,2 0-16,0 0-57,0 0 44,-2-3-44,2 3-28,0 0 51,1 0-59,-1 0 72,3-3-52,-3 3-10,0 0-13,0-1-8,1 1 49,-1 0-10,0-3 8,0 0 19,3 3-21,-2-2 17,1 2-21,1-2 48,-3-1-33,3 1 36,-1-1 6,1 3 10,0-2 11,-1 0-14,-2 2 3,3 0-30,0-3 37,-3 3-41,2 0 13,-1 0-11,-1 0 10,3 0-19,-3 0 13,0 0-12,3 0 16,-5 0-36,2 3 25,0-3-34,0 2 18,3 0 7,-5 1-11,5 2 14,-3-3-6,0 3 2,1-2 0,-1-2 1,0 2 4,0 2-4,1-3 3,-1 1 0,0 2 0,2-3 0,-2 3 0,-1-1 0,1-1 0,2 4 0,-2-4 4,1 4-2,-1-2 3,0-1-5,0 2 26,0 1-18,1-2 19,2-1-18,-3 2-3,0-2 4,0-1-4,3-3-40,-2 2 28,1-2-30,-2 0-11,0 0 35,0 0-39,1 0 45,2-5-27,-6 2 14,3-1-19,1-1 19,-1 0 14,0-2-16,0 2 13,1 1 15,-3-4-15,2 3 18,0 0-24,-2 1 31,2-2-22,-2 2 29,0-1-12,0 0-11,-1 3 13,3-3-15,-1 5 5,-4-5-1,3 5 3,0-3-5,-1 2-11,-1 1 7,1-3-8,2 3 10,-2-3-23,1 3 17,2-2-20,-1 2 29,1-2-8,-3 2 7,4 0-9,-1 0 21,0 0-15,0 0 17,1 0-19,-1 0 56,0 0-36,0 0 40,1 2-32,-1-2-15,3 2 20,-3 1-26,0 0 10,0-2-8,1 2 12,-1 2-30,0-5 22,0 5-22,1-5 23,-4 2-35,3-2 21,1 0-26,-1 0-12,0 0 33,-2 0-39,2 0 45,0 0-2,-2-2 2,2-1-1,0 1 16,-1-3-17,1 2 17,-3 2-18,1-5 7,0 4-4,0 0 7,-1-1-2,2 3-2,-2-2 5,1-1-6,0 3-15,-3 0 9,5 0-12,-4-2 16,2 2 2,0 0-4,0 0 3,-1 2 9,-1-2-7,4 3 7,-4-1-10,4 1 38,-2-1-27,-1 3 32,1-2-40,0-2 30,2 2-21,-2 2 29,2-5-41,-2 2 17,0 1-16,2-3 18,-2 2-27,2-2 20,-2 0-20,3 0-23,-4 0 31,3 0-36,-2 0 43,0 0-36,0 0 24,-1 0-30,4 0 32,-6 0-5,6 0 3,-6 0-2,3-2 9,-1 2-8,2 0 8,-2 0 14,1 0-15,0 0 18,0 0-22,-1 0 39,4 0-27,-3 0 33,2 0-26,-2 0 3,2 0 3,0 0-3,1 0 19,-1 0-16,0 0 17,0-3-23,0 3-18,1-2 13,-1 2-12,0 0 4,0 0 9,1 0-10,-1 0 11,0 0-38,3 0 25,-3 0-27,1 0-2,-1 0 26,0 2-31,2 1 36,-2-3-10,1 2 7,4 1-9,-4-1 7,1-2 7,3 2-4,-3-2 7,1 0 30,2 0-30,1 0 31,-2 0-36,-1 0 12,2 0-5,0 0 7,1-2-3,-4 2-9,3-2 9,0 2-8,-2 0 6,-1 0-2,4-3 0,-4 3 1,1 0-4,0 3 2,2-3-3,-5 2 4,5 3-8,-5-2 6,3 1-8,0 1 1,-1 0 3,-2 0-3,3 2 6,0-3-4,-1 2 4,-2-2-3,3 1-4,2 0 4,-2-3-5,0 4 6,-1-5-4,1 2 3,0-3-2,-1 3 1,4-3 0,-4 0 1,-2 0 0,5 0 0,-4 0 0,1 0 0,-2 0-8,0 0 6,1 0-5,-1 0 6,0-3 0,-2 3 0,3 0 0,-1 0-1,-3 0 2,4 0-1,-1 3 1,-3-3 11,4 2-8,-1 0 8,0 3-11,-2 0 15,2-3-10,0 3 13,0 0-19,1 0 4,-1 0-4,0 2 7,0-2-10,3-1 8,-2 3-8,-1-1 8,0-2-4,3 1 3,-3 2-4,1-1-4,-1 1 6,0-3-7,0 1 7,0 2 2,-2 0-2,5-1 3,-6-2 1,4 1-4,-1 0 4,0 0-4,0-1-2,1-1 2,-1 0-1,3 1 2,-3-1 14,2-3-10,1 2 11,0 1 18,-1-1-23,-2 0 26,3 1-32,0 1 49,2-1-31,-2 2 33,-1 0-43,1 0-11,0-1 11,-1 3-8,-2 1-18,6-3 21,-6 2-24,2 2 32,1-1-30,-3-1 20,3 3-28,-1 0 30,-1-1-26,2-2 19,0 3-22,-3-3 20,2 3-4,1-3 2,0 1 1,-1-1 0,1 0 0,0-2 0,-1 2-30,4-3 22,-4 2-23,1-2 30,1 1 1,-1 0-2,2 0 0,1-1-1,-4 2 6,3-2-4,-3 1 4,4 0 2,-1 0-6,0-2 7,-2 1-9,1-1-8,-1-1 8,2 0-7,-2 1-6,2-3 10,1 2-10,-4-2 13,1 3 5,1-1-3,-1-2 1,2 2 26,-5 1-23,6 1 23,-4 2-29,1-2 50,0 3-34,-1 1 37,-2 2-42,3-3 46,0 5-32,-1-2 42,-2 1-58,3 1 15,0-2-10,-2 2 16,1 0-42,1-2 30,-3-3-33,3 3 37,-1-3-62,-2 0 39,3-2-44,-3-1 47,3 2-57,-3-4 35,2 0-42,-3 1 43,3-1 14,-2 1-18,0-1 16,1 0 40,-1 4-30,0-5 34,-2 5-14,2-4-21,0 3 25,-1-3-25,-2 3 34,1-3-15,2 3 20,-2-3-41,0 4 5,-1-4-4,4 0 11,-3-2-57,0 0 40,-1 3-48,2-3 52,1 0 1,-3 0-4,4 0-3,-1 0 37,-3 0-30,4-3 30,-1 3-1,0-2-23,0 2 26,1 0-32,-1 0 20,-2 0-13,2 0 21,-2 0-23,2 0 8,-2 0-5,0 2 5,2 1-31,-2 1 21,-1 4-25,4-4 31,-1 2 12,0 1-10,0 2 5,1 1 28,2 0 7,0-1 5,-1 4-6,1-2 20,1 4-36,4-1 41,-1 1 3,1 2-41,2-2 52,0-1-56,2 2-37,-2-1 27,2 2-24,0-3 41,1 4-113,-3-4 18,3 2-112,-4 4-153,1-1 55,-5 3-30,2 3 151,-4-4 148,-3 1 0,1-8 0,-4 3 0,2 0 0</inkml:trace>
  <inkml:trace contextRef="#ctx0" brushRef="#br0" timeOffset="128">12611 2056 9502,'7'0'-1150,"-2"0"1224,-3 0-38,1 0 61,-1 0-110,1 0 36,1 0-41,-4 0 52,5-2-45,-3 2-7,1-3-11,2 3-45,-3 0 74,3-3-41,-3 3 51,1-1-30,2 1 20,-3-3-32,3 3 11,-2 0 5,-2-3-10,5 3 16,-4-2-3,0 2 4,1-2-5,-1 2-5,1 0 9,-1-3-11,0 3 14,1 0 10,0 0-7,-2 0 6,-1-2 31,3 2-31,0 0 32,-1 0-38,0 0 75,1 0-13,-1 0 67,1 0-66,-1 0 64,-2 0-44,2 0 79,1 0-76,-3 0 48,0 0-77,3 0 199,-3 0-143,0 0 121,0 0-151,-6 0-5,4 0-5,-3 0-1,-2 0-1,-1 0-24,1 0 17,-2 2-8,-1-2 15,0 3-44,-2-3 28,3 2-38,-3-2 22,0 2 20,-1-2-22,2 0-15,-4 3 26,3-3-38,-2 0 42,-1 3-76,1-3 54,1 0-61,-1 1 72,2-1-55,0 0 40,2 0-41,0 0 48,1 0-35,2 0 23,-3 0-31,5 0 46,-2 0-13,2 0 13,0 0 0,1 0-11,-3 0 10,1-1-14,2 1 11,-4-3-6,4 3 10,-3-3-11,-1 3 4,1-2-2,0 2 6,0 0-4,-3 0-20,2 0 12,1 0-19,0 0 24,-3 0-4,3 0 1,-1 0-2,4 0 12,-3 0-7,-1 0 9,4 0-4,-2 0-6,2 0 7,-1 0-8,0 0 31,0 0-20,1-2 24,1 2-24,-1 0-10,-2-3 8,2 3-9,-1-2-30,-2 2 29,2 0-31,0 0 39,1 0-55,-2 0 37,2-3-42,-4 3 18,6 0 17,-3 0-21,1-2 23,-2 2-6,4 0-2,0 0-1,-3-2 0,2 2 1,1-3-3,0 3 2,-1 0 2,0-3 2,2 3 0,-2-1 0,0 1 38,1-3-26,-3 3 29,3-3-20,-1 1-10,-1 0 12,-2-1-13,5 3-13,-5-2 12,2-1-11,-1 3 15,0 0-1,0 0 1,1 0 0,-1 0-5,-2 0 0,1 0-3,5 0 4,-7 0-1,6 0 1,-3 0-2,0 0-5,0 3 3,1-1-3,-2-2 6,2 3-11,1-1 9,-2 0-9,3-2 11,-3 3-4,3 0 2,-3-3-2,2 0 2,-1 1 4,1-1-3,1 3 1,-3-3-10,0 3 4,1-3-3,1 2-2,-2-2 6,0 2-6,1 1 8,-1-3-8,0 2 6,0 1-7,1 1 7,-2-1 5,2 0-4,-1-2 2,0 5-4,0-4-3,2 3 3,-1-3-2,-1 1 1,0-1 2,3 0-1,-3 1-7,0 0 6,2-2-7,-1 2 9,1 0-42,-1-3 29,1 2-32,-2 0 40,3 1-4,-3-3 2,1 2-6,-2-2 17,4 3-13,-3-3 12,0 2-13,1 0 15,-3-2-11,1 3 11,2 0-6,-1-2-5,0 2 8,0 0-7,1-1 11,-4-2-6,6 2 6,-3 1-7,0-1 7,0 1-5,3-1 5,-3 0 2,2 1-7,-1-3 8,1 2-9,1-2 3,-3 2-2,3-2 3,-1 3 8,-1-3-6,1 0 7,-1 0-9,1 0 57,0-3-38,-1 3 42,1-2-52,1 0 35,-3-3-22,3 0 27,-4 0-29,6 1-4,-1-2 9,-2 2-51,3 1 36,-3-1-34,1 1 42,2 1-70,0-1 46,-2 1-52,2 2-58,0-2 82,2 2-100,-2 0 129,2 2-14,1-2 12,1 2-16,2-2 29,1 0-19,-2 0 24,2 0-25,3 0-2,-1 0 6,1 0-4,2-2-22,0 2 16,0-2-16,2 2 24,-2 0-47,5-3 33,-2 3-39,-1 0 47,1 0-16,-1 0 5,1-3-7,-3 3 0,2 0 9,1 0-9,-3 0 7,3 0 40,-1 0-28,-2 0 34,0 0-42,2 0 37,1 0-25,-3 0 28,3 0-33,-1 0 19,-2 0-14,3 0 17,-4 0-1,1 0-3,1 0 6,-4 0-20,1 0 2,0 0-5,-1 0 8,1 0-21,-3 0 15,0 0-17,1 0 20,-1 0-43,0 0 32,0 0-37,0 0 44,1 0-5,-1 0 4,3 0-6,-1 0 4,1 0-8,0 0 6,2 0 12,-1 0-7,4 0 11,-2 0-16,1 0 52,-2 0-38,0 0 44,2-1-52,-1 1 36,-4 0-26,3-3 31,-4 3-34,1-3 10,1 3-6,-3-2 7,0 0-11,-2 2 8,2 0-8,-2-3-14,3 3 13,-4 0-16,3-2 18,-2 2-57,2 0 36,3 0-40,-3-3 53,3 3 9,-1-2-9,-1 2 7,2-2 42,0 2-35,-1-3 40,1 0 19,-3 3-49,3 0 54,-3-1-63,0-2 29,0 3-15,-2 0 21,2 0-18,-2 0-9,0 0 15,0 0-13,2 0 13,-4 0-27,4 0 21,-5 0-21,3 0-20,0 0 25,-1 0-34,2 0 42,-2 0-34,1 0 23,2 0-27,-2 0 42,0 0-13,2 0 12,-2 0-14,2 0 34,-2 0-25,0 0 26,2-3-32,-2 3 14,0 0-5,2-2 7,-2 2 12,-1-2-17,2 2 21,-2 0-24,-1-3-23,2 3 17,-1 0-19,-1 0 27,1 0-34,-1-2 23,2 2-29,-3 0 12,3 0 11,-2 0-14,1 0 15,-1 0 1,1 0-5,2 0-2,-2 0 18,1 0-11,0 0 12,0 0-12,2 0 8,-3 0-3,4 0 5,-3 0-14,0 0 4,2 0-5,0 0 9,-2 0-30,2 0 22,-2 2-23,3 1 27,-1-3-11,0 2 7,-2 0-11,2 1 11,-3 0-2,4-2 2,-1 2-5,0 0 11,-1-1-9,-2 0 9,3 1 28,-2-3-25,0 2 29,2 1-36,-5-3 4,4 2-2,-2 3 5,-1-5-4,2 3-23,-3-2 17,0 5-19,3-4-8,-3 0 23,1 1-24,2-1 27,-3 1-7,3 1 1,0-1-4,-3 0 15,3-2-5,0 2 2,-1 0-6,2-1 69,1 0-49,-2-2 56,-1 3 3,2-3-47,-2 2 53,1-2-60,-1 3-6,-1-3 10,1 2-6,2-2 12,-4 2-43,0-2 34,3 3-35,-2-3 18,-1 2 12,3-2-15,-2 2 11,-2 1-26,2 0 10,2-1-14,-3-2 24,3 2-15,0 1 8,0-1-12,-1 0 34,2-2-11,-2 3 15,4-1-21,-4 1 44,3-3 9,-1 2 7,1 0-12,-2-2-36,2 3 0,-3 0 5,2-2-16,-2-1 18,1 3-18,0 0 25,0-1-48,-1 0 34,2 1-37,-2 2 5,-1-3 24,1 0-33,1 1 37,0 1-25,0-1 17,-1 2-20,2-3 38,-2 1-17,1 2 18,0-1-18,3 2 11,-4-5-6,3 7 9,1-3-7,-1-3-1,0 5 2,0-1-1,1-2-5,-1 3 2,0-2-3,0 0 6,1 0 22,-1-1-17,-3 2 17,4 1-22,-3-5-1,2 3 2,-2 0-3,-1-1 60,2-1-46,-2 2 46,1-3-101,0 3-9,0-2-1,-1-1 11,4 3 42,-3-3-12,-1-2 6,1 5-14,0-2-7,0-1 8,2 0-9,0 1-20,1-1 27,-1 3-31,0 0 37,0-1-15,1-1 10,-4 4-13,3-4 11,-1 1 20,1 1-12,-2 0 15,-1-3-19,2 1 27,-2 0-19,1-2 22,0 2-20,-3 0-3,3-3 5,-3 2 6,4-2-9,-5 0 12,5 0-13,-4 0 8,3 0-6,-3 2 8,1-2-8,-1 0-21,3 3 16,-1-3-20,-1 2-6,2 1 20,0-1-22,0 0 24,-3 1-9,3 1 4,-1-1-5,2 2 49,-2 0-30,1-3 30,0 3-40,-3 0 39,3-1-26,0 2 30,-1-4-33,2 3 6,-4 0-2,0-3 8,3 3-16,-2-1 12,-1-1-8,3 2 7,-2-3-55,1 3 39,1-2-43,0 1 54,0-1-6,-1 0 3,3 1-7,-1-1-12,-2-1 4,4 0-7,-1 3 7,-3 0-5,4-3 2,-1 1-4,3 1 13,-6-1 0,4 0-3,2 1-1,-6-1 6,3-3-4,1 2 16,-1 0 3,0 1-8,3-1 9,-3 1-19,-2-3 10,2 2-4,0 0 6,-1 1-7,-2 0 14,3-2-8,-4 2 10,4 0-10,-2-1-8,-1 0 9,2 1-6,-2-1 10,1 1-5,0-1 2,0 0-3,-1 1-18,2 0 13,-2-2-15,1-1-4,0 6 13,3-6-15,-4 2 16,1 0 19,0 0-17,0 1 17,-1 0-2,2-2-4,-2 2 11,-1 0-10,1-1-3,1 0 1,-2 1-1,-1 2-5,0-3 3,1 3 1,-1-1 1,0 2-2,1-4 1,0 3-1,-3 0 2,2-1 2,0 2-2,-2-5-1,3 5-1,-1-4-2,1 3 2,1-3 10,-1 3-8,4-3 8,-2 4-12,2-5 12,0 2-8,0 2 16,3-3-15,-3 3 16,5 0-12,-5-3 9,1 4-9,2-2-10,-3-1 7,0 1-9,0-1-4,-2-1 10,2 1-10,-2-1 8,2 0 4,-2 1-6,0-1 5,-1-2-40,4 0 29,-3 2-33,0-2 39,2 0 31,-3 0-23,4 0 30,-1 0-38,0-2-16,0 2 11,3 0-16,-2-2 29,-1-1-7,0 3 7,0-2-8,0 2 5,1 0-3,-4 0 3,3-2-7,-1 2 5,-2 2-4,1-2 5,0 2 10,0 1-10,-1-1 6,2 3-6,-4 0-50,3 0 36,-3-1-37,1 4 64,1-4-14,-1 2 14,-3-2 32,4 3 14,-1-2 3,0 0-8,1 0-52,-1-1 8,-1 4-4,3-3 14,0 0-5,-2-1 8,1 3-5,1-1 15,2 1-20,-2 0 19,3 1-21,-1-1 35,0 2-18,0 1 16,2 0-22,1 2 66,0-2-50,-1 4 54,4-2-49,-1 5-6,-2-3 10,4 3-8,-2-3-37,0 3 37,2-2-34,-1 2 46,-1-5-223,2 2 46,-2 1-139,2-3 153,-4 2 64,2-1 48,1 1 0,-1 1 0</inkml:trace>
  <inkml:trace contextRef="#ctx0" brushRef="#br0" timeOffset="129">9589 2568 9502,'6'0'-292,"-4"0"74,0 0-183,1 0 267,2 0 79,-3 0 100,-2 0-5,5 0-8,-3 0 10,0 0-13,-2 0 16,6 0-8,-6 0 10,2 0-12,0 0-12,-2 0 7,3 0-5,-3 0 10,2 0 15,-2 0-9,3 0 100,-3 0-78,0 0 100,0 0-110,0 2 26,0-2-33,0 0 6,0 2 1,0 1 3,0 2-1,0-3 10,-3 0-11,1 1 19,-1 1-18,1 2 1,-3-4-4,2 3-6,1-3-19,-3 1 21,3 1-21,0-4 25,-3 3 17,2 0-16,1-2 16,0-1-25,-1 0 5,0 3-7,2-3 7,-2 0-16,0 0 11,1 0-7,0 0 12,-1 0-39,1 0 26,-1 0-31,1 0-2,0-3 33,-1 2-35,0-5 37,2 2-26,-2-1 7,0-2-11,1 0-40,0-1 47,2-2-53,-3 3 61,1 0-58,2 0 41,-3 0-43,1-1 44,2 1-19,-2 3 7,-1-2-7,0 2 9,3-1 6,-1 0-8,-2 3 7,0-1-5,1 0 4,0 2-3,-1 1 1,1-3 2,-1 3-2,1 0 3,0-3-4,-4 3 3,6 0-3,-1 0 3,-2 0 5,0 0-4,1 0 3,0 0 15,-1 0-13,1 0 13,-1 3-17,1-3-4,0 3 3,-1-2-1,-1 2 3,4-3 1,-3 3-1,-2-3 1,3 2-5,-1 0 4,1-2-3,-1 3 3,1-3 10,0 2-8,-3-2 8,3 0-10,-1 3 0,-2-3-1,0 2 2,3-2 11,-3 0-8,3 2 10,-3-2 0,3 0-8,-1 3 8,-2-3-9,3 0-15,-1 0 11,1 0-11,-3 3 18,3-3-2,-1 0 2,-1 0-5,1 0 10,0 0-6,2 0 7,-2 0 17,-2 0-19,3 0 19,-1 0-25,1 0 13,-1-3-8,1 3 11,0-3-13,-4 3 4,5-2-1,-2 0 3,-2-1-17,3-2 10,-3 3-12,2 0 14,1-1-20,-3 0 14,1-1-16,1-1 12,-2 3 5,0-3-8,3 0 9,-1 0-11,-1 1 8,-2-2-9,2 2 8,1-1-4,-1-2 4,-1 1-2,2 5 4,-1-5 0,-2 2-1,5-1 0,-5 2-7,2-1 5,1 1-4,-2-1-8,3 1 10,-3 0-11,3 1 12,0 0-9,-4-3 6,4 2-8,-3 1 10,3 0-6,-3-1 5,3-1-5,-1 1 39,1 0-25,-3 1 26,2 0-34,1-1 13,-3 1-9,1-3 10,1 5-15,-2-2 3,3-1 0,-3 1 7,2 0-30,-1-1 22,-1 0-25,0 1 29,3 2-53,-3-2 35,3-1-39,-4 3 40,5-2 6,-5 0-10,2 2 11,1-3-7,-2 1 5,3-1-5,-3 3 16,1-2-12,1 0 13,-2-1-14,3 3 6,-3-3-2,2 3 4,1-1-2,0-2 4,-4 3 1,5-3-1,-2 3-7,0-2 0,1 2-2,0-2-7,-1 2 8,-2-3-7,3 3 8,0-2-4,-1-1 2,0 3-3,-1-2 3,1 2-15,-1-2 11,1 2-12,1 0 14,-3-3-2,0 3 0,3-3-1,0 3-14,-4-1 12,2 1-14,1-3 25,-1 3 1,1-3 1,1 3-3,-3-2-7,0 2 13,2-2-9,-1 2 11,-1 0-4,0-3-6,0 1 8,1 2-7,-3 0 9,1 0-6,2-3 9,-1 3-11,0 0 9,-2 0-6,2 0 5,0 0-4,1 0-1,-3 3 1,1-1-1,2 1-1,-1-1 2,-2 3-1,1-1-1,2 2 0,-3 1 1,2-2-1,0 2-4,0 0 3,-2-2-3,2 2 4,-2 3-28,2-3 20,0 3-22,-2-3 26,2 2-1,0-2 1,-2 3-29,2 0 21,-2-2-25,2-1 30,0 2-46,0-4 33,1 3-36,-1-4 43,3 3 5,-1-4-4,3-1 2,0 3 13,-3-3-16,3 1 16,0-3 9,3 0-20,-3 0 22,3 0-26,1 0 14,1 0-10,0 0 15,0 0-15,-1 0 39,2-3-28,-4 1 33,3-3-38,-1 0 67,1 1-48,0-3 50,0 1 9,-1-1-46,2-2 51,-2-1-70,1 3 4,2-3 0,-1 1 5,-2 1-14,-1-2 11,1 1-6,1 1 15,0-1-31,0 2 20,-1 0-29,-1 0 32,2-1-41,0 3 23,-3-2-29,3-1 0,0 4 29,-1-1-32,2 0 36,-4 3-13,3-5 10,0 4-8,-1 0 7,1 2-1,0-2 1,0 0-2,-1 1 11,2 0-10,1 2 10,0-3-10,-2 3 3,2 0-1,-3 0 2,4 0-1,-3 0 26,2 3-16,-2-3 41,-1 2-39,2 0 14,-2 4-19,3-5-1,-4 2-7,2 2 5,-1 0-5,-1 0-2,1-3 9,-1 3-9,0-1 11,1 2 7,-1-2-5,-1 1 5,1 0-17,-1 0 7,0-1-7,1-1 8,0 2 13,1 0-10,-1 0 11,-1-3 19,3 0-21,-3 1 22,1 1-26,1-1 2,2 2-1,-5-5 2,5 5 1,-2-3-9,-1 0 6,2 3-4,-1-2 3,2 1 10,-2-1-5,-1 1 4,1-1 0,1 2-7,0 0 4,-3 0 9,4-1-8,-2-1 10,-1 1-13,1-1-1,1 0 0,0 1 3,0-1 0,-3-1-5,3 1 5,0-1-7,0 0 6,0 1-26,-1 0 20,1-2-21,0 2 7,0 0 9,0-1-12,-3 0-24,5 3 31,-4-2-35,4-1 40,-4 3-32,1-1 22,1-1-26,2 2 30,-2-3-13,0 3 9,-1-2-12,2 1 11,-2-1-2,1 1 2,0-1 1,0 2 1,-1-3-2,4 3 4,-3-2-3,0-1-1,-1 3 3,3-5-3,-1 4 3,1-1-2,-2 0 2,-1-3-2,3 2-18,-1-2 13,1 0-13,-2 0 18,-1 0-2,3 0 1,-1 0 3,-2 0-4,4 0 4,-4 0-5,1 0 3,0 0-3,0 2 3,0-2-2,-1 0-44,1 3 31,-2-3-33,1 2 42,2-2-29,-2 3 20,-1-1-23,1-2 13,1 2 9,-2 1-14,1-3 16,2 2-6,-5-2 6,5 2-7,-2-2 34,1 3-22,-2 0 23,1-3-26,2 0 17,-5 2-8,5-2 9,-2 2-11,-1-2 46,2 0-30,-3 3 35,3-3-35,-2 2-10,-2-2 13,2 2-19,0 1 11,-1-1-11,0-2 12,1 3-33,-1-1 22,-2 0-24,3 1 27,-3-3-3,2 3 0,-2-2-2,2 2 0,-2 0 0,3-3-3,0 2 2,-3 0-1,1 1 13,2-3-9,0 2 9,-1-2 0,0 3-6,1-1 8,2-2 24,-3 0-22,3 2 25,-1-2-32,-1 0 10,2 0-8,-3 0 11,3 0-11,-2 0 1,1 0-1,-1 0 1,1 0 1,-1 0-4,0-2 3,-1 2-4,0 0-8,1-2 9,-1-1-11,0 1-4,1 2 13,-3-3-17,2 1 19,1 0-14,-3-1 9,2 0-10,0 2 11,-2-2-4,3-2 3,-3 3-3,3-1 6,-3 1 4,1-1-2,2-1 2,-3 1 3,3 1-7,-1-3 8,-2 0 63,0 3-53,2-3 59,-2 0-72,3 0 54,-1 3-36,-2-3 42,3 1-48,-1-2 2,0-1-3,-2 2 6,3 1-39,-3-2 32,3 2-33,-2-1 39,-1 0-46,0 3 30,3-3-38,-3 0 44,3 2-29,-3-1 21,2-1-20,-2 3 5,2-1 8,-2 1-12,0-1 10,3-1 7,-3 1-6,2 0 6,-2 2-1,3-2 0,-3 0 2,2 1-3,0 0 2,1-1-1,0 1 3,-2-1-3,2 1 1,0 0 0,-1-1-1,0-1 0,1 4 0,-1-3 0,1-2 0,-1 3 5,0-1-3,1 1 4,0-1-6,-2 1 13,2 0-8,0-1 9,-1 3-15,0-3 3,-2 2-1,5 1-3,-5-3 4,3 0-4,-1 3 5,-2-2 10,2 2-7,1-2 7,-3 2-9,3-3 5,-2 3-4,2 0 5,0-2-8,-1 2 1,-2-3-1,2 3 2,1 0 5,-1-2-3,1 2 5,-1 0-7,0 0 2,1 0-2,-1 0 2,-2-2 0,5 2 0,-2 0 1,-1 0-2,0 0-9,3 0 6,-5 0-6,5 0 9,-3 0-5,3 0 4,-3 0-27,1 0 21,0 0-17,1 0 20,-1 0-7,-1 0 4,3 0-7,-3 0 8,3 0 0,-3 0 0,4 0-2,-5 0 0,5 0 5,-2 0-3,1 0 3,0 0-4,0 0 3,-2 0-3,4 0 5,-5 0-2,3 0 2,0 0-1,-1-3 0,2 3-2,-2 0 1,1-2-1,0 2 0,-3-2 1,3 2 0,0-3-1,-1 3 8,-1-3-6,-1 3 7,3 0-9,-3-2 0,1 2 1,1 0 0,-1 0-1,0 0 2,-1 0-2,0-2-1,1 2 2,-1 0-3,1 0 4,-1 0-27,0 0 19,1 0-20,0 0 25,-2 0-1,2 0 0,0 0-1,-1 0 1,0-3-2,1 3 1,-1 0 0,1 0 6,-1 0-6,0 0 7,-2 0-3,3 0-2,-1-2 2,0 2 1,1 0 5,0 0-2,-1 0 3,0 0-8,1 0 17,-1 0-10,-2 0 12,3 0-19,-1 0 2,0 0-1,-2 0 3,3 0-7,-1 0 4,-2 0-4,2 0 0,1 0 4,-3 2-4,3-2 4,-3 3-1,2-1-1,0-2 0,1 2-1,-3 1 10,2 0-8,0-1 8,1 0 25,-1 1-23,1-1 26,-1-2-32,0 2 26,1 1-18,1-1 22,-4 1-25,3-1-10,2 0 7,-5 1-6,2 0-9,1-2 16,-1 2-17,-2 0 20,3-1-12,-1-2 6,0 2-6,-2 1 3,3-1-10,-3 1 3,3-1-6,-3 0 4,1 1 7,2 0-5,-3-2 6,3 2 0,-1 0 1,-2 1-2,2-1 34,1-1-24,-1 1 25,1-3-32,-3 4 5,2-4-2,0 3 4,-2 0-8,3-2 6,0 2-6,-3 0 9,1-1-17,2 0 13,-3 1-13,3-3 1,-3 2 8,0 1-11,2-3 13,0 2-10,-2 0 7,3 1-11,-3-3 11,2 3-4,-2-2 2,3-1 1,-1 3 2,-2 0-1,2-3 1,1 2-1,0 0-1,-2-2 0,-1 3 0,3-3 0,0 2 0,-1-2 0,0 3 0,1-3-29,-1 2 21,1-2-22,-1 0 28,0 0-8,1 0 6,0 0-8,-2 0 8,2 0-3,0 0 2,-1 0-2,0 0 8,1 0-8,-3 0 8,2 0-7,1 0 6,-1 0-3,0 0 6,1 0-18,-3 0 10,2 0-9,0-2 11,1 2-16,-3-3 8,3 3-10,-1-2 12,0 2-22,1-3 14,-1 3-15,3-2 22,-3 0 1,1-1-3,-1 3 8,3-3-8,-2 2 8,-1-2-11,3 0 13,-3 1-7,3 0 9,-3-1-7,3 1 12,-3-1-6,1 3 8,1-2-10,-1 0 10,2-1-5,-3 3 6,1-3-6,2 3-4,-5-1 6,4 1-20,-1 0 10,0 0-10,-2 0 13,2 0 2,0 0-1,-3 0 2,4 0-3,-4 0 6,3 0-7,-3 0 7,2 1-9,1 2 11,-1 0-7,0-1 6,-2 0 0,3 1-6,0-1 7,-2-2-3,2 3-1,0-1 2,-1 0-2,0 1-6,1 0 5,-1-2-6,1 2 6,1 0-1,-1-1 1,0 0-1,1 1 2,-1-1-2,-1 1 2,3-1-2,-3 0 1,3 1 0,-3 1 1,4-1-1,-2-3 1,1 3 0,0-1-1,-3 0 0,5-2 0,-2 3 1,0-1-1,0 1 0,0-3 0,0 2 0,-1-2 0,3 2 0,-1-2 0,1 3 0,-3-3 0,1 0 0,2 0 0,-1 3-13,-2-3 9,3 0-10,-2 0 13,0 0-30,3 0 21,-4 0-23,1 0 29,0 0-28,0 0 20,-1 0-24,2 0 27,-2 0-4,-1 0 1,1 0 1,1 0 0,-2 0-3,1 0 2,-1 0-28,0 0 20,1 0-21,-1 0 26,-1 0-21,0 0 15,1 0-14,2-3 19,-3 0-7,0 1 4,1 0-8,0-1 41,1-2-28,-1 3 28,1 0-36,-1-1 25,2-1-19,-3 1 20,3-2 12,-3 3-22,3-3 30,-2 0-28,1 3-2,-1-4 7,2 2-9,-3 1 9,0-1 0,3-1 1,-3 2-1,1-1-7,0-2 1,-1 5-3,0-5 2,-2 4 1,3 0-2,-1-1 3,0 1-11,-2-1 8,3 1-8,-3 0 10,2-1-2,-2 3 1,3-3-1,-1 2-1,0 1-17,1 0 10,0-3-11,-2 3 8,2-3 7,0 1-10,-1 2 10,0-2 4,1-1-2,2 1 5,-3-1 14,3 1-16,-2-3 18,1 2-22,-1 2 23,1-2-14,-1-2 15,2 3-18,-3-1 17,3-2-9,-2 3 10,1 0-3,-1-3-10,1 3 13,-1-1-15,2-2 5,-1 3-4,-1-3 4,1 3-7,-1-1 6,2-2-6,-3 3 6,1 0 7,2-1-6,-3 0 6,0 2-7,1-2 4,0 0-4,1 1 5,-1 2-1,-1-2-2,0 2 2,1-3-9,-1 3 4,1 0-5,1-2 7,-1-1 10,1 3-7,-1 0 6,0-2-8,1 2 9,1 0-7,-2 0 8,1 0-16,-1-2 5,1 2-5,-1 0 1,2 0 4,-3 0-3,3-3 5,-3 3-11,3-3 8,-2 3-10,-1-1 11,3 1-10,-2-3 7,-2 0-10,5 1 12,-4 0-8,3-1 6,-3 1-5,1-1 5,1-1-1,-1 1 1,1 0-1,-1-1 0,0-1 0,1 0 0,-1 0 0,-1 1 0,1-2 0,-1 2 1,0-1-5,1-2 4,0 2-3,-2-3 3,2 1-15,0 3 11,-3-4-11,2 1 15,0 3-1,-2-4 1,3 3 1,-3-2-2,2 0 2,-2 2-3,3 0 3,-2-2-1,-1 2 2,3-2-3,-3 2 1,3 1 0,-3-4 1,2 3 1,-2 0-5,2 1 4,1-2-4,-1 2 3,1-1-6,-1 0 4,0 0-4,1 1 6,0-2-1,-2 5 1,5-2 23,-4 0-17,3-1 18,-3 1-24,5 1 20,-4 2-13,1 0 15,-1-3-16,4 3 4,-4-2-1,2 2 4,-3 0 26,3 0-23,-1-2 25,2 2-30,-4 0-15,3 0 12,-3 0-11,3 0 16,-3 0-25,3 0 17,0 0-22,-2-3 20,1 3 1,1 0-3,0 0 4,0-3 0,-1 3-2,2 0 1,-2 0-2,-1-1 13,4 1-12,-2 0 11,-1 0-13,3 0 5,-1-3-3,-2 3-1,1 0 2,0 0-3,0 0 4,-1 0 3,2 0-1,-4 0 0,3 0-3,0 0 7,-1 0-4,2 0 6,-5 0-7,5 0-11,-2 0 8,1 0-8,-2 0 5,1 0 4,2 0-4,-5 0 6,5 3-13,-2-3 8,-1 0-8,2 0 2,-3 0 6,3 1-8,-1-1 8,2 0-33,-2 0 23,1 0-24,2 3 30,-2-3 2,0 0-1,2 0 0,-2 0-7,2 3 1,-2-3-2,3 0 3,-1 2 7,2-2-6,-2 0 5,0 0-2,1 2-1,2-2 2,-3 0-3,0 0 11,3 0-9,-3 3 12,1-3-13,-1 0 28,-3 0-19,4 0 19,-4 0-7,2 0-12,-2 0 14,1 0-13,0 0-5,-3 0 6,1 0-3,1 0-6,-4 0 8,5 0-10,-3 0 10,1 0-17,0 0 11,-1 0-12,3 0 5,-3 0 7,3 0-9,0 0 5,-3 0 1,3 0-1,0 0 2,0 0 3,2 0-3,-2 0 4,-1 0-4,2 0 6,-2 0-3,1 0 3,-3 0-4,3 2 12,0 1-8,0-3 9,-2 2-12,1-2 0,-1 2 0,1-2 12,-1 0-7,-1 3 7,3-3-9,-3 0 6,1 3-3,0-3 3,-2 1-4,2-1-11,0 0 9,-1 3-9,0-3 9,1 3-20,-1-1 14,1 0-15,-1 1 8,0-3 8,1 2-11,0 1-5,-2-1 8,2 3-10,0-2 11,-1-2 23,3 2-19,-3 0 18,1-1-19,-1 0 28,0 1-18,1-1 21,0 1-25,-2-1 1,5-2 2,-4 0 1,0 2-1,3-2 44,0 0-33,-3 0 17,3 0-28,0 0-12,2-2 18,-4 2 10,4-2-10,-2-1 9,-1 1-10,2-3 25,-2 3-17,1-1 21,0 0-25,0 2-61,-1-2-18,-1 3-5,4-3 16,-2 1-433,0 2 109,0 0-176,2 0 297,-3 0 258,4 0 0,-1 0 0</inkml:trace>
  <inkml:trace contextRef="#ctx0" brushRef="#br0" timeOffset="130">10364 2507 9502,'7'0'-109,"-4"0"7,2 0 121,-3 0-98,0 0 71,4 0-92,-5 0 133,2 0 19,-3 0 50,3 0-14,-1 0 20,-2 0 16,2 0 15,-2 0 24,3 0-39,-3 0 416,0 0-323,0 0 285,2 0-414,-2 0 9,3 0-23,-1 0 14,0 0-10,4 0-53,-2 0 52,-1 0-55,4 0 52,-2 0-26,-1 0 19,3 0-21,1 0 29,-3 0-76,0 0 46,2 0-52,-3 0 4,2 0-17,-2 0-10,1 0 15,0 0 1,0 0-8,-1 0-12,2 0-20,-2 0 58,1 0-16,-3-2 5,3 2-40,0-2 17,0-1-24,-1 0 37,2-1 14,-2 1-13,1 1 11,0 0-19,3-1 16,-4 1-14,1-1 16,0 1-2,0 0 0,-1-1 0,2 3-22,-5-3 16,5 3-16,-4-1 21,0 1-9,1 0 6,-1-3-8,1 3 5,-3 0 20,2 0-17,-2 0 17,2 0 5,1 0-125,-3 0 99,0 0-105,0 3 55,0-3 36,0 1-45,-3 2 52,1 2-2,0-3 2,-3 3-12,0-2 45,0-1-42,-2 3 43,2-1-41,-2 2 62,2-4-41,-3 3 46,4 0-11,-3-3-31,2 3 44,-2-2-48,1-2-13,2 2 9,-3 0-12,2-1 12,0-2 7,0 2-8,1-2-9,1 0 12,-2 0-17,0 0 19,3 0 20,0 0-15,-1 0 14,1 0-21,2 0 51,-3 0 18,3 0 70,-2 0-52,4 0-1,-2 0-48,3 0-1,2 0 8,-1 0-7,3 0 31,-1 0-27,1 3 26,0-3-32,2 2 43,-2-2-33,3 0 30,-2 0-40,2 0 0,-3 0 2,2 0 9,-2 0-14,0 0 15,1 0-13,-1 0 15,3 0-16,-3-2 11,-2-1-13,2 1-15,0-3 19,0 1-20,-1 1 18,-2-2-25,4 0 13,-4 0-16,1 3 25,-3-3-33,4 1 23,-2-2-27,-1 2 28,-1 1 3,3-2-5,-3 1 3,1 1 6,-1-1-5,0-2 5,1 2-7,2-1-11,-5 2 9,5-4-9,-3 3 0,0-2 8,1 2-9,-1-4 14,1 4-26,1-2 18,-1 2-21,1-3 5,-1 2 12,0 0-15,-1 0 17,3-2-10,-5 4 7,5-4-9,-3 5 9,0-3-2,1 3 1,1-3 0,-4 0 0,6 2 1,-4-1 0,0 1 0,1 1-17,2-3 12,-3 3-12,0-3 15,1 3-48,-3-1 32,4 0-35,-1 2 14,-3-2 23,3 0-27,-1 1 33,0 0-9,1-1 9,-1 1-11,1-1-4,-1 1 2,0 0-2,1 2 3,1-3 2,-1 0-1,2 3 2,-3-1 3,3-2 15,-2 0-10,1 3 43,-1-2-39,0 2 24,-2-2-31,2 2 17,0-3-13,-1 3 17,0-2-18,-2 2-35,0 0 18,3 0-28,-3 2 35,0-2 4,0 3 4,-3-1 22,-1 3-17,-2-1 14,-1 2-6,0 1-12,0 0 14,-2-2 1,-1 2-12,-2 0 17,2 1-18,-2-1 1,-1 3 2,-1-3 0,2 0 2,-2 2 5,-1 1-4,1-3-2,2 3 1,-5-1-68,5 4 48,-2-4-57,1 4 67,4-4-8,-4 4 7,6-4-5,0 1 20,-1-3-16,4 3 17,1-3 18,1 0-25,0-2 27,2-2-33,0-2-15,0-1 13,0 3-8,2-3 14,3 0 0,2-3 0,0 2-3,3-5 54,-1-1 14,1 2 2,-2-2 61,2 0-99,-1 0 52,1-3-59,-1 2 60,-1-1 32,1 2-3,-2-3 12,0 3-31,3-3 44,-3 1-23,3-1 24,-2 0-136,-1 3 71,0-2-71,-2 1 10,2-2-20,-3 6-8,2-3-30,-2-1 37,1 3 0,-2 1-6,1-1 20,-1 2-1,1-1-5,2 1-5,-2 0 7,-1 2-14,2-2 8,-1 0 4,2 3 8,1-2-3,-3 0 4,1-1-5,2 1 5,0-3-5,-1 3 7,-2-1 0,4 0 0,-4 2-2,1-2 3,0-2-2,0 3 2,0-1-3,0 1 2,-1-1-1,-1-1 2,1 1-2,-1 0 2,2 2 0,-3-2 0,1 0 8,-1 1-7,0 0 7,1-1-35,-1 3 20,-2-2-20,3 2 26,-1-3-35,-2 3 24,2-2-28,-2 2 33,0 0-41,0 0 23,3 0-32,-3-2 37,0 2-6,0 0 60,0 0-43,0-3 44,0 3-8,0-3 10,0 3 10,0-1-12,0-5 13,0 4-35,0-3 42,3 0-46,-2 1 36,2-3-26,0 1 32,-1 2-51,3-4 20,-3 1-20,3 3 15,0-4 2,-2 3-5,1-2 8,-1 2-29,1 1 21,1-2-24,0 2 25,-3-1-33,4 0 26,-5 0-28,5 1 32,-2-2-9,1 2 5,-1-1-6,-1 0 30,2 3-20,0-5 20,-3 1-26,3 5 2,-3-5 0,4 2 2,-5-1-8,5 2 7,-4-1-5,0-2 6,1 6-17,-1-1 14,1-2-16,-1 0 20,0 3-52,-2-2 36,3 2-41,0 0 13,-3 0 23,1 0-32,2 0 46,0 0-12,-1 0 11,0 0-14,1 0 21,-1 0-16,1 0 16,1 0-17,2 0 16,-2 0-11,1 2 13,0-2-11,0 0 40,-1 0-21,3 0 25,-1 0-30,-2 0 18,3 0-11,-2 0 13,2 0 1,-1 0-18,-2 0 23,3 0-44,1 0 19,-4 0-20,3 0 22,1 0 0,-1 0 0,-2 0-1,4 0-3,-1 0 57,-1 3-41,0-3 43,0 0-54,1 0 48,-1 0-31,3 0 35,-3 0-27,0 0-13,1 0 24,-4 0-58,3 0 34,-1 0-34,3 0 39,-4 0-68,0 0 51,-1 0-59,4 0 67,-3 0-57,2 0 33,-2 0-40,2 0 45,-3 0-34,2 0 28,3 0-36,-4 0 31,0 0-8,2 0 5,-2 0 40,0 0-24,2 0 30,-2 0-39,-1 0 52,2 0-36,-4 0 43,3 3-52,-3-3 26,3 0-18,-3 0 24,1 0-24,0 0-2,-2 0 1,5 1-1,-4-1-31,3 0 31,-3 0-33,1 0 6,1 0 20,2 0-29,-2 3 32,1-3-20,0 0 14,0 0-14,2 3 15,-3-3-6,2 2 4,-2 0-5,4-2 5,-4 3-2,1-1 1,3-2 0,-4 3 0,1-3 0,2 2 1,-2-2-11,0 2 8,2 1-7,-2-3 9,2 0-19,-2 3 14,3-3-15,-1 0 17,-3 0 3,4 0-3,-4 0 2,3 0-3,-1 0 6,1 0-4,-2 0 6,2 0-13,-3 0 4,2 1-3,-2-1-10,-1 0 11,2 3-11,-1-3 15,2 3-34,-5-3 23,2 2-26,0-2 29,-1 2-36,0 1 21,1-3-25,-1 2 28,-2-2-35,3 0 21,-3 3 11,2-3 8,-2 0 28,0 2-36,0-2 45,0 0-30,0 0 36,0 0-43,0 2-37,0-2 32,0 0-31,0 0 63,-2 0-18,-1 0 17,3 0-24,-5 0 27,1 0-22,-2 0 23,2 0-25,-1 0 6,-2-2-4,0 2 5,0-2 19,-3-1-15,0 1 24,2-1-26,-1 1 6,-1 0-7,-1-1 1,1 0-7,-2 2 6,-1-2-5,4-2 5,-3 3 7,2-1-5,-2 1 4,3-1-4,-4 1 39,4-3-28,2 2 31,-3 3-39,0-1 29,1-2-20,-1 3 26,3-3-33,-1 3 8,-2-2-6,3 2-8,0-2 9,-2 2-9,3 0 14,-1 0-18,0 0 12,-2 0-16,2 0 18,-1 0-16,1 0 11,0 0-14,0 0 19,-3 0-7,0 0 6,3 0-6,-3 0 2,1 0-1,-1 0 1,1 0-1,-4 0 0,4 2 1,-1 0 0,-2 1 1,2-3-1,0 3 1,-2-3-7,2 1 4,1-1-5,-1 3 6,-1-3 4,1 3-3,0-1 3,-2 0-4,0-2 0,2 3 1,-1-1-1,1 1 1,-2-1 0,2 0 0,0 4 2,1-5-30,-1 2 23,0 0-24,1 1-2,2 1 22,2-2-28,-2-1 31,1 3-14,2-2 10,-1 1-12,3-1 29,-3 1-16,2-1 15,1 2-19,0-1 13,-4 1-9,5 0 10,-2-2-10,0 1 32,1 3-18,0-2 21,-3 0-21,2 0-12,-1 2 10,1-2-10,-1 0-45,-2 2 37,2 1-40,-1-1 51,0-3-76,-2 4-19,5-1-12,-4 0-355,2 0 141,-1 1-245,3-1 321,-3 0 117,2 0 131,-1 1 0,1 2 0</inkml:trace>
  <inkml:trace contextRef="#ctx0" brushRef="#br0" timeOffset="131">13067 2080 9502,'5'3'530,"-3"-1"-420,1-2 58,-1 5 7,0-5 83,1 2-64,2 1 14,-3-1-54,3 0 12,-1 1-35,2 1-25,1-1 34,0 2-30,1-3 36,-2 3-85,4 0-16,0 0-3,-1 2 32,1-2-13,0 0-7,2 2-42,-2 0-26,1 1 80,1-4-24,1 3-22,-4 1-16,4-4-24,1 3 24,-2-1 52,0 1 7,0-2-2,3 2-6,-1 0-68,1-2 49,-1 2-45,1 0 59,-1 0-31,2-1 19,2 1-29,-1 0-27,-1 1 41,-1-4-45,2 1 31,-3 2 18,1-2-29,-4 0 32,2 2-64,-4-2-17,1 0-1,0 2 1,-1 0-34,-2 3 16,-1-3-97,1 0-105,-5 3 42,3-3-87,-3-2-197,1 2 114,-3-2-189,3 0 215,-3-2-113,0-3 260,0 1-129,0-2 264,-3-2 0,0-2 0</inkml:trace>
  <inkml:trace contextRef="#ctx0" brushRef="#br0" timeOffset="132">12944 2121 9502,'4'-2'-141,"-4"2"11,3-3 189,-3 3-3,3-2 132,-3 2-74,0-2 46,0 2-32,2-3 16,-2 3-19,0-3 87,0 3-23,2-1 124,-2 1-119,3-3 65,2 3-116,-1-3 53,2 3-46,3 0-15,1 0 16,4 0-108,1 0 23,4 6-76,2-2 101,1 3-129,5 1 78,-1 1-130,3 1 94,-2-1-72,-3 1 57,2-1-82,-4 1 50,-3-2-223,1-1 58,-6-3-129,-2 2-312,-5-4 456,1 0-303,-4 1 496,-1-3 0,1 2 0</inkml:trace>
  <inkml:trace contextRef="#ctx0" brushRef="#br0" timeOffset="133">13416 2258 9509,'0'0'230,"3"0"-56,0 0 26,-3 0-11,2 0 68,0 0-108,1 0 51,-3 0-69,2 0 66,1 0 2,-1 0 11,3 0-27,-2 3-28,1-3-4,1 5 8,0 0-13,0-3-57,2 3 31,0 3-30,0-1 9,1-3 25,1 4-24,1-1-10,-1 0-9,-1 0-18,3 1 33,-1-4-78,0 3 42,-1 1-113,1-3 21,0-1-1,-1 1-4,1 0 40,2 0-20,1-1 4,-1 2 11,-1-2-42,2 1 82,2 0-53,-4 0 54,4-1-71,-1 2 48,1-2-56,-1 1 61,-2-2-14,2 1 13,-1 2-5,-1-2 1,0 1-32,0 0 24,0 0-25,-2-3-11,-1 6-15,1-4-1,-3 1-125,3 2 67,-2-2-118,-1 0 124,-3-1-99,4-1 89,-4 2-124,1-5 80,0 2-293,-2 1 89,-1-1-171,0-2-101,1 0 178,-3 0-139,0 0 329,0 0 106,0-2 152,0-3 0,-3 0 0</inkml:trace>
  <inkml:trace contextRef="#ctx0" brushRef="#br0" timeOffset="134">5962 3909 8847,'3'-5'-245,"0"5"493,-3 0-67,2-2-108,-2 2-87,2-3-10,-2 3 10,3 0 80,-3-2-10,2 2 42,-2-2-30,3 2 39,-3-3-46,2 3 45,0-2-35,1 2 30,-3 0-37,2-2 8,-2 2-5,2-3 17,1 0-14,0 3-36,-3 0 24,2-2-69,0 2 68,3 0-28,-3 0 34,1 0-25,-1-2 16,3 2-18,0 0 21,0 0-44,-3 0 29,5 0-39,-2 0 44,0 0-21,0 0 16,-1-3-56,2 3 5,-2 0-6,1-2 11,0 2-33,-3 0 48,4-3-54,-5 3 66,5-2-30,-4 0 21,3-1-30,-3 1 22,3 0-27,-3-1 10,1 0-10,1-1 12,2-1 30,-4 3-25,0-3 25,1 0 6,2 0-17,-3 1 24,0 1-24,1-2 0,0-2 3,-3 4-3,1-1 4,2-3-2,-3 1 4,3 2-3,-1-1-3,-2 0 3,2-3-4,-2 1 3,0 3-6,3-4 1,-3 4-3,0-3-2,0-1 6,2 3-5,-2-2 6,0-1-8,0 4 6,0-3-7,0 2 4,0 0 1,3-2 0,-3 2 2,0 0-3,0 1 1,0-2-2,0-1 3,0 3-6,0-1 4,0 0-4,0 0 0,0 1-1,0-2-1,2 2 20,-2-1-10,0 0 16,0 0-20,0 3-8,2-3 7,-2 1-6,0-2 8,0 2-9,0 1 6,0-2-6,3 1 9,-3 1-10,0-1 8,0-2-8,0 4 9,0-3-5,3 0 2,-3 3-6,1-3 3,-1 1-3,0 1 3,3-2 1,-3 0 1,0 3 0,3-3 0,-3 3-28,0-4 21,0 5-22,0-2 27,2-2-20,-2 3 14,0-1-17,0 1 29,0 2-9,0-3 8,0 1-12,0 0 8,0 2-8,0-3 8,0 3 3,0-3-7,0 3 9,0-1-10,0-2-6,0 3 5,0 0-2,0-3 4,0 3 11,0-2-8,0 0 12,0 2-12,0-3 5,0 3-7,0-2 0,0 2 10,0-3-6,0 3 8,0-2-14,0 0 3,0 2-1,0 0 3,0-3-5,0 3 4,0 0-8,0 0 8,-2 0-4,2 0 10,0 0-5,-3 0 4,3 0-5,0 0 10,-3 0-7,3 3 9,0-3-11,0 2 1,-1 0 1,1-2 0,-3 3 0,3-1 18,-3 3-10,3 0 11,-2-1-14,0 4-6,-1-3 5,3 2-3,-2 2 3,-1 1 1,1 2-1,-3-2-8,2 5 5,2-4-6,-2 4 8,0-2-33,1 3 23,0-2-25,-1 1 30,1-1-12,2 3 5,-3 0-7,1-3 9,2 1 6,0-1-7,-2 3 15,2-2-14,0-1 10,0 1-10,-3-1 3,3 1-2,0-3 2,-3 2-1,3-1-9,-1 1 8,1-2-8,-3-2 11,3-1-5,-3 1 5,3-3-5,-2 0-29,2-2 22,0-2-27,0-1 33,-2 0-115,2-2 82,0 0-91,0-2 109,0 0 38,0-1-27,0 1 24,0-3-36,0 0 41,0 2-27,0 2 37,0-5-45,0 4 27,0-3-19,0 5 49,0-5-42,0 3 29,0 0-30,0-1 16,0 1-12,0-3 9,0 2-10,0-1 1,0-1 0,0 2 1,0-1 15,0-3-12,0 1 12,0-1-3,0 0-8,0 0 9,2-1-11,-2-1 8,2-1-6,1 0 7,0 1-7,-2-3 7,2 3-5,0-4 6,-3 4-6,2-4-6,0 1 4,1 1-3,-3-2-2,2 1-1,-2 3-2,3-4-6,-1 2 13,-2-1-7,2 2 7,1 0 22,0 1-17,-3-1 17,1 0-22,2 3 25,-3 0-18,5-1 20,-5 1-25,2 3 1,-2-4 4,3 4-2,-3 1-18,2-1 13,-2-2-15,0 4-17,0-3 29,0 0-30,0 3 34,0-3-16,0 1 8,0 1-10,0-2 9,0 0 11,0 3-12,0-3 12,0 0-13,0 2 22,0-1-16,0 1 17,0-1-19,3 1 14,-3-2-6,0 3 8,0 0 7,2-1-14,-2 0 18,0 2-23,2 1 7,-2-3-6,0 3 6,0-3 3,3 3-2,-3-2 2,0 0-6,0 2 24,3-3-16,-2 1 16,-1 2-19,3-3 21,0 1-14,-1 0 15,0-1 10,1 3-22,-1-2 26,-2 0-47,3 2 17,-1-3-16,0 3 23,1-3-42,-1 3 31,0 0-32,-2-2 34,3 2-31,0 0 20,-3-2-27,2 2 32,0-3-22,1 3 13,-1-2-4,0 0 7,3-1 7,-2 3-10,-1-2 36,3-3-24,-2 3 29,-1-1-36,0 0 9,3 2-6,0-2 9,-3 0-9,1 1-12,-1 0 11,0-1-11,1 1-11,0-1 18,-2 3-20,2-4 2,-3 4 16,3-6-19,-1 5 22,0-2-8,1 0 5,-3-1-8,2 1 6,-2 1-3,3-3 3,-1 0 0,0 2-2,1-1 5,0-1-3,-2 0 3,2 0 27,0 1-21,-1 1 23,0-1-30,1-2 0,-1 4 1,-2-3 2,3 3-22,-1-3 16,0 3-16,-2-1 22,3 0-58,-3 2 42,3-2-48,-3 0 58,0 1-20,1 0 14,-1-1-19,3 1 11,-3-3-2,0 5 0,3-5-2,-3 2 32,0 2-24,0-2 25,2-2-1,-2 5-18,2-5 21,-2 3-20,0-1 6,3 1-1,-3 0 3,0 2-5,2-3 8,1 1-4,-3 0 5,2-1-4,0 0-2,1 3 3,-3-2-3,4 2 0,-4-2-1,6 2 0,-4-3 0,3 1 0,-3 2 0,3-2 0,0-1 0,-2 3 0,1-2 0,3-1 0,-2 1 3,-2 0-2,1 2 3,3-6-3,-1 6 19,-2-1-13,1-2 16,0 0-19,0 1 16,2-3-9,-2 3 22,0-1-22,2 1 7,-2-3-8,2 1 7,-3 1-4,4-2 4,-1 0-6,-2 0-3,0 3 3,2-3-4,-2 1 4,2-4-3,-2 6 2,0-6-1,-1 4-16,4-3 14,-3 1-15,0-1-1,-1 2 12,2-2-14,-2 3 17,3-4-13,-2 1 8,0 0-9,3 0 9,-4 1 6,1-1-5,0 0 3,0 2-3,-1 1-4,-1-2 3,1 2-3,-1-1 7,0 0-3,1 0 4,-1 3-8,-1-3 3,3 1-2,-5-2 3,5 4-3,-5-3 2,4 0-4,-1 1 4,0-2-3,-1 5 2,0-5-2,1 2 3,1-1-2,-1 0 1,-1 3-2,3-4 2,-3 5 0,1-2 0,0 0 0,-2-1 0,2 4 0,0-3 0,-1 1 0,-2-1 0,2 3 0,1 0 0,-1-2 0,1 2 0,-1 0 0,0 0 0,-2 0 0,3 0 1,0 0 24,-2 0-17,2 0 19,0 0-25,-1 0-3,0 0 3,1 0-2,-1 0 4,-2 0-3,3 0 2,1 0-1,-4 0 4,3 0-10,0 0 7,-2 0-8,5 0 21,-4 0-8,0 0 8,1 0-12,-1 0 3,1 0-3,1 0 4,-1 0-5,1 0-4,-1 0 3,0 0-3,1 0 5,-1 0 1,2 0-1,-3 0 3,3-2 16,-1 2-12,2 0 12,-4 0-17,3 0 0,0-3 0,-3 3 3,3 0-1,-1 0 2,1 0-2,-2 0-3,1 0 5,1 0-4,0 0 4,0 0-2,0 0 0,0 0 0,-1 0-2,1 0 18,0 0-13,0 0 13,-3 0-16,5 0 13,-2 0-6,-2 0 8,1 0 6,2 0-14,-2 0 15,1 0-11,-3 0 0,3 0 2,0 0-3,0 0 24,-2 0-17,1 0 17,-1 0-21,-1 3 11,3-3-8,-3 0 9,1 0-11,1 2-21,-1-2 21,-3 2-18,3-2 22,-2 0-43,2 3 27,0-3-29,-1 2 20,-2 1 9,2-3-12,-2 2 22,3 0-4,-1 1 5,1-3-10,-1 3-4,0-2 3,1 2-2,0-3 2,-2 3 18,2-3-12,0 2 14,-1 0-16,3-2 9,-3 3-7,3-3 16,-3 2-14,1 1 8,0-3-9,1 2-22,-1-2 15,-1 2-13,3-2 18,-3 3-29,1-3 20,-1 3-25,0-2 31,1-1-28,-1 3 19,0 0-23,1-3 13,0 2 5,-1-2-7,0 2 7,1 1 2,-1-1-3,0-2 1,1 3-1,-1-1 3,3-2-1,-3 0 1,4 2-8,-4-2 5,3 3-5,-1-3 7,4 3-14,-4-3 10,2 0-10,1 1 3,-3-1 7,4 0-7,-4 3 10,2-3-3,1 0 2,0 0-4,-2 3 12,-1-3-9,3 0 10,-1 2-11,-2-2 10,-1 0-5,2 2 7,-3-2-8,3 3-15,-1-3 14,-1 2-14,0 1-5,-1-1 13,0 0-18,1 1 20,-1-1 3,-2 3-3,3-2 2,-1 1 10,0-1-11,1 1 11,0 1-13,-2 0 14,2-3-10,2 4 12,-3-5-12,1 5 10,2-2-3,-3-1 6,0 2-4,3-3-6,-3 3 5,1-2 2,2-2-3,-3 2 4,1 2-7,-1-3 0,3 1 0,-3-1 1,1 1-1,-1-1-2,0 0 1,1 1-1,2-3 2,-3 3-1,1-2 2,-1-1-2,0 3-2,1 0 3,2-3-3,-3 0 2,0 0-1,1 0-1,1 0 1,2 0 1,-4 0 0,0 0 1,3 0-1,0 2 0,-3-2 0,1 0 0,0 0 0,1 0 0,-1 0 0,1 2 0,-1-2 0,-1 3 0,1-3 0,-1 2-10,0 1 7,1-1-6,0-2 8,-2 2-5,2 4 3,0-5-3,-1 2 4,0 0 3,1-1-3,-1 0 3,1 1-3,-1-1 4,0 1-3,1-1 3,0 0-1,-2 1-2,2 0 2,0-2 0,-1 2 0,0 0 0,3-1 1,-2 0-50,-1 1 35,0-1-37,4 3 46,-5-3-22,2 4 16,2-5-19,-3 5 19,1-4 4,-1 0-3,1 3 0,1-2 21,-1 1-21,-1-1 20,3-1-11,-2 0-8,1-2 11,-1 3-11,1-3 21,1 3-11,0-3 14,0 0-13,0 0 6,0 0-5,2 0 7,-2 0-10,-1 0 15,2-3-9,1 3 8,-3 0-16,1 0 3,2-3-2,-1 3-2,-2 0 4,1 0-4,0 0 5,0 0-4,-1 0 3,-1 0-2,1 0 2,-1 0-11,2 0 6,-3 0-7,3 0 8,-2 3 1,-1-3-2,0 3 4,4-1-2,-5-2 2,2 2-3,0-2 3,-1 3-2,3-3 2,-3 2-1,1-2-3,1 2 2,-1-2-1,0 3 2,-2-3 0,5 2 0,-4 1 1,0-1-47,1-2 33,-1 2-36,1 1 44,-1 0-8,0-2 5,1 2-9,-1 0 23,0-1-13,1 0 13,0 1-16,-1-1 18,0-2-13,1 3 14,-1-1-16,0-2 5,3 2-2,-2-2 5,1 3 0,-1-3 1,0 0 0,1 0-10,-1 0 4,1 0-7,-1 0 9,2 0 3,-1 0-2,-1 0 1,0 0-3,1 0 5,-1 0-3,-1 0 4,3 0-5,-3 0-16,1 0 12,-1 0-13,0 0 15,1 0-12,0 0 9,-2 0-11,2 3 11,-3-3 0,3 1 0,-3-1 9,2 0-4,-2 3 4,2 0-8,1-3 15,-1 2-10,-2 0 13,3-2-17,-1 0 20,0 3-14,1-3 17,0 2-17,-2-2 2,2 3 0,0-1 0,-1-2-3,0 2 3,3-2-3,-2 3 2,-1 0-2,0-3 1,1 1-1,0 2-2,-2-3 3,2 3-4,0-3 4,-1 2 4,0-2-3,3 2 4,-2-2-5,-1 3 0,0-3 2,4 0-4,-5 2 1,2-2 0,0 0 2,1 0-2,-2 0 1,4 0-1,-5 0 2,5 0-4,-4 0 3,0 0-3,3 0 2,0 0-1,-3 0 0,1 0 0,-1 0 0,3 0 1,-2 0 0,-1 0-19,0 0-1,1 0-3,-1 0 5,1 0 12,-1 0 0,0 0-1,1-2 0,-1-1 7,0 1-7,1-3 5,0 1-7,-1-2 14,0 2-12,1-4 13,1 1 0,-4 0-8,5 0 11,-2-1 1,-1 1-7,0 0 8,4 0-9,-5-1-1,2 1 1,0 0 0,1 0 0,-1 0 5,-1 2-3,1-2 5,-1 0-7,3 1-2,-2-1 3,-2 2-2,2-2 2,0 3-1,1-2 0,-1-1 0,-1 2 9,1 1-7,1-2 6,-1 2-7,0-1 1,1 0-1,-1 0 1,1 1-7,1-2 5,-2 2-5,1-1 6,-1 0-6,4 3 5,-4-3-6,1 0 7,-1 1-4,2-2 2,-1 2-4,2-1 7,-2 2-3,1-1 3,-3-2-5,3 2 1,0-1 0,-3 0 1,3-2-2,-3 2 1,1 3 0,2-3 1,-3 0-2,1 3 1,-3-1-1,2-1 1,1 1-3,-1 1 2,-2-1-14,2 1 12,1 0-9,-1-1 11,0 0-1,1 2 2,0-2-2,1 0 1,-1 1 30,1 0-22,-1-3 24,2 2-31,-1 1 34,2 0-23,-2-1 27,-1 0-30,4 2 2,-2 1 0,-1-3-15,2 0 11,-2 1-10,1 2 14,0-2-8,2-1 4,-2 1-5,-1 2 8,2-3-7,-2 1 4,1 2-9,-2-2 9,1 2-16,2-3 10,-5 0-9,5 3 5,-4 0 4,0-1-3,3 1 11,-2-3-5,-1 3 6,3-3-8,-2 3 13,-2 0-9,2 0 9,2 0-13,-3 0-1,1-2 1,-1 2 0,3 0 3,-3 0-21,1 0 16,1-2-17,-1 2 2,2 0 12,0-3-15,0 3 18,-3-2-1,3 2 0,-1-3-3,2 3 21,-2-4-17,1 4 17,0-3-20,-3 3 17,3-3-11,0 3 13,-1-1-13,-1 1-1,2-3 5,0 3-3,0 0 6,-3-3-7,3 3 5,-1 0-5,-1 0 2,0 0 0,1 0 0,-1 0 6,2 0-5,-3 0 6,0 0-8,1 0 7,0 0-6,1 0 6,-1 0-6,-1 0 2,0 0 0,3 0 0,-2 0 1,1 0-1,-1 0 1,0 0 1,-2 0-12,5 0 9,-4 0-10,0 0 0,1 0 6,-1 3-8,3-3 10,-3 0-3,1 0 2,0 0-2,-2 0 1,2 3 25,2-3-19,-5 0 20,5 0-24,-3 0-2,1 1 2,-1-1 2,0 0-4,1 0 6,-3 3-5,2-3-6,0 0 7,1 3-7,0-3 9,-3 0-5,2 2 3,0-2-5,1 2 5,-1-2-7,-2 0 5,2 3-7,1-3 5,-1 2 0,1-2 0,-1 3 2,-2-3 0,5 2-2,-2 0 2,-3-2-3,2 3 2,0 0-1,1-3 2,-1 1-11,0-1 7,1 3-7,-3 0 9,2-3-12,1 2 9,-1-2-10,0 2 15,-2 1-3,3-3 4,0 2-6,-2-2 7,2 3-6,0-3 7,-3 2-4,2 0-3,0-2 4,1 0-3,-1 3 1,3-3 0,-5 0 1,2 3 1,1-3-8,0 1 6,-2-1-8,5 0 8,-4 3 1,0-3-2,1 3 4,-1-3-4,1 0 2,-1 2-2,0-2 3,1 0-2,0 2 4,-3-2-4,1 3 1,2-3 0,0 2 0,-1-2 1,-2 0-1,2 3 1,-2-3 0,3 0-1,-3 0 0,2 2 0,1-2 1,-3 0-7,2 0 5,0 0-5,1 0-30,0 0 24,-3 0-27,1 0 34,2 0-8,0 0 4,-1 0-5,0 0 4,1 0 9,-1 0-10,1-2 10,-1-1-5,3 1 0,-2-1 1,-3 1-4,1 0-13,2-1 10,2 0-9,-3-1 20,1 1 1,-1-1 0,1-1-1,-1 0-1,-2 0-4,2 1 4,3-4-6,-5 3 1,2-2-1,1-1 2,-3 1-1,3-2-7,-3 2 7,2 0-3,0-3-3,-2 2 8,3-3-10,-3 3 17,2-2-8,0 3 8,-2-3-10,3 3 15,-3-2-10,2 2 10,-2 0-14,3-1 11,-3 1-7,2 0 10,0 1-7,-2-1-5,3 3 4,-3-1-5,0-2 2,3 0 4,-3 1-4,0 2-2,0-4 2,2 1-3,-2 3 4,0-4-1,0 3 1,0-2-2,2 2 1,-2-2 2,0 0-1,3-1 2,-3 1 3,0 3-4,2-4 5,-2 1-6,2 0 3,-2 0 0,3-3 0,-3 5 3,0-2-3,2 0 3,-2 2-4,3-5 2,-3 6-1,0-2 3,0 2-4,0-1 1,2 0 0,-2 0 1,0 1-2,0-2 0,2 2 0,-2-1-2,3 0 2,-3-2-2,0 2 3,3-2-1,-2 2 0,-1-2 1,3 2-1,-3-3 2,3 1-1,-3 3 0,2-1-1,0 0 2,-2 0-2,0 1 3,3 1-2,-1-2-18,-2 3 14,3-3-14,-1 0 10,-2 0 5,2 2-7,-2-1 8,3 1-2,0-4 1,-2 2-2,2 1 5,0-1-4,-1 0 3,-2 0-5,5 0 35,-3 3-23,1-3 25,-1 0-30,0 3 22,1 0-11,0-1 13,-2 3-22,2-3-1,0 2 0,1-2 4,-1 0-13,-1 3 10,1-2-11,1 0-3,-1 2 11,0-3-12,-2 3 13,5-2-2,-4-1-2,0 1 0,3 2-1,-2-2 3,-1 2-2,3 0 16,-3-3-12,3 3 12,-3-3-13,1 3 9,1 0-5,-1-1 5,0 1-6,1 0-4,-1 0 4,1 0-3,-1 0 12,-1 0-6,1-3 7,1 3-9,-1 0-3,1 0 2,-1 0-2,0 0-3,-1 0 4,3 0-4,-3 0 5,1 0-6,-1 0 4,3 0-4,-3 0 5,3 0-5,-2 0 3,-1 0-3,3 0 4,-3 0 10,3 0-8,-3 0 9,1 0-13,-1 3 2,0-3-1,4 0 0,-5 1 1,2-1 0,0 3 1,-1 0-3,0-1 2,1 0-3,-1 1 4,1-1-4,-1 1 2,0-1-3,1 0 2,0-2 0,-2 3 0,2 1 0,0-1 1,-1-3 3,0 5-3,1-3 4,2 1-4,-3-1 0,0 1 0,1-1 1,0 3-1,-2-3 0,5 3 1,-4 0-2,0-3 2,1 3-2,-1 0 2,1-3 8,-1 3-5,0 0 6,1-2-10,0 1 1,-2-1-1,2 1 2,0-1 2,-1-1-2,0 1 3,1-1 2,-1 0-2,1 1 3,-1 0-5,0-3-4,1 1 3,0 2-3,-2 0 3,2-3-5,0 2 3,-1 0-2,0 1 0,-2-1 3,5-2-4,-2 3 4,-3-1-3,2 0 3,0-2-4,3 3-4,-5 0 4,2-2-4,1 2 6,0 0 1,-1-1-1,0 0 1,1 1-1,-1-1 1,1 1 0,-1-1-1,0 0 1,1 1 0,1 0 1,-1-2-1,0 2 0,-1 0 1,3-1-1,-3 0 12,0 1-8,3-1 9,-2 1-11,-1-1-3,3-2 4,-2 5-4,-2-2 2,2-2 0,2 2 0,-3-3-3,1 3 3,2-1-2,-3 0 2,0 3-3,1-2 3,0-1-4,-2-2 4,2 2-3,0 1 2,-1 0-1,0-3 1,1 1-13,-1 2 9,1-3-9,-1 0-8,0 3 13,1-3-14,0 0 20,-2 0-1,5 0-1,-4 0-1,3 0 8,-3 0-5,3 0 4,-3 0-8,4 0-4,-2 0 3,1 0-2,0 0 4,-3 0 10,3 0-7,-3 0 10,4 0-12,-2 0 11,-1 0-9,1 0 7,-1 0-3,2 0-3,-3 0 3,3 0-6,-3 0 2,0 0-2,1 0 3,0 2-34,-1-2 24,0 0-26,1 0 34,-1 0-13,1 0 9,-1 0-13,-2 0 17,2 0-6,1 0 5,-3-2-8,2 2 2,0 0-3,1-3 3,-3 3 17,3-3-12,-1 3 13,0-1-15,-2 1 7,3-3-4,-3 3 8,2 0-9,-2 0 14,2 0-10,-2 0 8,3 0 6,-1 0-12,-2 0 13,3 0-14,-1 0 3,-2 0-3,2 0 4,1 0-5,-3 0 2,3 3-1,-3-3 1,1 1-2,2 2 1,0 0-1,-3-1 2,2 0-1,-2 1 0,2-1-1,1 3 0,-1-3 1,1 1-1,-1-1 1,0 0 0,1 4 0,0-4 0,-2 0-8,5 3 6,-4-3-6,0 1 8,1-1-49,2 1 34,-3-3-37,3 2 44,-2-2-7,1 2 2,-1-2-5,1 0 5,1 0 31,-2 0-28,1 0 27,-1 0-34,1 0 42,2 0-29,-4 0 53,3 0-48,-3 0 16,1 0-15,-1 0 1,0 3 4,4-3-3,-5 0 5,2 3-12,0-3 8,-3 0-8,2 1 5,0-1-6,1 3 3,-3-3-4,2 3 5,1-3-1,-1 0 1,0 0-2,1 0 2,-1 0 0,-2 0 0,2 0 0,4 0 0,-4 0 0,0 0 0,1 0 11,-1 0-9,1 0 10,1 0-11,-1 0-1,-1 0 1,0 0 0,1 0-1,0 0 1,1 0 0,-4 0-95,5 0 22,-3 0-89,1 0 92,-1 0-434,1 0 145,-1-3-152,3 0 270,-2-1 240,4-3 0,-3-3 0</inkml:trace>
  <inkml:trace contextRef="#ctx0" brushRef="#br0" timeOffset="135">7973 3304 9058,'0'-3'-201,"0"0"432,0 3-94,0-1 52,2 1-19,0-6 2,-2 4 46,3 0-51,-3-1 8,3-2 9,-2 3-42,2-6 4,0 4-5,1-3-78,1-3 45,2 1-47,0-4 75,1 4-84,-1-6-7,3 1-23,0 0 20,-1-1 19,1 2-13,0 2-24,-3-1-39,2-1 0,1 1 20,-3 2-44,-2 3 59,2 0-24,0 2 21,-4-2-42,2 3 54,0-2-58,0 2 69,-3-1-41,0 0 30,3 3-28,-3-4 29,1 5-54,0-5 41,-1 4-46,0-5 29,3 2 7,-3 0-13,3 1-15,0-4 30,-3 3-35,1 3 38,1-5 23,-1 4-17,2-1 20,-3-2-28,1 5-12,-1-2 10,3 0-10,-3 1-9,1 0 14,1-1-14,-1 1 8,0-1 9,1 1-10,-1 0 12,2-1-2,-1 0 2,2 2-4,1-5 2,-3 4 19,4 0-15,-4-3 15,2 2-21,1 1 71,-3 0-49,4-4 59,-1 5-9,-3-2-35,4-2 47,-3 3-59,0-1 12,-1 1-11,-1 2 16,1-3-57,-1 3 37,0-2-38,1 0 46,-4 2-36,3 0 23,-1 0-22,1 0 22,-3-3-13,2 3-1,-2 0-7,2 0 1,1 0 15,-3 0-18,2 0 79,0 0-52,1 0 51,0 0-60,-1 0 65,0 0-43,3 0 48,-3 0-53,1 3 4,-1-3 4,3 0 4,-3 0-3,4 0-30,-5 2 25,5 0-27,-4-2-45,3 0 55,-3 3-61,3-3 40,-3 2 16,1 1-24,1-3 21,-1 0 4,0 2-10,1 0 7,-1-2-8,-1 3 7,1 0-6,-1-3 7,0 1-3,4-1-6,-5 3 6,2-3-7,0 3-2,-1-3 10,0 2-9,3 0-28,-2 1 25,1-3-29,-1 2 34,0 1-35,-2-1 23,5 0-30,-4-2 38,0 3-6,1 0 4,2-2-6,-3-1 3,0 3 6,1 0-4,0-1 6,-2-2 2,5 2-7,-4 1 8,0-1-9,1 1 0,-1-3 3,1 2-2,1-2-25,-1 2 17,-1-2-21,0 3 28,1-3-28,0 3 20,-1-3-25,3 0 28,-3 1 11,0-1-8,3 3 7,-2-3-11,-1 0 15,3 0-10,-2 0 14,-1 0-2,3 3-10,-3-3 13,0 0-13,3 0-33,-2 0 27,-1 0-27,0 0 33,4 0-2,-5-3 0,2 3-2,0-3 9,-1 2-6,3-2 4,-3-2 27,1 3-27,1-6 28,-1 6 11,0-6-31,1 4 36,-1-1-40,1 0 0,-1-2 8,2 2-7,-3-2 6,3 0-1,-1-1 0,2 1 1,-2 3 4,-1-6-10,2 2 7,-1 1-6,2 0 4,-2-3 0,1 3-3,0-1 70,-3-1-52,3 2 54,0-3-62,-1 3-10,-1 0 12,2 0-9,0-1 13,-3 1-20,3 0 19,-3 2-17,1-2 23,1 2-53,-1-3 36,0 4-40,1-3-3,-1 2 34,1-2-42,-1 1 0,-1 2 25,1-3-29,1 2 34,-1 0-7,0-3 1,1 1-4,-1 0 9,-1 2 16,0-2-13,3 3 12,-2-4-16,-1 1 12,0 3-9,1-4 9,0 3-10,-2 0 19,2 1-11,0-2-25,-3 2 14,2-1-32,0 0 41,-2 3-59,0-3 42,3 3-45,-3-3 51,2 3-14,-2-4 3,0 2-12,3 1 41,-3-1-21,2-1 22,-2 2-25,0-1 8,2 1-7,-2-1 9,0 1 17,0-2-19,3 3 27,-3-1-30,0-2 14,0 3-11,0 0 12,3-1-9,-3 0-19,0 2 12,0-2-16,1 0 21,-1 1-52,0 0 37,3-1-43,-3-2 25,3 3 15,-3-3-17,0 1 5,2 1 14,-2-2-21,0 0 21,0 3 3,0-3-1,2 3 1,-2-4-6,0 5-9,0-2 7,3 0-3,-3 1 60,0 0-37,0-1 39,0 1-51,0-1 4,0 1-1,0 2 5,0-2-1,0 2 36,2-3-25,-2 0 27,0 3-19,0-1-12,0 1 169,0 0-146,0 0 142,0 0-163,0 4-5,0-1 21,-2 4-25,2-2 15,0 2 8,-3 3-13,1-3 9,2 2 22,-2 1-25,-1 0 21,-1-1-30,4 4 30,-6-1-18,6-2 21,-4 1-9,1 4-7,-2-1 9,3-2-23,0 2 14,-4 4-14,5-4 16,-5 1-1,4-1-1,-3 2 0,3 2-3,-3-4 17,3 1-15,-3 2 14,3-3 17,-4 3-21,2-3 27,-1 1-32,0-3-2,0 3 3,-2-4-2,2 4-32,-2-3 27,-3-2-27,3 1 36,0-1-41,-3 2 27,3-2-31,-1 0 33,-1-1-22,-1-2 10,0 1-13,1 2-7,-1-3 22,0 0-26,1-2 27,-3 0-50,4 0 36,-3-1-38,1-1-6,1-1 33,-1 0-43,-2 1 53,2 0-19,-2-3 14,0 0-17,3 0 13,-4 0-24,4 0 17,-4 0-16,1 0 22,2 0 14,1 0-13,2 0 14,0 0-18,0 0 27,1 0-17,4 0 22,0 0 66,2 0-56,0 0 65,2 0-51,3 0-24,2 0 34,0 0-33,1 0 39,-1-3-29,3 3 30,-3 0-42,2-3 11,-2 3-10,1-2 9,2 2 1,-3 0 0,0-2 0,0 2 25,1-3-19,-1 3 22,-3-2-27,4 0 24,-1-1-17,0 3 19,0-2-23,1-1 73,1 1-51,-1 0 59,-1-1-52,3 0-12,-3-1 13,2 1-15,-2-1-6,3-1 9,-2 0-10,-1 3 10,0-4-20,0-1 16,1 3-14,-1-1-21,0 0 26,-2-3-31,0 1 26,0 3 0,2-4-5,-3 1 2,2-3 2,-2 3 6,4-2-5,-4-1 6,1-2 15,0-1-12,2 2 13,-2-1 21,2-3-27,0 1 29,-1 1-32,-2-1-2,1-1 5,0 4-5,0-4 7,-1 3-34,-1 0 28,1 3-28,-1-4-19,0 4-15,-1-4-7,0 4 14,1-1-4,-1-2-10,3 2-14,-3-1-27,1-1 60,0 2-23,-3-2 22,1 2 26,2-1-25,-3 1 23,3-2-22,-3 2 8,2 0-8,-2 1 8,0 2 9,0-1-8,0 1 17,0 0-19,0 1 10,0-1-7,0 3 8,0-1-31,2-2 21,-2 1-24,3 2 26,-1-1-51,-2 0 34,0-2-35,3 2 32,-3 1 5,2-2-7,-2 2 4,2-1 12,-2 0-9,0 3 8,3-1 18,-3 1-17,0 0 21,0 2-27,0-3 61,0 3-39,0 0 52,0 3-46,0 1-2,-3 1 4,3 2-4,-2 0-3,-3-1 7,3 3-6,-1-2 14,1 0-11,-3 3 8,2 0-11,2-1 21,-5-2-14,4 6 15,0-4-21,-3 1 31,2 2-22,1-2 29,-3 2-36,2 0 8,-1 3-6,-1-1 8,0-2 34,0 2-23,1 1 25,-1-1-40,3 1 2,-4-3-2,2 2 6,-1 1-21,0-4 15,-2 2-15,5-1 20,-4 0-19,2 0 12,-1 0-17,3 0 21,-3-2-17,0 0 10,0 2-11,2-5 18,-1 5-5,-1-5 6,0 3-10,3-6 34,-3 3-23,3-1 26,-4 1-33,5-2 4,-2-3-1,0 3 4,1-2-13,0-2 11,-1 5-12,-2-4 14,5 0-22,-4 1 16,1-3-18,0 2 8,2 1 8,-5-3-12,4 2 13,0 0-6,-3-2 5,2 3-4,1-3 26,-3 0-18,2 3 20,-1-3-23,-1 0 27,3 0-17,-3 1 19,0-1-21,0 0 42,2 3-26,-1-3 30,-1 3-26,0-3-13,0 2 18,3 0-16,-5-2 20,5 3-16,-4-1 15,2 1-16,1-3-21,-2 2 14,3 0-16,-3 1 22,3 0-2,-3-3 1,2 1-2,1-1-11,0 3 8,-3 0-7,3-3 6,-1 2 2,1-2-2,-1 2 0,1-2-6,-3 3 3,1-3-5,1 0-9,0 2 14,-1-2-14,-1 0 18,0 3 1,0-3-2,1 0 2,-2 0-4,2 2 3,-1-2-3,0 0 3,0 0-4,1 0 23,-2 0-15,2 0 74,1 0-64,-2 0 48,1 0-58,-2 0 20,-1 0-11,5 0 14,-3 0-14,0 0-18,1 0 11,-2 0-12,2 0-33,-1-2 38,0 2-40,0 0 47,1 0-50,-3 0 31,1 0-34,2 0 18,-3 0 21,2 0-29,-2 0 28,1 0-22,-1 0 16,3 0-18,-1 0 18,0 0-6,-3 0 5,4 2-2,-1 0 5,-2-2-3,2 3 3,0-3-3,1 3-2,-2-2 2,2 2-1,-4-3 2,4 3 0,-2-1 0,2 0 0,-1 1-28,0-1 20,0 1-22,1-1 26,-2 0-6,5 1 5,-5 1-7,4-1 2,0 0 2,2-1-2,-3-2 2,3 2-10,0-2 6,-2 3-7,2-3-24,0 0 25,2 0-26,-2 0 41,5 0-8,3 0 7,-1-3-13,0 1 42,2 0-31,1-4 31,2 2 4,-2-1 11,2 0 9,0-2-13,-3 2 9,4 1-32,-4-2 42,4 2-62,-4-1 24,3-2-21,0 1 22,0 2-33,1-1 23,-4 3-24,3-3 28,0 2-22,-5 1 11,5 0-13,-2 2-30,0 0 35,-1 0-41,1-3 47,-3 3-31,3 3 23,-2-3-26,1 0 40,-2 2-13,3 0 13,-6 3-15,6-2 12,-5-1-9,2 3 10,-2-2-11,0 1 6,0-1-2,0 1 3,-1 1-26,-1 0 15,-1-3-16,1 4 23,-3-2-47,2-1 31,-2 1-36,2 1-13,-2-2 42,0-1-44,0 3 49,0-2-35,0-2 21,0 2-30,0 2 38,-2-5 25,2 2-18,-2 1 18,2-1 24,0-2-39,-3 3 44,1-3-22,2 0-20,-3 2 22,3-2-25,-2 0 69,2 0-48,-2 0 59,-1 0-68,1 0 60,2-2 8,-5-1 12,2 1-16,-1-3-4,-1 0-31,0 1 39,0-2-52,1 4 19,-4-3-17,1 0 19,0 1-31,-3 1 27,0 0-27,1-1 9,-1 1 10,0 1-18,-2 0 19,1-1-34,1 3 25,-2-2-31,-1 2 32,1-3-16,1 3 13,1-2-11,-2 2 12,2 0-18,-2 0 13,2 0-14,0 0 6,3 0 5,-2 0-6,2 0 7,-3 0 7,3 0-5,-1 0 4,1 0-1,-3 0-4,6 2 4,-6 1-4,2-3-4,-1 5 3,2-3-2,0 3 0,-3-1 2,3-1-3,-1 2 4,1 2-48,3-2 35,-4 0-39,3-1 0,0 4 31,3-6-35,0 3 41,-1 0-29,3-3 16,0 1-20,0-1 25,0-2-33,0 0 15,0 0-20,3 0 31,1 0 5,4 0-4,-1 0-1,3-2 46,-1-3-33,4 0 39,-2 0 1,4-2-33,-3 0 38,2 2-46,1-2 56,-1 0-35,1 1 42,-1-1-45,-1 3 1,-1-1 10,2 0-6,-2 0 7,0 1-11,3 1 7,-3 0-29,-2 1-2,1 0-4,-1 2 6,2 0-16,-2 0 23,-1 0-27,1 0 29,-3 0 10,1 0-12,-1 2 10,0 0-11,0 4 8,1-5-8,-4 5 7,3-4 1,-1 0-4,1 1 6,-3 2 5,1-3-6,0 0 10,3 1-12,-6 0 9,5-3-7,-5 1 5,1-1-6,2 3-30,-3-3 22,0 0-25,1 0 31,1 0 12,-1 0-11,-3-3 10,3 3-2,-1-1-8,3-2 9,-3 0-10,3-1 4,-3-4-2,4 4 3,-2-3 0,1-1-4,0-2 5,0 3-4,-1-3 45,3 1 8,1-4 6,-3 2-11,0-1 42,2-1 15,0-1 16,-2-1-7,2 1-71,0 2 6,-1-2 4,-2 2-67,1-1 2,0 4-17,0-4-29,-3 9 83,0-3-32,3-1 42,-5 4-72,2-2 47,1 5-72,0-5 77,-1 4-71,-2-3 51,5 3-58,-5-3 67,4 0-17,-4 1 15,3-2 18,-1 2-16,1-1 19,1 1-20,-1-2 17,0 2-11,-1-1 13,0 0-18,1 0 13,-1 1-7,0-2 8,1 2-5,-1-1-9,1 0 10,-1 0-10,3 1-32,-2-4 27,-2 3-31,2 1 39,0-4-13,1 4 8,-1-2-13,-1 2 15,3-1-2,-3 0 1,1 0-1,0 1 7,1-2-8,-1 2 10,-1-1-11,3 0 5,-3 3-2,3-5 3,-3 4 0,4-4-25,-5 2 21,2 0-21,2 0-5,-3 1 18,1-2-23,-1 2 28,1 1 1,-1-1-2,0 1-1,-2-2 15,3 3-14,0 0 15,-3-4-18,1 5 16,-1-2-11,3 3 12,0-3-12,-3 1-8,0 2 11,2-2-9,-2-1 5,0 3 0,2-2-2,-2-1-22,3 3 18,-3-2-24,0 2 28,2-2 11,-2 2-8,0-3 10,3 3-16,-1 0 20,-2-3-15,2 3 16,-2-1-9,3 1-4,-1 0 4,0-3 8,1 3-11,-1-3 14,1 3-14,1-2 22,-1 0-16,0 2 15,-2-3-18,5 3 35,-4-2-26,0 2 29,1-3-34,-1 3 8,1-2-5,-1 2 8,3 0-23,-3 0 14,0 0-14,1 0 18,0 0-13,1 0 9,-1 0-11,-1 0-15,1 0 19,1 0-25,-1 0 29,1 0-11,-1 0 7,0 0-10,1 0 9,-1 0 16,1 0-12,-1 0 16,2 0-18,-3 0 1,0 0 0,4 0 0,-5 0-3,2 2 3,2-2-1,-3 3-17,3-3 14,-2 2-15,-1-2 19,0 3-23,1-1 17,1 0-20,-1-2 19,0 3 5,-1 0-8,3-3 8,-3 1-9,1 2 24,1-3-16,-1 3 16,0-1 17,-2-2-25,5 2 30,-4 1-36,0-1 12,3 1-9,-5-1 12,5 0-5,-3 1 1,1 0 1,0-2-1,-2 5-17,2-4 12,0 3-12,-1-3 13,3 3-17,-5-3 11,5 4-11,-3-5 2,0 5 8,1-2-11,1-1 7,-1 2 2,0-3-2,1 3 3,-1-1 16,2-1-13,-1 2 13,1 0-15,-3-3 28,4 3-20,-2-3 22,1 4-19,0-2-5,0-1 10,-1 1-10,2 1-10,-2-2 7,1 1-7,0-1 15,0 1-21,-1-1 15,-1 0-18,4-1-8,-4 0 17,1-2-23,4 3 27,-4-3-19,2 0 14,1 0-13,-3 0 12,4 0 4,-1 0-4,-3 0 2,4 0 7,-3 0-7,0 0 7,2-3-54,-3 3 33,2 0-34,-2-2 44,1 2-46,0-2 33,3 2-39,-4-3 46,3 3-44,-2-3 31,2 3-37,-2-1 43,0-2-22,0 3 15,2-3-18,0 1 46,-2 2-28,0-2 28,2-1 23,-2 3-35,-3-2 44,6 2-54,-6 0 50,6 0-35,-7 0 39,5 0-45,-4 0 38,0 0-26,3 0 33,-2 0-35,-1 2 37,0-2-27,1 5 27,0-3-35,-2 1 5,2 1-4,-3-1 5,3 2-6,-1-3 6,-2 3-6,0 0-4,2-3 6,-2 3-7,0-3 9,0 4-24,0-2 17,0-1-20,0 1 23,0-1-5,0 2 3,0-3 21,0 0-16,0 1 20,0 0-23,0-2-1,0 2 5,0 0-3,0-1 5,0-2 9,0 2-6,0-2 9,3 0-8,-3 3-41,2-3 30,1 0-32,-1 0 5,0 0 22,1 0-27,1 0 32,-1-3-15,2 1 10,0 2-14,0-2-8,-3-1 12,3 0-14,-1 2 16,-1-2 13,2 0-11,-3 3 10,3-2-10,-2 2 23,-1-2-14,0 2 17,1-3-22,0 3 18,-2 0-10,2 0 13,0 0-4,-1 0-10,0 0 10,-2 0 6,3 0-11,-1 0 13,1 0-15,-3 0 20,2 3-14,-2-3 15,2 2-19,-2 0 5,3 4-2,-3-5 2,2 2 0,-2 0 42,0 1-26,0-1 29,2 2-47,-2-3 2,0 0 1,3 1-7,-3 1 11,3-4-10,-3 3 9,0 0-32,2-1 23,-2-2-27,0 0 34,2 0-29,-2 2 20,3-2-25,-1-2 23,1 2-4,1-2 1,-1-4-1,1 2 3,2-3-4,-2-3 4,1 2 2,2-1-1,-2-1 3,3-1-4,1 1 26,-2-2-19,0 2 22,3-2-26,-3 0 10,1 3-7,2-4 9,-3 4-12,0-1 5,-2 0-4,2 1-2,-3-1 3,-1 3-2,0-1 5,-1 4-20,0-3 14,1 1-17,-3 2 20,2-1-38,-2 2 27,0 1-33,0 0 38,0-1-29,0 3 20,0 0-20,0 0 11,3 0 10,-3 0-11,2 0 11,0-3 5,1 3-4,1-1 4,2 1-4,-4-3-17,3 3 9,0-3-11,-1 1 29,1 0-9,3-1 10,-4 3-14,1-2 40,2 2-28,0-3 33,-1 3-39,1-2 47,-3 2-34,1 0 38,0 0-44,0 0 4,-1 0-2,2-2 6,-2 2-8,1 0 9,0 0-8,0 0 9,-1-3-20,2 3 13,-2-2-14,1 2-9,0-2 17,3 2-20,-4-3 23,1 3-13,0-3 10,0 3-12,-1 0 8,2-2 0,-2 2-1,1 0 3,-1 0 7,2 0-6,-5 0 6,5 0-7,-4 0 5,0 0-4,3 0 4,-2 0 2,-1 0-4,0 0 6,1 0-7,0 0-7,-3 0 6,4 0-5,-1 0 10,-3 0-1,2 0 2,0 0-5,1 0 37,-1 0-27,1 0 29,-1 0-36,0 0 1,1 0 1,-1 0 3,-2 0-1,2 2-22,1-2 14,0 3-13,-3 0-12,2-1 25,-2-2-26,2 2-3,-2 1 23,3-3-28,-3 2 32,2-2 3,-2 2-3,0 1 0,3-3-4,-3 2 22,0-2-14,2 3 18,-2-1-15,2 0-4,-2-2 5,0 3 6,3 0-10,-3-3 12,2 1-12,-2 2 4,2-3-3,-2 3 3,3-1-2,-3-2-12,3 2 8,-1 1-10,-2-3-29,2 2 29,-2 1-32,3-1 37,-3-2 4,0 0-5,0 2 3,2 1-23,-2-3 15,0 3-20,0-3 23,2 0-44,-2 0-28,0 1 42,0-1-42,0 0 133,0 0-71,0-1 44,0-2-45,0 0 43,0 1-31,0-3 34,0-2-10,0 2-16,0 1 22,0-4-18,0 3-2,-2 0 8,0 1-5,-3-1 1,0 0-4,0 0 0,-2 3 0,2-3 0,-2 3 0,-3-1 0,5 1 0,-4-1 0,2 3 0,-3-2 0,3 2 0,-3-2 6,5-1-4,-5 3 5,3 0 18,1-3-18,-2 3 19,3 0-22,-2-1 15,2 1-9,-2 0 11,2 0-13,-2 0-11,0 1 12,1-1-11,-1 3-2,0 2 7,-2 0-9,2 0 13,-1-1-20,-2 1 14,3 3-19,0-4-3,-3 3 14,1 1-17,2-1 19,-3 0 18,3 0-15,-1 3 14,1-2-16,0-1 5,0 0-4,-1 2 4,1-2-3,3 3 24,-4-2-15,1 2 17,0-3-13,1 0-5,2 0 7,-1 1-53,0-4 33,0 1-35,3 0 46,0-3-71,-1 1 50,3-1-59,-3-2 5,3 2 34,0-4-43,0 2 119,0-5-45,3 0 49,-3 1-64,5-2 73,0-3-50,0 2 62,2 0-73,0-3 49,0 0-34,1 1 42,2-1-43,-1 0 70,1-2-50,-3 2 53,3 1-30,-1-1-18,1 0 19,0 1-38,-1 2 9,-2 0-5,3-1 10,-3 3-3,3 1 0,-3-1 1,1 2 1,-1 1-27,0 2 19,0-2-23,-2 2-15,2 0 31,-2 0-33,2 2 35,-2 0-26,0 1 13,2 2-16,-2-1 14,0-1 10,-3 1-13,3 2 13,0-4-26,-1 3 19,-1-3-23,-1 0 21,3 1 16,-3-1-11,4 3 16,-2-3 4,-1-2-15,-1 3 18,3 0-21,0-2 0,-3 2 0,3-3 3,-2 3-2,1-3 7,1 2-4,-3-2 4,3 2 11,0-2-11,0 3 13,-3-3-17,3 2 41,0-2-31,0 0 32,-3 3-39,3-3 1,0 2 5,-3-2-3,3 2 9,-2 1-41,1 0 32,-1-3-31,-1 1-7,0 5 29,1-4-36,-1 0 41,1 3-39,-1-2 27,-2-1-34,2 0 26,-2 1-3,3 1-1,0-4 3,-3 6 9,1-4-7,-1 0 6,0 1-4,0-1 13,3-2-10,0 3 10,-3-1-2,2 0-6,-2 1 8,5 0-34,-3-2 20,1 2-20,1 0 25,-1-3-25,1 2 16,2 0-17,-2-2 20,4 3 5,-4-3-5,3 0 5,-1 0 66,1 0-51,0 0 54,-2 0-27,-1 0 11,4 0 10,-3 0-14,0 0-18,-1 0-12,2 0 22,-5 0-18,5 0-26,-2 0 17,-1 0-22,2 0 32,-3 2-38,0-2 25,1 0-34,-1 3 40,0-3-37,1 0 27,0 2-37,1-2 15,-1 0 2,-1 0-6,3 0-1,0 0 17,-3 0-16,3 0 18,0 0-46,0 0 34,-1 0-38,1-2 71,2 2-23,-1-3 22,-2 1-28,1-3 24,0 3-16,0-1 16,-1 0-1,-1 2-15,1-2 17,-1 0-19,0 3 8,1-2-6,-4 2 13,3-2-10,-1 2-25,1 0 17,-3 0-19,2 0 25,-2 0 2,0 0-3,0 0-4,2 0 54,-2 0-40,0 0 41,0 0-11,3 2-27,-3 0 31,3 1-37,-3 0 46,1 1-25,-1-1 30,3 1-26,0 1-23,-3-2 22,2 1-20,-2 2-15,5-2 18,-5 1-21,5 2 29,-5-2-28,2 0 18,0 2-24,1-2 33,1-3-9,-1 6 8,0-4-11,4-1 31,-5-1-26,3 0 25,3 1-27,-4 0 37,3-3-21,1 2 26,1-2-25,1 0-65,0 0 51,1-2-52,-1 2-262,0-6 70,-1 4-221,1 0 268,0-1 88,-3 1 99,2 0 0,4-1 0</inkml:trace>
  <inkml:trace contextRef="#ctx0" brushRef="#br0" timeOffset="136">13784 2442 9502,'0'-4'-14,"0"1"-4,0 0 59,0 1 18,0 2 67,0-2 4,0 2 97,0-3-71,2 3 90,-2 0-111,0 0 66,2 0 0,1 0-1,-1 3-13,1 1 0,1-1-41,2 1 42,1 2-57,-3-2 2,4 1-1,-1 2-48,-3-1 35,6 1-37,-2 0 49,-1-2 0,0 2 0,3 0 14,-3-2-10,1 0-131,-1 2 14,0-2-103,0 2 70,0-2-7,-2 0-17,0 0 23,0-1-34,2 1 36,-2 0 11,-3 0 1,3 0 4,-1-3 22,-1 5-31,2-4-20,0 1 48,-3 2-53,3-5 59,-3 5-50,1-4 34,0 0-43,-2 1-3,2-3-22,0 2 5,-3-2 7,0 0-99,0 0 94,0 0-110,0 0 190,0-2-39,-3-3 31,-1 0-50,-2 1 49,2-2 25,-1 2 11,-2-4 23,0 1-67,-1 3 37,-2-4-38,1 1-14,-1 0 13,1 2-21,-1-3 3,-2 4 11,2-3-20,-2-1 20,0 4-5,0-3-5,0-1 2,-3 3-6,4-2 9,-4-1-9,5 4 8,-4-3 1,4 2 0,-2 0 2,0 0-2,0 1 3,2-2-2,-2 4 2,3-3-2,-4 3 0,4-1 0,-4 1 0,2 0-39,1-4 27,1 5-28,-1-2 35,0 0-14,2 1 8,1 0-9,0-1-53,2-2 46,1 3-52,-2 0 63,5-1-9,-2 0-31,0 2 13,3 1-17,0-3 61,0 3-17,0 0 20,0-3 12,3 3-35,1 0 38,2 0-42,1 3 45,0-3-28,2 3 31,4-2-33,-4 2 28,6 2-12,-3 0 16,3 2 32,-1-5 9,-2 4 14,3-2-11,-1 1-21,-2 0-21,0 0 21,0-1-48,0-1 24,1 1-16,-2 2 21,1-2-47,1 1 29,-1-2-35,-1 1 46,2 2-24,-1 1 16,0-3-26,2 4 20,-1-4-9,-1 3 7,-3 1 31,3-3-20,-2 2 25,-1 1-33,-2-1 19,1-3-12,-3 1 18,2 2-19,-2-2 41,-1-3-30,-1 4 33,2-2-46,-5 1-7,5-3 4,-3 3-5,1 0-10,-1-3 20,0 4-19,1-5 18,0 5 4,-2-2-9,5 1 7,-4 0-6,0-3 7,1 4-5,-1-5 4,1 5-6,-1-4 3,3 2-6,-2 2 50,1-5-34,1 5 37,0-4-41,0 3 64,-1-3-43,2 3 49,-2-3-78,1 1 12,2 1-10,-2-1 15,-3 2-12,3-3 15,0 1-14,0 2 23,0-3-44,0 3 28,-1-2-32,-1 1 5,-1-1 20,3 1-28,0-1 16,-3 2-14,3-3 4,-3 3-1,3-1-2,-2-1 12,1 2-15,-1-3 20,0 1-42,1 2 29,-1-3-32,1 0 37,1 1-2,-1-3-4,2 4 2,-2-1-23,4-3 19,-4 3-22,3-1 24,-1 0-11,1-2 7,0 3-8,1-1 1,-1 1 4,0-3-4,-2 2 7,2 0 8,0-2-7,0 3 8,1-3-8,-1 0 7,3 2-6,-3-2 5,0 0-7,2 0 10,-1 0-5,4 0 7,-5 0-8,3 0 15,-1 0-10,1 0 11,-2 0-86,1 0-19,-2-2-6,0 2-160,0 0 104,1 0-114,-3 0 76,0 0-242,-1 0 57,-1 0-198,0 0 217,-2 0-295,-1 0 336,0 0-354,-1 0 432,-5 0 31,-1 0 115,0 0 96,-2 0 0,-1 0 0,-2 0 0,-1 0 0,4 0 0,-3 0 0,0 0 0,2 0 0,1 0 0,-1 0 5,0 0 15,3 0 13,-1 0-23,1-3 57,3 3-22,-1 0 46,0-2-28,0 0-6,2-1-35,2 1 6,1-1-8,-3-1-5,3 1 10,0-1 60,0 1 14,3-2 1,-3 3-15,4-1 44,-1 1-22,1-1 98,1 1 3,0 2-12,0 0 33,-1 0-8,2-2-69,-2 2 32,1 2-81,0-2 105,3 0-77,-4 2 84,1 1-89,2 2-2,0-3 0,-2 3 4,0-2 7,2 4-36,0-5-28,1 3-10,-4 0-34,6-1 15,-3 1 1,1 0 5,-1 0-17,0 0-17,-2 2-4,2-2-26,0-1 74,-1 2-19,1 1 3,-3 0-21,4-2 13,-6 2-17,3-3 27,-1 4-27,2-1 10,-4-2-12,0 3-31,1-4 46,-1 1-50,1 0 28,1 0 16,-4-1-19,3 2 27,0-2 17,-2-1-16,2 1 13,2-1-23,-3 2 16,1-1-10,2-1 10,-3 1-10,3 2 38,-2-2-25,1 1 29,1 0-92,-3-3 39,3 4-39,-2-2 54,1 1-67,-1 0 47,-1-3-55,0 3 30,1-3 22,2 1-27,-3-1 21,-2 0-5,3 1-1,-1 0-3,0-3 3,1 2 29,2 0-24,-3-2 24,0 3-29,-2-1 7,3 0-3,0 1-19,-2-1 19,2 3-20,-3-3 25,3 1-27,-1 1 18,0 2-21,-2-4 24,3 3-55,-1-3 37,1 3-47,-1 0 57,3-2 0,-2 1 0,-2-1-1,5 1 8,-4-1-12,3-1 11,-3 1-13,3 1 29,0-1-20,-2 0 21,1-2-5,-1 5-14,1-4 18,-1 0-19,2 3-8,-3-2 7,0-1-7,4 3 11,-5-1-43,2-1 30,0 2-35,-1 0 24,3 0 8,-5-3-11,2 3-25,1-1 31,-1 2-37,0-2 40,1-1-11,-3 4 8,3-5-9,-2 4 9,-1-5 1,3 5 0,-3-4 3,3 3 16,-3-3-14,2 1 16,-2 1-28,0-1 6,0-1-4,0-2 7,0 2 20,0 1-15,0 2 16,0-3-19,0 1 35,0-3-24,0 2 27,0 0-33,0-2 28,0 3-19,0-3 20,0 2-76,0-2 38,0 0-143,0 3 119,0-3-52,0 0 71,-2 0 27,2-3-35,0 1 57,-3-1 13,3-1 6,0-3 69,-3-3-102,2 3 73,-5-5-80,4 2 17,-3-5-13,-2 1 9,-1-3-5,-1 2-17,-1-1 13,-1-1-17,-4-2-107,1-1 27,-4 3-115,-1-2 111,0 2-126,0 0 78,0 0-88,-1 2-267,-2-1 345,6 2-238,-2-4 391,1 4 0,1-3 0</inkml:trace>
  <inkml:trace contextRef="#ctx0" brushRef="#br0" timeOffset="137">1831 2606 9066,'0'3'209,"0"-3"278,0 0-258,0 0 215,0 0-451,-2 0-21,2 0-17,-2 0-28,-1 0 38,1 0 10,2 0-56,-3 0 87,1 0-53,0 0 57,2 0-22,-3 0 14,0 0-18,2 0 16,-2 0 19,0 0-13,1-3 17,0 3-22,2 0 8,-5-2-5,5 2 7,-3 0-16,1 0 8,0 0-7,-1 0-13,3 0 17,-3 0-18,2 0 20,1-3-5,-3 3 2,0 0-3,3 0 1,-2 0 3,2 0-6,-2 0 5,-1 0-6,3 0 26,-2 0-18,-1 0 19,3 0 3,-2 0-16,0 0 20,2 0-19,-3 0-2,3 0 3,-3 0-1,2 0-11,1 0 9,0 0-8,-3 0 9,0 0-13,1 0 10,2 0-11,-2 0 11,2 0 12,-3 0-10,3 0 10,-2 0 12,-1 0-16,3 0 18,0 0-18,-2 0-3,2 0 4,-2 0-2,-1 0 7,3 0-2,-2 0 2,2 0-3,-2 0-11,-1 0 8,3 0-7,-3 0 9,3 0-26,-2 0 18,0 3-22,-1-3 15,3 0 4,-2 0-4,0 0 2,-1 0 5,3 0-6,-2 0 4,-1 0 26,1 0-17,2 2 17,-2-2-25,-1 0 59,3 0-42,-3 0 48,2 0-57,1 0 9,-3 0-5,3 0 9,-3 0-31,1 0 22,2 0-20,-2 0 6,2 0 12,-3 3-15,1-3 17,2 0-38,-3 0 27,3 0-33,0 0 39,-2 0-48,2 0 33,-2 0-39,-1 0 44,3 2-12,0-2 10,-3 0-9,2 0 10,1 0-4,-3 0 3,3 0 2,-3 2-4,3-2 5,-2 0-5,0 0 3,-1 0-2,3 0 2,-2 0 1,-1 3-1,3-3 1,-2 0-1,2 0-1,-2 3 31,2-3-22,-3 0 23,0 0-9,3 1-15,-1-1 18,1 0-10,0 0-5,-3 0 6,3 0-5,-3 3-20,3-3 16,-2 0-15,2 0 18,0 3-11,-2-3 7,2 0-8,0 0 8,-3 2-18,1-2 7,2 0-10,-3 2 4,3-2 12,0 0-13,-2 2 11,2-2-4,-2 0 2,2 0 2,-3 3 36,3-3-27,-3 3 29,3-3-35,-1 0 1,1 0 2,-3 0 1,0 1-5,3-1 3,-2 0-1,2 0 2,-2 3-10,2-3 8,-3 0-10,1 3 1,-1-3 7,1 0-10,2 0 11,-2 2 11,-1-2-9,3 0 6,-2 0-9,0 2-4,2-2 3,-3 0 0,1 3 2,2-3 6,-3 0-4,3 0 4,0 0-7,-2 0 3,2 0-4,-2 0-3,2 2 3,0-2-5,0 0 7,-3 0-5,3 0 4,0 0-7,-3 0 7,3 0-5,0 3 4,-1-3-4,1 0 4,0 0 14,0 0-11,-3 2 12,3-2 0,-3 0-8,3 0 9,0 0-16,0 2 2,-2-2-2,2 0 4,0 0 8,0 0-6,-2 0 7,2 0-8,0 3 11,0-3-8,0 0 10,-3 0-11,3 0-8,0 0 4,0 3-5,-2-3-5,2 0 9,0 0-11,0 0 3,-3 1 6,3-1-7,0 0 9,0 0-3,0 0-1,0 0-1,-2 0-1,2 3 2,0-3-2,0 0 2,0 0 5,-2 3-3,2-3 3,0 0-4,0 2 32,0-2-23,-3 0 24,3 0-15,0 2-9,0-2 10,0 0-10,0 3-14,-3-3 11,3 0-10,0 0 13,0 2-14,0-2 11,0 0-11,0 3 5,0-3 5,0 0-8,0 0 8,0 0-5,0 0 3,0 2-4,0-2-2,0 0 2,0 2-2,0-2 3,0 0 0,0 3 0,0-3 0,0 0 2,0 0-4,0 0 3,0 3-3,0-3 3,0 0-11,0 1 8,0-1-8,0 0 8,0 3 0,0-3 0,0 0 1,0 0 1,0 3-1,0-3 0,0 0 2,0 0-3,0 2 4,0-2-4,0 2-23,0-2 16,0 0-17,0 3-20,0-3 30,0 0-32,0 0 39,3 2 12,-3-2-11,0 0 8,0 3-2,0-3-6,0 0 4,0 2-9,0-2 55,0 0-40,0 0 46,0 2-55,0-2 48,0 0-34,0 0 44,0 3-46,0-3 8,3 0-5,-3 3 7,0-3-23,0 0 17,0 0-17,0 1-12,0-1 20,0 0-22,0 0 28,0 3-22,0-3 15,0 0-22,0 0 23,0 3-10,2-3 8,-2 0-7,0 2 26,0-2-17,0 0 17,0 0-21,0 0 13,0 2-9,0-2 11,0 0-11,0 3 0,0-3 3,0 2 0,0-2-29,2 0 22,-2 0-23,0 3 26,0-3-6,0 0 2,0 2-3,0-2 1,0 0-17,0 2 9,0-2-12,0 0 30,0 0-8,0 3 8,0-3 29,0 0-30,0 3 31,0-3-37,0 0 18,0 1-9,3-1 12,-3 0-12,0 3-45,0-3 35,0 0-34,0 0 2,0 3 28,0-3-31,0 0 39,0 0-41,0 0 28,0 0-37,0 2 61,0-2-23,0 0 19,0 0-28,0 0 74,0 0-55,0 0 59,0 2-18,0-2-32,0 0 276,0 0-211,0 0 192,0 0-230,0 0-20,-3 0 14,3 0-16,0 0 25,-2 0-62,2 0 44,0 0-50,-2 0 0,-1-2 44,3 2-50,-3 0 53,3 0-34,-1-2 14,-2 2-20,3 0 15,-3 0 13,1-3-15,0 3 15,2 0 3,-3-3-2,1 3 4,-1-1-7,1 1 14,0-3-9,-1 3 12,1 0 23,0 0-26,-1-3 29,0 3-33,1 0-6,0 0 7,2 0-7,-3 0-29,1-2 27,0 2-28,-1 0 36,3 0-29,-2 0 20,-1 0-24,3 0 24,-2 0-19,2 0 7,-2 0-8,2 0-11,-3 0 19,3 0-22,-3 0 25,3 0 9,0 0-6,-1 0 8,1 0 4,-3 0-12,3 0 13,0 0-13,-3 2 9,1-2-4,2 0 5,0 0-8,-2 0 3,2 0-1,-3 0 2,3 0 2,-2 0-4,2 0 4,0 0-4,-3 0 0,3 0 0,-2 0 0,2 0-9,-2 0 6,2 0-6,-3 0 7,0 0-9,3 0 7,-1 0-7,1 0 8,-3 0-10,3 0 6,-3 0-6,3 3 11,-2-3-1,2 0 0,-2 0-2,2 0-5,-3 0 3,1 0-3,-1 3-15,3-3 12,-2 0-13,0 0 16,-1 1 8,0-1-7,3 0 7,-1 0-8,-2 3 8,3-3-5,-3 0 6,3 0 8,-2 0-11,2 0 12,-2 0-14,2 3 6,0-3-1,-3 0 3,3 0-45,-2 0 27,2 0-29,0 0 38,-3 0-18,3 0 13,0 0-17,0 0 18,-2 0 7,2 0-5,0 2 2,-2-2 5,2 0-11,0 0 8,0 0-9,-3 0 26,3 0-18,0 2 21,-3-2-12,3 0-9,0 0 15,-1 0-15,1 0 18,0 0-13,0 0 9,-3 3-10,3-3-5,0 0 3,0 0-2,-3 0-10,3 0 11,0 0-11,0 2 6,0-2 3,0 0-5,-2 0-72,2 0 83,0 0-81,2 0 95,-2 0-14,0 0-10,3 0 11,0 0-14,-3 0 52,1-2-36,2 2 45,0 0-11,-1 0-20,0 0 25,3 0-29,-2 0-15,-1 0 13,0 0-11,4 0 11,-5 0-17,5 0 13,-2 0-14,-1 0 16,2 0 1,-3 0-1,3 0 0,-2 0 8,1 0-7,-1 0 4,1 0 41,-1 0-38,2 0 42,-3 0-48,0 0 12,1 0-9,1 0 15,-1 0-13,0 0 13,-1 0-10,0 0 9,1 0-26,-1 0 18,-2 2-18,3-2 19,-1 0-19,0 3 10,1-3-11,-1 0 27,0 0-10,-2 0 9,3 2-13,0-2-3,-1 0 3,0 0-1,-2 0 2,3 2-26,-1-2 18,0 0-20,1 0 4,-3 3 15,2-3-16,1 0 3,-1 2 11,-2-2-14,2 0 18,1 0-33,0 2 23,-3-2-28,1 0 32,-1 0-22,3 3 12,0-3-14,-1 0 18,-2 3 2,2-3-1,-2 0-2,3 0 20,-1 2-16,-2-2 16,3 0-19,-3 0 11,2 0-8,-2 2 10,2-2-18,-2 0 6,0 0-5,3 0 10,-3 3-5,3-3 4,-3 0-5,0 0 4,1 0-16,-1 0 10,3 0-11,-3 0 17,0 0-2,0 2 1,0-2 23,0 0 2,3 0 6,-3 0 8,0 0-30,0 0 13,0 0-12,0 0-3,0 2 5,0-2-3,0 0-3,0 0 2,0 3-3,0-3 5,0 0-9,0 2 6,0-2-7,0 3 9,-3-3 8,3 0-7,0 2 4,0-2-8,0 2-1,0-2 1,0 3-10,0-3 9,0 0-8,0 3 10,0-3-28,0 1 21,0-1-23,0 3 28,0-3-50,0 0 36,0 3-43,0-3 50,0 2-27,0-2 19,0 2-25,0-2 30,0 3-10,0-3 9,0 2 8,0-2-9,0 0 10,0 3-14,0-3 9,0 2-6,0-2 12,0 0-13,0 0 5,0 2-1,0-2 0,0 0 2,0 0-17,0 0 11,0 0-32,0 3 29,0-3-10,0 0 14,0 0 3,0 0-6,0 0 27,0 0-19,0 0 22,0 3 22,0-3-32,0 0 37,0 0 6,0 0-34,0 0 38,0 0 4,-3 0 8,3 0 14,0 0-52,-1 0-7,1 0-31,0 0 41,-3 0-53,3 0 39,-3 0-42,3 0 47,0 0-42,-2 0 25,0 0-30,2 0 32,-3 0-21,1 0 9,-1 0-13,1 1 8,2-1 11,-2 0-11,-1 0 10,0 0-2,2 3 2,-2-3 0,3 0 39,-3 0-28,1 3 30,0-3-37,2 0 24,-3 0-15,1 2 20,2-2-25,-3 0-11,1 0 8,2 0-6,-2 2-17,-1-2 23,3 0-23,-2 0 3,2 0 16,-2 0-18,2 3 22,-3-3-56,3 0 38,0 2-48,-3-2 57,3 0-12,-2 3 8,2-3-8,-2 0 7,2 2 14,0-2-10,0 2 12,0-2 5,-3 0-17,3 0 19,0 3 16,0-3-27,-2 3 31,2-3-36,0 0 7,0 0-4,0 1 8,0-1-7,0 0 0,0 3 0,0-3 0,-2 0 1,2 0-5,0 0 4,0 3-6,0-3 1,0 0 3,0 0-4,0 2 1,0-2 3,0 0-4,0 2 3,0-2 1,0 0 0,0 0 0,0 3 0,0-3 3,0 0-2,0 0 3,0 2-4,0-2 6,0 0-3,0 0 4,0 0 9,0 0-11,0 3 12,0-3-15,0 0 30,0 0-21,0 0 24,0 0-23,2 0-2,-2 0 3,0 0-1,0 0-20,2 0 15,-2 0-15,0 2 18,3-2-11,-3 0 10,0 0-10,0 0 54,2 0-34,-2 0 31,2 0-40,-2 0-10,0 0 9,3 0-7,-3 0-7,0 0 11,0 2-10,3-2 17,-3 0-23,2 0 18,-2 0-20,2 0 22,-2 0-5,0 0 3,3 0-7,-1 0 5,-2 0-8,2 0 7,1 0-11,-3 0 9,2 0-5,-2 0 6,3 0-7,-1 0 5,-2 0-6,2 0 7,1 0-37,-3 0 27,3 0-30,-3 0 36,1 0-8,2 0 5,-3 0-8,3 0 3,-3 0 1,2 0-2,0 0-40,-2 0 30,3 0-33,-1 0 43,-2 0-12,3 0 9,-3 0-12,2 0 12,-2 3-34,2-3 23,-2 0-26,3 0 33,0 0 31,-3 0-23,1 0 24,2 3 4,-3-3-29,0 0 32,3 0-9,-3 0-19,0 0 26,0 0-29,0 0 21,0 0-14,0 0 16,0 1-13,0-1 13,0 0-8,0 0 10,0 0-14,0 0 14,0 3-10,-3-3 9,3 0-11,-3 0 0,3 3 1,-1-3 1,1 0 0,-3 0 0,0 2 0,3-2-4,-2 2 3,2-2-3,-2 0 3,2 3-6,-3-3 3,3 2-4,-2-2 5,2 3 0,-3-3 0,3 2 0,0-2 10,-2 2-7,2-2 8,0 0-3,0 3-5,-2-3 7,2 3-8,0-3-1,0 1 2,-3-1-1,3 0 2,0 3-12,0-3 8,0 0-9,0 3 11,0-3 0,0 2-1,0-2 1,0 0-4,0 0 2,0 2-2,0-2-6,0 3 4,0-3-5,0 2 8,0-2-5,0 0 4,0 3-4,0-3 5,3 2-6,-3-2 3,0 0-2,2 2 3,-2-2-15,0 0 11,0 3-14,2-3 11,-2 0 2,0 3-2,3-3 5,-3 0 0,2 0 0,-2 1-2,0-1 7,3 0-5,-3 3 5,0-3-7,2 0 19,-2 3-13,2-3 16,-2 0-19,0 0 5,3 2-4,0-2 5,-3 0 12,1 0-10,2 0 12,-3 0-20,3 0 3,-3 0-2,0 0 3,2 0-3,-2 0 4,2 0-4,-2 0 4,3 0-13,-3 0 9,2 0-10,-2 0 12,3 0-47,-1 0 34,-2 0-38,2 0 24,-2 0 12,3 0-19,-1 0 0,-2 0 12,2 0-14,-2 0 22,3 0 20,-1 0-17,-2 0 16,3 0-24,-3 0 18,0 0-12,2 0 13,-2 0-12,2 0 24,-2 0-14,0 0 16,0 0-33,0 0 6,3 0-6,-3 0-25,0 0 29,0 0-31,0 0 36,0 0 0,0 0-9,3 0 4,-3 0 12,0 0-6,0 0 19,0 0-7,0 2-2,0-2 5,0 0-8,0 0-23,0 0 17,0 3-18,0-3 20,0 0-12,0 0 7,-3 0-9,3 0 10,0 0 11,0 0-9,0 2 7,0-2-14,0 0 3,0 0-6,0 0 17,0 0-8,0 3 8,0-3-8,0 0 36,0 0-26,0 2 30,0-2-36,0 0 35,0 2-25,0-2 27,0 0-32,0 0 8,0 0-5,0 0 8,0 3-21,0-3 14,0 0-13,0 0-2,0 2 12,0-2-14,0 0 17,0 0-31,0 0 21,0 2-27,0-2 31,0 0-33,0 0 24,0 3-28,0-3 31,0 0 4,0 0-3,0 3 5,0-3-10,0 0-1,0 0 1,0 2 8,-3-2-4,3 0 6,0 0-7,0 2 0,0-2-1,0 0 2,0 0 0,0 0 5,0 0-3,0 3 3,0-3-6,0 0-15,0 0 11,0 0-12,0 2 22,0-2-6,0 0 6,0 0-22,0 0 11,0 0-11,-2 0 13,2 2-6,0-2 4,0 0-5,0 0 6,0 0-3,0 3 2,0-3-3,0 0 2,0 0-17,0 0 14,0 0 23,0 0 80,0 2-36,-2-2 110,2 0-135,0 0 57,0 0-60,0 0-27,0 0 28,0 0-22,0 0 30,-3-2-31,3 2 27,0 0-28,-2-3-23,2 3 33,-3 0-44,3-2 66,-2 2-21,2 0 16,0 0-24,-2-2 16,-1 2-13,3 0 14,-2-3-11,0 3-10,2 0 9,-3 0-4,1-2-9,-1 2 15,3-2-15,-2 2 17,0-3-2,2 3 1,-3 0-2,0-3 34,2 3-24,-2-2 22,0 2-31,1 0 7,2 0-3,-2-2 7,-1 2-8,1 0-7,-1-3 6,3 3-3,-2 0 6,2 0-26,-2 0 18,-1 0-23,0 0 3,3-2 17,-1 2-19,1 0 12,-3 0 7,3-2-13,-3 2 14,1 0-14,2 0 10,0-3-11,-2 3 11,-1 0-3,3 0 2,-2 0-2,2-2 4,-3 2-2,3 0 2,-2 0-2,2 0 16,-2 0-11,2 0 11,-3 0-16,3 0 1,-2 0-1,2 0 3,0-3-3,-2 3 4,2 0-4,0 0 4,-3 0-7,3 0 5,0 0-6,0 0 12,-3-2-5,3 2 5,0 0-6,-2 0-1,2 0 1,-2 0-1,2 0 25,0 0-17,-3 0 19,3 0-22,-2-2 20,2 2-12,-2 0 14,2 0-18,-3 0 3,3 0 2,0 0 0,-2 0 11,2 0-18,-3 0 17,3 0-19,-2 0-6,2 0 9,-2 0-10,2 0-12,0 0 18,-3 0-20,0 0 23,3 0-27,0 0 17,-1 0-21,1 0 24,-3 0-7,3 0 2,-3 0-6,3 0 7,-2 0-2,2 0 0,-2 0-1,2 0 5,0 0-1,-3 0 0,1 0 4,2 0-3,0 0 3,-3 0-4,3 0 4,-2 0-2,2 2 3,-2-2-4,2 0 9,-3 0-6,3 0 6,-3 0 5,3 0-8,0 0 10,-1 2-13,1-2-3,-3 0 4,3 0-4,0 0-3,0 3 6,0-3-5,-3 0 6,3 0-17,0 0 13,0 2-15,-2-2 17,2 0-28,0 3 20,0-3-23,0 0 27,0 2 1,0-2-1,0 0 0,0 2 8,0-2-10,0 0 11,0 0-2,0 3-6,0-3 7,0 0-9,0 2 5,0-2-3,0 0 4,0 0-3,0 2 5,0-2-3,2 0 4,-2 0-5,0 3 2,0-3-2,0 0 0,3 0 14,-3 3-10,0-3 12,0 0-12,0 0-2,3 0 4,-3 0-3,0 2 4,1-2-3,-1 0 3,0 2-3,3-2-3,-3 0 3,3 0-3,-3 0 10,0 0-5,2 0 6,-2 0-7,2 0 15,1 3-10,-3-3 10,0 0 5,2 0-13,1 0 16,-3 0-18,2 0-16,0 0 12,-2 0-12,3 0 16,0 0-18,-2 2 14,2-2-15,0 0 8,-3 0 6,2 0-8,0 0 9,1 0-15,-1 0 11,1 0-16,-3 0-22,2 0 22,0 0-25,1 0 33,-1 0-11,0 0 6,-2 0-8,3 2 11,-3-2-20,3 0 12,-1 0-14,-2 0-16,2 0 26,-2 0-29,0 3 10,3-3 15,-3 0-21,2 0 27,-2 0 16,0 0-12,0 0 100,0 0-73,0 0 65,0 0-70,0 2 11,0-2-3,-2 0 7,-1 0-18,3 0 2,0 0 0,-2 0 3,2 0-17,-2 3 11,-1-3-15,3 0 20,0 0-19,-3 2 14,1-2-18,2 0 19,-2 0-11,2 0 7,-3 0-11,1 2 9,2-2-2,-2 0 1,2 0-14,-3 3 13,3-3-13,-2 0 16,2 0-1,-3 0 0,1 0-1,2 3 0,0-3-4,-2 0 2,2 0-1,0 0-9,0 1 8,-3-1-10,3 0 11,0 0 3,0 0-1,0 0 2,-3 0 5,3 0-6,0 3 7,0-3-9,0 0 8,0 0-6,0 0 7,0 0-8,0 3 3,3-3 0,-3 0 2,0 0 9,3 0-9,-3 0 9,0 0-11,2 0 46,-2 0-33,2 0 36,1 2-52,-3-2 9,0 0-7,2 0 10,-2 0-11,3 0 9,-3 0-10,2 0 13,-2 0-18,2 0 13,-2 0-14,3 0 7,-3 0 6,2 0-8,0 0 19,-2 0 5,3 0-1,-3 0 0,3 0 9,-1 0-16,0 0 19,-2 0-20,3 0-19,-1 0 15,-2 0-13,2 0 19,1 0-36,-1 0 26,-2 0-27,3 0 6,-1 0 18,0 0-20,1 0 19,0 2-1,-3-2-5,1 0 4,2 0-15,0 0 12,-1 0-10,-2 0 11,2 0-13,1 0 10,-1 0-10,1 0 12,-1 0-4,0 0 2,-2 0-4,6 0 4,-6 0-2,1 0 1,2 0 0,0 0 6,-3 0-4,2 0 5,-2 0-23,2 0 13,-2 0-13,3 0 17,-3 0-27,2 0 19,-2 0-22,0 0 28,3 0-39,-3 0 28,2 0-32,-2 0 54,0 0-20,0 0 19,0 0-23,2 0 34,-2 0-51,0 0 44,0 0-42,0 0 29,0 0-3,0 0 7,-2 0-8,2 0 11,0 0 0,0 0-3,0 3 1,0-3 5,0 0-4,-2 0 5,2 0 3,0 2-7,0-2 7,-3 0-7,3 0 5,0 0-1,-2 3 2,2-3-3,0 0 0,0 0 1,-3 2-1,3-2 0,0 0-1,-2 2 0,2-2 0,-2 0 0,2 0 0,0 0 0,-3 3 0,3-3 0,0 0 0,-3 0 0,2 0 18,1 3-12,-3-3 14,0 0-19,3 0 19,-2 0-14,2 0 16,-2 1-5,-1-1-6,3 0 7,-2 0-9,-1 0-1,1 0 2,2 0-1,-2 0 2,-1 0-2,0 0 1,3 3-1,-1-3 8,1 0-5,-3 0 3,0 0-4,1 0-6,2 0 4,-2 0-2,-1 0 24,3 0-16,-2 0 18,-1 0-22,3 0 17,-2 0-12,0 0 14,-1 0-10,3 0-3,-2 0 5,0 0-7,2 0 1,-3 0 1,0 0 1,3 0 1,-2 0-21,0 0 14,2 0-17,-3 0-11,1 0 22,2 0-26,-2 0 31,2 0-15,0 0 11,-3 0-12,3 0 16,0 0-6,-2 0 5,2 0-6,0 0 15,-3-3-11,3 3 12,-2 0-13,2 0 28,-2 0-17,2 0 21,-3 0-32,3 0 2,-3 0 0,3-1 3,-1 1-22,-2 0 16,3 0-19,-3 0 3,1 0 14,2 0-17,-2 0 19,2-3-3,-3 3 0,3 0-1,-2 0-2,2 0 17,0 0-16,-3-3 15,3 3 7,-2 0-14,2 0 18,-2 0-21,-1-2-7,3 2 4,-3-2-2,2 2-9,-2 0 15,3 0-15,-3-3 16,1 3-31,0 0 21,-1-2-22,1 2 25,-1 0-5,3 0 0,-4 0-3,1-3 23,0 3-13,3 0 14,-1 0-18,-2 0 7,0 0-5,3-2 6,-2 2 8,0 0-10,-1 0 13,3-2-15,-2 2-2,-1 0 1,3 0 1,-2 0 3,2-3-9,-2 3 5,2 0-8,-3-3 2,0 3 5,2 0-7,1 0 6,-3 0-1,3-1-1,-3 1 0,1 0 1,2 0 1,0 0-2,-2-3 2,-1 3 0,3 0 0,-2 0 0,2 0 0,-3 0 0,1-3 0,2 3 0,-2 0-11,2 0 8,-3 0-7,0-2 9,2 2-5,-2 0 3,3 0-4,-5 0 6,5 0-1,-2 0 1,-1 0-2,1 0 4,-1 0-2,3-2 2,-2 2-4,0 0 6,-1 0-4,3-3 5,-3 3-2,2 0-2,1 0 4,-3 0-5,0 0 3,3 0-2,-2-2 1,0 2-1,2 0 1,0 0-1,-3 0 0,1 0 0,2 0 0,-3 0 0,3 0 0,-2 0 20,0 0-13,-3 0 15,5 0-92,-2 0 52,-1 0-56,0 0 74,1 0-6,2 0 5,-2 0-9,-1 0 16,1 0-12,2-3 13,-2 3-16,2 0 16,-3 0-11,1 0 12,2 0-14,-3 0 12,3 0-6,-2 0 8,2 0-4,-2 0-4,2 0 3,-3 0-4,3 0-15,0 0 11,-3 0-10,3 0 11,0 0 1,-1 0-1,1 0 0,0 0-12,-3 0 9,3 0-10,-3 0 13,3 0 7,-2 0-7,0 0 6,2 0 2,0 0-7,-3 0 8,3 0-9,-2 0 5,2 0-3,-3 0 3,3 0 18,-2 0-16,2 0 18,-2 0-21,-1 0 3,3 3-2,0-3 4,-3 0-3,3 0 3,-1 0-2,-2 0 0,3 0-6,0 0 4,-3 2-3,3-2 0,-2 0 3,2 0-4,-2 0 5,2 0-4,-3 3 3,3-3-2,0 0 1,-2 0 0,2 2-1,0-2 1,-3 0 0,3 0-1,0 0 1,0 0 0,-2 0 0,2 2 0,0-2 0,0 0 0,-2 0-2,2 0 2,0 3-1,-3-3-8,3 0 7,0 0-7,-3 0 8,3 3-26,-1-3 17,1 0-19,0 1 23,-3-1-3,3 0-1,0 0 1,-3 3 2,3-3 1,0 0-1,-2 3 0,2-3 6,0 0-5,0 0 7,-2 2 5,2-2-7,0 0 8,-3 0-10,3 2 7,-2-2-4,2 0 5,0 3-6,0-3 1,-3 0 0,3 0 1,0 2-1,0-2-1,-2 3 2,2-3-41,-2 0-12,2 2-1,-3-2 6,3 2 89,-3-2 9,3 0 3,-1 3-12,1-3-47,-3 3 1,3-3 1,-3 0 2,3 1 3,-2-1 0,2 3 1,0-3-1,-2 0 0,2 3 4,-3-3-3,3 2-1,0-2 1,-2 2-3,2-2-4,-3 0 1,3 3-5,0-3 2,-2 0 4,2 2-1,0-2 2,-2 0 1,2 0-8,0 3 5,0-3-6,-3 0 8,3 2-1,0-2 0,0 0 1,-3 2 0,3-2 0,0 3-1,0-3 3,-1 0-2,1 3 3,0-3-4,0 0-25,-3 1 18,3-1-19,0 3 25,-3-3-20,3 3 15,0-3-17,-2 0 11,2 2 3,0-2-4,0 0 3,-2 2 10,2-2-9,-3 3 8,3-3-10,0 0 2,-2 2-3,2-2 4,0 3 1,0-3-1,-3 2 6,3-2-5,-2 0-5,2 2 3,0-2-5,-2 3-64,-1-3-20,3 3-3,0-3 3,-3 1 119,3-1 4,-1 0 10,1 3 14,0-3-63,-3 0 18,3 3-24,-3-3 22,3 0-10,-2 0 16,2 2-7,0-2-38,-2 0 38,2 2-35,0-2 40,-3 0-10,3 0-4,0 3 8,0-3-6,-2 2 6,2-2-3,0 0 13,-3 3-14,3-3 15,0 2-17,0-2 16,0 0-10,-2 2 13,2 1-11,0-3 1,0 3 3,-2-3-2,2 1 28,0 2-23,0-3 22,0 3-10,0-3-10,-3 2 11,3-2-13,0 2-11,0 1 9,0-3-7,0 2 10,-2-2-26,2 3 19,0-1-21,0-2 24,0 2-9,0-2 6,0 3-8,0-3 4,0 3 4,-2-3-9,2 1 3,0-1 4,0 3-3,-3 0 7,3-1-17,0-2 10,0 2-10,-3 1 12,3-1-18,0-2 13,0 3-14,0 1 16,-2-1 41,2-1 11,0 0 1,0 1 33,-2 2-26,2-3 2,0 1-2,0-1-41,0 0 10,-3 1-7,3-1-23,0 1 19,0-1-15,-2-2 27,2 2-63,0-2 42,0 3-52,0-3 68,0 0-48,0 3-8,-2-3-21,2 0 7,0 1 30,0-1 4,-3 0 3,3 3 5,0-3-4,-2 0 2,2 3 8,0-1-7,0-2 7,0 2-9,-3-2 23,3 3-15,0-3 21,-2 2-21,2 1 25,0-1-14,0 0 13,-2 1 27,2-3-35,0 3 39,0-2-48,0 2-1,-3 0 1,3-3-1,0 2-27,0 0 26,0-2-26,-3 3 32,3-1-13,0 1 7,-1-3-9,1 0 9,0 2-43,0 0 24,-3-2-28,3 3 33,0-3 7,0 0-9,0 3 6,0-3 12,-3 0-9,3 1 12,0-1-1,0 3-10,0-3 12,0 3-12,0-3 9,0 2-4,0 0 6,0 1-7,0-1 0,0-2 3,0 3-1,0-1 27,0 0-22,0-2 23,0 3-19,0 0-5,0-2 6,0-1-6,0 3-9,0-3 7,0 3-5,0-1 7,-2-2-10,2 2 6,0-2-7,0 0 10,0 3-23,-2-3 16,2 2-21,0-2 6,0 3 9,0-3-12,0 0 14,0 2-14,0 0 8,0-2-10,-3 3-12,3-3 20,0 3-22,0-2 26,0-1 4,0 3-3,0 0 1,-2-1-4,2-2-41,0 2 31,-3 1-30,3-1 67,0-2-24,-2 3 24,2-1-30,0 0 29,0-2-20,-2 3 22,2 0-20,0-3-4,-3 1 7,3-1-8,0 3 1,-3-3-1,3 0 4,0 3-2,0-1 6,0-2-3,-1 0 2,1 2-34,0-2 22,0 0-24,0 3 27,0-3 7,0 2-6,0-2 5,0 0 5,0 3-7,0-1 8,-3-2-10,3 2-9,0 1 6,0-3-8,0 2 10,0 0-5,0 1 4,0-3-2,0 3 3,0-1-1,0 0 3,0 1-2,0-1-9,0 0 7,0 1-9,-3-1-7,3-2 10,0 3-12,0-1 16,0 0 12,0 1-9,0 0 9,0-3-12,-2 1 9,2 2-8,0 0 9,0-1-8,0 0-2,-2 1 5,2-3 6,0 2-3,0 1 5,0-1-7,0 0-7,0 1 6,0-3-5,0 3 6,0-2 16,0 2-12,0 0 11,0-1-15,0-2 53,0 2-36,0 1 40,0-1-45,0 1-4,0-3 8,0 2-7,0 0 4,0 1-2,0 0 5,0-2-1,0 2 2,0-3 0,0 3-3,0-1-5,0-2 3,0 2-4,0 1 5,0-3-1,0 2 0,0 1 1,0-3-2,0 2 1,0 0 1,0-2-1,0 3-3,0-3 3,0 3-3,0-2-6,0-1 7,0 3-8,2 0 9,-2-3-7,0 2 5,0 0-5,0-2 6,2 3-5,-2-1 3,0 1-5,0-1 7,0-2-2,0 2 2,3-2 16,-3 3 0,0 0 5,0-3-7,0 0-14,3 1 2,-3-1-1,0 0 5,1 3-6,-1-3 6,0 3-5,3-3 7,-3 0 13,3 0-9,-3 2 10,2-2-28,-2 2 8,2-2-10,-2 3-1,3-3 9,-3 2-10,2-2 14,1 3 23,-3-3-17,2 2 18,-2-2-23,2 2 3,1-2-2,-3 0 3,3 3-4,-3-3-13,1 3 9,2-3-8,-3 0 15,3 1-17,-1-1 14,0 0-15,1 3 3,-3-3 8,2 0-10,1 0 3,-1 3 3,-2-3-5,2 0 4,1 0 9,-1 2-7,0-2 6,-2 0-5,3 0 10,0 0-7,-1 0 8,-2 0-10,2 0 24,1 0-15,-3 0 16,2 0-28,0 0 4,-2 0-4,3 0 7,-1 0 5,1 0-4,-1 0 4,0 0-10,1 0 6,0 0-10,-3 0 8,1 0 1,2 0 0,0 0 2,-1 0-5,0 0 20,-2 0-15,3 0 18,-1 0 40,1-2-35,-3 2 40,2 0-59,-2-3 1,2 3 0,-2 0 4,3-3 11,0 3-8,-3 0 9,0 0-9,1-1 10,-1 1-7,3 0 7,-3 0-9,0-3-11,3 3 6,-3 0-12,2-3 20,-2 3-3,2 0 4,1 0 16,-3 0-17,2-2 17,-2 2-20,3-2-12,-3 2 8,0 0-10,2 0 14,-2-3-42,0 3 30,2 0-31,-2 0 5,0-2 24,3 2-27,-3 0 6,3-3 19,-3 3-23,1 0 25,-1-2 12,3 2-9,-3-2 6,0 2-13,3 0 17,-3 0-12,0-3 16,2 3-16,0 0 6,-2-3-4,0 3 8,0 0-9,3-1 3,-3 1-1,2 0-14,-2 0 11,3-3-11,-3 3 13,0 0-18,2 0 10,-2-3-13,0 3 15,2 0-4,-2 0 2,0 0-3,3-2 3,-3 2-8,0 0 4,3 0-5,-3 0-12,0-2 16,1 2-16,-1 0-2,0 0 14,3-3-16,-3 3 19,0 0-15,3 0 9,-3 0-10,0-2 12,2 2-4,-2 0 1,0 0-2,0 0 9,2-3-3,-2 3 2,3 0-6,-3 0 11,0 0-7,2 0 10,-2 0-23,0 0 10,3 0-11,-3 0 13,2 0-31,-2 0 23,2 0-23,-2 0 27,0 0 5,3 0-4,-3 0 2,0 0 9,3 0 1,-3 0 1,1 0-4,-1 0 2,3 0-8,-3 0 11,0 0 11,3 0-18,-3 0 22,2 0-25,-2 0 4,0 0-1,0 0 2,2 0 0,-2 0-17,0 0 12,0 0-16,3 0 19,-3 0 5,0 0-5,0 0 5,0 0 13,2 0-15,-2 0 16,0 0-15,0 3-3,0-3 5,0 0-6,0 0 18,3 0-11,-3 0 15,0 2-17,0-2 3,0 0-2,0 0 1,0 0 0,0 3 0,0-3-1,0 0 1,0 0 10,0 0-8,0 2 8,0-2-8,0 0 0,0 0 1,0 0-2,0 2-3,0-2 2,0 0-2,0 0 4,0 3-9,0-3 7,0 0-7,0 3 0,0-3 5,0 0-5,0 0 6,0 1-31,0-1 22,0 3-27,-3-3 23,3 0 3,0 3-5,0-3 6,0 0 7,0 2-6,-2-2 4,2 2-6,0-2 9,0 0-9,0 3 9,0-3 4,0 2-7,0-2 9,-3 0-12,3 3 12,0-3-8,0 0 11,0 2-8,0-2 0,0 2 0,0-2-2,0 0 13,-2 0-9,2 3 8,0-3-11,0 0 4,0 3-3,0-3 4,0 0-4,0 0-2,0 1 3,-2-1-2,2 0-7,0 0 6,0 3-6,0-3-8,0 0 12,-3 0-14,3 3 16,0-3-32,0 0 21,0 0-26,0 2 31,-3-2-6,3 0 5,0 0-5,0 0 12,0 0-29,-1 2 23,1-2-25,0 0 22,0 0-56,0 0-13,-3 3 5,3-3 14,0 0 59,0 0 0,0 2 0</inkml:trace>
  <inkml:trace contextRef="#ctx0" brushRef="#br0" timeOffset="138">1831 2628 9202,'0'-2'396,"0"2"-332,0 0-8,0 0 19,-2 0-27,2-3-1,0 3-7,0 0-5,0 0 30,-2 0 1,2 0-2,0 0-5,-3-3 2,3 3-13,0 0 11,-2 0-5,2 0 1,0-1 3,-3 1-5,3 0-12,0 0 10,-2-3-1,2 3-40,-2 0 40,2 0-45,-3 0 47,3 0-60,-3 0 44,3 0-54,-1 0 62,1-3-40,-3 3 27,3 0-31,-3 0 15,3 0 1,-2 0-5,2-2 47,-2 2-21,-1 0 25,3-2-32,-2 2 22,2 0-14,-3 0 16,3-3-22,-2 3-12,2 0 12,0 0-7,-2 0 12,2 0-71,-3 0 48,3 0-55,0 0 74,-3 0-76,3 0 55,-1 0-70,1 0 4,-3 0 30,3 0-38,0 0 55,-3 0 8,3 0-11,0 0 5,0 0 47,0 0-33,-2-2 40,2 2-52,0 0 54,0 0-36,-2 0 47,2 0-66,0 0 19,-3 0-17,3 0 23,0 0-19,0 0 15,-2 0-14,2 0 3,-3 0 6,3 0-11,-2 0 10,2 0-25,-2 0 16,2 0-16,-3 0 19,3 0-13,-3 0 11,3 0-12,-1 0 8,1 0 2,0 0-2,-3 0 4,3 0 29,-3 0-21,3 0 22,-2 0-5,2 0-18,-2 0 19,2 0-19,-3 0 41,3 0-25,-2 0 29,2 0-32,-3 0-24,3 0 21,-2 0-17,2 0-34,-2 0 36,-1 2-41,3-2 51,0 0-55,-2 0 40,0 3-49,2-3 55,-3 0-29,3 0 19,-3 0-28,3 0 80,-2 0-50,2 0 49,-2 0-54,2 0 53,-3 0 15,3 0 4,0 0 31,-2 2-75,2-2 40,-2 0-42,2 0-25,-3 0 21,3 0-21,-2 0-15,2 0 36,-3 0-41,1 2 43,2-2-18,-2 0 1,2 0-6,-3 0-2,3 0-4,-3 0-3,3 0 0,-1 0 37,1 0-13,-3 0 16,3 0-24,0 3 54,-3-3-33,1 0 38,2 0-39,0 0-7,-2 0 6,2 0-2,-3 0 11,3 0-7,-2 0 12,2 0-17,0 0 23,-3 0-16,3 0 17,0 0-14,0 0-3,-2 0 4,2 0-9,0 0-30,-2 0 26,2 0-26,0 0 42,-3 0-10,3 0 6,0 0-8,0 0-13,-3 0 10,3 0-13,0 0 14,-1 0-14,1 0 9,0 0-8,-3 0 10,3 0-14,0 0 11,-3 0-12,3 0-15,-2 0 22,2 0-24,-2 0 5,2 0 15,-3 0-21,3 0 23,0 0 20,-2 0-14,2 0 17,-3 0-23,3 0 15,0 0-9,-2 0 11,2 0-20,0 0 6,-2 0-5,2 0 0,0 0 5,-3 0-4,3 0 7,-3 0-14,3 0 8,0 0-10,-1 0 8,1 0 13,0 0-10,-3 0 10,3 0-1,-3 0-7,3 0 8,0 0-9,-2 0-2,2 3 1,0-3 0,-2 0 3,2 0-6,-3 0 5,3 1-4,-2-1-12,2 0 12,-3 0-14,3 0 15,0 3-11,-2-3 5,2 0-6,-2 3 7,2-3-1,-3 0-1,3 2-1,0-2 3,-3 0 25,2 0-18,1 0 33,-3 2-23,3-2 4,-3 0-4,3 2-15,0-2 7,-2 0-6,2 0 10,0 3-20,-2-3 17,2 0-17,0 3 18,-3-3-22,3 0 15,0 0-16,-2 0 15,2 0-8,-3 1 1,3-1-6,0 0 7,-2 3 2,2-3-1,0 0 3,-2 0-1,2 3 2,-3-3-2,3 0-1,0 0 1,0 0-1,-2 2 2,2-2 0,0 0 0,-2 0 0,2 2-10,0-2 7,0 0-7,-3 0 9,3 0-1,-2 3 0,2-3-1,0 0-3,-3 0 2,3 0-2,0 0 3,0 2 4,-2-2-3,2 0 4,0 0-5,-2 3-4,2-3 3,0 2-4,0-2-5,-3 0 8,3 2-8,-3-2 9,3 0-48,0 0 31,-1 3-35,1-3 19,-3 0 20,3 3-24,-3-3 26,3 0 22,0 0-15,-2 1 15,2-1-22,0 0 27,-2 0-19,2 3 24,-3-3-21,3 0-2,0 3 4,-2-3-62,2 2 40,-3-2-41,3 0 55,0 0-31,-2 2 21,2-2-32,0 0 36,0 3 1,-2-3 0,2 0-2,-3 2-5,3-2 28,0 3-19,0-3 23,0 0-23,0 2-3,-3-2 5,3 0 5,0 2-8,0-2 12,0 3-10,0-3-19,0 0 13,0 0-17,0 3 22,0-3 17,0 0-13,0 1 10,0-1-15,0 0 34,0 3-24,0-3 28,0 0-9,0 0-16,0 3 19,0-3-21,0 0 1,0 2 0,0-2 8,0 2-48,0-2-4,0 3-9,0-3 6,0 0 42,0 0-8,0 2 5,0-2-12,0 3 24,0-3-21,0 2 19,0-2 12,0 0-18,0 2 22,0-2-29,0 0 29,0 3-20,0-3 28,0 3-23,0-3 6,0 0-5,0 0 2,0 1-3,0-1 1,0 0 1,0 0-2,0 3-1,0-3 2,0 0-2,0 0 1,0 3-1,0-3 0,0 0 0,0 2 0,0-2 0,0 0 0,0 0-4,0 0 3,0 2-3,0-2 4,0 0-19,0 0 13,0 3-13,0-3 16,0 0-7,0 2 3,0-2-4,0 0-10,0 0 12,0 0-16,0 3-17,0-3 22,0 0-24,0 0 31,0 0-14,0 2 7,0-2-12,0 0 15,0 0-19,0 0 13,0 0-14,0 2 31,0-2-11,3 0 10,-3 0 25,0 0-27,0 3 31,0-3-39,0 0 37,0 0-27,0 3 33,0-3-35,0 1-6,0-1 4,0 0-2,0 0 7,0 3-33,0-3 24,0 0-28,0 0 27,0 0 3,3 0-5,-3 3 15,0-3-7,0 0 6,0 0-12,0 0 27,0 0-19,0 2 22,0-2-26,2 0 27,-2 0-20,0 0 27,0 0-29,0 0 20,0 2-14,0-2-47,0 0 30,0 0-45,0 0 44,0 0 7,0 0-11,0 0 22,2 0-14,-2 0 13,0 0-1,0 0-6,0 3 13,0-3 7,0 0 0,0 0 9,0 0 175,0 0-134,0 0 137,0 0-170,0 0 1,0-3-26,0 3 21,-2 0-21,2-2 20,0 2-17,0 0 11,-2 0-12,2-2 14,0 2-37,-3 0 23,3 0-25,0 0 0,-3 0 26,3-3-32,0 3 17,0 0 7,-1 0-9,1 0 11,0 0 15,0 0-13,-3-3 13,3 3-13,0 0-2,0 0 3,-3 0-3,3 0 3,0-1-6,-2 1 6,2 0-5,0 0-14,0 0 14,-2-3-15,2 3 19,0 0-6,0 0 4,-3 0-6,3 0 6,0 0-2,-2 0 1,2 0-2,0 0 3,-3 0-2,3 0 2,-2 0-2,2 0 2,0 0-1,0-3 1,-2 3 0,2 0 1,-3 0 2,3 0-1,0 0-1,0 0-1,-2 0 0,2 0 0,0 0 0,0 0 1,-2 0-1,2 0-16,0 0 12,-3 0-13,3 0 16,0 0 1,0 0-1,0 0 0,-3 0 12,3 0-10,0 0 11,-2 0-14,2 0 42,0 0-28,-2 0 31,2 0-36,0 0-6,-3 0 7,3 0-5,0 0-12,-2 0 11,2 0-11,0 0 16,-2 0-15,2 0 10,0 0-13,-3 0 7,3 0 3,0 0-5,-2 0 3,2 0 3,0 0-4,0 0 3,-3 0 41,3 0-30,-2 0 34,2 0-42,0 0 15,0 0-10,-2 0 14,2 0-15,0 0-1,-3 0 1,3 0 0,-3 0-14,3 0 14,0 0-14,0 0 7,-1 0 0,1 0-3,-3 0 4,3 0-3,0 0 5,-3 3-9,3-3 9,0 0-4,-2 0 3,2 0-2,0 0 1,0 0 15,-2 0-11,2 0 12,0 0 11,-3 0-17,3 0 18,0 0-30,-2 0 6,2 0-5,0 0 10,0 0-21,-3 0 15,3 3-14,0-3 19,-2 0-28,2 0 18,0 0-22,-2 0 22,2 0-1,0 0-4,0 0 2,-3 0 38,3 0-24,-3 0 28,3 1-35,0-1-1,0 0 2,-1 0 2,1 0-7,0 0 7,0 0-7,-3 0 10,3 0-8,0 0 6,0 0-7,-3 0 6,3 3-11,0-3 5,-2 0-6,2 0 2,-2 0 4,2 0-6,0 0 6,0 0 0,-3 0 1,3 3 0,-2-3 0,2 0 0,0 0 0,-3 0 1,3 0 14,0 0-10,-2 0 11,2 0-14,-2 0 20,2 0-14,-3 0 15,3 0-16,-3 0 11,3 0-6,0 0 8,-1 2-22,1-2 7,-3 0-6,3 0-7,-3 0 13,3 0-14,0 0 16,-2 0 28,2 2-21,-2-2 20,2 0-29,-3 0-10,3 0 8,0 0-7,-2 0 11,-1 0-6,3 3 4,0-3-3,-2 0-13,2 0 13,0 0-13,-2 0-2,2 0 13,0 0-16,0 0 19,-3 0-13,3 0 9,0 0-12,-3 0 12,3 2-15,0-2 10,0 0-9,0 0 12,-1 0 24,1 0-17,0 0 20,0 0-24,0 0 15,0 0 6,0 0-1,0 3 0,0-3-20,0 0 6,0 0-7,0 0 0,0 0 3,0 0-4,0 0 6,1 0 0,-1 0-1,0 0-1,3 2 1,-3-2 1,0 0 0,3 0-1,-3 0 51,0 0-38,0 0 40,0 0-33,2 2-12,-2-2 18,2 0-14,-2 0-7,0 0 9,0 0-11,3 3 11,-3-3-17,2 0 11,-2 0-10,3 0 42,-3 0-21,2 0 20,0 0-26,-2 0 38,0 2-27,3-2 29,-3 0-18,3 0-12,-2 0 17,-1 0-15,3 0-8,-3 0 11,3 0-12,-3 0 17,2 2-6,0-2 5,-2 0-5,0 0 58,3 0-43,-3 0 44,2 0-54,-2 0 46,3 0-32,-3 0 39,2 3 21,-2-3-43,2 0 55,-2 0-62,3 0-63,-3 0 50,3 0-54,-3 0 68,1 0-53,-1 0 38,3 0-39,-3 0-27,3 0-18,-3 0-12,2 0 19,-2 0 1,2 0-10,-2 0-23,3 0 0,-3 0 45,2 0-2,-2 0 3,3 0 60,-3 0 1,2 0 12,0 0 34,-2 0-73,3 3 34,0-3-43,-2 0 57,-1 0-40,3 0 60,-3 0-80,3 0 26,-1 0-18,-2 0 15,2 2-51,-2-2 39,3 0-45,-3 0 56,2 0-75,-2 0 51,3 0-65,-3 0 23,0 0 24,2 0-29,-2 0 37,2 0 4,-2 2-9,3-2 5,-3 0 6,0 0-2,2 0 3,-2 0-7,2 0 25,-2 0-18,0 0 21,3 0-26,-3 0 44,0 0-31,3 0 37,-3 0-40,2 0 4,-2 3 0,2-3 0,-2 0-27,3 0 21,-3 0-21,2 0 13,-2 0 8,2 0-9,-2 0 10,3 0-35,-3 0 26,0 0-30,2 0 35,-2 0-22,3 0 15,-3 2-20,0-2 33,2 0-14,-2 0 12,0 0-12,2 0 17,-2 0-12,3 0 13,-3 0-36,3 0 15,-3 0-14,0 0 20,1 0-24,-1 0 18,0 0-18,3 0 24,-3 2-41,3-2 29,-1 0-34,-2 0 32,0 0 5,2 0-10,-2 0 11,3 0-14,-3 0 50,2 0-39,-2 0 40,0 0-6,3 3-23,-3-3 33,2 0-17,-2 0-9,0 0 13,2 0-15,-2 2-32,0-2 29,0 0-27,3 0 34,-3 0-58,3 3-14,-3-3-4,0 0-29,1 0 75,-1 0-35,0 0 48,3 0-16,-3 2 16,0-2-21,3 0-1,-3 0-1,0 0 1,0 0 3,0 2 34,2-2-21,-2 0 21,0 0 12,0 0-30,0 3 36,0-3-38,0 0 44,2 0-33,-2 0 35,0 0-17,0 0-13,0 3 31,0-3-29,0 0 9,0 0-6,0 0-13,0 0 9,0 0-9,0 1 11,0-1-2,0 0 4,0 3-3,-2-3 5,2 0-5,0 0 3,0 3 0,0-3-3,0 0 3,-2 2-4,2 0-31,0-2 23,0 3-22,-3-3 29,3 2-27,0-2 19,0 3-21,-3-1 36,3 0-11,0-2 10,0 3-14,-1 0-8,1-3 2,0 1-3,0 2-39,0-3 35,0 3-36,0-1 45,0-2-65,0 2 46,0-2-49,0 3 62,-3-3 0,3 2-2,0-2-9,0 0 3,0 3 26,0-3-16,0 0 22,0 2-20,0-2 120,0 0-77,0 0 157,0 0-103,0-2 17,0 2-20,0 0-54,0-3-4,-3 3 11,3-2-55,0 2 55,0 0-53,-2-3 62,2 3-62,0 0-13,-2 0-4,2-2-42,-3 2 88,3 0-57,-2 0 56,2 0-55,-3 0 31,3 0-28,-2 0 46,2 0-5,-2 0 11,-1 0-19,3 0 59,-3 0-42,3 0 46,-1 0-55,1 0 41,-3 0-29,3 0 39,-3 0-41,1 0 10,2 0-7,0 0 10,-2 0-8,2 0 13,-3 0-11,3 0 13,-2 0-66,2 2 42,-3-2-47,3 0 38,-2 0 10,2 0-14,0 3 15,-2-3 26,2 0-19,-3 2 21,3-2-12,0 0-12,0 0 14,-2 3-14,2-3-5,0 0 9,0 2-8,-2-2 12,2 0-2,0 2 3,0-2-3,0 0-18,0 0 10,0 3-13,-3-3 18,3 3-49,0-3 34,0 0-41,0 1 34,0-1 5,0 0-7,0 0 9,0 3 8,0-3-7,0 0 5,-3 3-9,3-3 10,0 0-9,0 2 9,0-2-9,0 0 20,0 2-13,0-2 14,0 0 17,-2 0-23,2 0 29,0 3-33,0-3 3,0 0-2,0 0 0,0 2-7,0-2 6,0 0-6,0 3 8,0-3-9,0 0 6,0 0-7,0 2 7,0-2-1,0 2 1,0-2-4,0 0 17,0 0-13,0 0 13,0 3 0,0-3 104,0 0-70,0 0 78,0 0-111,0 0 33,0 0-23,2 3 31,-2-3-43,3 0 21,-3 0-20,0 0 22,0 0-68,3 0 50,-3 0-52,0 0 6,2 0 35,-2 0-49,2 0 55,-2 0-38,0 0 27,3 0-31,-1 0 34,-2 0 3,2 0-3,1 0 5,-3 0 7,2 0-13,1 0 15,-1 1-15,-2-1-4,2 0 7,1 0-6,0 0-10,-3 0 10,1 0-10,2 0 14,-3 0-70,3 0 50,-1 0-57,-2 0 29,2 0 23,1 0-28,-1 0 27,-2 0 7,3 0-8,-3 0 3,2 0 2,-2 0-37,2 0 25,-2 0-26,3 3-8,-3-3 27,3 0-26,-3 0 37,1 0-15,-1 3 9,3-3-12,-3 0 9,0 0 16,3 0-17,-3 0 11,0 0 49,0 2-44,2-2 50,-2 0-59,0 0 48,0 0-6,0 0 26,0 0-25,0 0-37,0 0 13,0 0-8,0 2 12,0-2 6,0 0-8,0 0 47,0 0-35,-2 3 37,2-3-45,0 0 6,-3 0-2,3 2 4,0-2-1,-3 3 13,2-3-4,1 2 8,-3-2 10,0 0-19,3 2 20,-2-2-25,2 3 6,0-3-3,-2 3 2,2-3-23,-3 1 14,3-1-15,-2 3 21,-1-3-20,3 3 14,-2-3-16,2 2 19,0-2-11,0 0 8,-2 2-13,2-2 5,0 3-1,0-3-1,-3 0 3,3 2 40,0-2-28,0 3 30,0-3-36,0 0 2,0 2 1,0-2 0,0 0-9,0 0 7,0 0-8,0 0 11,0 0-13,0 2 9,3-2-10,-3 0 6,0 0 2,0 0-3,2 0 21,-2 0-11,0 3 11,2-3-16,-2 0-5,0 0 4,3 0-1,-3 0 3,2 0-13,-2 3 9,0-3-10,3 0 14,-3 1-19,2-1 13,-2 0-15,0 0 15,2 3-1,-2-3-1,3 0 0,-3 3 8,3-3-8,-2 0 8,-1 0 36,3 0-30,0 0 34,-3 2-41,2-2 32,0 0-23,-2 0 28,3 0-33,-3 0-10,2 0 11,1 0-12,-3 0-26,2 0-13,0 0-4,-2 0 9,3 0 4,-1 0 24,-2 0-38,2 0 24,1 2-3,-3-2 0,2 0-2,1 0 45,-3 0-37,2 0 38,0 0-31,-2 0 1,0 0 4,3 0-5,-3 0-11,3 0 10,-2 0-5,-1 0-8,3 0 14,-3 0-14,0 0 14,3 0-4,-3 0-1,0 0-1,0 0-5,0 0-35,0 0 22,0 0-24,2 0 66,-2 0-21,0 3 21,0-3-28,0 0 45,0 0-30,0 0 36,0 2 1,0-2-29,0 3 32,-2-3-38,2 2 15,0-2-7,0 2 11,0-2-8,0 0-4,0 3 10,-3-1-6,3-2-6,0 0 1,0 2-6,0 1 6,0-3 1,0 3-1,0-1 0,0-2 1,-3 2-1,3 1 0,0-3-2,0 2 21,0-2-15,0 2 16,0 1-18,-1-3 0,1 2 0,0-2 0,0 3-9,0-3 8,0 2-7,0-2-36,0 0 33,0 0-37,-3 2 45,3-2-37,0 0 26,0 3-32,0-3 36,0 0 5,0 0-4,0 0-5,0 0-41,0 0 22,0 3-54,0-3 134,0 0-74,0 0 91,0 0-70,0 0 28,-3 0-19,3 0 27,0-3-35,0 3 15,0 0-13,0 0 30,-2 0-15,2 0 15,0 0-19,-2 0 1,2 0-2,0-3 0,-3 3 1,3 0 14,-2 0-10,2 0 9,-3-2-13,3 2-2,-2 0 2,0 0 2,-1-2-22,3 2 19,-2-3-19,2 3 12,-2 0 4,-1 0-7,1-2 9,2 2-18,-3-3 12,3 3-14,-2 0 13,2-2-5,-2 2 1,2 0-1,0-2 16,-3 2-7,3 0 8,-3-3-11,3 3-2,-1 0 2,1-2 0,-3 2-15,0-2 13,3 2-13,0 0 15,-2-3-1,2 3 0,-2 0-1,2-3 0,-3 3 11,3 0-9,-2 0 9,2-2 35,-3 2-32,3 0 37,-2 0-33,2 0-7,0 0 10,-2 0-8,-1 0-19,3 0 17,-3 0-17,3 0 21,-1 0-31,1 0 24,0 0-25,-3 0 12,3 0 10,-3-2-16,3 2 17,-2 0-21,2 0 15,0 0-18,-2 0 18,2 0-3,0 0 3,-3 0-2,3-3 0,-2 3-1,2 0 2,0 0 0,-3 0-4,3 0 2,-2 0-2,2 0 4,-2 0-17,2 0 12,-3 0-13,3-2 18,-2 2-2,2 0 1,0 0 6,-2 0-5,2 0 6,-3 0-10,3-2 11,0 2-8,-3 0 9,3 0-9,-2 0 1,2 0-1,0 0 6,-2 0 3,2 0 4,0 0-1,-3-3-3,3 3-7,-2 0 1,2 0-1,0 0-6,-2 0 5,2 0-5,-3 0 7,3 0-24,0-2 17,-2 2-20,2 0 25,-3 0-33,3 0 22,-2 0-26,2 0 31,0 0-15,-2 0 11,2 0-15,-3 0 37,3 0-20,-3-3 19,3 3-9,0 0-8,0 0 8,-1 0-11,1 0 23,-3 0-14,3 0 18,0 0-21,-3 0 2,3 0-1,-2 0 3,2 0-1,0 0-7,0 0 5,-2 0-6,2 0 6,0 0 0,-3 0-1,3 0 7,-2 0-4,2 0 4,0 0-6,0 0 11,-3 0-8,3 0 10,-2 3-11,2-3 6,0 0-1,-2 0 3,2 0-3,0 0-3,0 0 3,-3 2-2,3-2 1,0 0-3,-3 0 3,3 0-3,0 3-9,0-3 8,0 0-10,0 2 12,-1-2-6,1 0 4,0 2-4,0-2 5,0 0-1,0 0 1,0 3-2,0-1 6,0-2-5,0 0 4,0 2-5,0-2 28,0 3-19,0-3 21,0 3-24,0-3-2,0 0 5,0 2-6,1-2 5,-1 2-5,0-2 4,3 0-7,-3 0 6,3 3-6,-3-3 7,2 0-36,-2 2 24,2-2-25,-2 0 29,3 0-42,-3 0 24,2 0-28,-2 0 49,3 0-5,-1 0 5,-2 0-22,2 0 6,1 0-6,-3 0 9,3 0-13,-2 0 9,-1 0-9,3 0 14,0 2-3,-3-2 5,2 0-5,-2 0 6,2 0-31,1 0 20,-1 0-27,-2 0 60,3 0-29,-3 0 29,2 0 2,0 0-21,-2 0 29,3 0-37,-3 0 32,2 0-22,-2 0 26,0 0-28,2 0-25,-2 0 17,0 0-18,3 0 27,-3 0 8,0 0-6,0 0-15,0 0 9,0 0-24,0 0 61,3 0-33,-3 3 35,0-3-35,-3 0 57,3 0 13,0 2 10,0-2 26,-3 0-72,3 0 25,-2 0-27,2 0-16,-2 3 20,2-3-15,-3 0-2,3 2 7,-2-2-8,2 0 16,-2 0-52,2 0 36,-3 0-45,3 2 51,-2-2-63,2 3 46,0-3-54,-3 0 44,3 3 3,-2-3-6,2 0 8,0 1 33,-2-1-25,2 3 25,0-3 1,0 3-20,0-3 21,-3 0-24,3 0 12,0 0-4,0 2 7,0-2-3,0 0-30,0 0 26,0 0-26,0 2 2,0-2 14,3 0-19,-3 0 23,0 0 16,0 0-12,2 0 9,-2 0-16,2 0-4,-2 3 2,3-3 0,-3 0 1,2 0 3,-2 0-3,3 0 6,-3 0 9,2 0-4,0 0 5,1 0-10,-3 0-2,2 0 0,0 0 0,1 0 13,0 0-10,-1 0 10,0 0-31,1 0 15,-1 0-14,3 0 19,-3 0-11,1 0 7,-1 0-9,3 0 7,-2 0-15,1 0 10,-1 0-10,-1 0 5,3 0-8,-3 0 0,1 0 0,1 0-44,-1 0 43,0 0-47,1-3-5,-1 3-21,-1 0 0,0 0 6,1 0-147,2 0 37,-3 0-131,0 0 86,1 0-137,-1-2 210,0 2-113,1 0 276,-1 0 0,1 0 0</inkml:trace>
  <inkml:trace contextRef="#ctx0" brushRef="#br0" timeOffset="139">1837 2638 9502,'0'0'-972,"0"0"938,0 0 141,1-3-72,-1 3 40,0 0-27,0 0 30,0 0 13,0 0 11,3-3 6,-3 3-5,0 0 0,0 0-27,3 0 29,-3 0-43,0 0 45,0 0-15,0 0 26,2 0-28,-2 0-69,0-2 43,0 2-44,0 0 40,0 0 2,0 0-40,0 0 24,0 0-17,0 0 25,0 0-29,0-2 17,0 2-22,0 0 18,0 0-55,0 0 37,0-2-42,0 2-7,0 0 47,0 0-55,0-3 46,-2 3 10,2 0-14,0-3 15,-3 3-28,3 0 14,-3 0-17,3 0 23,-1-1-12,1 1 4,-3 0-6,3 0 9,-3 0-47,3 0-18,-2 0 1,2 0 4,-2 0-17,2 0 38,-3 0-46,3 0 71,-2 0-5,2 0 2,0 0-1,-3 0-11,3-3 9,0 3-10,-2 0-11,2 0 10,0 0-7,0 0-11,-2 0 17,2 0-27,0 0 24,0 0 40,0 0-29,0 0 41,0-3 6,0 3 14,0 0 6,2 0-12,-2 0 21,0 0 13,2 0 15,-2 0-19,3 0-17,-3 0-27,0 0 33,2 0-32,-2 0 8,3 0-6,-3 0 13,2 0-63,-2 0 52,2 0-55,-2 0 52,0 0-17,3 0 5,-3 3-9,3-3-8,-3 0 16,1 3-21,-1-3 22,0 1-32,3-1 23,-3 3-23,3-3 29,-3 3-15,2-3 12,-2 2-12,0-2-8,0 0 12,2 2-14,-2-2 2,0 0 13,0 0-15,0 2 108,0-2-68,0 0 72,0 0-80,-2-2-6,2 0 12,-2 2-22,-1-2 18,0-1-17,2 0-39,-2 2 37,0 1-41,1-3 54,0 0-112,-3 3 24,5-2-110,-5 2 112,3-2-143,-1 2 93,0 0-48,2 0 89,-2-3 81,0 3 0,1-2 0</inkml:trace>
  <inkml:trace contextRef="#ctx0" brushRef="#br0" timeOffset="140">1935 2801 8519,'0'3'12,"0"-3"39,0 0 105,0 0-89,0 0 49,0 0-36,0 0-28,0 2 50,0-2 40,0 0-50,0 0 95,0 0-117,0 0 37,0 0-20,3 0-8,-3 0 10,0 0-12,0 0-51,0 0 48,2 0-46,-2 0 56,0 0-57,0 0-11,2-2-5,-2 2-32,3 0 27,-3 0-9,0 0 10,2 0-11,-2 0-5,3-3-12,-3 3 9,2 0 30,-2 0 4,0-2-6,2 2 33,1 0-23,-3 0 24,3 0-26,-3-2-1,1 2 0,-1 0 3,3 0 2,-3 0-27,3 0 22,-3 0-25,2 0-18,-2-3 34,2 3-37,-2 0 4,3 0 23,-1 0-30,-2 0 33,0 0-18,3 0 8,-3-2-12,2 2 14,-2 0 0,2 0-4,-2 0 3,0 0-2,3 0 16,-3 0-12,3 0 11,-3 0-13,0 0 4,1 0-2,-1 0-6,3 0 6,-3 0-6,0-2 8,3 2-48,-3 0 35,0 0-38,2 0 46,-2 0-2,2 0 1,-2 0-5,0-3 2,3 3 1,-3 0 0,2 0 0,-2 0 31,0 0-27,3 0 27,-3 0-29,2-3 12,-2 3-5,0 0 7,0 0-26,2 0 11,-2 0-10,0 0 16,3 0-31,-3 0 21,0-2-26,3 2 31,-3 0 3,0 0-3,0 0-1,1 0 5,-1 0-10,0-2 10,3 2-3,-3 0-2,0 0 5,0 0-7,0-3-6,3 3 5,-3 0-16,0 0 13,0 0-2,0 0 19,0 0-3,0-2 12,0 2-18,-3 0 7,3 0-7,0 0 26,0 0-18,0 0 23,0 0-27,-3 0 33,3 0-23,0 0 23,0 0-26,0 0 19,-1 0-13,1 0 15,0-2 26,0 2-27,0 0 34,0 0-11,0 0-20,-3 0 20,3 0-22,0 0-12,0 0 13,0 0-12,-3 0 13,3 0-58,0-3 46,-2 3-48,2 0 56,0 0-55,0 0 33,-2 0-37,2-2 9,-3 2 27,3 0-34,0 0 23,-2 0 1,2 0-3,0 0 6,-3-3 2,3 3-2,0 0 1,0 0 2,-2 0 8,2-2-5,-2 2 5,2 0-7,0 0 2,-3 0 0,3 0 0,0-2-3,-3 2 0,2 0 0,1 0-1,-3 0 2,3 0-3,-3 0 4,3 0 24,0 0-18,-2-3 18,2 3-23,-2 0 58,2 0-40,-3 0 43,3 0-52,-2 0 11,2 0-3,-3 0 6,3 0-14,-2 0 4,2 0-5,-2 0-24,-1 0 22,3 0-26,-3 0 36,2 0-21,1-3 14,-3 3-20,3 0 19,-3 0-14,1 0 10,2 0-12,-2 0 12,2 0-2,-3 0 1,3 0 3,-2 0-8,2 0 5,-3 0-4,3-1-7,-2 1 8,2 0-9,-2 0 12,2 0-13,-3 0 10,3 0-13,0 0 13,-2-3-9,2 3 7,-2 0-7,2 0 5,0 0-1,-3 0 1,3 0 0,0 0 1,-3 0 0,3-3 0,-2 3 0,2 0 0,-2 0 0,2 0 0,0 0 0,-3 0 0,3 0 0,0 0 0,-2 0 0,2 0 0,0 0 0,-2 0 0,2 0 41,0 0-29,-3 0 33,3-2-32,0 2-3,0 0 5,-2 0-12,2 0 2,0-2 1,-3 2 5,3 0-17,-2 0 12,2 0-15,0 0 17,-2-3-27,2 3 18,0 0-21,-3 0 20,3 0-5,0-2-1,-3 2 0,3 0 9,0 0-1,0 0 1,-1-3 8,1 3-10,0 0 11,0 0-11,-3 0 2,3-2 0,0 2 1,-3 0 0,3 0-2,0 0 4,-2-2-3,2 2 6,0 0-4,0 0 3,0 0-3,-2-3 25,2 3-18,0 0 19,0 0-32,-3-3 6,3 3-4,0 0 7,0 0 4,0-1-2,-2 1 2,2 0-4,0-3-2,0 3 3,0-3-2,0 3 6,0 0-4,0-2 4,0 2-5,-3-2-12,3 2 9,0 0-11,0-3 13,0 3-11,0-2 9,0 2-9,-2 0 2,2 0 5,0-3-7,0 3 7,0-2-4,-2 2 3,2-2-5,0 2 5,0-3-3,0 3 3,0 0-2,0-3 2,-3 3-1,3 0 1,0-1 0,0-2 0,0 3 0,0 0 0,0-3 1,0 3-1,0 0 2,-3-2-2,3 2 0,0-2 0,0 2 1,0 0-1,0-3-5,0 3 3,-1 0-2,1-2-7,0 2 7,0 0-7,0-3 10,0 3 0,-3 0 0,3-2-2,0 2 4,0 0-2,0 0 2,0 0 7,0-2-8,0 2 8,0 0-9,0-3 14,0 3-10,-3 0 12,3 0-14,0-3 1,0 3 2,0 0-2,0 0-17,0 0 12,0-1-13,-2 1 18,2-3-9,0 3 6,0 0-8,0-3 7,0 3 16,-2 0-12,2 0 11,0-2 50,0 2-48,0-2 54,0 2 9,0-3-48,0 3 53,0-2-68,0 2 35,0-3-15,0 1 23,0 2-16,-3-2-16,3-1 17,0 0-13,0 2-208,0 1 43,0-3-143,0 0 115,0 1 98,0 0 13,0 2 52,0-2 0,0-1 0</inkml:trace>
  <inkml:trace contextRef="#ctx0" brushRef="#br0" timeOffset="141">1834 2632 8555,'0'0'-187,"0"0"163,0 0 0,0 0 0</inkml:trace>
  <inkml:trace contextRef="#ctx0" brushRef="#br0" timeOffset="142">1846 2645 9502,'0'-3'-778,"0"3"575,2 0 124,-2 0 16,0 0 63,-2 0 1,2 0-2,0 0 34,0 0-23,0 0 24,0 0-30,-2 0 121,2 0-86,0 0 225,0 0-118,0 0 108,0 0-3,-3 0 39,3 0 581,0 0-543,0 0 420,0 0-714,0 0 13,0 0-16,0 0-4,3 3 4,-3-3 12,0 0 11,2 0-18,-2 2 26,0-2-51,0 0-32,2 2 7,-2-2-25,0 0 86,0 3-28,0-3 27,3 0-38,-3 2 26,0-2-33,0 0-25,2 3 41,-2-3-44,0 2 57,0 0-33,3-2 18,-3 0-21,0 3 30,0-3-23,0 3 16,2-2-19,-2-1 28,0 0-5,0 3-1,2 0 64,-2-3-55,0 2 60,0-2-70,0 2-14,0-2 15,0 3-9,0-3 18,3 2-40,-3-2-16,0 3-1,0-3 12,0 0-8,0 2 35,0-2-46,0 0 12,0 2 9,0-2-17,0 3 14,0-3 14,3 0-17,-3 0 14,0 3 28,0-3-19,0 1 28,0-1-36,0 3 37,1-3-24,-1 0 31,0 3-24,0-3-1,0 2 3,0-2-6,0 2-1,0-2 4,0 3-2,0-3 9,0 0-8,3 2 7,-3-2-9,0 0-21,0 0 17,0 3-21,0-3 6,0 0 9,0 0-11,0 0 16,0 0 1,3 2-44,-3-2 31,0 0-37,0 0 40,0 0-2,0 2 0,0-2-2,2 0 6,-2 0-6,0 3 5,0-3 13,0 3-11,0-3 13,0 0-17,0 0 56,0 0-40,0 0 46,0 1-49,0-1 53,0 0-24,2 0 23,-2 0-35,0 0-16,0 0-22,0 0-22,0 0 7,0 0-12,0 3-6,0-3 24,0 0-30,0 0 32,0 0 32,0 3-29,0-3 29,3 0 44,-3 2-46,0-2 53,0 0-68,0 0 30,0 0-11,0 0 56,0 0-40,0 0 18,0 0-21,0 0 40,0 0-23,0 0 29,2 0-39,-2 0-43,0 2 30,0-2-32,0 0-7,0 0 31,0 0-33,0 0 27,3 0 9,-3 0-13,0 0 12,0 0-1,0 0-6,0 0 4,0 0-9,0 0 1,2 0 0,-2 0 2,0 0 7,0 0-25,0 0 18,0 0-46,0 0 41,0 0-20,0 0 25,2 0-45,-2 0 31,0 0-33,0 0 37,0 0-18,3 0 10,-3 0-15,0 0 20,0 0 13,0 0-9,3 0 9,-3 0-14,0 0 40,0 0-28,0 0 33,1 0 17,-1 0-36,0 3 41,0-3-34,0 0-15,3 0 20,-3 0-19,0 0-14,0 0 9,0 0-12,3 0 19,-3 0-28,0 2 19,0-2-24,2 0-13,-2 0 25,0 0-30,2 0 34,-2 0-6,0 0 0,3 0-2,-3 0-3,0 3 9,2-3-10,-2 0 9,0 0 38,3 0-28,-3 0 31,2 2-39,-2-2 39,0 0-27,2 0 32,-2 0-38,0 0 21,3 2-14,-3-2 18,0 0-26,2 0 14,-2 0-12,2 0-9,-2 3 10,3-3-14,-3 0 20,0 0-19,3 0 12,-3 0-18,0 0 19,2 0 28,0 3-21,-2-3 24,0 0-34,3 0 3,-3 0-1,2 0 4,-2 0-37,2 1 28,-2-1-29,3 0 37,-3 0-16,0 3 11,2-3-15,-2 0 4,3 0 4,-3 0-7,0 3 1,2-3 15,-2 0-15,0 0 15,2 0-13,-2 0 31,3 0-19,-3 0 20,3 0 5,-3 2-20,0-2 25,1 0-39,2 0 10,-3 0-10,3 0 13,-3 0-36,0 2 28,2-2-29,-2 0 34,2 0-37,-2 3 22,0-3-26,3 0 28,-3 0-5,2 0-2,-2 2-1,0-2 2,0 0 6,3 0-6,-3 0 35,0 3-24,2-3 25,-2 0-29,2 0 48,-2 0-32,0 0 35,0 0-42,3 0 7,-3 0-1,3 0 3,-3 0-4,0 0-2,1 0 5,-1 0-21,3 0 17,-3 0-16,0 0 18,0 0-30,0 0 21,3 2-23,-3-2 25,0 0-14,0 0 8,2 0-10,-2 0 10,0 0-9,2 0 4,-2 0-5,0 0 7,0 0 17,3 0-14,-3 0 13,2 0-23,-2 0 8,0 0-6,3 0 8,-3 0-27,2 0 19,-2 0-20,0 0-27,2 0 38,-2 2-41,0-2 50,0 0 9,3 0-7,-3 0 4,0 0-10,3 0 12,-3 0-9,0 0 9,0 0 28,0 0-31,1 0 36,-1 0-30,0 3-6,0-3 10,3 0-9,-3 0-2,0 0 1,0 0 0,3 0 3,-3 0-57,0 0 41,0 2-49,2-2 54,-2 0 11,0 0-12,0 0 9,0 0 10,0 0-21,0 0 20,0 0 4,0 0-22,2 0-1,-2 0-8,0 0-9,0 0 7,0 2 14,0-2-13,0 0-16,0 0 21,0 0-24,0 0 24,0 0 18,0 0-17,0 3 16,0-3-2,-2 0-8,2 0 7,0 0-11,0 0 43,-2 3-30,2-3 37,-3 0-43,0 2 34,3-2-25,-1 0 29,1 0-32,-3 0 25,0 2-18,1-2 23,2 0-21,-2 0 5,-1 3-5,1-3 0,-1 0-1,3 0 1,-2 2-1,0-2 1,2 0-1,-3 2 0,0-2 0,2 0 0,1 3 0,-3-3 0,0 0 0,3 0 20,-2 0-15,2 0 16,-2 2-5,2-2-10,-3 0 12,3 0-20,-2 0 6,2 0-7,-3 0 10,3 0-22,0 0 17,-2 0-17,2 0 20,0 0-35,-2 0 23,2 0-27,0 0 8,-3 0 18,3 0-24,0 0 26,-3 0 5,3 0-4,-1 0 7,1 3 20,0-3-23,-3 0 24,3 0-28,0 0 24,-3 0-14,3 0 16,0 0-17,-2 0-3,2 0 5,0 0-3,0 0-1,-2 0 1,2 0 0,0 0 2,0 0 0,0 0-2,-3 0 0,3 0-6,0 0 4,0 0-5,-2 0 5,2 0-13,0 2 8,0-2-8,0 0 12,-3 0-23,3 0 16,0 0-17,-2 0 21,2 0 1,0 0-3,0 0-1,-2 2-9,2-2 4,0 0-4,0 0 1,-3 0 5,3 0-6,0 0 6,0 0-7,0 0 5,0 0-10,0 0 26,-2 0-47,2 0 42,0 0-40,0 3 47,0-3-10,0 0 8,0 0-11,0 0 4,0 0-3,0 0 63,0 0-46,0 0 95,0 3-65,0-3 21,0 0-16,0 0-57,0 0 29,0 0-27,0 0 26,0 1-46,0-1-14,0 0-8,0 0-24,0 3 65,0-3-24,0 0 19,0 3 16,0-3-20,0 2 18,0-2-16,0 2 4,0-2-2,0 3 3,0-3 6,0 2-4,0-2 5,0 3 0,0-1 9,0-2-2,0 0 2,0 2-8,0-2 8,0 3-6,0-3 15,0 3-15,0-3 6,0 1-8,0-1-23,0 0 18,0 3-19,0-3 25,0 3-15,0-3 9,0 2-11,0-2 12,0 2-3,0-2-1,0 0 0,0 3 28,0-3-18,0 0 19,0 2-27,0-2 18,0 0-11,0 3 14,0-3-7,0 0-4,0 0 6,0 2-3,0-2-26,0 0 21,0 2-20,0-2 18,0 0 3,0 0-5,0 3 4,0-3-1,0 3 0,0-3-2,0 0 10,0 1-9,0-1 9,0 0-9,0 0 24,0 3-17,0-3 18,0 0-21,0 0 11,0 0-6,0 3 8,0-3-11,0 0 0,0 0 2,2 2 0,-2-2-8,0 0 6,0 0-7,0 2-4,0-2 9,0 0-10,0 0 10,0 0-4,0 0 2,0 3-6,0-3 8,0 0-4,0 0 3,0 0-1,0 2 1,0-2 0,0 0 0,0 0 0,0 0-13,0 3 10,3-3-10,-3 0 0,0 0 9,0 0-9,0 2 10,0-2 4,0 0-3,0 2 2,0-2-4,0 0 7,0 0-5,0 0 6,0 3-1,0-3-5,2 0 7,-2 0-7,0 0 3,0 3 0,0-3 1,0 0-1,0 0-1,0 0 0,0 0 0,0 0 0,0 0 0,0 1 0,0-1 12,0 0-9,0 0 9,0 0-11,0 0 15,0 0-9,0 3 5,0-3-8,0 0-6,0 0-25,0 0 21,0 0-25,0 0 30,0 3-1,0-3-1,0 0-2,0 0 0,-2 0-5,2 0 12,0 0-9,0 0 9,0 0-6,-3 0 1,3 0 1,0 0 0,0 0 1,0 0-1,0 0 0,0 2 2,0-2-2,-2 0 2,2 0-3,0 0 36,0 0-25,0 0 27,0 0-18,0 0-10,-2 0 10,2 0-11,0 0 0,0 2 0,0-2-7,0 0 5,0 0-15,0 0 28,0 0-17,0 0 29,0 0 1,0 3-2,0-3-7,0 0-13,0 0-8,0 0-50,0 0 43,2 0-45,-2 0 53,0 0-14,0 0 6,0 0-10,2 0 10,-2 0 6,0 2-10,0-2 1,0 0 14,0 0-13,3 0 17,-3 3-16,0-3 16,0 0-10,2 0 13,-2 0-4,0 2-7,0-2 11,2 0-12,-2 0-13,0 2 9,0-2-12,3 0 16,-3 0-11,0 0 8,0 3-10,0-3 10,0 0-1,0 0 0,0 0 3,2 3 3,-2-3-2,0 0 0,0 0 15,0 1-14,0-1 16,0 0-19,0 0 17,0 0-11,0 3 15,0-3-17,3 0-2,-3 0 2,0 0-2,0 3 3,0-3-40,0 0 29,0 0-45,0 2 50,0-2-13,0 0 13,0 0 2,0 0-2,2 2 0,-2-2-3,0 0 10,0 3-7,0-3 8,0 0-12,0 0-19,0 2 15,0-2-15,0 0-15,0 0 26,0 0-26,0 3 20,0-3 8,0 0-13,0 0 14,0 2 18,0-2-13,0 0 12,0 0-19,0 0 46,0 0-32,0 0 37,0 2-47,2-2 26,-2 0-12,0 0 28,0 0-22,0 3-52,0-3 32,0 0-59,0 0 54,0 0 4,0 0-2,0 0 20,0 0-12,0 0 4,-2 0 0,2 0-1,0 0 0,0 0-1,0 0 7,0 0-6,-2 0 5,2-3-6,0 3-10,0 0 7,-3 0-8,3-2 12,0 2 0,0 0 2,-2 0-3,2 0 8,0 0-6,0 0 5,-3-2-6,3 2 15,-2 0-11,2 0 11,0 0-9,0 0-3,-2 0 4,2 0-3,0-3 0,-3 3 1,3 0 1,0 0-1,0 0-2,0 0 1,0 0 0,-2 0-3,2 0 3,0 0-3,0 0 2,-2 0-1,2 0-1,0 0 1,0 0-7,0 0 7,-3 0-7,3 0 8,0 0-22,0 0 13,0 0-15,0 0 22,0 0-2,0 0 4,-3 0 55,3 0-20,0 0-22,0 0-7,0 0-56,0 0 43,0 0 6,0 0-12,0 0 26,0 3-19,0-3 15,0 0 40,0 0-40,0 0 46,0 0-31,0 2-12,0-2 18,0 0-36,0 0 15,0 0-15,0 0 8,0 0 6,0 0-6,0 0 8,0 0-22,0 2 13,0-2-14,0 0 11,0 0-12,0 3 5,0-3-7,0 0-13,0 0 21,0 0-22,0 0 13,0 3 8,0-3-9,0 0 10,0 0 18,0 0-15,3 1 14,-3-1-18,0 0 10,0 0-7,0 0 6,0 3-7,0-3 15,0 0-8,0 0 11,0 0 14,0 3-21,0-3 25,0 0-14,0 0-6,0 0 8,0 0-12,0 2-31,0-2 23,0 0-22,0 0 1,0 0 20,0 0-30,0 0 27,0 0-11,0 0-7,0 2 11,0-2-5,0 0 16,0 0-1,0 0-3,0 0 2,0 0-1,0 0 1,-3 0 5,3 0-4,0 0 4,0 0-4,0 0 0,-2 0 2,2 0-3,0 0 40,-2 0-29,2 0 30,0 0-29,0 0-4,0 0 6,0 0-6,0 0-1,0 0 2,-3 0-8,3 0 10,0 0 1,0 0 2,0 0 26,0 0-24,0 0 16,0 0-23,0 3 0,0-3 1,0 0-9,0 0 6,0 0-6,3 0 9,-3 0-5,0 2 5,0-2-5,0 0-49,0 3 39,0-3-44,2 2 54,-2-2-34,0 2 24,0-2-31,0 0 32,0 0 8,2 3-5,-2-3 7,0 2 39,0-2-39,0 0 40,0 2-39,0-2-7,0 0 12,0 3-11,0-3 6,0 0 1,0 0 1,0 0-24,0 3 14,0-3-17,0 0-12,0 0 26,0 0-31,-2 0 36,2 0-23,0 0 15,-2 0-21,2 0 14,0 0 0,0 0-2,0 0 6,-3 0 15,3 0-14,0 0 14,0 0-15,0 0 114,0 0-14,-2 0 28,2 2-61,0-2-59,0 0 3,0 0-28,0 0 29,0 0-34,0 2 31,0-2 4,0 0-16,0 0 13,0 0-9,0 0-28,2 0 23,-2 0-25,0 3 30,0-3 4,0 0-6,0 0 1,0 0 0,0 0-1,0 2 3,0-2 8,0 0-7,0 0 8,0 0-10,0 2 26,0-2-19,0 0 21,0 3-13,0-3-7,0 2 11,0-2-12,0 3 44,0-3-30,0 2 32,0-2 4,0 0-31,0 0 34,0 0-38,0 2-1,0-2 3,0 0 3,0 3-4,0-3-15,0 0 11,0 0-12,0 0 17,0 3-10,0-3 6,0 0-12,0 1-16,0-1 14,0 0-17,0 0 37,0 3-7,0-3 7,0 3-12,0-3 14,0 0-10,0 0 13,0 0-14,0 2-3,0-2 2,0 0-1,0 0 3,0 0 8,0 2-6,0-2 7,-2 0-6,2 0 2,0 0-2,0 0-13,0 3 9,0-3-13,-2 0 14,2 0-10,0 0 7,0 0-5,-3 0 7,3 2-6,0-2 4,0 0-6,-2 0 7,2 0 29,0 0-22,0 3 23,0-3-33,-3 0 4,3 0-3,0 0 6,0 0 16,-2 0-10,2 0 12,0 0-19,0 0 1,0 0 0,-2 0 3,2 0-10,0 0 7,0 0-8,0 0 10,-3 0-1,3 0 0,0 0-4,0 0 39,-3 0-27,3 0 29,0 0-28,0 0-4,-1 0 5,1 0-4,0 0-11,-3 0 11,3 2-11,-3-2 16,3 0-33,-2 0 23,2 0-24,0 0 27,-2 0-15,2 0 6,-3 2-10,3-2 26,-2 0-7,2 0 6,0 0-1,-3 0-11,3 0 11,-2 0-8,0 0-6,2 0 8,-3 3-7,3-3 10,-3 0 3,3 0 1,-1 0-1,1 0-2,-3 0-26,3 0 17,-3 0-18,3 0 3,0 0 12,-2 0-15,2 0 9,-2 0 3,2 0-5,-3 0 8,3 0 7,0 0-6,0 0 6,-2 0-9,2 0 11,0 0-9,-3 0 9,3 0-8,0 0 11,-2 0-6,2 0 8,-2 0-13,2 3 2,-3-3-2,3 0 6,-3 0-3,3 0 4,-1 0-4,1 0 11,0 0-7,-3 0 8,3 0-12,-3 0-3,3 0 4,0 0-4,-2 0 22,2 0-12,-2 0 12,2 0-17,-3 0-7,3 0 5,-2 0-5,2 0 1,0 0-1,-3 1-3,3-1 5,0 0-2,-2 0 5,2 0-7,-2 0 7,2 0-8,0 0 7,-3 0-9,3 0 9,0 0-11,-3 0 7,3 0-7,0 0 9,-1 3 0,1-3 0,0 0 0,-3 0-1,3 0 0,0 0 0,0 0 2,-3 0-1,3 3 1,0-3-2,-2 0-4,2 0 3,0 0-3,0 2 5,0-2 0,-2 0-1,2 0 2,0 2-4,0-2 1,0 0-1,-3 0-2,3 0 2,0 0-2,0 3 3,-2-3-3,2 0 3,0 0-4,0 0 4,-3 2-13,3-2 9,0 0-11,-2 0 13,2 0 1,0 3-1,0-3 0,0 0 5,-2 0-4,2 0 4,0 0-5,0 2 28,0-2-21,-3 0 24,3 0-15,0 0-6,0 2 8,0-2-7,0 0-14,-3 3 12,3-3-11,0 0 12,0 0-12,0 3 9,0-3-10,-1 0 22,1 1-8,0-1 6,0 0 18,0 3-21,-3-3 22,3 0-27,0 3-6,0-3 8,0 0-8,0 2 13,0-2-21,0 0 16,0 2-16,0-2 20,0 0-27,0 3 17,0-3-18,0 0 20,0 2 2,0-2-6,0 0 13,0 3-11,0-3 11,0 0-11,0 2 52,0-2-37,0 0 40,0 2-47,0-2 18,0 0-9,0 3 12,0-3-11,3 3-17,-3-3 17,0 0-14,0 1-22,0-1 24,0 0-29,1 0 2,-1 0 23,0 3-24,0-3 26,0 0-18,3 0 7,-3 3-11,0-3 11,0 0 0,0 0-3,3 2 1,-3-2 3,0 0 2,0 0-1,0 0 1,0 2-24,2-2 16,-2 0-17,0 0 51,0 3-21,0-3 22,0 0-29,0 0 51,0 2-35,2-2 39,-2 0-49,0 0 42,3 0-29,-3 3 37,0-3-43,0 0 26,2 0-17,-2 0 28,3 0 2,-3 2-7,0-2 9,2 0-59,-2 0 22,0 0-21,0 0 30,2 2-43,-2-2 29,3 0-38,-3 3 46,0-3-34,0 0 24,3 0-26,-3 0 29,0 0-28,1 3 20,-1-3-26,0 0 23,3 0-6,-3 0 3,0 0 14,3 0-5,-3 1 10,2-1-14,-2 0 39,2 0-28,-2 0 31,3 3-38,-3-3 14,2 0-10,-2 0 13,3 0-14,-1 0-4,-2 0 5,0 3-4,2-3-15,-2 0 17,0 0-19,3 0 10,-3 2 8,0-2-12,3 0 14,-3 0-23,0 0 15,0 0-17,1 2 16,-1-2-4,0 0 1,3 0 2,-3 0 10,3 0-4,-3 3 7,0-3-9,2 0-2,-2 0 0,0 2-1,2-2-2,-2 3 4,0-3-4,3 2 5,-3-2-3,0 0 2,2 2-2,-2-2 1,0 3-9,3-3 6,-3 0-7,0 3 7,2-3-38,-2 1 25,2-1-28,-2 0 26,0 3 8,3 0-10,-3-3 18,3 2-9,-3-2 9,1 2-12,-1-2 14,3 3-12,-3-1 12,3-2-14,-3 3 53,2-1-35,-2-2 38,2 2-39,-2-2 3,0 3 3,3-3-1,-3 2-5,2-2-2,-2 0 2,0 2 2,3-2 1,-3 3 0,0-3-2,2 3-9,-2-3 5,2 2-6,-2-2 6,3 2-9,-3-2 4,3 3-5,-3-3-2,0 2 9,1-2-8,-1 2 9,0-2 0,3 3 0,-3-1-2,3-2 4,-3 3-3,2-1 3,-2 0-3,0 1 4,2 0-3,-2-3 4,3 1-4,-3 2 4,0-3-4,2 3 4,-2-1-3,0-2 1,0 2-1,0-2 1,0 0-1,3 3 0,-3-3 0,0 0 0,0 0 0,0 0 0,2 0 0,-2 0 1,0 2 0,0-2 1,0 0-1,2 3-1,-2-3 0,0 0 0,0 2-20,0 0 14,3-2-14,-3 3 18,0-3-3,0 3 1,2-2-1,-2 2 12,2 0-7,-2-1 6,0 0-9,3-2 36,-3 3-25,3-1 27,-3 1-35,0-1 18,2-2-12,-2 2 16,0-2-18,0 3-34,2 0-13,-2-3 0,0 0-15,0 0 51,0 0-17,0 1-11,0-1 22,0 0-30,0 0 32,0 0 3,0 3-2,0-3-1,0 0-10,0 3 33,0-3-23,0 0 34,3 2-14,-3-2-11,0 2 19,0-2-11,2 3-4,-2-1 5,2-2-9,-2 3 3,3-1-2,-3 0 4,0-2-3,0 3-9,2 0 6,-2-2-6,0-1 6,3 0 1,-3 3-1,0 0 0,0-3-19,0 2 13,2-2-15,-2 2 3,0-2 11,0 0-11,0 3 13,0-3-7,0 0 3,0 2-6,0-2 7,0 3 11,2-3-9,-2 2 7,0 0 11,0-2-15,3 3 17,-3 0-20,0-3 8,0 1-6,3 2 8,-3 0-7,0-1 14,0-2-9,1 2 11,-1 1-15,3-3 3,-3 2-2,0 1 2,0-3 4,3 2-4,-3-2 4,0 2-2,0-2-2,0 3 2,0-3-2,2 3-9,-2-3 7,0 0-7,0 0-15,0 0 17,0 1-18,0-1 21,0 0-27,0 0 19,0 3-20,0-3 24,0 0 5,2 3-7,-2-1 4,0-2 4,0 2-7,0-2 8,0 3-9,3-3 18,-3 2-11,0-2 14,0 3 2,0-3-15,2 2 18,-2 0-21,0-2-1,0 3 1,0-3-2,0 2 6,3-2-17,-3 2 11,0-2-15,0 0-1,0 3 12,0-3-12,0 3 15,0-3-7,0 0 3,0 2-4,0 0 14,0-2-5,0 0 5,0 3-8,0-3 22,0 0-16,0 2 20,0 0-23,0-2 21,0 3-16,0-3 17,0 0-20,0 2 16,0-2-10,0 3 14,0-3-12,0 2-5,0-2 3,0 2-4,0-2 0,0 3 4,0-3-5,0 0-5,0 3 7,0-3-10,0 0 12,0 1 3,0-1-2,0 0 2,0 0-5,0 3 7,0-3-5,0 0 7,0 3-23,0-3 12,0 0-11,0 2 14,0-2 5,0 2-2,0-2 1,0 3-1,0-3-3,0 2 2,0-2-2,0 0 15,0 3-11,0-3 12,0 2-15,0-2 5,0 2-2,0-2 3,0 0-2,0 3-1,0-3 3,0 0-145,0 0 31,0 0-129,0 3-577,0-3 558,0 0-463,0 0 721,-3 0 0,3 1 0</inkml:trace>
  <inkml:trace contextRef="#ctx0" brushRef="#br0" timeOffset="143">1931 2804 8573,'0'-3'443,"0"3"-296,0 0 48,0 0 193,0-2-301,0 4 288,0-2-377,0 0 2,0 0 25,0 3-35,0-3 40,0 2-55,0-2 39,0 3-47,0-3 53,0 0-45,0 2 33,0 0-35,0-2 68,0 3-28,0 0 27,0-3-33,0 1-4,0 2 4,0-3-4,0 3 25,0-3-13,0 2 15,0-2-17,0 2 22,0-2-14,0 3 16,0-3-17,0 0 6,0 2-2,0-2 5,2 0-41,-2 3 25,0-3-28,0 0 32,0 2-35,0-2 27,0 0-29,0 2 8,0-2 15,0 0-20,0 3 21,0-3-11,0 0 4,0 3-7,0-3 7,0 0 3,0 0-3,0 1 2,0-1 50,0 0-35,0 0 37,0 0-47,0 3 20,2-3-13,-2 0 17,0 0-35,0 3 15,0-3-15,0 0 22,0 0-35,0 2 26,0-2-27,0 0 30,0 0-21,0 0 13,0 2-15,0-2 9,0 0 6,0 0-13,0 3 11,0-3-5,0 0 5,0 0-1,0 0 4,0 0-3,0 2 6,0-2-5,0 0 3,0 0-3,0 0-4,0 0 3,0 0-2,3 0-39,-3 0 30,0 0-31,0 3 39,0-3-22,0 0 14,0 0-16,0 0-4,0 2 17,0-2-22,0 0 22,0 2 42,0-2-30,0 0 31,0 0-42,0 0 49,0 3-35,0-3 42,0 0-15,0 0-18,0 0 22,0 0-22,0 3-2,0-3 9,0 0-5,2 0-2,-2 0-2,0 0-2,0 0 5,0 1-12,0-1 8,0 0-13,0 0 13,0 0-5,0 3 4,0-3-4,0 0-14,0 0 12,0 0-14,0 0 11,0 3 6,0-3-7,0 0 7,0 0-4,0 0 3,0 0-3,0 0 2,0 2-2,0-2 1,0 0-2,0 0 16,0 0-9,0 0 12,0 2-15,0-2 5,0 0-2,0 0 3,0 0-3,0 0-5,0 0 4,0 3-9,0-3 9,0 0-3,0 0 3,0 0-7,0 2 5,0-2-5,0 0 3,0 0 25,-2 0-19,2 3 21,0-3-12,0 0-7,0 0 10,0 0-25,0 0 12,0 0-12,0 2 15,0-2-13,0 0 10,-3 0-10,3 0 11,0 2-8,0-2 5,0 0-7,0 0 5,0 0 0,0 0-3,0 0 1,0 3-13,0-3 11,0 0-9,0 0 13,0 3-1,0-3 1,0 0-1,0 0 2,0 0-2,0 0 2,0 1-3,0-1 27,0 0-20,0 0 22,0 0-27,0 0 48,0 3 14,0-3 2,0 0 0,0 0-52,0 0 14,0 3-2,0-3-33,0 0 30,3 0-35,-3 0-32,0 0 47,0 0-52,0 0 67,0 2-63,0-2 41,2 0-54,-2 0 62,0 2-1,0-2-1,0 0-5,0 3 48,0-3-43,0 0 44,0 0-48,2 2 22,-2-2-11,0 0 14,0 3-6,0-3-9,3 0 15,-3 0-12,0 2-5,0-2 3,0 0-5,0 0 8,0 0-19,0 2 14,2-2-20,-2 0 4,0 0 9,0 0-11,0 3 12,0-3 9,0 0-9,0 3 8,3-3-7,-3 0 23,0 1-17,0-1 18,0 0 2,0 3-17,0-3 22,2 0-25,-2 3 9,0-3-6,0 0 7,0 2-7,0-2 7,0 0-4,0 0 4,0 0-3,0 2-8,0-2 5,0 0-7,2 3-5,-2-3 9,0 0-9,0 0-9,0 0 14,0 2-16,0-2 19,0 0-58,0 0 39,0 0-46,0 3-146,0-3 121,0 0-155,0 0 173,0 2 0,0-2 0</inkml:trace>
  <inkml:trace contextRef="#ctx0" brushRef="#br0" timeOffset="144">6284 3289 9502,'4'0'-882,"-1"-2"976,0 2-53,1 0 61,-4-3 24,3 1 3,-1-1 36,0 3-47,3-4 5,-2 1-9,1-1-41,2-2 3,-5 2-1,7-4 3,-3 4-31,0-3 23,2-1-15,0-2 27,0 3-8,1-3 8,-1 1-14,0 2-40,3-3 36,-3 3-46,0-3 44,1 3 3,1-2-21,-4 1 17,4 1-60,-3 0-7,1 1-4,0-3 9,0 4 6,1-2-9,-4 2-5,3 1 10,-2-4-5,0 3-10,3 0-12,-4-2-5,1 3 40,0-2-7,0 2 4,-1-1-12,2 2 0,-2-1-4,1 1 7,-3-1 10,3 1-10,-2 0 9,4 1-11,-4-3 8,1 3-5,1-1 8,2 1 4,-2 0-4,3-1 3,-4-1-8,1 1 3,2 0-4,-2 1 5,0 0-10,2-1 5,-2-1-6,0 1 2,-1 1 5,1-3-7,0 3 8,0-4-5,0 2 4,0-1-5,-3 3 5,3-6-50,0 4 36,-3-2-40,3-1 25,-1 3 12,-1-1-14,0-2 17,-1 4-6,0-1 2,1-2-4,-1 2-20,1 1 18,-1 1-19,-2-1 20,2 1 14,1 0-10,-3 2 7,3-3-6,-3 3 20,1 0-11,2-3 15,0 3 18,-1-1-30,3-2 34,-3 3-41,1-3 43,1 1-29,-1 2 36,1-2-16,2-1-10,-2 1 14,1 2-15,-2-3 42,1 1-26,2 2 32,-2-2-38,-1 2 18,1-3-9,1 3 10,-2 0-29,1-3 5,2 3-5,-2 0 9,1 0 19,0 0-14,0 0 16,2 0-65,-3 0-11,4 0-5,-1 0 8,3 0-59,-3 0 17,2 0-37,1-1 58,0-2 53,2-2 0,-1-2 0</inkml:trace>
  <inkml:trace contextRef="#ctx0" brushRef="#br0" timeOffset="145">6699 2900 9502,'-5'0'-528,"3"0"442,-1 3 53,0-3 51,-1 3-1,1-2 60,-1 2 16,1 0 9,-2-1-12,1 3-6,-1-3-26,0 3 31,-2 0-48,2-1 2,0 2-6,-2 1 11,2-2-11,-2 2 8,0-3 0,-1 4-38,4-3 36,-3 2-40,-1 0 39,1 1-42,0-1 26,1 0-32,-1 2 33,0-2 27,2 1-26,-2-1 24,3 0 0,-2 0-14,-1 3 21,2-5-15,1 0 0,1 3 2,-1-4-2,-2 1-74,2 0 53,1 0-55,-2-3 73,1 3 12,1-1-11,0 2 9,-1-4-24,1 3 0,-1 0-3,1-1 1,-2 2 59,1-2-40,-1 3 41,0-2-46,0 2 0,0-1 4,0 1 2,1-3-8,-1 1 8,3 2-6,-4-4 13,2 1-52,-1 2 36,0-4-39,3 3-3,-3-3-9,0 0-6,2 1-33,2-3 29,-2 2-15,0 1 16,-1-3-14,4 0 33,-3 2-39,1-2 42,-3 0 6,3 0-2,-4 0 3,5 2-10,-2-2 38,0 0-26,-1 3 31,1-3-21,1 3-8,-1-3 11,-1 1-8,1 2 9,0-3-1,2 3 3,-5-1-25,4-2 8,0 2-11,-3 1 16,2-3-23,-1 2 17,1 1-20,0-1 23,-1 0-14,1 1 10,1 0-13,0-2 43,-1-1-25,1 3 25,-1 0-12,1 1-12,0-1 15,-1-1-18,3 3 49,-3-3-34,2 4 41,-2-2-49,0-1 11,1 1-8,0 4 12,-1-4-10,-2 2 58,3-2-43,-3 3 43,3 1-61,0-4 12,-4 3-11,4 1 15,-3-3-43,0 2 28,3 2-30,-3-3 39,1 1-27,1 0 19,-2 0-23,0-2-21,1 2 32,1-2-39,1 0 36,-3 0-24,3-3 9,-1 3-8,-1-2 15,1-2-34,0 2 22,-1-3-25,1 3-27,1-1 47,-1-2-51,1 2 72,-3-2-13,2 3 10,2-3-14,-2 0-6,0 0 1,1 0-4,2 0 2,-2 0-24,2 0 34,0 0 18,-3 0 5,6-3 84,-1 1-88,0 0 52,4-4-19,1 2 18,0-1-3,2 0 1,1 0-3,-3-2-17,3 3 26,-1-4-26,-1 3-19,1-2 22,1 2-21,0-2 33,-3 3-13,3-2 8,-3-1-12,0 2-54,3 1 37,-3-3-37,1 1-22,1-1 46,-2 0-50,3-1 58,0-1-58,-3 2 37,2-3-43,1 0 51,0 1-1,-1-1-4,1 3 0,0-5-7,-3 5 13,5-3-11,-7 0 11,4 1 14,-1 2-14,-1-1 15,-2-1-23,2 1 4,0 1 2,-2-3 2,0 3-8,2 0 6,-2-1-9,0-1 11,0 2-18,-1-3 13,2 0-16,1 3 17,-5-2 10,3-1-9,2 3 9,-2-3-20,-1 1 5,4-1-5,-1 0 3,-2 1 4,3 1-1,-1-4 3,-3 5-7,4-3 3,-1 3-5,-3 0 6,2 2-10,1-4 8,-2 3-10,-1-1 10,3 0-34,-4 2 24,2 1-16,0-2 26,-3 2 5,0-1-9,1 2 14,2 1 6,-3 0 0,0-1-1,4 0 14,-4 3-22,0-1 25,3-2-31,0 0 15,2 1-10,-2 0 14,2-1-14,-2 3 19,2-2-14,-2-1 16,3 3 2,-1-2-10,0 0 10,0 2 8,1 0-18,-1 0 20,0-3-24,0 3 41,1 0-26,-1 0 30,0 0-30,0 0-6,2 0 8,-1 0-6,-1 0 16,0 0-18,3 0 17,-3 0-17,0 0 26,1 0-15,-1 0 17,-2 3-42,2-3 15,0 0-16,0 0 19,-2 0-8,2 2 8,-2-2-8,3 2 12,-1-2 21,-3 0-18,4 3 18,-4-3 47,2 0-52,1 0 58,-5 2-71,3-2 39,0 3-27,-1-3 38,2 2-61,-5-2 25,5 2-24,-4 1 28,3 0-18,-3-3 14,3 1-14,-3-1 5,1 0 5,1 3-9,-1-3 11,0 3 30,1-3-21,-1 0 20,2 2 1,-3-2-25,0 2 31,4 1-30,-5-3-10,2 2 9,2 1-11,-3-3 17,1 2-66,-1 0 48,3 1-49,-3-3 58,3 3-73,0-2 50,0 2-59,-3-3 42,3 3 9,0-1-14,2-2 18,-2 2 5,0 1-5,0-3 1,2 2 46,-2-2 15,-1 3 4,3-1-13,-1-2-14,-2 2-22,1 1 32,0 0-51,0-2 10,-2 2-12,1 0 21,1-1-34,-3 0 35,3 1-38,-2-1 27,1 1 6,-1-1-12,0 0 13,1 1-49,-1-1 33,1 0-40,-1 4 45,-1-4 55,1 0-40,1 1 46,-1-1-59,1 0-16,-1 1 12,0-1-8,-1 3-18,0-3 27,1 1-27,-1 1 31,1-1-41,-1 2 30,0 0-32,-2-3 26,3 5 8,0-4-14,-2 1 14,-1 4 4,0-3-8,3 0 6,0-1-11,-3-1 63,2 1-41,-2 2 46,2-4-52,-2 3 30,3-5-16,-1 2 19,1 1-16,-1-1-9,0 0 13,1-2-33,-1 3 21,0 0-22,1-2 25,0-1-50,1 3 31,-1 0-36,-1-1 36,3 0-28,-3 1 15,3-1-17,-3 1 9,4-1 17,-2 0-21,-1 1 20,1 0 8,1-2-6,0 2 8,0 0 1,-1-3-8,2 2 10,-2-2-11,4 0 22,-4 0-13,2 2 14,-2-2-16,3 0 8,-2 0-1,0 0 3,0 0-34,2 0 16,-2 0-19,0 0 26,2 0-40,-2 0 29,-1 0-36,4 0 18,-3 0 13,2 0-16,-2 0 16,2 0 27,-2 0-23,2 0 23,0 3-27,-2-3 8,3 0-6,-4 2 9,3 1-8,-2-1 13,0-2-8,0 2 7,0 1-50,0-3 31,-1 3-31,1-2 23,0 2 11,-3 0-19,1-3 20,1 2-31,-1-2 21,2 2-25,-3 1 29,1-3 13,-1 2-11,3-2 11,0 3-1,-1-3-11,-1 2 14,2-2-14,0 2 27,-3-2-13,3 3 17,0-3-6,-1 2-15,2-2 15,-4 2-17,5-2 1,-4 3 0,1 0 3,2 1-1,-5-1-35,5-1 24,-2 0-29,-1 1 13,2-1 15,-3 1-17,0-1 18,1 0-3,0 1-2,1 0 1,-1-2 22,-1 2-12,0 0 13,1-1-21,-1-2 26,1 2-18,-1 1 24,0-3-27,3 2 23,-3 1-12,1-3 14,2 2-9,-3 0-7,1 1 6,-1 0-5,0-2 0,3-1 1,-2 3 0,-1 0 6,3-1-5,-2 0 7,-1 1-9,3-1 9,-3 1-6,3-1 7,-3 0-8,1 4 1,-1-6 0,3 1 0,-2 2-9,-2 0 5,5-1-5,-4 0-5,3 1 10,-3-1-11,3-2 12,0 3-11,-1-1 7,2-2-8,-2 0 8,1 0-65,0 2 44,4-2-47,-1-2 59,-1 2-184,3-2 34,0-3-118,2-2-497,-1 0 552,1-1-427,1-2 652,-1 0 0,2-1 0</inkml:trace>
  <inkml:trace contextRef="#ctx0" brushRef="#br0" timeOffset="146">1909 2886 8973,'0'-2'122,"0"2"-60,0 0-74,0 0 31,0 0-35,-3 0 31,3 0 4,0 0-2,0 0-3,-2 0-21,2 0 11,0 0-15,0 0 25,0 0-14,-2 0 11,2 0-12,0 0-14,0 0 19,0 2-23,0-2 29,0 0 37,0 0-27,0 2 29,0-2 27,0 0-47,0 0 53,0 0-64,0 0 18,0 0 24,0 3-13,0-3 19,0 0-46,0 0 16,2 0-14,-2 0 18,0 0 5,2 0 1,-2 0 5,3 0-79,-3 0 46,0 0-54,2 0 64,-2 0-106,0-3 21,0 3-98,3 0-124,-3 0 176,0-2-117,0 0 220,0 2 0,0-3 0</inkml:trace>
  <inkml:trace contextRef="#ctx0" brushRef="#br0" timeOffset="147">1800 3135 9502,'0'0'-1147,"0"-3"1147,0 3 0,0 0 0,2 0 4,-2 0 3,0 0 6,0 0 47,0 0-32,0 0 34,0 0-71,0 0 19,0 0-15,0 0 23,0 3-28,0-3 83,0 0-74,3 0 78,-3 0-67,0 0 73,0 0-48,0 0 79,0 0-66,0 0 17,0 0-1,0 0-20,0 0 13,0 0-36,3 2 19,-3-2-21,0 0 25,0 0 219,0 0-161,-3 0 163,3 0-276,0 0-13,0 0-4,0 0 2,0 0 35,0 0 3,0 0-5,0 0 6,-3-2-11,3 2 4,0 0-5,0 0 11,0 0 5,0-3-4,-2 3 4,2 0-17,0 0 9,0 0-8,0-2 11,0 2-10,0 0 6,0-3-9,-2 3 10,2 0 0,0-2-1,0 2 0,0 0 6,0-2-5,-3 2 5,3 0-5,0 0-6,0-3 4,0 3-3,-2 0 0,2-3 4,0 3-2,0 0 5,0 0 5,0-1-5,-3 1 3,3 0-3,0-3 0,0 3 0,0-3-1,-2 3-5,2-2 3,0 2-3,0 0-12,0-2 11,0 2-11,0 0 15,0-3-8,0 3 5,0 0-6,-2 0 6,2-2-5,0 2 0,0 0-2,0 0-4,0 0 7,0 0-8,0-3 10,0 3-7,-3 0 5,3 0-5,0 0 5,0 0 22,0-2-15,0 2 16,0 0-26,0 0 4,0 0-2,0 0 4,0 0 12,0 0-8,0 0 10,0 0-17,-3-2 4,3 2-2,0 0 3,0 0-11,0 0 8,0 0-9,0 0 11,-1 0-11,1 0 7,0 0-10,0 0 12,0 0-8,0-3 5,0 3-4,-3 0 1,3 0 4,0 0-6,0-3 1,0 3 1,0 0-2,0 0 4,0 0-18,0 0 12,0-1-13,0 1 16,0 0-8,0 0 5,0 0-5,0 0 14,0 0-5,0 0 5,0-3-8,0 3 29,0 0-19,0 0 21,0 0-15,0 0-7,0 0 9,0 0-8,0 0-4,0-3 6,0 3-4,0 0 6,0 0-11,0 0 10,0-2 5,0 2 0,0 0 2,0 0-10,0 0-8,0 0 36,0 0-21,0 0 23,0 0-26,3 0 4,-3 0 0,0 0 3,1-2-3,-1 2-4,0 0 5,3 0-6,-3 0 6,3 0-25,-3 0 17,2 0-35,-2 0 33,2-3-12,-2 3 14,3 0-14,-1 0 8,-2-2-12,3 2 15,-1 0-12,-2-3 8,2 3-7,1 0 9,-3-2-1,3 0 0,-2 2 1,2-3-1,-3 3 0,3-3 1,-3 3-1,2-1 9,0 1-6,-2-3 8,3 3 18,-3 0-19,0 0 22,0-3-27,2 3 3,-2 0-3,0 0 5,0 0-3,3 0-26,-3 0 19,0 0-21,0 0-9,2 0 24,-2 0-27,0 0 23,0 0 8,0 0-13,0-2 12,2 2-11,-2 0 7,0 0-10,0 0 9,0 0 14,0 0-10,3 0 12,-3 0-16,0 0 20,0 0-13,3 0 18,-3 0-39,0 0 18,0 0-17,0 0-17,0 0 25,1 0-27,-1 0 32,0 0-11,0 0 7,3 0-12,-3 0 15,0 0 9,0 0-10,3 0 11,-3 0-21,0 0 36,2 0-25,-2 0 27,0 0-4,0 0-17,0 0 23,0 0-25,2 0 19,-2 0-14,0 0 14,0 0-35,0 0 17,0 0-41,0 0 37,0 0-20,0-2-11,3 2 20,-3 0-23,0 0 25,0 0 11,0 0-12,0 0 10,0 0 61,0 0-54,0 0 105,0-3-99,0 3 81,2 0-58,-2 0 41,0 0-50,0 0 20,0 0-54,0 0 31,0 0-29,0 0 32,0 0-10,0 3 9,3-3-10,-3 0 12,0 0-9,0 0 9,0 0-9,0 0-9,2 0 6,-2 0-5,0 0 11,2 0-7,-2 0 6,0 0-19,0 0 12,3 2-8,-3-2 12,0 0-19,0 0 13,0 0-16,3 0 18,-3 0-13,0 2 10,1-2-11,-1 0 12,0 0-8,0 0 6,0 0-6,0 0 5,3 0-1,-3 0 0,0 0 0,0 0 0,0 0 1,0 0 0,3 0-1,-3 3 1,0-3 0,0 0 0,0 0-16,0 0 12,2 0-12,-2 0 15,0 0-4,0 0 3,2 0-5,-2 0 10,0 0-6,0 0 5,0 0-5,3 0 4,-3 0-3,0 0 3,0 0 3,0 0-4,2 0 5,-2 0-6,0 0 5,3 0-3,-3 0 4,0 0-4,2 0 3,-2 0-3,0 0 4,2 0-6,-2 0 2,3 0-1,0 0 1,-3 0-12,0-3 9,1 3-9,-1 0 4,3 0 4,-3 0-4,0 0 5,3 0 2,-3 0-3,0 0 2,2 0-3,-2-2 7,0 2-6,0 0 6,0 0-7,0 0 2,2 0-1,-2 0 2,0 0-27,3-2 19,-3 2-19,0 0 7,0 0 12,2 0-13,-2 0 14,0-3-11,0 3 5,0 0-6,0 0 5,3 0 24,-3-2-19,0 2 17,0 0 6,0 0-17,2 0 20,-2 0-24,0 0 17,0-3-9,0 3 15,0 0-13,0 0 0,0 0 0,0 0-4,0 0 4,0 0-4,0-2 2,0 2-1,0 0 0,0 0-1,0 0 1,0 0 1,0-2 0,0 2-1,0 0 2,0 0-1,0 0 0,0 0 1,0 0-2,0-3 3,0 3-2,0 0 0,0 0 1,0-3 0,0 3-1,0 0 0,0 0 0,0-1 0,0 1 0,0 0 0,0 0 0,0 0 0,0-3-4,0 3 3,0 0-3,0 0-7,0 0 7,0 0-7,0-3 9,0 3 2,0 0-1,0 0 1,0 0-2,0 0-8,0-2 6,0 2-6,0 0 3,0 0 2,0 0-2,0 0 3,0 0 4,0 0-3,0 0 2,0-2-6,0 2 2,0 0-4,0 0 5,0-3 4,0 3-3,0 0 5,0 0-6,0 0 8,0 0-6,0-2 7,0 2-3,0 0-2,0 0 4,0 0-4,0 0-1,0-3 2,0 3-2,0 0 3,0 0-2,0 0 4,0 0-11,0-2-2,0 2-1,0 0-1,0 0 13,0 0-14,0 0 13,0 0-14,0 0 9,-2 0 21,2 0-16,0 0-23,0 0 3,0-2-35,0 2 35,0 0 0,0 0 10,0 0 4,0 0 45,0 0-24,0-3 31,0 3-45,0 0 8,0 0-6,0 0-7,0 0 3,0 0 13,0 0-14,0 0 19,0 0-22,2 0 9,-2 0-4,0 0 7,0 0-4,0 0-3,0 0 5,0 0-25,2 0 17,-2-2-18,0 2 19,0 0-20,0 0 12,0 0-14,0 0 17,3 0-4,-3 0 0,0 0-2,0 0 2,0-2 5,0 2-4,0 0 16,0 0-11,0 0 11,0 0-13,0 0-6,0 0 4,0 0-2,2 0 5,-2-3 0,0 3 4,0 0-4,0 0 4,0 0-4,0 0-1,0 0 0,0-3 6,0 3-3,0 0 4,0 0-4,0 0 0,0 0 4,0-2-5,0 2 6,0 0-18,0 0 11,0 0-11,0 0 19,0 0-5,-2 0 5,2 0-7,0 0 4,0-2-3,0 2 3,0 0-7,0 0 3,0 0-3,0 0-7,0-3 8,0 3-8,0 0 11,0 0 6,0 0-5,0 0 4,0 0-7,0 0 7,0-2-4,0 2 4,0 0-6,-3 0 14,3 0-10,0 0 12,0 0-9,0-2-2,0 2 6,0 0-5,0 0 0,0 0-1,0 0-1,0 0 0,0-3 0,0 3 0,0 0 11,0 0-7,0 0 15,0 0-15,0 0 14,0-2-11,0 2 1,0 0-4,0 0-4,3 0 5,-3 0-9,0 0 6,0 0-6,0 0-9,0 0 9,0 0-12,0 0 13,0 0-2,2 0 3,-2 0-5,0 0 9,0 0-5,0 0 4,2-3-4,-2 3 3,0 0-2,0 0 3,0 0-3,3 0 4,-3 0-2,0 0 3,0 0-1,0 0 8,0 0-5,3-2 7,-3 2-5,0 0-4,0 0 5,0 0-33,0 0 21,0 0-44,2 0 41,-2 0-18,0 0 19,0 0 0,0 0-6,0 0-4,0 0 12,0 0-9,0 0 43,0 0-29,0-2 23,0 2-22,0 0 0,0 0 1,0 0-4,0 0 1,0-3 0,0 3 0,0 0-4,0 0 3,0 0-4,0 0 5,0 0-1,0 0 1,-2 0 0,2-3 0,0 3 0,0 0-26,0 0 17,0 0-18,0 0 24,0 0-1,0-1 0,0 1-2,0 0 2,0 0-5,0 0 4,0 0-4,0 0 2,0-3-2,0 3 1,0 0 9,0 0-6,-3 0 7,3 0-8,0 0 5,0 0-3,0 0 4,0-3-3,0 3-37,0 0 26,0 0-30,0 0 37,0 0-1,0 0 0,0-2 8,0 2-12,0 0 28,0 0-28,0 0 20,0 0 14,0 0-20,0 0 64,0 0-51,0 0 77,0-2-66,0 2 36,0 0-47,0 0-18,0 0 9,3 0-7,-3 0-13,0 0 20,0 0-25,0 0 19,0-3 11,0 3-10,0 0 10,2 0-9,-2 0 30,0 0-20,0 0 22,0 0-27,0 0 24,0 0-15,2 0 16,-2 0-17,0 0-20,0 0 18,0 0-16,0 0-1,0 0 11,0 0-35,0 0 33,0 0-16,3 0 5,-3 0 8,0 0-11,0 0 8,0 0 12,0 0-11,2 0 11,-2 0-11,0 0 13,0 0-8,0 0 9,0 0-10,0 0-5,0 0 5,2 0-3,-2 0 1,0 0 2,0 0-2,3 0 3,-3 0-9,0 0 5,0 0-5,0 0-39,0 0 33,0 0-35,0 0 41,2 0-77,-2 0 11,0-2-71,0 2 75,0 0 14,0 0 45,0 0 7,3 0 0,-3 0 0</inkml:trace>
  <inkml:trace contextRef="#ctx0" brushRef="#br0" timeOffset="148">1559 3052 10343,'-2'3'191,"2"-3"-117,0 0-39,-3 3-24,3-3-5,-3 0-46,2 1 28,1-1-5,-3 0-2,0 0 5,1 3 19,0-3-26,-1 0 31,1 0 14,-1 0-23,1 0 19,-3 3 18,2-3-12,2 0 21,-2 0-28,-2 0-13,3 0 10,-1 2-11,1-2 9,2 0 7,-5 0-4,3 0 6,-1 0-1,3 0-2,-2 0 0,0 0-4,-1 0 2,0 0-2,1 0 0,0 0 2,-1 0-2,1 0 4,0 0 0,-1 0-3,1 0 4,-1-2-6,1 2 4,0 0 28,-1 0-21,0 0 23,2 0 11,-2 0-28,0 0 33,1 0-39,2 0 19,-2-3-12,-1 3 16,1 0-43,2 0 24,0 0-19,-3 0 27,1 0-35,2 0 23,-2-3-29,2 3 8,0 0 19,-3 0-25,0 0 26,3 0 7,-1 0-6,1-1 7,-3 1-15,3 0-1,0 0 1,-3-3 3,1 3-33,0 0 26,2 0-24,-3-3 32,1 3-22,-1 0 12,3 0-16,-2 0-21,0 0 31,-1-2-36,0 2 41,2 0-31,1 0 22,-3 0-26,0 0 9,3 0 9,-2 0-12,2-2 18,-2 2-2,-1 0 1,3 0 0,0 0-1,-2 0 33,2 0-23,-3-3 25,3 3-32,0 0 7,-2 0-5,2-2 8,0 2 29,-2 0-23,2 0 27,0 0-22,-3 0-8,3 0 12,-3-3-13,2 3-5,1 0 5,-3 0-6,3 0 16,-3 0-6,3 0 4,-2 0-8,2-2-14,-2 2 10,2 0-11,-3 0 14,3 0 1,-2 0-3,2-2 2,-3 2 50,3 0-36,-2 0 41,2 0-52,-2 0 9,2-3-4,-3 3 6,3 0-14,-3 0 7,2-3-7,1 3 10,-3 0-40,0 0 29,1 0-29,0 0 0,-1 0 26,3-1-30,-2 1 37,-1 0-22,1 0 16,0 0-22,2 0 19,-3 0-19,0-3 11,3 3-10,-1 0 20,1 0-6,-3 0 7,3 0-9,-3 0 36,3 0-25,-2 0 28,0 0-37,2 0 4,0-3-3,-3 3 7,3 0-6,-2 0 7,2 0-6,-3 0 6,3 0-21,0-2 17,-2 2-18,2 0 15,-2 0 2,-1 0-7,3 0 5,-2 0 61,2 0-44,0 0 48,-2-2-46,2 2-6,0 0 9,-3 0-7,3 0-12,-3 0 12,3 0-11,0 0 13,-2 0-22,2 0 21,-2 0-20,2 0 23,-3 0-51,3 0 30,-2 0-32,2 0 9,0 0 25,-2 0-32,2 0 27,-3 0-6,1 0 4,2 0-1,0 0 3,-3 0-1,3 0 1,-2 0 0,0 0 1,2 0 0,0 0 0,-3 0 0,3 0 3,-3 0-2,3 0 3,-1 0-4,1 0 0,0 0 1,-3 0-1,3 0 0,-3 0 0,1 0 0,2 0-1,-2 0 2,2 0-2,-3 0 2,3 0-2,-2 2 1,2-2 0,-3 0 0,3 0 22,-2 0-15,2 0 17,-2 0-23,2 0 2,-3 2-2,3-2 4,-3 0-8,2 3 8,-2-3-8,0 0 2,3 0 3,-2 3-4,0-3 5,2 1-6,-3-1 4,3 0-6,-2 0 7,-1 3-11,3-3 7,-2 0-7,2 3 8,0-3 0,-2 0 1,2 0-1,-3 0 1,3 0 0,0 2 0,-3-2 31,3 0-23,0 0 25,-1 0-31,1 0-1,0 2 1,0-2 1,0 0 1,-3 0-30,3 3 21,0-3-23,-3 0 24,3 2 4,0-2-6,-2 0 5,2 3 0,0-3-3,-2 2 1,2-2 20,0 2-14,-3-2 13,3 0-18,-2 3 11,2-3-6,-3 0 11,3 3-13,0-3 22,-2 0-15,2 0 18,0 1 11,-2-1-20,2 0 22,0 3-29,-3-3-10,3 0 11,-3 3-7,3-3-3,0 2 8,-1-2-9,1 2 10,-3-2-20,3 3 15,-3-3-16,1 0 18,2 2-48,-2 1 30,2-3-34,-3 0 40,1 2 4,-1 0-6,3-2 4,-2 3-6,0-3 5,2 0-2,0 3-6,-3-3 6,3 1-6,0-1 8,-3 0-21,3 3 16,0-3-16,0 3 25,-1-3 1,1 0-4,0 0 1,0 2-7,0-2 2,0 2-1,0-2 1,-3 3 12,3-3-9,0 2 11,0-2-14,0 3 1,-3-3 1,3 2 2,0 0 2,0-2 2,-2 3-1,2 0-3,0-2 7,0 2-7,0-3 6,-2 3 1,2-1-6,-3-2 8,3 2-25,0 1 13,0-1-13,-2-2 16,2 3-15,0-1 10,0-2-11,0 2 14,-3 1-59,3-3 41,0 3-47,0-2 58,0-1-2,-2 3-4,2-3-3,0 3 25,0-3-21,-2 2 26,2-2-30,0 2 14,0-2-9,-3 0 11,3 3-2,0-3-5,0 2 9,0-2-11,0 3-21,-3-3 15,3 2-16,0-2 25,-1 2-3,1-2-1,0 3-3,0-3 16,0 3-12,0-3 13,-3 1-15,3-1 53,0 3-39,0-3 42,-3 3-10,3-3-28,0 2 37,-2-2-42,2 2 26,0-2-19,0 3 22,-2-3-22,2 2-3,0-2 3,-3 0-4,3 3-43,0-3 36,0 0-39,0 2 43,0-2 2,-2 2-7,2 1 5,0-3-25,-3 2 19,3-2-21,0 2 24,0-2-28,0 3 20,-2 0-23,2-1 26,0 0 31,-2 1-21,2-3 24,0 2 2,0 0-23,-3-2 25,3 3-24,0-1-5,0-2 5,-2 3-1,2-1-69,0-2 54,0 2-56,0 1 70,-2 0-79,2-3 52,0 1-58,-3-1 50,3 3 12,-3 0-22,3-1 19,0-2 4,0 2 0,-2-2 0,2 3 40,0-1-36,-2 1 38,2-3-39,0 4 40,-3-1-22,3-3 24,-2 3-27,2-2 32,0 2-14,0 0 20,0-1-21,-2 0-13,2-2 14,0 3-14,0-1-6,-3 1 4,3-1-5,0-2-40,0 2 36,-2-2-38,2 3 43,0 0-13,0-3 5,0 0-9,-3 1 8,3-1 10,0 3-10,0-3 8,-2 0-19,2 3 10,0-3-11,0 2 36,-2-2-17,2 2 19,-3 1-22,3-1-18,0-2 16,0 3-15,-3-1 19,3 0-19,0-2 12,0 3-17,-1 0 19,1-2 54,0-1-40,0 3 44,0 0-35,0-3-13,-3 2 17,3 0-20,0-2 17,0 3-9,0-3 13,0 2-17,0-2 1,0 3 4,0-3 1,0 0-34,0 2 23,-3-2-29,3 2 37,0-2-52,0 3 37,0-3-46,0 0 52,0 3-49,0-2 35,-2-1-37,2 3 44,0 0-8,0-1 3,0 0-19,-2 1 1,2-1-5,0 1 8,0-1 45,0 0-27,0 4 29,-3-5-37,3 2 27,0 2-16,0-3 22,-2 1-27,2-1 31,0 1-23,0-1 25,0 0-17,-3 1-3,3-1 3,0 0-10,0 1 1,0-3 0,-2 3 3,2-1-13,0-2 7,0 2-11,0 1 14,-2-3-26,2 2 19,0 0-22,0-2 25,0 3-54,0-3 38,0 2-44,0 1 76,0-1-21,0 0 15,0 1-19,0 0 21,0-2-12,0 5 17,0-4 39,0 0 13,0 1 11,0-1-19,0 3-8,-3-3 6,3 1 15,0 0 3,0-2-59,0-1 20,0 3-20,0 0-26,-3-3 38,3 2-37,0-2 39,0 2-46,0 1 29,0-3-41,0 0 40,0 2-6,0-2 3,0 3-7,0-3-3,0 2 0,0-2 0,0 2 16,0 1-3,0 0 5,0-2 9,0-1-11,0 3 13,0 0-17,0-1 42,0 0-28,0 1 30,0-1-38,0-2 71,0 5-48,3-5 52,-3 2-61,0 1 3,0 0 5,0-2-1,3-1-15,-3 3 5,0 0-4,0-3-4,0 2-6,0 0 3,0-2-3,0 3-24,0-1 27,0-2-33,0 3 37,2-1-24,-2-2 11,0 2-15,0-2 11,0 3 10,0-3-11,0 3 8,0-3 2,0 1-2,0-1 2,2 3 2,-2 0-3,0-3 4,0 2-4,0 0 8,0-2-6,0 3 7,0-3-7,3 2 13,-3-2-8,0 3 9,0-1-13,0-2-1,0 2 1,0-2 0,0 3-1,0-3 4,0 3-4,0-3-2,0 0 3,2 1-3,-2-1 4,0 0 4,0 0-3,0 3 2,0-3-3,0 0 8,0 0-6,3 3 5,-3-3-7,0 0 4,0 0-2,2 2 5,0-2-12,-2 0 6,3 0-5,-3 0 2,3 0 3,-3 0-3,1 0 4,2 0-13,-3 0 9,3 0-11,-1 0 13,-2 0-30,2 0 22,1 0-26,-3 0 30,2 0-21,1 0 15,-3 0-18,2 0 31,-2 0-12,2 0 11,1 0 14,-3 0-17,2 0 17,0 0-23,-2 0 12,3 0-8,-3 0 12,3 0-14,-1 0 36,-2 0-25,2 0 31,1 0-36,-3-2 1,2 2-1,0 0 1,-2 0-10,3-3 11,-1 3-11,-2 0-32,3 0 32,-1 0-34,-2-3 41,2 3-10,1 0 3,-3 0-4,3 0 3,-3 0 6,1 0-8,2 0 6,-3 0-7,3 0 51,-3 0-37,2 0 38,0 0 17,-2-1-44,3 1 53,-3 0-63,2 0 8,-2-3-4,3 3 9,-1 0-52,-2-3 40,2 3-41,-2 0 50,3 0-36,0 0 25,-3-2-28,1 2 6,-1 0 17,3-2-27,-3 2 27,3 0-16,-3-3 2,2 3-6,-2 0 5,2 0 17,1 0-5,-3-2 8,2 2-11,-2 0 10,3 0-8,-3 0 12,2 0-3,-2-3-3,2 3 5,-2 0-8,3 0 11,0 0-8,-3 0 9,1-2 26,2 2-27,-3 0 32,3 0-32,-3-2-1,2 2 3,0 0-3,-2 0-13,0 0 11,3-3-11,-3 3 16,2 0-69,1 0 50,-3-3-51,2 3 59,-2 0-18,0 0 8,2 0-17,-2-1 19,3 1-1,-3 0 2,3 0-5,-3 0 21,1 0-19,2 0 19,0 0-1,-3 0-12,2-3 16,-2 3-19,2 0 17,1 0-11,-3 0 14,2 0-15,1-3-9,-3 3 7,2 0-9,0 0 10,-2 0 0,0 0 0,3-2 0,-3 2-12,3 0 8,-2 0-9,-1 0 5,0 0 5,3 0-5,-3 0 5,0-2-16,3 2 11,-3 0-11,2 0 14,-2 0-38,0 0 28,2 0-32,-2 0 38,0 0 17,3 0-12,-3 0 12,0 0-12,2 0-5,-2 0 5,0 0 7,3 0-9,-3 0 7,2 0-10,-2 0 29,2 0-20,-2 0 27,3 0-31,-3 0 46,0 0-33,0 2 37,3-2-43,-3 0 6,0 0-4,0 0 4,0 0 8,0 2-6,0-2 8,0 0-8,0 0-2,0 3 4,0-3-3,0 0 11,0 0-9,0 3 9,0-3-12,0 0 37,0 0-25,0 1 28,0-1-21,0 0-19,0 3 19,0-3-18,0 3-19,0-3 21,0 0-23,0 0 1,0 2 18,0-2-18,0 2 21,0-2-8,-3 3 1,3-1-4,0-2 0,-3 0-3,3 3-2,-2-1 1,2-2 2,-2 2 5,2-2-4,0 0 4,0 3 16,0-3-11,0 3 13,-3-3-2,3 0-10,0 1 12,0-1-14,0 0 1,0 3 1,0-3-1,0 3 2,-2-3-6,2 0 5,0 2-4,0-2-7,0 0 7,0 0-8,0 0 11,0 2-12,0-2 9,0 0-14,-3 3 15,3-3-35,0 0 25,0 2-28,0-2 14,0 0 10,0 0-13,0 3 17,0-3-8,0 0 5,0 0-8,0 2 7,-2-2 0,2 0-3,0 0 1,0 2 12,0-2-9,0 3 12,0-3 8,0 0-14,-2 0 16,2 0-18,0 2 27,0-2-20,0 0 23,0 2-27,-3-2 23,3 0-16,0 0 19,0 0-10,0 0-4,0 0 6,0 0-6,0 0-5,0 3 9,-3-3-7,3 0 5,0 0-4,0 0 3,0 0-1,0 0 26,-1 0-21,1 0 20,0 0-22,0 0-11,-3 0 7,3 0-7,0 0-11,0 0 14,0 0-14,-3 0 18,3 0-10,0 0 6,0 0-9,0 0-10,-2 0 15,2 0-21,0 0 23,0 0-11,-2 0 8,2 0-6,0 0 6,0 0 0,-3 0 1,3 0-1,0 0 3,0 0-3,0 0 2,0 0-2,-2 0 2,2 0-1,0 0 2,0 0-2,0 0 0,-3 0 1,3 0-1,0 0-16,0 3 12,0-3-12,-2 0 14,2 0 1,0 0-2,0 0 2,0 2-1,-2-2 3,2 0-3,0 0 3,0 2 4,0-2-6,0 0 7,0 3 2,0-3-7,0 0 9,0 2-10,0-2 1,-3 2 2,3-2-2,0 0 2,0 3-46,0-3 32,0 2-35,-3-2 45,3 3-2,0-1-1,0-2-1,0 2-7,-1 1 5,1 0-6,0-3-9,0 1 7,0 2-9,-3-3 13,3 3-1,0-1 2,0 0-2,-3 1 3,3-1 18,0-2-12,0 3 11,-2-1-16,2-2 0,0 2-1,0 1 0,0-3-17,0 2 13,0-2-12,-2 2 14,2-2 3,0 3-3,0-1 2,0-2 7,0 0-5,0 3 4,0-3-9,0 0 11,0 2-9,0-2 11,0 2 19,0-2-22,0 0 28,0 3-2,0-3-15,0 0 19,0 0-23,0 3-3,0-3 2,0 0 1,0 1-2,0-1-4,0 0 3,0 3-4,0-3 6,0 0-7,0 3 4,0-3-7,0 0 20,0 2-11,2-2 11,-2 2 27,0-2 13,0 0 3,0 3-10,0-3 20,2 0-41,-2 0 49,0 2-56,3-2 15,-3 0-10,3 0 18,-2 0-14,2 0-5,0 0 2,1 0-5,-1 0-85,-1 0 25,3 0-88,0 0 83,-1 0-183,2-2 180,-2 2-141,1 0 189,0-3 0,3 3 0</inkml:trace>
  <inkml:trace contextRef="#ctx0" brushRef="#br0" timeOffset="149">7751 3294 9502,'4'0'-89,"-1"0"7,0 0 48,-1 0-86,0 0 130,1-3 75,-3 3 80,2 0 5,1 0 75,-3 0-51,4-2 19,-4 2-30,3 0-36,0-2-21,-2 2 36,2 0-83,2 0 45,-3-3-47,3 3 46,-2 0-66,1 0 64,2-2-57,-5 2 77,5 0-125,-2 0 20,1 0-105,2 0 104,-1 0-93,1 0 74,0-3-112,2 3 53,-2 0-22,3 0 56,-1-2-10,-1 0 47,4-1-23,-5 0 17,3 2 15,0-2-6,-3-2 10,3 3-19,-3-3 31,0 0-20,0 0 34,1 1-39,-1-2 26,-3 2-19,4-1 20,-4 0-74,2 0 49,-2-2-49,1 2 57,2-2-44,-2 2 27,0-2-29,-1-1-25,2 4 36,1-3-44,-2-1 45,-1 4-23,2-3 9,-2 1-13,1 2 16,-3-1 30,3 0-25,-2 3 23,-1-4-14,0 5-2,1-2 7,0 0-6,-3 1-29,1 0 20,2-1-21,0 3 3,-3-2 19,2 2-21,0-3 24,1 1-63,-1 0 40,1-1-45,-1 0 49,0 2-33,1-2 15,-1 3-21,0-3-8,1 1-7,-3 2-8,3-2 11,-3 2 52,2-3-9,-2 3-17,2 0 11,-4 0-15,2 3 36,-5-1-1,2 3 18,-1-1-20,-1 4 23,0-3-40,-2 2 16,2 1-16,-2-1 11,2 0 30,-2 0-22,2 1 23,0-1-27,-2 2 32,2-2-21,0 0 25,0 3-29,1-2 37,-2-1-27,2 3 32,-1-3 7,0 0-23,0 0 29,1 1-29,-2-1-21,2 0 19,-1-2-17,3-1-2,-3 3 9,0-4-12,0 4 15,1-4-12,1 2 8,-2-1-13,0 2 14,0-5 37,1 2-29,-1 0 30,3 1-20,-4-1-12,4-1 14,-3-2-12,1 3 34,1-3-20,-2 2 25,1-2-8,-2 0-19,4 2 23,-5-2-26,2 0-18,0 0 14,1 0-15,-2 0 17,-1 0 1,3 0-4,-4 0 1,4 0 27,-1 0-21,-2 0 21,2 0-26,-3 0 5,4 0-4,-3 0 7,2-2 13,0 0-11,-3-1 15,4 3-19,-3-5-23,2 3 21,0 0-21,0-1 27,1 0-55,-2 2 36,-1-5-41,5 4 16,-3 0 21,0-3-29,1 2 33,-2 1-8,4-3 1,-3 2-6,0-1-6,3 1 6,-3-1-6,1 1 13,-2 1-11,4-1 8,-3 1-7,0 2 8,1-2 7,1-1-5,1 3 6,-3-3 4,2 3-9,-1 0 11,1 0-12,1 0-14,-3 0 11,3 0-10,-3 0-2,3 0 12,-4 0-13,5 0 15,-5 0-16,4 0 10,0 0-13,-3 0 12,2 0 4,1 0-7,-3 0 5,2 0 1,2 0 0,-5 0 3,4 0-6,-3-1 16,3 1-12,-3 0 14,0 0-12,2-3 1,2 3 0,-5 0-1,2 0 17,1-3-11,-2 3 12,1 0-16,-2-2 4,5 2 0,-5 0 2,2 0 32,-1-2-27,0 2 29,-3-3-35,4 3-1,-1 0 2,0-2-1,0 2-18,1-3 16,-3 3-17,1 0 21,-1-2-13,2 2 8,-2-2-10,3 2 11,-4-3-8,1 1 4,-3 0-10,3-1 30,-3-2-18,3 3 18,-2-3-19,-4 3 44,4-6-29,-4 4 32,2-2-24,-1-1-12,-1 0 15,-1 0-15,2-1-85,0 4 17,0-6-79,0 5 85,2-2-368,1 0 125,1 2-265,1 3 325,2-3 99,0 2 131,3 1 0,0 0 0</inkml:trace>
  <inkml:trace contextRef="#ctx0" brushRef="#br0" timeOffset="150">1769 3101 8847,'-3'-3'-295,"3"3"576,0 0-118,0 0 29,0 0-162,0 3 3,0-3-6,0 0 10,0 0-10,0 0 18,0 2-13,0-2 16,0 0 17,0 3-22,0-3 23,0 0-33,0 2 21,0-2-7,0 2 10,0-2-10,0 3 22,3-3-14,-3 3 18,0-2-41,0-1 10,0 3-11,0-3-26,0 3-12,0-1-3,0-2 11,0 2-34,0-2 52,0 3-67,0-1 73,0-2-24,0 3 14,0-3-20,0 2 16,0-2-19,0 2 16,0 1-18,0 0 3,0-3 5,0 1-5,0 2 17,0-3-2,0 3 3,0-1-3,0 0 48,0-2-36,0 3 38,0-1-48,0 1 43,0-1-30,0-2 32,0 2-40,0 1 22,0 0-15,0-2 25,0 2-17,0 0 6,0-1-4,0 0-34,0 1 20,0-1-19,0 1 28,0-1-23,0 0 14,0 1-24,0-3 27,-3 2-28,3 0 20,0-2-25,0 3 26,0 0 1,0-1 1,0-2 3,0 2-2,0 1-4,0-3 3,0 2-3,0-2 22,0 2-12,0 1 13,0-3-3,0 2-13,0 1 13,0-1-14,0-2-26,0 2 20,0 1-20,0-3 27,0 3-39,-2-2 27,2-1-29,0 3 4,0 0 21,0-1-28,-3 0 23,3 1-3,0-3 1,0 2-3,0 1 42,-2-3-31,2 2 31,0 0-33,-2 1 11,2-3-5,0 3 7,0-2-5,0-1 1,0 3 1,-3 0 1,3-3 0,0 2-3,0 0 5,0-2-29,-3 3 19,3-3-20,0 2 16,0 1 23,-1-1-20,1 0 19,0-2-18,0 6 2,0-6 0,-3 1 1,3 2 11,0 0-5,-3-3 6,3 2-5,0 0-22,-2 1 12,2-1-10,-2 1 7,2-1 7,-3-2-6,3 2 5,0 1 3,-2 0-5,-1-2 2,3-1-3,0 3 15,-2 0-11,2-1 11,-2 0-14,2 1 44,-3-3-29,3 2 37,0 1-34,-2-1-2,2 0 1,-2-2-15,2 3 8,-3 0-7,3-2 11,-3 2 15,3 0-14,0-3 13,-2 2-14,2 0-16,-2 1 12,-1-3-15,3 2-1,0 1 10,-2-1-10,0 0-10,2-2 20,-3 3-23,3 0 25,-2-2-28,2 2 22,-3-3-26,1 5 28,2-5-6,-2 2 4,2 1-5,-3-1 3,0-2 11,3 3-7,-1-1 9,-2 0-13,3 1 18,-3-1-11,1 0 14,2 1-6,-2 0-6,-1-3 6,3 2-14,-2 0 4,-1 1-3,3-3 6,-2 2-16,2 0 10,-2-2-12,-1 3 17,3-3-24,0 2 16,-3 1-19,2-3 23,1 2-19,-3 0 13,3-2-17,-3 3 12,3-3-1,-2 3 0,0-3 4,-1 1 1,3-1-1,0 3 0,-2 0 7,-1-3-5,3 2 6,-2 0-7,2-2-1,-2 3 2,2-3-3,-3 2 3,0-2 9,3 3-6,-1-3 7,1 2 27,-3-2-27,3 2 29,-3-2-28,3 3-1,0-3 3,-2 3-4,2-3-10,-2 1 10,2-1-9,-3 3 14,3-3-28,-2 3 21,-1-3-22,3 2 23,-2-2-23,2 2 14,-2-2 3,2 3 4,-3-3 15,3 2-22,-3 1 38,2-3-27,-2 2 30,3-2-34,-3 2 18,1 1-10,2 0 13,-2-2-12,2-1 2,-3 3 2,1-3-2,2 3-26,-3-1 18,1-2-20,2 2 26,-2-2-34,-1 3 23,1-1-30,2-2-17,-2 3 32,-1-1-36,1 0 43,-1 1-5,3-3 1,-2 3-8,0-2 10,-1-1 0,0 3-2,2 0 3,-2-3 8,0 2-7,1 0 10,2 1 4,-2-3-11,-1 2 14,1 1-17,-1-1 7,3-2-5,-2 2 9,0 1-8,-1-3 0,3 3 0,-3-3-2,2 1 3,1 2-4,0-3 3,-3 3-4,3-3 3,-3 0-1,1 2 1,2-2-1,-2 2 0,2-2 1,-3 3 0,3-3 0,-2 2 0,2 1 0,-3-3 0,1 2-4,0 0 3,-1 1-3,1-3-2,0 3 3,-1-2-3,0 2 4,1-3-13,0 3 8,-1-1-9,3-2 13,-2 2 1,0 1-2,-1-3 0,3 2 5,-2-2-3,2 3 4,-3-1-6,1-2 8,2 2-6,0 1 7,-2-3-8,-1 2 7,3-2-5,-3 2 7,3 1 13,-1-3-13,1 3 15,-3-3-20,3 2 0,0-2 1,-3 0 0,1 2-7,2-2 6,0 3-4,-2-3 6,2 0-15,0 2 11,-3-2-11,3 2-2,-2-2 12,2 0-14,0 3 15,-3-3-1,3 2 1,-2-2-3,0 3 7,2-3-6,-3 2 7,0-2-7,3 2 2,-1 1-1,-2-3 2,3 3-1,-3-2-6,1-1 5,0 3-5,2-3 7,-3 3-19,1-3 13,2 2-15,-3 0 6,3-2 9,-2 3-11,0-3 7,2 0 2,-3 2-3,0-2 1,3 3 9,-1-3-8,1 0 8,-3 2-7,0-2 9,3 2-7,0-2 7,-2 3-7,0-3-7,-1 2 8,3-2-7,-2 2-9,-1-2 11,3 3-11,0-3 7,-2 2 5,2-2-5,-2 0 3,2 3 18,0-3-14,0 0 14,-3 0-17,3 2 2,0-2-2,0 0 3,-3 0-1,3 0-6,-1 2 5,1-2-5,0 0 8,-3 0-2,3 3 1,0-3 0,0 0-8,-3 0 4,3 0-6,0 3 3,-2-3 2,2 0-3,0 0 5,-2 0 0,2 1-1,0-1 2,-3 0-2,3 0 4,-2 0-2,2 0 3,0 3-8,-3-3 4,3 0-4,-2 0 4,2 0 9,0 0-5,-2 0 5,2 0 2,0 0-8,0 0 9,-3 3-10,3-3 12,0 0-9,0 0 10,-3 0-12,3 0 15,0 0-10,-1 0 12,1 0-6,-3 0-4,3 0 5,0 0-10,0 0 3,-3 0-2,3 0 2,0 2 4,-2-2-3,2 0 3,0 0-3,-2 0-23,2 0 17,0 2-20,0-2-12,-3 0 25,3 0-29,0 3 35,0-3-48,-2 0 34,2 0-38,0 0 31,0 0 6,-3 2-10,3-2 9,0 0-5,-2 0-1,2 3 0,0-3 1,-2 0-27,2 0 18,0 0-19,0 2 15,-3-2 11,3 0-12,0 2 10,0-2 24,0 0-18,-3 0 20,3 3 35,0-3-41,0 0 40,0 0-51,0 3 25,0-3-18,0 0 50,0 0-34,0 0 21,0 0-18,0 0 42,3 0-36,-3 0 37,3 0-45,-3 0 66,2 0-46,0 0 52,1-3-32,-1 3-15,1-3 18,-1 1-20,0 2-36,1-2 29,0 2-28,-2-3 36,2 3-26,0-2 20,-1 2-18,0-3 19,1 3-65,-1-2-27,1 2-112,-3-2 28,2 2-48,-2 0 113,2-3-92,-2 3-35,0 0-35,3 0-36,-3-3 164,0 3 45,3 0 81,-3-1 0,4-2 0</inkml:trace>
  <inkml:trace contextRef="#ctx0" brushRef="#br0" timeOffset="151">1561 3108 8618,'0'-2'478,"0"2"-395,0 0 59,0 0 2,0 0 50,0 0 108,0 0-113,0 0 100,0-3-86,0 3-20,0 0 118,0 0-140,0 0 57,0 0-150,0 3 23,0-3-23,0 0 21,0 0-57,3 2 37,-3-2-34,0 2 12,0-2-10,0 3-2,0-3 4,0 3-29,2-2-21,-2 2 6,0-3-5,3 3 2,-3-1 26,0 0-42,0 1 49,0-1 19,0 1-25,2-1 21,-2 3-2,0-2-5,0-2 7,0 2-10,0 0 37,0-1-24,0 0 31,0 1-76,0-1 30,0 1-21,0-1 32,0 0-62,0 1 41,0 0-50,2-3 59,-2 1-62,0 2 42,0 0-53,0-3 31,3 2 9,-3 0-15,0 1 12,0-1-9,2 1 1,-2-1-5,0 0 14,0 1 5,0 1-4,0-4 3,0 6 7,0-4-4,0 0 5,0 1-7,0-1 15,0 0-11,0 1 14,0-1-16,0 1 9,0-1-7,2 0 9,-2-2 8,0 3-9,0 0 11,0-2-17,0 2 1,0-3-1,0 3 3,0-1-10,0 0 6,3-2-6,-3 3 9,0-1-10,0-2 7,0 3-9,2-1 4,-2 0 2,0 1-2,0 0 2,0-2 1,0 2-2,0 0 2,0 1 4,0-4-3,0 5 3,0-2-4,0-1 10,0 0-7,0 1 9,0 0-10,0-2-2,0 2 1,0 0-1,0-3-2,0 2 4,0 0-4,0 1 4,0-1-52,0-2 37,0 3-40,0-3 42,0 2 3,0 0-6,0-2 2,0 3-27,0 0 16,0-2-19,0 2 21,0 0 26,-2-1-22,2 0 20,-3 1-4,3-1-11,0 1 13,0-1-14,-2 0 12,2-2-6,0 3 12,0-3 4,0 3-11,0-3 19,0 0-20,0 0 5,0 0-2,0-3 3,0 3-1,0-3 2,0 1 49,0 0-40,0-1 42,0 1-47,0-1 1,0 1 0,0-3 2,0 2-11,0 2 9,0-5-8,0 4 2,0-3 4,2 3-4,-2-3 6,0 0-16,0 1 11,0-2-14,0 4 16,0-3-5,0 0 3,3 1-6,-3-2-16,0 2 14,0-1-15,0 0 21,0 0-59,2 3 41,-2-3-46,0 1 57,0-2-68,0 4 49,-2-3-58,2 0 69,0 3-86,0 0 61,-3-1-52,3-1 66,0 1-1,0 0-8,0-1 29,-2 1-19,2 1 24,0 0-32,0-1 14,0-2-9,0 3 14,0 0-13,-2-4 11,2 5-7,0-2 11,0 0-10,0-1 6,0 1-5,0-2-21,0 3 14,0 0-20,0-1 24,0-1-43,-3 1 30,3 3-33,0-3 41,0 1 20,0 0-15,-2 2 12,2-3-20,0 3 0,0 0 2,0 0 2,-2 0 33,2-2-29,0 2 30,0 0-35,0 0 28,0 0-11,0-3 15,0 3 22,0 0-33,0 0 152,0 0-134,0 0 107,0 0-120,0 3 14,0-1-21,0-2 13,0 3-17,0-1 11,0 0 5,0 1-6,0 0-1,0-2-3,0 5-4,0-4 2,0 0 3,0 3 4,0 0 1,0 0 0,0-2 0,2 4 0,-2-3 0,0 1 0,0 2 18,0 0-13,2-1 15,-2 1-7,0 0-8,0 0 9,3 1-10,-3-4-3,0 3 4,0-2-3,2 0 4,-2 0-10,0-1 9,0 2-10,0-2 1,0-1 5,0 2-7,0-3 9,0 0-39,0 4 29,0-6-33,0 1 15,2 2 13,-2 0-15,0-1 19,0 0-23,0 1 13,0-1-15,0 1 18,0-1 14,0 0-14,0 1 13,0 1 10,0-4-15,0 6 18,0-4-23,0 0 43,0 1-30,0-3 36,0 2-26,0 1-9,0-3 16,0 0-19,0 2 13,0-2-44,0 0-11,0 0-42,0 0 26,0 2 13,0-2 27,0 0-22,0 3 8,0-3-14,0 0 40,0 3-10,0-3 11,0 1-17,0-1 26,0 3-20,0-3 26,0 3-32,0-3 73,0 0 29,0 0 46,0 0-32,0 0-40,0 0-5,0-3-26,0 3 32,0-3-34,0 3 7,0-1-2,0 1 2,0 0 1,0-3-43,0 3 28,0 0-33,0 0 5,3 0 15,-3 0-23,0 0 29,0 0 4,0 0-1,0 0-3,2 0-6,-2 0 5,0 0-4,0 0 46,0 0-31,3 0 32,-3 0-36,0 0 3,2 0 0,-2 0 5,2 0-20,-2 0 13,3 0-13,0 0 17,-2 0-32,2 0 23,0 0-25,-1 0 28,0 3-44,1-3 27,-1 0-31,1 1-22,-1-1 45,3 3-51,-2-3 14,-2 3 26,5-3-30,-4 0 38,3 2-28,-3-2 17,3 2-22,0-2 23,-2 0 16,1 0-14,-1 0 14,-1 0-17,3 0 27,-3 0-20,1 0 20,-1 0 27,-2 0-35,2 0 43,-2 0-18,3 0-16,-3 0 19,0-2-21,0 2-19,0 0 19,0 0 25,0 0-12,-3 0 28,3 0-39,-2 0 9,2 0-6,-2-2 6,-3 2-8,2 0 59,1 0-39,0 0 48,-1 0-51,-1 0 2,1-3-1,-2 3-3,0 0-26,3-3 23,-1 3-20,-1-1-6,1 1 19,-1 0-29,1 0 33,0 0-24,1-3 17,0 3-21,-1 0 21,1 0-7,2 0 5,-3 0 80,3 0-52,0 0 46,3 0-62,-1 0-16,1 3-3,-1-3 11,0 0-13,4 0 19,-2 0-57,1 0 41,-3 0-48,3 0 58,0 0-18,0 0 11,-2 0-21,-2 0 28,2 0-16,2 0 15,-5 0-76,2 0 49,1 0-52,-3 0-41,0 0 71,0 0-78,-3 0-163,3 0 64,-2 0-86,-3 0 163,2 0 145,-1 0 0,1 1 0</inkml:trace>
  <inkml:trace contextRef="#ctx0" brushRef="#br0" timeOffset="152">1291 3137 9214,'0'2'-198,"-2"-2"184,2 0-13,0 0 61,0 0-19,0 0 8,-3 0 10,3 0-11,-2 0 16,2 0 16,0 3-12,-2-3-9,2 0-7,-3 0 10,3 0 6,-3 0 15,3 3-6,-2-3-13,2 0 10,-2 0-11,-1 0-14,3 1 10,-2-1-12,0 0-31,2 0 34,-3 0-36,1 3 44,2-3-34,-3 0 21,1 0-25,2 0 24,-2 0-50,-1 0 31,3 3-36,-3-3 3,2 0 36,1 0-43,-3 0 47,3 2 19,-3-2-14,1 0 15,0 2-6,2-2-14,-3 0 15,3 0-14,-2 3-2,2-3 4,-3 0-3,3 0 6,-2 0-4,2 2 7,0-2-5,-2 0 24,2 3-19,-3-3 17,3 0-20,-3 2-17,3-2 12,-1 0-14,1 0-3,-3 0 14,3 2-16,-3-2 20,3 0-16,-2 0 10,0 3-12,2-3 14,-3 0-9,3 3 4,-2-3-9,2 0 21,-3 0-10,3 1 10,0-1-10,-2 0 52,2 0-35,0 0 38,-2 0-23,2 3-19,0-3 25,-3 0-26,3 0-18,-3 3 12,3-3-13,-1 0 21,1 0-26,0 0 17,-3 2-21,3-2-12,-3 0 25,3 0-29,-2 2 31,2-2-3,0 0-5,-2 0 1,2 0-1,-3 3 7,3-3-5,-2 0 3,2 2 5,0-2-3,-3 0 3,3 0-4,0 0 11,0 3-9,0-3 11,-2 0 4,2 0-10,0 0 12,-2 2-13,2-2-8,0 0 6,0 0-6,-3 2 0,3-2 5,0 0-5,0 0 7,0 3-32,-3-3 22,3 0-25,0 0 31,0 0-3,0 0-1,0 0-1,0 0 3,-1 0-3,1 0 2,0 2-7,0-2 4,0 0-1,0 0 12,0 0-6,0 0 7,-3 0-8,3 2 14,0-2-8,0 0 10,0 0-14,0 0 34,0 3-25,0-3 27,0 0 22,0 3-39,0-3 47,0 0-55,0 2 31,0-2-21,0 0 25,0 2-52,0-2 24,0 3-22,0-3 28,0 0-28,0 2 19,0-2-23,0 2 23,0-2 24,0 3-21,0-3 19,0 2-4,0 1-14,0-1 15,0-2-18,0 2 31,0 1-21,0 0 26,0-3-21,0 1-1,0 2 7,0 0-4,0-1-28,0-2 21,0 2-23,0 1 25,0-3 0,0 2-1,0 1-2,0-3 1,0 2-4,0 0 6,0 1-6,0-3-13,0 3 8,0-2-11,0-1 4,0 3 11,0 0-10,0-1 12,0-2-37,3 2 25,-3-2-29,0 3 37,0-1-42,0-2 29,0 3-34,0-1 34,0-2-2,0 2 0,0-2-1,0 3 13,0 0-10,0-3 10,0 0-9,0 1 0,0-1 1,0 3-1,0-3-10,0 3 7,0-3-5,0 2 9,0-2-11,0 2 7,0 1-9,0-1 0,0-2 7,0 3-8,0-3 7,0 2 29,0 0-23,0-2 22,0 3-26,0-3 2,0 3-1,0-2 1,0-1-6,0 3 4,0 0-2,0-1 7,0 0-32,0-2 23,0 3-25,0-1 7,0 1 16,0-3-20,-3 2 23,3-2-3,0 2 2,0 1-4,0-3 5,0 0-6,0 3 6,0-2-5,0-1 11,0 3-7,0 0 8,0-3-8,0 0 2,0 2 1,0-2 0,0 2-8,0-2 3,0 3-5,0-3 7,0 0-3,0 2 3,0-2-3,0 0 4,0 3-1,0-3 1,0 0-3,0 2 5,0-2-3,3 0 4,-3 0-5,0 2 6,0-2-5,0 0 6,0 0-9,0 0 3,0 0-2,0 0 3,0 3-21,1-3 15,-1 0-15,0 3 14,0-3 2,0 0-3,0 0 3,0 0 10,0 1-8,0-1 7,0 0-9,0 0 12,0 0-7,0 0 16,0 3-16,0-3 5,0 0-2,0 0-2,0 0-9,0 0 6,0 0-9,0 0-17,0 3 20,0-3-24,0 0 29,0 0-4,0 0 4,0 2-6,0-2 22,0 0-17,0 0 17,0 0 13,0 0-22,0 0 25,0 0-31,0 0 5,0 0-3,0 2 9,0-2-8,0 0 6,0 0-4,0 0 5,0 0-4,0 3-3,0-3 1,0 0-4,0 0 4,0 0 1,0 0-1,0 0-1,0 2-38,0-2 25,0 0-27,0 0-29,0 0 47,0 0-49,0 0 58,0 3-99,0-3 13,0 0-93,0 0 82,0 0-150,0 2 185,0-2-109,0 2 184,0-2 0,0 0 0</inkml:trace>
  <inkml:trace contextRef="#ctx0" brushRef="#br0" timeOffset="153">1805 3142 9502,'0'3'-911,"0"-3"747,0 0 92,0 0 72,0 0 0,0 0 0,0 0 0,0 0 0,3 0 0,-3 0 0,0 0 0,0 0 0,0 0 0,0 0 124,0 0-93,0 0 152,0 0-165,0 0 44,0 0 7,0 0 21,0 0 10,-3 0 47,3 0-27,0 0 71,0 0 123,0 1-93,0-1 325,0 0-357,0 0 182,0 0-289,0 0-20,0 0 25,0 0-26,3 0 30,-3 3-18,0-3 6,1 0-1,2 0 14,-3 0-74,3 0 55,-3 0-67,2 0 14,-2 0 34,2 3-32,1-3 13,-3 0 29,2 0-40,-2 2 35,3-2-14,-1 0 15,-2 2-14,2-2 13,-2 0-27,3 0 15,-3 3-18,3-3 24,-3 0-27,1 2 23,2-2-22,0 3-41,-3-3 48,2 2-50,-2-2 59,2 0-55,-2 0 32,3 2-38,-1-2 42,-2 0 6,0 3-13,3-3 9,-1 0-8,-2 3 6,2-3-5,1 0 3,-3 0 12,0 1-9,3-1 13,-3 0-46,1 3 27,-1-3-27,3 0 12,-3 3 3,0-3-11,0 0 15,3 0 45,-3 2-28,0-2 28,0 0-40,2 0 31,-2 0-25,0 2 27,0-2-32,2 0 59,-2 0-37,0 3 40,0-3-40,3 2-7,-3-2 13,0 0-9,0 0-30,2 3 20,-2-3-24,0 0 15,0 2 11,3-2-14,-3 2 13,0-2-16,2 3 8,-2-3-8,0 0 10,0 2 19,2-2-18,-2 0 13,3 2-14,-3-2-8,0 0 7,3 0-7,-3 3-8,0-3 13,0 0-14,1 3 19,-1-3-44,0 0 32,0 2-36,3-2 43,-3 0-4,0 2 5,0-2-8,3 3-11,-3-3 5,0 0-7,2 2 10,-2-2-7,0 2 6,0-2-6,2 0-9,-2 3-19,3-3 6,-3 2-5,0 1 16,0-1 7,2-2-8,-2 2 5,0-2 5,0 3-8,3 0 6,-3-3 3,2 0-2,-2 1 6,0 2-7,2-3 4,-2 3-3,0-1 6,3-2-4,-3 0 2,0 2-1,2 1 1,-2-3-2,2 2 0,-2-2 0,0 3-12,0-3 8,3 2-9,-3 0 12,0 1-24,0-3 16,0 3-17,0-3 28,3 1-6,-3-1 6,0 3-8,0 0 6,0-3-6,2 2 6,-2-2 15,0 2-15,0-2 18,2 0-21,-2 3 9,0-3-6,0 2 10,3-2-11,-3 3 5,2-3-3,-2 2 2,0-2-1,2 0-16,-2 2 11,0-2-14,3 3 9,-3-3 5,0 3-8,0-3 8,2 0-2,-2 1 1,0-1-1,0 3 6,0-3-3,3 3 3,-3-3-6,0 0-8,0 2 6,0-2-6,2 2 9,-2-2-3,0 3 3,0-3-3,0 2 11,0-2-6,2 0 5,-2 3 2,0-3-6,3 0 6,-3 2-8,0-2 3,0 0-2,3 2 3,-3-2-1,0 0-28,0 3 22,0-3-22,0 3 28,0-3-25,0 1 15,1-1-17,-1 0 28,0 0-5,0 3 4,0-3 39,3 0-36,-3 3 38,0-3-46,0 2 11,0-2-5,0 0 7,3 2-4,-3-2-6,0 3 11,0-3-8,0 0 12,0 2-26,2 1 19,-2-3-21,0 0-2,0 2 14,0-2-19,0 2 23,0-2-27,2 3 19,-2-3-23,0 3-13,0-3 23,0 1-27,0-1 35,3 3-25,-3 0 16,0-3-20,0 0 22,0 2-5,0-2 2,0 2-7,0-2 58,0 3-41,0-3 42,0 2 1,0-2-33,0 0 41,0 3-50,0-3 32,0 2-22,0-2 29,0 0-30,2 0 12,-2 2-9,0-2 10,0 0-14,0 0 8,0 3-8,0-3 3,0 0 2,0 3-5,0-3 5,0 0-23,0 1 17,3-1-18,-3 3 21,0-3-4,0 3 2,0-1-4,0-2 5,0 2 3,0-2-2,0 3 1,0-3-61,0 2 40,0-2-42,0 3-215,2-3 62,-2 2-183,0-2 146,0 2-254,0-2 323,2 3-211,-2-3 395,6 2 0,-5-2 0</inkml:trace>
  <inkml:trace contextRef="#ctx0" brushRef="#br0" timeOffset="154">1786 3168 8355,'0'-2'0,"0"2"0,0 0 0,0 0 0,0-2-11,0 2 12,0-3-7,0 3 14,0 0 46,0-2-31,0 2 35,0-3-43,0 3 1,0 0 3,0 0-2,0-2 19,0 2-13,0 0 17,2-2-34,-2 2 18,0 0-17,0 0 16,0-3 22,0 3-23,0 0 22,0 0 37,0 0 15,2 0 13,-2-3 109,0 3-138,0 0 27,0 0-67,0 3-58,0-3 64,0 3 27,0-1-28,0 0 25,0-2 2,0 3-24,0-1 22,-2 1-33,2-1 37,0 0-25,0 1 41,0 0-37,0-2-58,0 2 46,0 2-54,0-3 4,-2 1 44,2-1-52,0 1 23,0 1-22,0-1 1,-3-1-2,3 0 17,0 4 2,-3-4-8,3 3 4,0-3 16,0 3-16,-1 0 15,1-3-10,0 3 80,-3-1-53,3 2 57,0-2-29,0 1 13,-3-2 5,3 4-10,0-4-12,0 1-19,-2 1 28,2-3-67,-2 3 39,2-2-38,-3-1 44,3 3-52,-2-2 36,-1-2-35,1 2 38,0 0-25,2-1 7,-3 0-15,0 3-1,2-2 23,-5 1-26,4-1 27,0 1-10,-1 2 6,1-2-3,-1-1 35,3 2-24,-2-1 26,0 2-32,-1-2 33,3 1-20,-2-3 22,2 3-24,-2 0-6,2-3 7,-3 4-5,3-5 8,-3 5 0,3-4 0,-2 0 2,0 3-7,-1-2-33,3 1 27,-2-1-33,0-1 33,2 0-4,-3 4 0,1-4-26,-1 0 23,1 1-25,0 1 30,-1-1-7,0-1 3,2 1-3,1-1 4,-3 0 38,-2 1-27,5 0 31,-2 1-43,-1-1 6,1 1-3,-1-1-16,1-1 14,0 1-16,-1-1 19,0 3-35,2-2 28,-2-2-29,3 2 36,-3 0-30,1-1 19,-3 0-27,5 1 31,-2-1-19,-1 1 14,1-1-18,0 3 20,-4-2-7,5-2 6,-2 2-4,0 0 16,1-1-12,0 0 13,-1 1-12,1-1-1,-1-2 2,1 5-2,0-5 2,-1 5-2,3-5 1,-3 3 1,2-2-11,-2 2 7,0-3-8,1 3 8,2-1 0,-2-2 0,-1 2 0,3 1 11,-2-1-8,-1 1 8,1-1 24,0-2-21,-1 2 24,1 1-29,2 0 36,-2-2-24,-1 2 27,1 0-27,-1-3-23,1 2 21,0 0-19,-1 1-9,0-3 16,2 2-16,-2 1 22,0-3-36,1 2 24,0 0-33,-1-2 26,1 3 2,-1 0-4,1-3 2,0 1-8,-4 2 2,5-3-3,-2 3 7,0-1 1,1 0-1,0 1-1,-1-1 2,1-2 1,-1 3 0,1-1 25,0-2-18,-1 2 20,3 1-24,-2-3 14,0 0-8,-1 2 8,3-2-10,-3 2-5,3-2 5,-2 3-3,0-3 6,2 0-15,-3 3 12,3-3-13,-2 0 14,2 2-18,-2-2 11,2 0-13,0 0 0,-3 2 12,3-2-14,0 0-4,0 3 12,-2-3-13,2 0 16,-3 2-17,3-2 10,-2 2-13,2-2 18,-2 3 3,2-3-2,-3 0 1,3 2 10,-3-2-12,3 0 12,0 3-13,-1-3 12,-2 2-7,3-2 9,-3 0-24,3 2 9,-2-2-8,2 0 13,-2 3 0,2-3-1,-3 3-1,3-3 1,-2 1 1,2-1-1,-3 3 0,1-3-10,2 0 4,-2 3-5,-1-3 10,3 2-4,-3 0 5,2-2-7,-2 3-15,3-3 14,-3 2-14,1-2 18,0 3-10,2-3 7,-3 0-12,3 2 12,-2-2 9,-1 0-6,3 2 8,0-2-4,-2 3-7,0-3 7,2 2-6,-3-2 2,3 0 1,-3 2 0,3-2-7,-1 3 4,1-3-4,0 2 6,-3-2-16,3 0 10,-3 3-15,3-3 19,0 0-2,-2 0 1,2 2-2,-2-2 12,2 2-10,-3-2 10,3 0-12,0 3 10,-2-3-5,2 0 5,-3 0 6,3 3-11,0-3 13,-2 0-13,2 1-4,0-1 4,-2 0-4,2 0 6,0 0 2,0 0-2,0 3 1,0-3-18,0 0 12,-3 0-13,3 0 15,0 0 4,0 0-3,0 0 1,-3 3 2,3-3-5,0 0 6,0 0-5,-1 0 9,1 0-7,0 0 7,0 0-7,-3 2 8,3-2-5,0 0 6,0 2-38,-3-2 21,3 0-21,0 0-22,0 0-15,-2 3-1,2-3 3,0 0-86,0 0 21,-2 0-119,2 0 115,0 2-98,-3-2 63,3 0-95,-2 0 139,2 0 32,-3 0 99,3 3 0,-2-3 0</inkml:trace>
  <inkml:trace contextRef="#ctx0" brushRef="#br0" timeOffset="155">6218 3420 9502,'3'-6'-430,"-1"4"92,-2 2 262,3-2 93,-1 2 83,0-3 66,1 3-30,0-2 18,-1 0-21,3 2-23,-3-3-22,3 3 34,-3-2-35,3-1-10,0 1 3,-1-3-12,2 1-5,-2-2 16,4 4-17,-4-5 26,2 2-63,1-3-14,-3 1 0,4 0-55,-1-2 49,0-1-25,0 0 20,1 1-5,-4-4 0,3 4-23,1-4 21,-1 4-29,-2-3 50,0 3-52,-1-4-9,2 4 37,-2-1-42,-1 3 56,-1-3-68,1 3 44,-1-1-49,-2 4-38,0 1 26,2-1-106,-2 1 102,0 1-145,0-1-57,0 3 68,0 0-17,-2 3 236,2-1 0,-5 3 0</inkml:trace>
  <inkml:trace contextRef="#ctx0" brushRef="#br0" timeOffset="156">1332 3320 8199,'0'0'116,"0"0"-15,0 0 102,0 0-37,0-2 23,0 2 644,0 0-572,0 0 485,0 0-800,0 0 23,-2 0 12,2 0-10,0 2 32,0-2-34,-3 0 9,3 0-7,0 0 7,-2 0 16,2 3-22,-3-3 19,3 0 16,-2 3-22,0-3 21,2 1-17,-3-1 12,0 0-10,2 3-58,-2-3 47,0 0-50,3 3 64,-2-3-49,0 2 32,-1-2-35,3 0 41,-2 2 0,-1-2-3,3 0-4,0 0 21,-2 0-18,2 0 17,0 0-23,-2 3 29,2-3-21,0 0 23,-3 0 5,3 0-19,0 0 27,0 0-30,0 0 15,0 0-10,0 2 12,0-2-12,0 0 7,0 0-5,0 3 3,0-3-2,0 0 0,0 0 0,0 0-3,0 0 30,0 0-21,0 0 22,0 2-10,0-2-9,0 0 11,0 0-7,0 0-7,0 0 7,0 2-6,0-2 40,0 0-29,0 0 34,0 0-23,0 3-7,0-3 11,0 0-13,0 0 25,0 0-17,0 0 19,3 3 12,-3-3-29,0 0 35,0 0-41,0 1 12,2-1-8,-2 3 10,0-3-2,0 3 10,0-3-5,0 0 3,0 2-17,2 0 5,-2-2 1,0 3 2,0-1-15,0-2 8,0 5-17,0-5 2,0 2 13,3 1-14,-3 0 16,0-2-25,0 2 15,0 0-17,0-1 23,2 0 1,-2 1-3,0-1 2,0-2 18,3 3-14,-3-1 18,0 0-22,0 3 41,2-3-31,-2 1 33,0 0-2,0-1-21,0 0 25,2 1-29,-2 1 19,0-1-12,0-1 15,0 1-13,0-1-28,0 0 24,3 1-25,-3 0 16,0-2 4,3-1 0,-3 3 2,0 0-56,1-3 38,-1 2-48,0 0 0,0-2 38,3 3-42,-3-3 48,0 2-36,0-2 19,0 3-24,0-1 31,0-2-31,0 2 21,0 1-28,0-3 31,0 3-1,0-2-3,0-1 4,0 3 0,0-3-2,0 3 4,0-3-1,0 2-1,0-2 2,0 2-2,0-2-22,0 3 16,0-3-16,3 2 21,-3-2 5,0 0-5,0 3 5,0-3-21,0 2 10,0-2-11,0 0 12,0 2 13,0 1-10,0-3 11,2 3-7,-2-3-3,0 1 4,0-1-5,0 0 12,0 3-9,0-3 10,0 0-11,0 0-10,0 3 7,0-3-6,0 0-15,0 2 17,0-2-18,0 0 23,0 0 0,0 2-2,0-2 1,0 3-5,0-3 22,0 0-17,0 2 17,0-2 9,0 0-20,0 0 22,0 3-26,0-3 18,0 2-7,0-2 11,0 2-9,0-2 4,0 3 1,0-3 0,0 3 3,0-3-9,0 1 7,0-1-6,0 3-15,0-3 10,0 3-11,0-3 0,0 2 9,0-2-10,0 2 13,0-2-6,0 0 4,0 3-5,0-3 3,0 2 10,0-2-10,0 3 9,0-3-6,0 2-2,0-2 4,0 0-7,0 2 4,0-2-4,0 3 4,0-3-6,0 3 5,0-3-4,0 0 5,0 1-14,0-1 9,0 3-9,0 0 9,0-3 3,0 0-4,0 2 2,0 0 0,0-2 0,0 3-1,0-3 2,2 0-1,-2 2 2,0-2-2,0 3 2,0-3-2,0 2 3,0-2-3,0 2 2,0-2-1,0 3 1,0-3 0,0 3-1,0-3 1,0 1-1,0-1 0,0 3 0,0-3 0,0 3 0,0-3 0,0 2 0,0-2 0,0 0-14,0 2 10,0-2-10,0 3 13,0-3-13,0 0 9,0 2-11,0-2 13,0 3-2,0-3 2,0 0-3,0 2 10,0-2-7,0 2 7,3-2-5,-3 3-2,0-3 3,0 0-4,0 2 8,0-2-5,0 2 9,0-2-10,0 3 7,0-3-5,0 0 3,0 3-17,0-3 11,0 0-11,0 2 2,2-2 8,-2 0-9,0 2 10,0-2 4,0 0-3,0 3 3,0-3-4,0 0 2,0 2-3,0-2 2,0 0-3,0 2 10,0-2-7,0 0 8,0 3-13,0-3 3,0 0-1,0 2 4,0-2-3,0 0 2,0 3-4,0-3-17,0 0 13,0 2-15,0-2 19,0 0-12,0 0 7,0 2-9,0-2 10,0 0 0,0 0-2,0 3 1,0-3 11,0 0-6,0 0 7,0 0 5,0 3-12,0-3 14,0 0-16,0 0 12,0 0-7,0 1 9,0-1-9,0 0-11,0 0 8,0 3-8,0-3 10,0 0 0,0 3 1,-2-3-1,2 0-9,0 0 7,0 0-8,0 2 8,0-2 6,0 0-5,0 0 2,0 2 0,0-4 0,0 2 3,0 0 3,2 0-4,-2 0 1,0 0 2,0-2-4,0 2 55,0 0-38,0 0 41,0 0-51,0 0 5,3 0-3,-3 0 8,0 0-15,0 0 12,0 0-11,0 0 13,0 0-29,2 0 21,-2 0-23,0 0 10,0 0 8,0 0-10,0-3 6,0 3-31,2 0 16,-2 0-20,0 0 26,3 0 6,-3 0-5,0 0 5,0 0-20,0 0 13,3-3-15,-3 3 20,0 0-3,1 0 3,-1 0-3,0 0 3,0 0-2,3 0 3,-3 0 6,0 0-5,0 0 5,0-1-8,3 1-22,-3 0 15,0 0-14,0 0 34,0 0-9,2 0 8,-2 0-12,0 0-33,0 0 25,0-3-26,0 3 30,2 0 3,-2 0-5,0 0 4,0 0-4,0 0 5,0 0-4,0 0 2,3-3 11,-3 3-12,0 0 15,0 0 11,0 0-17,0 0 19,0 0-26,0 0 20,2 0-12,-2 0 24,0 0-42,0 0 20,0-2-20,0 2 1,0 0 12,0 0-11,0 0 14,0 0 1,0 0 6,0 0-6,0-2 23,0 2-21,0 0 14,0 0 11,0 0-15,0 0 18,0-3-23,0 3 27,0 0-17,0 0 20,0 0-15,0 0-8,0 0 10,0-2-10,0 2 8,0 0-6,0 0 8,0 0-9,0-3 13,0 3-8,0 0 9,0-2-2,0 2-5,0 0 5,0-2 9,0 2-11,0 0 13,0-3-16,0 3-14,0 0 8,0-2-8,-2 2 16,2 0-17,0-2 13,0 2-14,0-3-20,0 3 24,0 0-26,0-3 33,0 3-25,0-2 16,0 2-22,0-2 58,-3 2-28,3 0 28,0-3-36,0 1 37,0 2-26,0-2 28,0 2-30,0 0 18,0-3-9,0 3 12,0-2-17,0-1-2,0 3 8,0-2-4,0 2-29,0-2 20,-2 2-26,2-3-2,0 3 25,0-3-27,0 3 30,0-1-13,0 1 5,0-3-7,0 3 7,0-3 1,0 3-2,0-2 1,0 2-1,0-2 0,0 2 0,0-3 1,0 3-2,0-2 3,0 2-2,-2-3-1,2 3 4,0-2-4,0 0 4,0 2 4,0 0-3,0-3 4,0 0-7,0 3 22,0-1-16,0 1 19,0-3-22,0 0-3,0 3 4,0-2-3,0 2 1,0-2 2,0 2-3,0-3 2,0 3 1,0-2-1,-3-1 2,3 3-11,0 0 8,0-2-8,0 2 9,0-2-11,0 2 8,0-3-10,0 3-4,0-3 10,0 3-9,0-1 12,-3-2-5,3 3 3,0 0-4,0-3 4,0 1 1,0 2-2,0-2 1,0 2 0,0-3 0,0 3 1,0-2-2,0 2 3,-1 0-2,1-3 4,0 3-4,0-2 2,0 2-1,0-2 3,0 2-2,0 0-1,-3-3 1,3 3 3,0 0-3,0-3 4,0 3-5,0-1 0,0 1 0,0-3 1,0 3 0,0-3-1,-3 3 0,3-2 0,0 2 1,0-2-2,0 2 2,0-3-2,0 3 6,0-2-2,0 2 2,0-3-4,0 3 14,0-2-10,0 2 12,0-2-17,0-1 3,0 3-3,0 0 4,0-3 11,0 3-8,0-1 9,0 1-15,0-3 3,-2 3-2,2 0 3,0-3-10,0 3 8,0-2-9,0 2-20,0-2 21,0 2-23,0-3 28,0 3-2,0 0 0,0-2-1,0 2-1,-2-3 6,2 3-6,0 0 4,0-2-5,0 2 8,0-2-6,0 2 7,0 0-4,0-3-1,0 3 2,0-3 2,0 3-2,0-1 3,-3 1-3,3 0 21,0-3-16,0 3 17,0 0-21,0-3 6,0 3-5,0 0 7,-2 0-9,2-2 2,0 0-2,0 2 3,0 0-8,0-3 7,0 3-7,0 0 4,-3-2 3,3 2-4,0-3 4,0 3-8,0 0 6,0-2-8,0 2 7,0-2-14,0 2 11,0 0-11,0-3 14,0 3-15,0-2 10,0 2-12,0 0 19,0-2-5,0 2 5,0 0 0,0-3-4,0 3 5,0 0-7,0 0 5,0-3-4,0 3 3,0 0-3,0-2 16,0 2-12,0-2 15,0 2-16,0 0 10,0-3-8,0 3 6,0-2-1,0 2-3,0-2 3,0 2-9,0-3 5,-2 3-5,2 0 4,0-2-4,0 2 3,0-3-3,0 3 3,0 0-1,0-2 0,0 2 0,0 0-38,0-2 29,0 2-32,0-3 39,0 3-8,0 0 5,0-3-7,0 3 17,-2 0-10,2-1 10,0 1-13,0 0 10,0-3-7,0 3 7,0-3-8,0 3-36,0-2 27,0 2-28,0 0 37,0-2 0,0 2 1,0-3-1,0 3 10,0-2-8,0 2 5,0-3 7,0 3-15,0-2 15,0 2-16,0-2 14,0 2-10,0-3 12,0 3-12,0-3-17,0 2 16,0 1-14,0-3 18,0 3 0,0 0-1,0-3 1,0 3-15,0 0 7,-3-2-7,3 2 7,0 0 3,0-2-3,0 2 2,0 0-10,0 0 7,0-3-6,0 3 9,0-2-13,0 2 8,0 0-10,0-3 29,0 3-14,0 0 15,0-2-18,0 2 12,0 0-8,0-2 9,0 2 23,0-3-24,0 3 27,0 0-32,0-3-90,3 3 21,-3 0-80,0 0 88,0-1-355,2 1 322,-2 0-271,2-3 368,1 3 0,-1-3 0</inkml:trace>
  <inkml:trace contextRef="#ctx0" brushRef="#br0" timeOffset="157">6129 3598 9502,'0'-4'-985,"0"-2"927,3 4 58,-1 0 54,0-3 12,4 2 11,-5-1-12,2-3 14,2 1 16,-3 2 13,1-4-16,2 1 0,-3 0 5,3 0 6,-1-3 36,-1 2-63,4 1 30,-4-2-37,2 2 22,2-3-12,-3 0 19,2 3-38,1-1 9,-3 1-11,1 0 16,2 0-48,-1 2-13,1-2 0,-3 2 8,4 0-26,-4 1-23,3-1-16,1 0 22,-1 0-12,0 1-14,0-2-21,1-1-122,-1 2 78,0 1-116,0-2 112,-1 2-220,-2 1 109,-1-1-63,2 4 150,-3-3 141,0 1 0,-2-1 0</inkml:trace>
  <inkml:trace contextRef="#ctx0" brushRef="#br0" timeOffset="158">1318 3335 9175,'2'0'-220,"-2"0"213,0 0 77,0 2-77,0-2 38,0 0-37,0 0 47,-2 0-81,2 3 13,-3-3-75,0 2-31,2-2 31,-2 3-72,0-3 109,3 0 1,-4 2 64,4 0 0,-3-2 0</inkml:trace>
  <inkml:trace contextRef="#ctx0" brushRef="#br0" timeOffset="159">1305 3340 9502,'0'0'-879,"-2"0"768,2 0 54,0 0 16,0 0 62,-2 0-2,2 0 1,0 0 30,0 0-22,-3 0 24,3 0-27,0 0 41,0 0-27,-2 0 29,2 0-40,0 0 4,-3 0 2,3 2 3,0-2-3,0 3-34,0-3 21,-2 0-22,2 2 8,0-2 16,0 2-17,0-2-3,-2 3 17,2-3-23,0 3 27,-3-3-11,3 1 8,0 2-10,-2-3 6,2 3-21,0-3 17,0 2-15,0-2 12,0 2 3,0-2-4,0 3 6,0-3 30,0 2-22,0 1 23,0-3-30,0 2 7,0 0-6,0 1 9,0 0-16,0-3 9,0 1-8,0 2 13,0 0-6,0-1 8,0 0-8,0 1 13,0-1 6,0 1-4,0-1 3,0 0 2,0 1-13,2-1 13,-2 0-26,0 1 8,3 0-5,-3-1 11,0 0-2,0 1 3,2-3-5,-2 2 5,0 0-42,0 1 28,0-1-31,0 1 33,2-1-27,-2 0 14,0 1-17,0 0 13,0-3 12,0 1-15,0 5 16,0-4-4,0 0 5,3 1-7,-3-1 41,0 1-30,0-1 30,0 0-34,0 1 15,0 0-7,0-2 8,0 2-7,2 0 8,-2-1-2,0 0 6,0 1-32,0-1 14,0 1-18,0-3-16,0 2 28,3 3-30,-3-5 36,0 4-12,0-1 7,0 0-10,0-1 7,2 0 21,-2 1-18,0-1 14,0 1 25,2 1-31,-2-1 35,0 0-35,0-2-27,0 2 26,0 0-25,3-1-24,-3 0 33,0 1-35,0 2 47,0-3-36,3 0 24,-3 1-34,0 0 37,0-2 2,0 2-1,1 0-2,-1-1-4,0 0-4,0 1 3,0-1 2,0-2 4,0 3-2,0-1 3,0 0 4,3 1-7,-3 0 11,0-2-11,0-1 26,0 6-20,0-6 18,0 2-22,0 0 34,0 1-23,0-3 26,0 2-11,0 1-12,0-3 14,0 2-14,0 0-7,3-2 9,-3 3-9,0-3-15,0 2 13,0 0-14,0-2 21,0 3-18,0 0 11,0-3-18,2 2 21,-2-2-48,0 2 31,0-2-32,0 3 34,0-3-22,0 2 13,0 0-17,0-2-9,0 3 26,0-3-30,0 2 36,0-2-14,0 3 9,0-3-13,0 2 24,0 0-16,0-2 16,0 3-17,0-3 32,0 3-21,0-3 24,0 1-15,0-1-5,0 0 7,0 3-47,0-3 27,0 0-31,0 3 40,0-3-11,0 0 6,0 0-8,2 2 6,-2-2-74,0 0 44,0 0-51,0 0 2,0 0-8,0-2-5,0 2-159,0-3 88,0 0-41,0 2 101,0-2 116,-2-2 0,2 3 0</inkml:trace>
  <inkml:trace contextRef="#ctx0" brushRef="#br0" timeOffset="160">1322 3352 8916,'3'3'89,"-3"-2"-122,0 2 0,-3 0 49,3-1-53,0 0 54,0 3-51,-2 0 29,2 3-31,0-4 44,0 3-9,-2 1-4,2-1-3,2 0 75,-2 0 23,0 0 0,2-2-16,1 0-48,-3 0-8,2-1 19,-2 2-91,0-4 23,3 0-71,-3 1 75,0-1-132,0-2 23,0 0-24,0 3 47,0-3 113,0 0 0,-3 0 0</inkml:trace>
  <inkml:trace contextRef="#ctx0" brushRef="#br0" timeOffset="161">1557 3424 9233,'2'0'-137,"-2"0"227,2 0 175,-2 0-145,0 0 129,0 0-160,0 0-41,0 3 8,0-3-16,-2 2 20,2 0 45,-2 1-33,2 2 34,-3-3-39,0 3-39,2-1 31,-2 2-23,0-2 25,1 1-33,0 2 20,-1 0-29,1 1-18,-1-1-9,1 0-14,-3 3 21,2-3-19,2 1-10,-2-1-18,0-3-47,1 2 19,0-2 10,-1 1-11,1-2 12,2-1-38,0 0-147,0-2 119,0 0-45,0 0 125,0-2 14,0 2-36,0-2 21,0-1-15,0 1 7,0-1 67,0 3-49,2-2 58,-2 0-65,0-1 53,3 0 6,-3 2 14,0-2-17,2 3 38,-2-5-56,2 3 64,-2-1-62,3 1 4,-3-1-1,3 1 8,-3 0 13,1-1 0,-1 0 2,3-1 0,-3 1-17,3 1 14,-3 0-16,2-1 24,-2 1-16,0 2 19,0-3-25,0 3 65,0-2-41,0 2 86,0 0-83,0 0 25,0 2-32,-2 1-3,-1-1 8,0 1-3,2 1-12,-2 2 9,0-2-8,1 1 10,0 0-13,-1 0 11,1-1-17,-1 2 20,1-2-7,-3 3 3,5-2-6,-2-2-26,2 1 18,-2-1-19,2 0 2,0-3 18,0 1-14,-3-1 9,6 0 9,-3-1-12,0-2 9,2 0-14,-2 1 7,2-3-11,1 0 71,-1 1-41,3-3 45,-3 1-58,1-1 58,-1 0 13,3-2 11,-2-1 47,1 0-26,1 1 0,-3-4 3,3 4-93,0-4 35,-3 1-30,4 3 38,-5 1-65,2 1 3,-3 3-17,3 1-60,-3 1 57,0 4-66,0-2 62,0 0-2,0 3 35,0-1-72,-3 0 53,3 1-57,0-3 62,0 2-13,0-2 12,0 2 1,0-2 12,0 3-3,3-3 5,-3 0-8,0 3 0,0-3-6,0 0 4,0 0-19,0 0 12,2 0-8,-2 0 22,0 0-4,0 0 4,2 0-7,-2 0 22,0 0-16,0 0 18,3 0-23,-3 0 30,0 0-22,2 0 25,-2 0-30,3 0 37,-3 0-24,2 0 32,-2 0 21,2 0-20,-2 0 25,3 0-32,-1 2-24,0-2 16,-2 0-13,5 0-34,-2 0 26,-3 0-33,2 2 44,0-2-45,1 0 31,1 3-39,-1-3 45,0 0-46,-1 2 33,0 0-40,1-2 43,2 3-31,-5-1 23,2-2-24,0 3-21,1-3 26,0 0-30,-3 0-6,1 0-9,-1 0-51,0 0 43,0 0 0,0 0 47,-1 0 0,1 0 1,-6-3-5,4 3 0,0-2-13,-1 2 12,-2-3-6,3 3 25,0-2-15,-1 2 16,0-2-12,-1 2 40,4 0 23,-3 0-7,1 0 76,2 0-63,-2 0 78,2 0-79,0 0 46,0 0-31,0 2 22,2 0-19,0 1 32,1-1-54,1 1 61,2-1-121,-2 0 0,1-2-15,0 3-65,-3-3 69,4 3-79,-2-3 81,-1 0-4,-1 0 43,0 1-9,-2-1 0,3 3 0</inkml:trace>
  <inkml:trace contextRef="#ctx0" brushRef="#br0" timeOffset="162">2561 3588 9502,'-3'3'-967,"3"-3"1001,-3 0 165,3 0-66,0 0-79,0 0-53,0 0 20,0 0-7,0 3 126,0-3 194,0 0-153,0 0 85,0 0-272,0-3-12,0 3 13,0-3 5,0 3-5,0-2-19,0 2 19,0-2-34,0-1 49,0 3-55,0-2 45,0-1-6,3 1 1,-3 0-7,0 2 16,0-3-13,0 0 14,0 2 12,0 1-8,0-3 10,0 0-14,3 1-10,-3 2 8,0-2-7,0-1 10,0 3-18,0-2 13,0-1-13,0 3 1,0 0 11,0-2-13,0 2 14,0-2-2,0 2 0,0 0-5,0 0 26,0-3-20,0 3 22,0 0-23,0 0 3,0 0 0,0 0 1,0-3-5,0 3 4,0 0-2,0 0 3,0 0 1,0 0-5,-3 0 19,3 0-15,0 0 15,0 0-6,0 3 0,0-3 6,0 0-7,-3 0 9,3 0-11,0 0 13,0 3-28,0-3 13,0 0-14,0 0 23,0 0-7,0 0 7,0 0-9,0 0 32,0 0-25,-2 0 24,2 2-30,0-2 8,0 0-5,0 0 5,0 0 11,0 0-12,-2 0 18,2 0-44,0 0 23,0 0-21,-3 0 24,3 0-29,0 0 19,-2 0-22,2 0 27,-2 0-8,2 0 4,-3 0-9,3 0 15,-2 0-8,-1 0 7,1 0-10,2 0 28,-2 2-20,2-2 22,-3 0-20,0 0-2,2 0 6,1 0-5,-3 0-17,3 0 12,0 0-12,-3 0 17,3 0-16,0 0 11,0 0-17,-2 0 6,2 0 6,0 0-8,0 0 8,0 0-3,0 0-1,0 0-1,-2 0-14,2 0 15,0 0-15,0 0 18,0 0-7,-3 0 5,3 0-6,0 0 2,0 0-2,0 0-36,0 0 61,0 0-50,0 0 58,-2 0 18,2 0-36,0 0 44,0 0-49,0 0 9,0 0-4,0 3 10,0-3-18,0 0 16,0 0-15,0 0 4,0 2 2,0-2-6,0 0 7,0 0 21,0 0-15,0 0 15,0 3-20,2-3 54,-2 0-39,0 0 44,0 0-65,0 2 14,0-2-12,0 0 18,0 0-21,0 0 17,0 0-17,0 0-37,0 0 37,0 2-44,0-2 55,0 0-30,0 0 21,0 0-30,3 3 56,-3-3-27,0 0 25,0 3-32,0-3 47,0 0-31,0 0 34,2 0-37,-2 0 3,0 1 2,0-1-1,0 0-4,0 3 1,0-3 2,2 0 2,-2 3-21,0-3 14,0 0-19,0 0 2,0 2 16,0-2-23,3 2 23,-3-2 27,0 0-20,0 3 23,0-3-31,0 0 8,0 2-5,0-2 9,0 0-20,3 0 11,-3 0-11,0 0 14,0 3-10,0-3 9,0 0-8,0 2 12,1-2-3,-1 0 0,0 2-4,0-2 17,0 0-11,3 0 11,-3 0-16,0 3-11,0-3 9,0 0-7,0 3 11,0-3-13,0 0 8,0 0-9,0 1-1,0-1 10,0 0-11,0 0 11,0 0-3,0 0-3,0 3 1,0-3 16,0 0-9,0 0 12,0 0-15,0 0 43,0 3-28,0-3 31,0 0-33,0 0-5,0 0 7,0 0-5,-3 0 3,3 0-1,0 0 1,0 0 20,0 0-13,-1 2 13,1-2-11,0 0-7,0 0 6,0 0-8,-3 0-17,3 0 13,0 0-10,-3 0 17,3 0-33,0 0 24,-2 0-29,2 0 6,-2 0 18,2 0-23,-3 0 12,3 2 4,-2-2-7,-1 0 9,3 0 22,-2 0-18,2 0 16,-2 0-18,2 0 13,-3 3-9,3-3 11,-3 0-10,2 0 33,-2 0-22,3 0 24,-3 0-10,1 0-15,2 0 19,-2 0-10,-1 0-5,3 0 5,-2 0-5,2 0-12,-3 0 10,1 0-10,2 0 10,-2 0-7,2 0 4,-3 0-2,3 0 4,-3 0-18,3 0 9,-1 0-13,1 2 13,-3-2 5,3 0-5,-3 0 6,3 0-15,-2 0 10,2 0-10,-2 0 0,2 0 7,-3 0-7,3 0 9,-2 0-3,2 0 1,-3 0-1,3 0 11,-2 0-5,2 0 6,-2 3-10,2-3-2,-3 0 2,0 0-1,3 0 3,0 0-14,-1 0 10,1 0-10,-3 0 19,3 0-4,-3 0 4,3 0-6,0 0-15,-2 0 10,2 0-11,-2 0 13,2 0-12,-3 0 9,3 2-9,0-2 11,-2 0-2,2 0 2,-3 0-2,3 0-6,-2 0 4,2 0-5,-2 0 1,2 0 4,-3 0-5,3 0 6,-3 2-3,3-2 3,-1 0-2,1 0 2,0 3 16,-3-3-12,3 0 14,-3 0-16,3 0 0,-2 0 1,2 0 0,-2 0-4,2 2 4,-3-2-3,3 0-10,-2 0 9,2 0-9,-3 0 11,3 0-6,-2 2 5,2-2-7,0 0 7,-2 0-4,2 0 3,-3 0-5,3 0 18,0 0-12,0 0 13,-3 0-14,3 0 2,0 0-1,-1 0 3,1 0-3,0 0 2,0 0-2,0 0 2,0 0-9,-3 0 7,3 0-6,0 0 8,0 0-42,0 0 29,0 0-41,0 0 46,-3 0-11,3 0 5,0 0 0,0 0-1,0 0 2,0 0 3,-2 0-4,2 0 4,0 0-2,0 0 1,0 0-1,-2 0 2,2 0 1,0 0 3,0 3 0,-3-3 1,3 0-28,0 0 16,0 0-18,0 0 35,0 0-14,0 0 45,0 0-31,0 0 23,-2 0-20,2 0-3,0 0-1,0 0 7,0 0-19,0 0 13,0 0-19,-3 0 15,3 0-5,0 0 33,0 0-19,0 0 32,0 0-53,0 0 21,0 0-25,-2-3 21,2 3-18,0 0 12,0 0-16,0 0 18,0 0-24,0 0 17,0 0-19,0-2 21,0 2-8,0 0 6,0 0-8,0 0 4,0 0 0,0-2-5,0 2 7,0 0-3,0 0 4,0 0 15,0 0-11,0 0 13,0 0-16,0 0 15,0 0-11,0-3 13,0 3-23,0 0 7,0 0-6,0 0 10,0 0-19,0-2 14,0 2-14,0 0 9,0 0 5,0 0-7,0 0 8,0 0 5,0-2-4,0 2 2,0 0-4,0 0 12,-2 0-9,2 0 11,0 0 0,0-3-9,0 3 11,0 0-11,0 0 0,0 0 1,0 0 1,-3 0-3,3 0 3,0 0-3,0-2 2,0 2-7,0 0 4,0 0-3,-2 0 4,2 0-1,0 0-1,0 0 0,0 0 7,0 0-3,0-3 3,0 3-5,-2 0 6,2 0-5,0 0 8,0 0-4,-3 0-2,3 0 3,0 0-4,0 0 2,0 0 0,-3 0 0,3-2 0,0 2-1,0 0 1,-2 0-1,2 0 0,0 0 0,0 0 0,0 0 0,0 0-12,0 0 9,0 0-8,-2 0 10,2 0-12,0 0 9,0 0-10,0 0-31,0 0 29,-3 0-35,3 0 50,0 0-11,0 0 12,0 0-15,0 0-6,0 0 21,-2 0 72,2 0-72,0 0 60,0 0-104,0 0 24,0 0 15,0 0-1,0 0 5,0-2-7,0 2 5,0 0-3,2 0 7,-2 0-11,0 0 7,0 0-6,0 0 5,0-3-2,0 3 0,3 0 0,-3 0 2,0-3-2,0 3 2,0 0-3,0 0-4,0 0 4,0 0-3,2-1 3,-2 1-7,0 0 5,0 0-5,0 0 9,0 0-2,0 0 1,0-3-2,0 3 14,0 0-9,0 0 10,0 0-9,0 0-3,0-3 16,0 3-11,0 0 22,0 0-19,0 0 11,0 0-13,0 0 2,0 0 16,0 0-12,-2 0 13,2 0-17,0 0 3,0 0-2,-3 0 4,3 0-3,0 0 4,-2 0-1,2 0 1,0 0 0,0 0 12,-2 0-5,2 0 7,0 0-28,-3 0 10,3 0-12,0 0 6,-2 3 6,2-3-6,0 0 6,-3 0 0,3 0-1,0 0 1,0 0 0,-2 0-3,2 0 1,0 3-2,0-3 1,-2 0 5,2 0-4,-3 0 5,3 0 13,0 0-12,0 0 13,0 0-21,0 0 4,-3 0-3,3 0 4,0 1 1,0-1-1,-1 0 3,1 0-2,0 0-7,0 0 4,-3 0-6,3 0 7,0 0 2,0 0-1,-3 0-1,3 0 5,0 0-6,0 0 5,0 0 20,0 0-16,-2 3 19,2-3-25,0 0 39,0 0-28,0 0 33,-2 0-40,2 0 25,0 0-17,0 0 18,0 0-20,-3 0 3,3 0-3,0 0 3,0 0-20,0 0 17,0 0-18,-2 0-27,2 0 33,0 0-40,-3 0 49,3 0-35,0 0 24,0 0-31,-2 0 34,2 0-19,0 0 13,0 0-14,-2 0 13,2 0-3,0 0 2,0 0 21,0 0-14,-3 0 16,3 0-20,0 0 12,-3 0-8,3 0 11,0 0-13,0 0 47,-1 0-33,1 0 39,0 0-48,0 0-9,-3 0 7,3 0-6,0 0-11,-3 0 20,3 0-20,0 0 2,0 0 12,-2 0-15,2 0 19,0 0-22,0 0 13,-2 0-16,2 0 15,0 0 3,0 0-6,0 0 4,-3 0 0,3 0 2,0 0-1,0 0 2,-2 0 12,2 0-11,0 0 11,0 0 4,0 0-11,0 0 12,0 3-14,-3-3 6,3 0-3,0 0 5,0 0-6,-2 2-3,2-2 4,0 0-4,-2 0 12,2 0-6,0 0 7,0 2-9,-3-2-12,3 0 9,0 3-11,0-3 8,-3 0 3,3 0-3,0 2 3,0-2 7,-1 0-6,1 0 7,0 0-8,0 3-7,-3-3 5,3 0-6,0 0 9,-3 2 11,3-2-8,-2 0 9,2 0-2,-2 2-6,2-2 8,0 0 2,-3 0-10,3 3 11,0-3-11,0 0-3,-2 0 3,2 0-3,0 0 4,0 0 35,0 0-24,-3 0 27,3 2-34,0-2-7,0 0 5,0 0-5,0 0-17,-2 0 18,2 0-19,0 0 11,0 2 9,-2-2-11,2 0 14,0 0-13,-3 0 10,3 0-14,0 0 13,0 0-6,-3 0 4,3 0-5,0 0 4,0 0 18,0 0-13,-1 0 16,1 0 10,0 0-19,0 0 21,-3 0-26,3 0-1,0 0 3,-3 0 0,3 0-5,0 0 5,-2 0-5,2 0 6,0 0-29,-2 0 21,2 0-23,-3 0 29,3 0-26,-2 0 17,2 0-22,0 0 21,-3 0-2,3 0 0,-2 0 30,2 0-20,-2 0 22,2 0-28,0-2 1,-3 2 2,3 0 0,-3 0-1,3 0 18,0 0-11,-1 0 12,1 0-10,-3 0-6,3-2 7,-3 2-4,3 0-14,-2 0 11,2 0-12,0 0 1,-2 0-3,2 0-1,-3 0 1,1-3 2,2 3 4,-3 0-6,3 0 8,-2-2 4,2 2-7,-2 0 5,2 0-13,-3 0 8,3 0-5,-3 0 6,3-2 1,-1 2-1,1 0 1,0 0 3,-3 0-3,3 0 4,-3 0-4,3 0-6,0-3 4,0 3-3,-2 0 4,2 0-32,0 0 22,0 0-24,-2-2 31,2 2-15,0 0 9,0 0-12,-3 0-2,3-3 12,0 3-17,-2 0 33,2-2-15,-3 2 13,3 0-16,-2 0 14,2 0-9,-2 0 11,2-2-13,-3 2 0,3 0 1,-2 0 2,0-3-2,2 3 4,0 0-3,-3-3 2,3 3 5,-3 0-6,3 0 5,-2 0 3,2 0-5,0-1 6,-2 1-8,2 0 8,0 0-5,-3-3 7,3 3-8,-2 0 3,2-3-2,0 3 2,-2 0-2,2 0-18,0 0 13,-3 0-15,3-2 5,-2 2 9,2 0-10,-3-2 13,3 2 0,0 0-2,-2 0 0,2 0 9,-2-3-6,2 3 7,-3 0-11,3 0 6,0 0-3,-3 0 5,3 0-6,0 0 2,-1 0-1,1-2 1,-3 2 6,3 0-3,0 0 4,-3 0-2,3 0-3,-2 0 3,2 0-4,0-3 1,-2 3 0,2 0 1,-3 0-2,3 0-29,0 0 21,-2 0-21,2-2 28,-3 2-29,3 0 17,-2-2-20,2 2 37,-2 0-8,2 0 10,0 0-8,-3-3-4,3 3 4,0 0-8,-3-3 13,3 3-7,0 0 8,0 0-8,-1-1-5,1 1 8,0 0-6,0 0 11,0 0 1,0-3-3,-3 3 2,3 0-14,0-3 10,0 3-10,-3 0 12,3-2-17,-2 2 9,2 0-9,0-2-17,-2 2 19,2-3-20,0 3 25,0-2 12,-3 2-11,3-3 11,-2 3-13,2-2 7,0 2-8,0-2 7,0 2-5,-3-3 0,3 3 3,0-3-37,0 2 25,0 1-26,0-3 32,0 3 7,0-3-5,0 3 5,-2-2-8,2 2 15,0-2-13,0-1 14,0 3-4,0 0 5,0-2-1,0 2-2,-2-3 4,2 3-11,0 0 18,0-2 17,-3 2-18,3-2 24,0 2-33,-3 0 51,3-3-37,0 3 38,-1-3-42,1 3-2,-3-1 4,3-2 0,0 3-23,-3-3 19,3 3-18,-2-2 22,2 2-13,-2-2 7,2 2-9,-3-3-10,3 3 16,-2 0-21,2-2 22,0 2-16,0 0 11,0 0-12,-3 0 12,3 0-21,0-3 16,0 3-18,0 0 24,-2 0-5,2 0 4,0 0-3,0 0-19,0 0 12,-2 0-13,2 0 21,0 0-2,-3 0 0,3 0-2,-3 0-2,3 0 1,0 0-2,-1 0 3,1 0 11,0 0-7,-3 0 9,3-2-12,-3 2 11,3 0-8,-2 0 8,2 0-43,0 0 26,-2 0-27,2 0 18,-3-2 11,3 2-13,-2 0 14,2 0-6,-3 0 5,3 0-9,0 0 4,0 0 21,-2 0-16,2-3 18,0 3 3,-2 0-20,2 0 22,0 0-24,-3 0 22,3 0-15,0 0 21,0 0-46,-3 0 23,3 0-22,0 0 25,-1 0-35,1 0 25,0 0-27,-3 0 30,3 0-24,0 0 14,0-3-16,-3 3-1,3 0 6,0 0-14,0 0 16,0 0-32,0 0 30,0 0-33,-2 0 84,2 0-39,0 0 29,0 0 9,0 0-50,0-1 57,0 1-2,0 0-21,0 0 36,0 0-32,0-3-12,0 3 19,0 0-18,0 0 7,0 0-4,0 0 4,0 0-33,0 0 25,0-3-26,0 3 28,0 0 9,0 0-8,0 0 7,0-2-11,0 2 28,0 0-22,0 0 23,0-2 1,0 2-18,0 0 21,0 0-23,0 0-4,0-3 4,0 3 1,2 0-9,-2 0 11,0 0-10,0 0 10,0 0-41,0-2 28,0 2-33,0 0 41,0 0-30,0 0 20,0 0-25,0-3 23,0 3-2,0 0 0,0 0 0,0 0-10,0-2 6,3 2-9,-3 0 3,0-2 8,0 2-9,0 0 11,0 0 19,0 0-16,3 0 19,-3-3-23,0 3 11,0 0-7,0 0 6,0 0-8,0-3-6,0 3 5,1 0-4,-1 0-17,0 0 18,0 0-24,0 0 14,0 0 4,0-1-4,0 1 12,0 0-2,0 0-1,3 0-1,-3 0 25,0 0-16,0 0 20,0 0-28,0-3 17,0 3-12,0 0 16,0 0-17,0 0 5,0 0-2,0-3 1,0 3 5,0 0-4,0 0 4,0 0 2,3 0-6,-3 0 6,0 0-10,0-2 36,0 2-25,0 0 27,0 0-8,0 0-17,0 0 22,0-2-25,0 2 5,0 0-3,0 0 5,0 0-11,0 0 9,0 0-8,0-3 8,0 3-9,0 0 5,0 0-5,0-2 5,0 2-1,0 0-1,0 0-1,0 0-1,0-3 4,0 3-5,0 0 4,0 0 26,0-2-19,0 2 21,0 0 14,0-2-27,0 2 30,0 0-36,0 0 16,0 0-7,0 0 10,-3-3-10,3 3-19,0 0 15,0 0-12,0 0 1,0-2 9,0 2-10,-3 0 13,3 0-59,0-2 39,-1 2-44,1 0-114,0 0 35,0-3-60,-3 3 99,3 0 89,0-3 0,-3 3 0</inkml:trace>
  <inkml:trace contextRef="#ctx0" brushRef="#br0" timeOffset="163">1689 3465 9502,'3'-2'-791,"-3"2"829,0 0-35,0 0 113,0 0-7,0 0-41,0 0 56,2 0-18,-2 0 20,0 0 0,0 0-13,0 0-40,0 0 33,0 0-30,0 2 39,0-2-37,0 0-28,0 3 22,0-3-33,0 2 31,0-2-52,0 2 37,0 1-40,0 0 0,0 1 29,-2-1-32,2-1-2,0 3-16,-3 0-4,3 2 9,0-3-2,-3 4 34,3-3-43,-1 2 46,1 1-79,0-1 55,-3 2-63,3-2 58,0-1 0,-3 1-10,3 0 14,-2 0 6,2 1-3,0-4 6,0 1 4,0 2-9,-2-4 11,2 1-11,0 1-45,-3-3-8,1 4-4,2-4 10,-3 0-10,3 1 33,-2-1-39,2 0 42,-2 1-52,2-1-28,-3-2 6,3 3-22,0-1 90,0-2-69,0 0 57,0 0 8,0 0-1,0 0 35,3-2-39,-1-1 12,-2 1 0,2-1 6,-2 1-6,0 2-8,3-2 11,-3-1-9,0 1 7,2 0-32,-2 2 19,0-3-23,0 3 42,3-3-12,-3 1 14,0 2 18,0-2-23,0 2 23,0 0-34,2-3 60,-2 3 19,0-2 3,0 2 52,0 0-106,0 0 64,0 0-57,0 2 16,0 1 0,0-1-6,0 0-3,0 1-3,0 0 4,-2 1-4,2-1-30,0 1 20,0-1-27,-3-1 31,3 3-31,0-3 22,-2 1-20,2 0 26,0-2-42,0-1 30,0 3-38,0-3-56,0 0 63,0 0-78,0 0 96,0-3-15,0 2 11,0-2-12,0 0 11,0 1 31,2 0-22,-2-1 27,3 1-32,-3-1 52,0 3-37,0-2 45,2 2 8,-2-2-36,0 2 40,0 0-35,0-3 20,0 3-6,0 0 13,0 3-33,0-1-4,0-2 3,0 2-6,0 1 17,0 2-6,0-3 7,0 0-14,0 1 30,0 0-25,-2-2 24,2 2 2,0 0-14,0 1 19,0-1-24,0-3-10,0 0 5,0 2-62,0-2-36,0 0-65,0 0-152,0 0 170,2-2-75,-2 2 199,0-5 0,2 3 0</inkml:trace>
  <inkml:trace contextRef="#ctx0" brushRef="#br0" timeOffset="164">1330 3463 9502,'0'5'-882,"0"-3"866,2 0 26,-2 1 148,0 0-60,0-2 22,0 2-64,0 0-23,2 1 17,-2-1-19,0 2 17,0-3-46,0 3-7,0-2-9,0 1 15,0-1-39,0-1 54,0 3-58,0-3 16,0 3 35,0-3-41,0 1 37,0 0 11,0 1-18,0-1 15,0-1 4,0 0-3,0 1 7,3 2-14,-3-3-14,0 0 12,0 1-9,3 0 14,-3-3-36,0 1 25,1 2-28,-1 0 45,3-3-8,-3 2 5,0-2-4,3 2-5,-3-2 1,0 0-7,0 0 0,2 3-1,-2-3 5,0 2 3,0-2-8,0 0 8,0 3-6,0-3 8,0 2-12,0-2 9,0 2-9,0-2 1,0 0 4,2 3-9,-2-3 10,0 3-5,0-3 4,0 1-2,0-1-2,0 3 4,0 0-4,0-1 4,0-2 0,0 2-1,0 1 1,0-1-1,0-2 1,0 3-1,0-3 2,0 2-11,0 0-6,0-2 1,0 3-46,0-3 44,0 2-34,0-2 41,0 2-22,0-2 12,0 3-15,0-3 18,0 3-25,0-3 14,0 0-17,0 2 21,0-2 6,0 2-8,0-2 4,0 0 27,0 3-21,0-3 26,0 2-7,0-2-14,3 2 17,-3-2-21,0 0 15,0 0-9,0 3 12,2-3-12,-2 0-29,0 0 22,0 0-20,3 0 7,-3 0 14,0 0-15,0 0 21,2-3-4,-2 3 1,0 0-3,0-2 29,2 0-22,-2 2 22,0-3-29,3 1 39,-3 2 13,0-2 7,0 2-12,0-3 38,0 3-53,3 0 63,-3 0 23,0-3-51,0 3 92,-3 3-98,3-3 13,-3 3-15,3-1 26,-2 0-7,0 1 13,-1-1-47,1 3 6,-3-3-10,5 1 19,-2 1-67,-1-1-25,0 0-17,3-3 11,-1 1 54,-2-1 0,3 3 0</inkml:trace>
  <inkml:trace contextRef="#ctx0" brushRef="#br0" timeOffset="165">1979 3475 10949,'2'0'379,"-2"0"-329,0 0 30,0 0-35,2 0 49,-2 0-42,0 0 23,3 0-43,-3 0 21,3 0 17,-3 3-17,1-3 20,2 0-53,0 0 29,-3 1-33,2-1 21,0 0 20,1 0-21,-1 3 25,1-3-29,-3 0 19,2 0-18,0 3 23,1-3-64,-3 0 44,3 2-59,-3-2 30,1 0 21,2 0-24,-3 2 42,3-2 20,-1 0-18,-2 3 15,0-3-27,2 0-3,-2 0 4,3 0-6,-3 2-2,0-2 6,0 0-2,2 0 10,-2 3-62,0-3 45,3 0-50,-3 0 59,0 0 4,2 2-9,-2-2 7,0 0-46,2 2 28,-2-2-33,0 0 47,3 3-13,-3-3 12,0 0-10,0 3-11,0-3 9,3 0-7,-3 1 13,0-1-23,1 0 15,-1 0-19,0 3 16,0-3-34,0 0 21,0 0-23,3 3 3,-3-3 23,0 0-28,0 0 14,0 0 7,3 2-11,-3-2 13,0 0 8,2 0-6,-2 0 5,0 2-7,0-2 0,2 0-1,-2 0 1,0 3-1,0-3 2,3 0-1,-3 0-6,0 2 6,0-2-5,0 0 6,2 3-6,-2-3 4,0 0-4,3 2 4,-3-2 4,0 0-4,0 2 2,2-2-3,-2 3 45,0-3-31,2 0 34,-2 3-23,3-3-12,-3 1 14,3-1-25,-3 3 5,0-3-3,1 0 8,-1 0-27,0 3 20,3-3-22,0 2 28,-3-2-23,0 2 17,0-2-22,2 0 24,-2 3-15,2-3 10,1 2-13,-3 1 18,0-3-9,2 2 9,-2-2 4,3 0-8,-3 2 10,2-2-11,-2 3 25,0-3-18,2 3 22,-2-3-26,3 0 7,0 1-4,-3-1 4,1 3-3,-1-3 3,3 3-3,-3-3 6,3 0-9,-3 0 5,2 0-5,-2 2-4,0-2 5,2 0-6,-2 0 7,0 2-14,3-2 11,-3 0-12,2 0 13,-2 3-6,0-3 5,3 0-5,-3 2 5,0-2 8,2 0-6,-2 0 5,2 0 7,-2 0-11,3 3 13,-3-3-22,2 2 5,-2-2-4,2 0 9,-2 2-7,3-2 6,-3 0-6,3 0 6,-3 3-35,0-3 23,2 0-25,-2 3 28,0-3-9,2 0 5,-2 1-9,3-1 3,-3 0 4,0 0-6,2 0 9,-2 3 11,2-3-9,-2 3 9,0-3 0,3 0-8,-3 2 10,2-2-10,-2 0 3,3 0 1,-3 2 0,0-2-1,2 3 1,-2-3 0,2 0 0,-2 2-12,0-2 7,3 0-7,-3 3 10,3-3-8,-3 0 5,0 0-6,1 0 11,-1 2-3,0-2 3,3 0-5,-3 0-3,3 0 2,-3 0-1,2 0 2,-2 2 2,2-2-1,-2 0 0,3 0-17,-3 0 12,0 0-12,2 3 14,1-3 1,-3 0-1,0 0-1,2 0 10,-2 0-9,2 0 9,-2 0-10,0 2 13,3-2-9,-3 0 10,0 0-12,3 0 10,-3 0-5,1 0 5,-1 0-3,0 0-3,3 0 5,-3 0-3,3 0 1,-3 0 0,0 0-2,2 0-14,-2 0 10,2 0-11,-2 0 15,0 0-32,3 0 23,-3 0-25,0 0 30,2 0 3,-2 0-2,3 0 0,-3 0 3,2 0-8,-2 0 7,0 0 7,2 0-9,-2-2 10,3 2-13,-3 0 13,3 0-9,-3 0 13,0 0-13,1 0-22,-1 0 17,3 0-18,-3 0 23,0 0-6,3 0 4,-3 0-8,2 0 10,-2 0-6,2-3 5,-2 3 2,0 0-4,3 0 3,-3 0-5,0 0 13,2 0-8,-2 0 10,0 0-12,0 0 11,3-2-8,-3 2 11,0 0-12,0 0 7,2 0-6,-2 0 4,2 0-34,-2 0 23,0 0-23,3 0 10,-3 0 12,0 0-15,3 0 18,-3 0 3,0 0-2,0-2-1,1 2-6,-1 0 19,0 0-14,3 0 15,-3 0-16,0 0 16,3 0-11,-3 0 13,0 0-28,0 0 10,2 0-5,-2 0-15,0 0 20,2-3-21,-2 3 22,0 0-10,3 0 5,-3 0-7,0 0 4,0 0 19,2 0-17,-2 0 17,0 0-20,3-2 16,-3 2-12,0 0 13,2 0 7,-2 0-13,0 0 18,2 0-18,-2 0 2,0 0 0,0 0-1,3 0 1,-3 0 1,0 0-1,3-3-1,-3 3-22,0 0 15,0 0-16,1 0 21,-1 0-12,0 0 7,0 0-8,0 0 24,0 0-10,0 0 10,0 0-11,3 0-4,-3 0 4,0 0-2,0 0 12,0 0-8,0-2 10,3 2-12,-3 0 4,0 0 0,0 0 1,0 0-2,0 0-15,2 0 11,-2 0-12,0 0 15,0 0 0,2 0-2,-2 0 9,0 0-8,0 0 8,0 0-9,0 0 10,3 0-7,-3 0 6,0 0-9,0 0 0,0 0 1,0 0 1,2 0 1,-2 0 8,0 0-7,0 0 6,0 0-9,0 0 2,0 0-1,3 0 0,-3 0-11,0 0 8,0 0-9,0 0 12,0 0 1,0 0-2,2 0 1,-2 0-12,0 0 8,0-2-7,0 2 9,2 0 14,-2 0-9,0 0 9,0 0-13,0 0 11,3 0-7,-3 0 9,0 0-7,0 0-2,0 0 3,3 0 2,-3 0-4,0 0 5,0 0-5,1 0-13,-1 0 9,0 0-12,0 0 15,0 0-17,0 0 12,3 0-15,-3 0 18,0 0-1,0 0 0,0 0-1,0 0-9,0 0 5,0 0-6,0 0 7,0 0 1,3 0-34,-3 0-5,0 0-34,0 0 27,0 0 13,0 0 19,2 0 35,-2 0-25,0 0 23,0 0-30,0 0 10,0 0-7,0 0 9,0 0 4,2-3-2,-2 3-10,0 0 5,0 0-10,0 0 12,0 0-12,0-3 7,0 3-8,0 0 8,3 0-7,-3 0 5,0 0-5,0 0 17,0-1-9,0 1 10,0 0-12,0 0 11,2 0-7,-2 0 5,0 0-12,0 0 4,0-3-4,3 3 7,-3 0 3,0 0-3,0 0 4,0 0-4,0 0 0,0-3 1,0 3-1,2 0-2,-2 0 7,0 0-6,0 0 6,0 0-21,0 0 12,0 0-13,0 0-2,0 0 11,0 0-12,0 0 18,2 0 34,-2 0-28,0-2 29,0 2-37,0 0 3,0 0-1,3 0 0,-3 0 62,0 0-40,0 0 46,0 0-46,0 0 66,2 0-45,-2 0 57,0 0-68,0 0-30,0 0 27,0 0-34,0 0 1,0 2 22,2-2-29,-2 0 34,0 0-34,0 0 22,0 0-26,0 0 32,0 0-31,0 0 22,3 3-30,-3-3 33,0 0-9,0 0 8,0 0-5,0 0 10,0 3-7,0-3 8,0 0-1,0 0-6,0 0 6,0 0-6,0 0 5,0 1-3,0-1 5,0 0-6,0 0 4,0 0-3,0 0 3,0 0-3,0 0 0,3 0 0,-3 0 0,0 3 0,0-3 0,0 0 0,0 0-6,0 0 4,0 3-3,0-3 4,0 0 1,0 0 0,0 0 0,0 2-1,0-2 1,0 0 0,0 0 1,2 0 7,-2 0-6,0 0 8,0 0 0,0 0-7,0 2 9,0-2-10,0 0 16,0 0-11,0 0 14,0 3-17,2-3-7,-2 0 5,0 0-5,0 0-17,0 0 10,0 0-15,0 2 18,3-2 3,-3 0 3,0 0-5,0 0 35,0 0-24,0 3 25,0-3-32,0 0 20,2 0-13,-2 0 15,0 0-16,0 0-3,0 2 7,0-2-4,0 0-16,0 0 13,0 0-15,2 0 21,-2 0-46,0 2-12,0-2-7,0 0-16,0 0 56,0 0-19,0 0 17,0 3 50,0-3-41,0 0 40,0 0-48,3 0 39,-3 0-29,0 2 29,0-2-2,0 0-5,0 0 20,0 0-20,0 2 27,0-2-30,0 0 36,0 0 1,0 0-19,0 3 21,0-3-31,0 0-7,0 0 5,0 0 3,0 0-73,0 3-9,0-3-204,2 0-340,-2 0 53,0 0-7,0 0 318,0 0 243,0 0 0,3 0 0</inkml:trace>
  <inkml:trace contextRef="#ctx0" brushRef="#br0" timeOffset="166">6052 3842 9502,'0'2'-120,"0"0"55,0 1 71,0-1-45,0 0 38,0 1-78,0-3 63,0 3 34,0-3 16,0 2 98,0-2-46,0 0 52,0 0-67,3 0 7,-2 0-1,2-2-7,0-4 7,1-1-17,1 0 7,2-5-38,-1 2 35,1-2-26,0-2-30,0-3 41,1 0-49,1 0 60,-2-2-45,3-1-16,-3-1-8,3 0 9,-3-1-22,1 0 49,-4 2-59,1 4-51,-3 2 10,1-1-96,-1 2 86,-2 4-134,0 2 64,0 2-85,0 3-82,0-1 94,0 3-11,0-3 118,-2 3 119,-1 0 0,-1 0 0</inkml:trace>
  <inkml:trace contextRef="#ctx0" brushRef="#br0" timeOffset="167">1742 3711 8355,'0'0'81,"0"-3"28,0 3 84,0 0-59,0 0-25,0 0-56,0 0-10,0 0-20,0 0 34,0 0 40,0-1-15,0 1 39,0 0-34,0 0 4,0 0 6,2 0 2,-2 0-38,0 0 16,0 0-12,3 0 6,-3-3-52,3 3 47,-3 0-42,0 0-11,1 0 38,-1 0-49,3 0-2,-3-3 6,0 3-31,3-2 34,-3 2-37,2 0 49,-2-2-59,2 2 66,-2-3-24,3 3 17,-1-2-17,-2 2 13,0-3-10,3 3 10,-1-2-8,-2 2 4,2-2 2,-2 2-3,3-3 4,-3 3 2,0 0-2,3-2 2,-3 2-21,1 0 14,-1-2-14,3 2 19,-3 0-32,0-3 23,0 3-27,3-2 31,-3 2-31,0 0 23,2-3-25,-2 1 3,0 2 13,0-2-16,0 2 20,2-3 3,-2 3-6,3-3 4,-3 3 52,0-1-38,0 1 43,2 0-55,-2-3 24,0 3-17,3-3 21,-3 3-22,0 0-7,0 0 5,0-2-3,2 2-12,-2 0 18,0-2-18,0 2 20,0-3-34,2 3 23,-2 0-26,0-2 10,0 2 15,3-3-21,-3 3 18,0 0 1,3-2-1,-3 0 4,0 2-3,1 0-2,-1-3 0,0 3 0,0 0 9,3-2-5,-3 2 7,0 0 17,0-2-18,0 2 21,0 0-24,0 0 18,0-3-10,0 3 12,0 0-15,0-3 16,0 3-9,0 0 12,0-2-12,0 0-20,3 2 17,-3 0-15,0-3-3,0 1 12,0 2-15,0 0 18,0-2-3,0 2 0,0 0-2,0-3 20,0 3-17,0 0 18,0-2-21,0 2 27,0 0-18,0 0 20,0-3-20,0 3 34,0 0-19,0 0 22,0-2-20,0 2-11,0 0 14,0-2-11,0 2 18,0-3-13,0 3 13,0-3-37,0 3 17,0-1-15,0 1 18,0-3-38,0 3 24,0-3-29,0 3 35,0-2-13,0 2 6,0-2-8,0 2-28,0-3 31,0 3-34,0 0 9,0 0 18,0-2-20,0 2 23,0-3-9,0 3 1,0 0-5,0-2 10,0 2 8,0-2-5,0 2 6,0 0-9,0 0 11,0-3-8,0 3 9,0-3-5,0 3-2,0 0 2,2-1-19,-2 1 11,0 0-11,0 0 16,0 0-22,0-3 15,0 3-19,0 0 23,2 0 6,-2 0-5,0-3 4,0 3-8,0 0 14,0 0-10,0-2 11,3 2 36,-3 0-34,0 0 37,0 0-30,2-2-12,-2 2 17,0 0-18,0 0 17,3 0-11,-3 0 15,2-3-14,-2 3-14,0 0 8,0 0-10,2 0 16,-2 0-19,0 0 13,0 0-18,0 0 1,0 0 10,0 0-12,0 0-13,3 0 24,-3 0-27,0 0 30,0 0-22,0 0 15,0 0-16,3 0 18,-3 0-16,0 0 12,0 0-14,0 0 11,0 0 14,1 0-13,-1 0 14,0 0-29,0 0 13,0 0-12,0 0-4,0 0 14,3-2-14,-3 2 18,0 0 5,0 0-7,3 0 6,-3 0-11,0 0 32,0-3-22,2 3 23,-2 0-30,0 0 33,0 0-23,0 0 26,2 0 0,-2 0-21,0 0 27,0 0-12,0 0-7,0 0 9,3 0-13,-3 0 2,0 0 0,0 0 1,0 0-2,0 0 7,0 0-4,2 0 16,-2 0-12,0 0 11,0 0-10,0 0 0,0 0-3,0 0-3,0 0 21,0 0-14,0 0 15,0 0-20,0 3 15,3-3-11,-3 0 13,0 2-13,0-2 18,0 0-12,0 3 13,0-3 35,0 0-36,0 2 43,0-2-11,0 0-24,2 2 26,-2-2-32,0 0-1,0 3 3,0-3-2,2 0 4,-2 3-50,0-3 37,0 0-35,0 1 43,3-1 8,-3 3-9,0-3 5,0 3-3,0-3-3,3 2 2,-3-2-22,0 2 11,1-2-16,-1 3 19,0-3-1,0 2 1,3-2 3,-3 0-3,0 3-19,0-3 14,3 2-15,-3-2-7,0 2 18,0-2-22,2 0 23,-2 0-15,0 3 9,2-3-10,-2 3-16,0-3 22,3 1-27,-3-1 31,0 0 53,2 3-38,-2-3 41,3 3-55,-3-3 8,2 2-4,-2-2 10,0 0 3,2 0 18,1 0-11,0 2 11,-3-2-33,1 0 14,-1 0-12,3 0 5,-3 0 2,0 3-4,3-3 6,-3 0 1,2 0-2,-2 0-2,2 2 1,-2-2-38,0 0 28,3 0-25,-3 0 19,0 0-8,2 3 1,-2-3-7,0 0-8,0 0 17,3 0-18,-3 2-17,0-2 30,0 0-35,2 0 42,-2 2-8,0-2 5,0 0-8,2 0 6,-2 3 7,0-3-6,3 0 7,-3 0-13,0 0 38,2 2-25,-2-2 27,2 2-26,-2-2-5,3 0 9,-3 3 10,0-3-9,0 0 11,3 3-13,-3-3-8,0 0 7,2 0-7,-2 2 7,0-2-15,2 0 10,-2 0-11,0 0 12,0 2-10,3-2 5,-3 0-6,2 0 11,-2 0-1,0 0 1,2 3-2,-2-3 0,3 0 0,-3 0-1,0 0 5,2 2-2,-2-2 2,3 0-3,-3 0 20,2 2-13,-2-2 13,0 0-15,2 0-7,1 3 7,-3-3-6,3 0-6,-3 0 7,0 0-8,1 0-9,2 0 13,-3 2-15,0-2 20,3 0-21,-3 0 13,2 0-15,-2 0 16,0 3-3,2-3-1,-2 0-2,3 0 0,-3 0 4,2 2-4,-2-2 4,3 0-28,-3 0 21,2 2-23,-2-2 42,2 0-14,-2 0 14,3 3-16,0-3 48,-3 3-33,0-3 36,1 1-45,2-1 9,-3 0-4,0 3 8,3-3-41,-3 0-48,2 3-46,-2-3 30,0 0 17,2 2-120,-2-2 146,0 2-141,3-2 193,-3 3 0,0-3 0</inkml:trace>
  <inkml:trace contextRef="#ctx0" brushRef="#br0" timeOffset="168">2051 3776 8355,'0'-2'567,"0"2"-361,0 0-143,-3 2-5,3-2 18,0 0-15,0 0-75,0 0 56,0 0-70,0 0 26,0 0-9,-1 0-13,1 0 16,0 0-26,0 3 46,-3-3-53,3 0 46,0 0-6,0 0 1,0 0-8,-3 0 13,3 0-14,0 0 14,0 0-7,0 0 57,0 0-33,-2 0 67,2 0-64,0 0 27,0 0-48,0 0 18,0 0-17,-2 0-20,2 0 27,0 0-27,0 0 30,0 0-16,0 0 8,0 0-10,-3 0-16,3 0 23,0 0-30,0 0 31,0 0 18,-2 0-13,2 0 16,0 0 28,0 0 11,0 0 7,0 0 26,0 0-67,0 0 26,0 0-26,0 0 21,-3 0-9,3 0 23,0 0-28,-2 0-25,2 0 14,0 0-17,-2-3-30,2 3 41,-3 0-46,0 0 64,3-2-9,-1 2 1,-2-2-9,0 2 18,1-3-12,0 3 18,-3-3-23,2 2 1,1-2 0,0 0 6,-4 3-4,5-2-28,-5 0 19,4-1-23,-3 3 9,3-2 19,-3-1-21,3 3 18,-1-2-35,-1 2 15,1-2-19,0 2 35,1-3-1,0 3 1,-1-3-5,1 3 38,-3-1-27,3 1 33,-1 0-41,1 0 16,0-3-11,-1 3 14,0 0-14,-1-3 11,4 3-7,-3 0 9,1 0-31,0 0 19,-1 0-19,1 0-12,-1-2 23,1 2-30,2 0 35,-2 0-16,-1 0 9,3-2-10,-3 2 11,3 0 36,-1 0-27,-2 0 28,0-3-14,1 3-14,2 0 17,-2 0 2,-1 0-11,1-2 13,-1 2-9,1 0-9,0 0 10,-1 0-9,0 0 8,2 0-35,-2 0 27,0 0-28,1-3 28,0 3-48,-1 0 29,3 0-34,-2 0 21,-1 0 17,1 0-22,0 0 25,-1 0-28,0 0 19,2-2-20,-2 2 43,3 0-17,-3 0 18,1 0-22,0 0 21,-1 0-14,3 0 16,-2 0-23,-1 0 3,1 0-1,0 0 3,-1 0-15,0 0 10,2 0-11,-2 0-25,3 0 28,-3-2-30,1 2 38,0 0-11,2 0 5,-3 0-8,1 0 4,-1 0 7,1 0-8,2 0 6,-2 0-1,2 0-1,-3 0 3,0 0-4,3 0 8,-1 0-4,-2 0 5,3 0-31,-3 0 18,1 0-19,2 0 26,-2 0-65,-1 0 46,3 0-52,-2 0 63,-1 0-21,3 0 12,-2 0-18,0 0 48,2 0-25,0 0 26,-3 0-15,3 0-13,-3 0 13,3 0-17,-1 2 25,1-2-15,0 0 22,-3 0-24,3 0 7,-3 0-5,3 0 8,0 0-4,-2 2-30,2-2 19,0 0-26,0 0 48,-2 0-14,2 0 14,0 0-20,0 0-4,-3 0 0,3 0 0,0 0-15,-2 0 15,2 0-15,0 0 19,0 0 11,-3 0-25,3 0 26,0 0-23,0 0 23,3 0-3,-3 0 1,2 0-5,-2 0 15,0 0-11,0 0 10,0 0 1,3-2-9,-3 2 11,0 0-8,0 0-8,2-2 7,-2 2-5,2 0 7,-2-3 0,3 3 2,-3 0-4,3-3 0,-3 3 0,0 0 1,1 0-3,2-1 15,-3 1-11,0 0 12,3 0-12,-3-3-1,2 3 3,-2 0-2,2-3 8,-2 3-6,3-2 7,-3 2-11,2 0 3,-2-2-3,0 2 4,3-3-5,-1 3 3,-2-2-4,2 2 5,-2-3-3,3 3 1,-3-2 0,3 2-2,-3 0 3,1-2-3,-1 2 3,3-3-5,-3 3 3,3-2-4,-3 2 4,2-2-1,-2 2 1,2 0 1,-2-3-17,3 3 13,-3-2-14,2 2 16,1-3 2,-3 3-2,2-2 2,-2 0 0,0 2-4,2-3 4,-2 3 26,3-3-20,-3 3 22,0-1-28,3 1-11,-3-3 8,0 3-7,1-3 11,-1 3-44,3-2 32,-3 2-35,0-2 44,3 2-4,-3 0 2,0-3-5,0 3 12,2-2-10,-2 2 8,0 0-4,0-3-3,2 3 3,-2 0-5,0-2 16,0 2-11,0-2 18,3-1-20,-3 3 52,0-2-37,0 2 40,0-2-48,2-1 26,-2 0-18,0 3 19,0-2-34,0 0 12,0 2-11,0-3-26,0 1 29,0 2-30,0-2 38,0 2-27,0-3 19,0 3-23,0 0 27,0-2-35,0 2 23,0-3-31,0 3 25,0-2 41,0 2-30,0 0 36,0-2 5,0 2-33,0 0 37,0-3-43,0 3 31,0 0-21,0-3 29,0 3-37,0 0 13,-2 0-11,2 0 13,0 0-15,0 0 11,0 0-12,-3-1 11,3 1-22,0 0 11,0 0-14,0 0 9,0 0 9,0 0-9,0 0 11,0 0-4,0-3 1,0 3-2,0 0 0,0 0 1,0 0 6,-2 0-3,2 0 3,0-3 39,0 3-33,0 0 36,0 0-6,0 0-24,0 0 28,0-2-32,0 2-8,0-2 12,0 2-10,0-3 13,2 3-56,-2-2 41,0 2-42,0-3 52,0 3-45,0-2-12,0 0-4,0 2-10,0 0 53,3-3-25,-3 0 7,0 3 1,0-1-8,0 1 15,0 0 15,0-3-11,2 3 14,-2-3-20,0 3 48,0 0-33,0-2 41,3 2-48,-3 0 36,2-2-26,-2 2 31,0 0-25,0-3-1,2 3 4,-2 0-5,0-2-8,0 2 8,0 0-8,0 0-28,3 0 24,-3-3-29,0 3 36,0 0-37,0 0 26,0 0-32,0 0 37,3 0-2,-3 0 1,0 0-3,0 0 16,0 0-15,0 0 15,1 0-5,-1 0-8,0 0 10,0 0-10,3 0 3,-3 0-2,0 0 6,0 0-5,0 0-16,3 0 12,-3 0-14,0 0 18,0 0-37,2 0 26,-2 0-30,0 0 16,0 0 10,0 0-15,0 0 19,2 0 0,-2 0-3,0 0 3,0 0 28,0 0-20,0 0 24,0 0-32,3 0 41,-3 0-26,0 0 29,0 0-31,0 0 4,0 0 2,0 0 0,0 0-2,2 0-5,-2 0 5,0 0 49,0 0-36,0 0 37,0 0-50,0 3 17,0-3-11,3 2 14,-3-2-12,0 3-8,0-3 11,0 2-8,0-2 12,0 2-5,2-2 5,-2 3-6,0 0 43,2-3-30,-2 0 32,0 1-17,0 2-17,3 0 17,-3-3-22,0 2 47,3 0-30,-3-2 33,1 3-37,-1-1 0,0-2 4,3 3 1,-3-3 1,0 2-17,3 0 13,-3-2-17,2 3 12,-2-3 2,2 3-4,-2-3 34,3 1-22,-3-1 23,0 0-29,2 3-17,-2-3 13,3 3-14,-3-1 16,0-2-9,2 0 11,-2 2-8,0 1 11,2-3-57,-2 2 37,3-2-43,-3 3 57,3-3-25,-3 0 18,1 0-27,-1 2 97,3-2-63,0 0 66,-3 0-48,2 2-15,-2-2 21,2 0-27,1 0 4,-1 3 2,-2-3 5,3 0-1,-3 0-29,2 2 18,-2-2-20,2 2 32,-2-2-35,3 3 25,-3-3-37,2 0 36,-2 3-30,2-3 24,-2 0-21,3 0 24,-3 0-3,3 2-2,-3-2-21,2 0 18,-2 0-19,2 2 23,-2-2-40,3 0 27,-3 0-30,2 3 4,-2-3 20,2 2-22,1-2-21,-3 2 37,0-2-43,2 0 51,-2 3-16,3-3 10,-1 0-15,-2 2 14,0-2-5,2 3 1,1-3 1,-3 0-5,3 0 30,-2 2-21,-1-2 23,3 0 30,0 0-40,-3 2 46,2-2-57,0 0 7,1 3-4,-3-3 8,2 0-18,1 3 16,-3-3-16,2 0 17,0 1-11,-2-1 9,3 0-9,0 0-9,-3 3 12,1-3-17,2 3 19,-3-3-48,3 0 33,-3 0-36,2 2 11,-2-2 20,2 0-23,-2 0 28,3 2 24,-3-2-18,2 0 18,1 0-25,-1 0 29,-2 0-22,2 0 24,1 3-27,0-3 16,-3 0-9,1 0 10,2 0 3,-3 0-13,3 0 18,-1 0-17,-2 2-26,2-2 20,-2 0-23,3 0-26,-3 0 37,2 0-42,-2 3 50,3-3-10,-3 0 4,2 0-9,-2 0 11,2 0-3,-2 0 2,3 0-5,-3 0 9,3 0-9,-3 0 9,1 0-6,-1 0 19,0 0-11,3 0 13,0 0-14,-3 0-2,2 0 5,0 0-3,-2 0-23,3 0 16,-3 0-21,0 0 25,2 0-42,-2 0 31,0 0-36,3 0 32,-3 0 2,0 0-5,0 0-10,2 0 15,-2 0-22,0 0 23,2 0-12,-2 0 10,0 0-5,3 0 5,-3-3 21,0 3-15,0 0 15,0 0-21,3 0 56,-3 0-39,0 0 43,0 0-5,0 0-32,1 0 35,-1-2-24,0 2-15,0 0 21,0 0-11,0 0-62,0 0 13,3 0-32,-3 0 31,0 0 63,0 0-24,0 0 23,0 0-26,0 0 12,0 0-5,3-3 8,-3 3 10,0 0-11,0 0 14,0 0-9,0 0-5,0 0-11,0 0-29,0 0-40,0 0 4,2 0-11,-2 0 53,0 0 7,0 0 2,0 0 10,0 0 7,2 0-5,-2 0 39,0 0-41,0 0 24,0 0-21,0 0 5,3 0 0,-3 0 0,0 0-8,0 0 7,0 0-5,0 0 6,0 0 1,0 0-2,0 0 10,2 0-6,-2 0 6,0 0-1,0 0-6,0 0 9,0 3-1,0-3-4,0 0 5,0 0 7,0 0-8,0 0 8,0 0-9,0 0-4,0 0 3,0 2-7,0-2 4,0 0-5,0 0-3,0 0 6,0 0 26,0 0-16,0 0 25,0 3-32,0-3 24,0 0-12,0 0 6,0 0-11,0 0-5,0 0-16,0 0 26,0 0-24,0 2 1,0-2-2,0 0-16,0 0-5,0 0 43,0 0-21,0 0 32,0 0-17,0 0-4,0 2 1,0-2 0,-2 0 0,2 0 0,-3 0 0,3 0 2,-2 0-1,0 0-3,2 0 3,-3 0-4,0 0 0,2 0 1,-2 0-1,0 0 1,1 0 1,0 0 0,-1 0 0,1 0 0,-1 0 0,1 0 0,0 0-1,-1 0 1,0 0 0,3 0 0,-1 0 0,-2 0 6,0-2-5,1 2 6,0 0 35,-1 0-30,1 0 33,-1 0-41,1 0-4,0-2 5,-1 2-3,0 0 6,2 0-12,1 0 7,-3 0-8,0 0 3,1 0 8,2 0-9,-2 0 9,2 0 6,-3 0-7,3 0 6,-2 0-6,2 0 0,0 0 1,-3 0-3,3 0 22,0 0-14,0 0 18,0 0-23,0 0 14,0 2-11,-2-2 12,2 0-12,-2 0-15,2 0 11,0 0-12,-3 0-26,3 2 30,-3-2-32,2 0 29,1 0 8,-3 0-12,3 0 13,-3 0-12,3 3 8,0-3-12,0 0 10,0 0 13,-2 0-8,2 0 15,0 0-15,0 0-20,0 2 13,0-2-17,0 0 16,0 0 6,2 0-5,-2 0 1,0 0 46,0 0-38,0 2 39,0-2-45,3 0 25,-3 0-18,3 0 26,-3 0-22,0 3 4,0-3-1,1 0 0,-1 2-28,0-2 23,3 0-24,-3 0 28,0 3-22,0-3 11,0 2-14,3-2 0,-3 0 13,0 2-16,0 1 17,0-3-4,0 3 3,0-2-4,0-1 7,0 3-6,0 0 6,0-3-4,0 2 17,0 0-11,0 1 11,0-3-14,0 2 6,-3-2-4,3 3 6,0-3-8,0 0 0,0 2 2,0-2 0,0 0-66,0 0 48,0 2-52,0-2 92,0 0-24,0 3 22,0-3-30,0 0 5,0 3-6,0-3 5,0 0-6,0 0 31,0 1-22,0-1 25,0 0-23,0 0-41,-3 0 31,6 0 33,-3 3-11,0-6 50,0 3-64,3 0 45,-3 0-31,0 0 40,2 0-59,-2-1 17,2 1-14,-2 0 21,0 0-19,3 0 19,-3 0-17,2 0-15,-2 0 20,3 0-29,-1 0 32,-2-3-27,2 3 18,1 0-21,0 0 23,-3 0-9,1 0 7,2 0-6,0 0 5,-1-3 27,0 3-18,1 0 21,-1 0-14,3 0-7,-3 0 9,1 0-9,0 0-9,-2 0 9,-1 0-7,3 0-7,2 0 9,-5-2-10,2 2 14,1 0-19,-1 0 12,-2 0-15,3 0 15,-3 0-7,2 0 4,0-2-7,1 2 8,-3 0-2,3 0 1,-2 0 1,-1 0 1,6 0-1,-6 0 1,2-3 0,0 3 0,1 0 0,-1 0 0,1 0 0,-1 0 1,-2-2-1,2 2 0,1 0 22,0 0-16,-2 0 17,2 0-5,-3 0-11,3 0 14,-1 0-24,0 0 8,-2-3-8,3 3 10,-1 0-12,-2 0 9,3 0-9,-3 0 11,2 0-7,0 0 5,1 0-5,-3 0 3,2-2-7,-2 2 1,2 0-2,1 0 3,0 0 2,-3 0-2,2 0 1,0 0 2,-2 0 0,3-2 0,-1 2-8,0 0 5,1 0-5,-1 0 7,-2 0-4,3 0 2,-1 0-3,-2 0 3,2-3 1,1 3-1,0 0 1,-3 0 3,1 0-2,-1 0 2,3 0 0,0-3-2,-1 3 4,0 0-5,-2 0 4,3 0-2,-3-1 3,2 1-3,1 0 1,-3 0 0,2-3 0,-2 3-1,2 0 0,-2 0 1,3 0-1,-3 0-2,0-3 2,0 3-1,3 0-27,-3 0 20,0 0-22,1 0 28,-1 0-26,0 0 18,0 0-21,3 0 24,-3 0-7,3 0 4,-3 0-6,2 0 21,-2 0-13,2 0 14,-2 0-17,3 0 53,-3 0-38,0 0 39,2 0-26,-2 0-15,3 0 21,-3-2-23,0 2 17,2 0-12,-2 0 15,0 0-15,0 0-5,2 0 5,-2 0-6,0 0-16,0 0 18,3-2-20,-3 2 23,0 0-20,0 0 11,3 0-13,-3 0 14,0 0 2,1 0-5,-1 0 4,0 0 2,0 0-1,3-3 4,-3 3-5,0 0 6,0 0-4,3 0 5,-3 0-18,2 0 8,-2 0-9,0 0 13,0 0-24,2 0 17,-2 0-19,0 0 22,0-2-2,0 2 0,0 0-2,0 0-40,3 0 28,-6 0-29,3 0 39,0 0 21,0 0 9,0 0 6,0 0-38,0 0-5,0 2-33,0-2 29,-2 0 30,2 0-12,0 0 44,0 0-38,0 0 20,0 0-19,0 0 30,0 3-21,0-3 22,0 0 13,0 0-29,0 0 31,0 0-39,0 0 0,0 2 1,0-2 4,0 0-3,0 0-10,0 0 7,0 0-7,2 2 13,-2-2-25,0 0 18,0 3-20,3-3 1,-3 0 14,0 0-16,0 3 5,2-3 9,-2 0-11,0 0 9,3 1 2,-3-1-2,2 0 1,-2 0 1,2 3-1,-2-3 0,3 0 0,-3 0 1,3 3 0,-3-3 0,1 0 0,2 2 14,-3-2-10,3 2 12,-3-2-15,2 3 2,-2-3-1,2 0 3,1 2 13,-3-2-11,0 0 12,2 3-15,-2-3 13,3 0-7,-3 0 8,2 0-10,-2 2 8,0-2-3,2 0 4,1 0-12,-3 0 2,3 0-3,-3 0-11,1 0 12,-1 0-13,3 2 17,0-2-18,-3 0 13,0 0-14,2 0 12,-2 0-28,2 0 17,-2 0-20,3 3 27,-3-3 1,2 0-4,-2 0 2,3 0 1,-3 0-1,0 0 1,2 0 1,-2 0 1,2 0 1,-2 0 0,3 0 2,-3 0-4,3-3 5,-2 3-5,2 0 4,-3 0-3,3-2 4,-1 2-4,-2 0 1,2 0-1,1 0 0,-3-2-19,2 2 14,1 0-14,-1 0 17,-2 0 0,2 0-1,-2 0 0,3 0 4,-1-3-3,-2 3 2,2 0-3,-2 0 16,3 0-11,-3-2 13,3 2-18,-1 0 29,-2 0-21,2-3 23,1 3-10,-3-2-10,2 2 13,-2-2-23,2 2 6,-2-3-6,3 3 9,-3 0-20,2-3 16,-2 3-16,0 0 20,0-1-16,3 1 10,-3 0-13,0-3 16,2 3-18,-2 0 12,0-3-16,0 3-6,0-2 11,2 2-13,-2 0 19,0-2-14,0 2 10,0 0-11,0-3-2,3 3 11,-3-2-12,0 2 11,0-3-23,0 3 17,0 0-21,0-2 22,0 2-35,0 0 23,0 0-23,0 0 11,0-2 17,0 2-23,0 0 36,0-3-14,0 3 14,-3 0-15,3 0 38,0 0-30,0-2 30,0 2-36,-2 0 27,2 0-13,0 0 14,0 0-14,0 0 34,-2-2-19,2 2 25,0 0-40,0 0 1,0 0-365,0 0 281,0 0-271,-3 0 366,3 0 0,0 0 0</inkml:trace>
  <inkml:trace contextRef="#ctx0" brushRef="#br0" timeOffset="169">2519 3595 9024,'3'0'-200,"-3"0"314,0 0 162,0 0-62,0 0 75,3 0-172,-6 3-27,3-3-8,0 0 18,0 0-19,-3 0 26,3 0-3,-2 0-11,0 0 12,-1 0-12,1 0-10,-1 0 9,1 0-1,0 0-57,-4 0-8,5 0-11,-5 0 11,4 0-11,-3 0-8,3 0-15,-3 0-26,0 0 28,1 0 1,1 0-8,-2 0 1,3 0 19,-3 3-27,2-3 11,-1 0 26,1 0-31,0 0 34,2 0-38,-2 0 28,0 2-27,1-2 30,0 0 11,-1 0-7,1 0 6,2 0-27,-3 0 8,1 0-9,0 0 13,2 2-16,-3-2 11,0 0-12,3 0 4,-1 0 9,1 0-9,-3 3 12,3-3-7,-3 0 4,3 0-6,-2 0 6,2 0 46,0 0-35,-2 0 35,-1 0-73,3 0 22,-2 0-21,-1 0 31,3 0-42,-2 0-8,0 0-6,-1 2-14,3-2 54,-3 0-21,2 0 18,-2 0-15,3 0 3,0 0-5,-3 0-2,3 0 35,-2 0-32,2 0 32,0 0 9,-2 0-22,2 0 32,-3 0-14,3 0-12,0 0 15,-2 0-15,2 0-16,-3 0 13,3 0-13,-2 0 15,2 0-45,0 0 33,0 3-33,-2-3 40,2 0-36,0 0 22,0 0-25,-3 0-44,3 0 51,0 0-47,0 0 112,0 0 27,3 0-2,-3 0-2,0 0 19,0 0-37,2 0 43,-2 2-27,0-2-27,2 0 33,-2 0-34,3 0-4,-3 0 6,2 0-1,-2 0-20,3 0 26,-1 0-30,-2 0 28,2 0-48,1 0 32,-3 0-43,3 0 49,1 0 10,-4 0-11,5 0 12,-3 0-18,3 0-6,-2 0 7,1 0 15,-1 0-7,1 0 19,-1 0-23,2 0-36,-3-2 26,3 2-29,-2 0 38,1 0-42,-1 0-10,1 0-7,-1 0 11,2 0-33,-3-3 49,3 3-75,0-2 79,-3 2-24,4-3 24,-2 3 15,-1-2-14,-1 2 12,3 0-20,-3 0-31,1-2 24,-1 2-21,-2 0 26,2 0-33,-2 0 24,3 0-23,-3 0 33,0 0-42,3 0 26,-3 0-35,0 0-3,0 0-16,0 0 2,1 0-1,-1 0 57,0 0-21,0 0 18,3 0 28,-3 0-26,0 0 29,3 0-46,-3 0 65,2 0-46,-2 0 58,0 0-63,2 0 26,-2 0-22,3 0 29,-3 0-15,2 0 5,-2 0 2,3 0-4,-3 0-10,2 0 7,-2 0-7,0 0 30,0 0-20,0 0 21,2 0-30,-2 0 73,0 0-49,0 0 54,0 2-56,0-2 67,0 0-41,3 0 47,-3 0-39,0 0-23,0 0 27,0 0 27,0 0-31,0 0 34,0 0-41,3 0 5,-3 0-1,0 0 3,0 0-4,0 0 55,0 0 22,0 0-2,1 0-4,-1 0 3,0 0-43,0 0 42,0 0-126,0 0 40,0-2-44,0 2 54,0-3-21,0 3 5,0-3-12,0 3-17,0-1 30,0-2-26,-1 3 34,1-3-35,0 3 24,0-2-35,0 0 17,-3-1 5,3 3-7,0-2 13,0-1-27,-3 1 18,3 2-21,0-2 28,0 2-33,0-3 22,-2 0-24,2 2 19,0 1 5,0 0-7,0-3 14,0 3-3,-2-3 5,2 3-10,0 0 49,0-2-36,0 2 39,0 0-46,0-2 47,0 2 11,0 0 8,0 0 96,0 0-107,0-3 84,0 3-100,0 0-11,0 0 5,0 0-3,2 0 9,-2 0-46,0 0 32,2 0-39,-2 0 48,0 0-49,3 0 33,-3 0-40,3 0 47,-2 0-27,-1 0 19,3 0-25,0 0 23,-1 0-10,0 0 8,-2 0-4,5 0 3,-2 0 1,-1 0-1,0 0 18,1 0-11,-1 0 12,0-2-16,1 2-15,0 0 11,-3 0-10,2 0 14,0 0-41,-2-3 29,3 3-33,-3 0 41,2 0-50,-2 0-11,0 0-8,0 0 4,0 0 35,0 0 150,2 0-98,-2 0 123,-2 0-127,2 0-12,0 3 12,0-3-12,-2 2-1,2-2 4,0 0-4,0 3 9,-3-3-21,3 2 17,0-2-19,0 0 18,0 2 18,0-2-17,-2 3 16,2-3-20,0 3 12,0-3-7,-2 1 8,2 2 0,0-3-5,0 3 7,0-3-27,0 2 16,-3 0-16,3 1 21,0-3-8,0 2 4,0-2-4,0 0 3,0 3-14,0-3 7,0 2-10,0-2 1,0 0 11,0 2-29,0-2 24,0 0-58,0 0-2,0 0-21,0 0 21,0 0 22,3 0 48,-3 0-22,0 0 56,0 0-49,0 0 28,0 0-34,0 0 49,0 0-30,0 0 33,2 0-23,-2 0-6,0 0 3,0 0-20,0 0 2,2 0-13,-2 0 19,0 0-2,0 0 0,0 0 4,0 0 31,0 0-25,0 0 27,0 0-5,0 3-18,3-3 21,-3 0-22,0 0 16,0 0-6,0 0 9,2 0 18,-2 0-24,0 0 28,0 0-32,2 0-7,-2 0 4,0 0-4,0 0 10,0 3-38,3-3 26,-3 0-32,0 0 21,2 0 8,-2 0-9,0 0 12,0 0 30,0 0-27,3 1 24,-3-1-17,0 0-7,0 0 9,2 0-11,-2 0 5,0 3-3,0-3 9,2 0-8,-2 0 21,0 3-15,0-3 16,0 0-9,3 0-2,-3 2 3,0-2-26,0 0 12,0 0-18,3 2 22,-3-2-30,0 0 20,0 3-21,0-3 25,0 2-19,0-2 14,0 0-18,0 3-6,0-3 18,0 0-24,0 2 28,0-2-18,0 2 13,0-2-13,0 3 60,0-3-34,0 2 36,0-2-45,0 2 23,0-2-15,0 3 17,-3-3-19,3 3 31,0-3-16,0 2 22,0-2-22,0 0-44,-3 2 35,3-2-37,0 0-4,0 0 30,0 3-37,-2-3-3,2 0 28,0 2-36,0-2 40,0 0-4,-2 0-2,2 2-1,0-2-1,0 0 9,0 0-9,0 0 7,0 0-6,-3 3 14,3-3-9,0 0 11,0 0-3,0 0-6,0 0 8,0 0-38,0 0 24,-2 2-24,2-2 29,0 0-3,0 0 0,0 0 0,0 0-2,-3 3 9,3-3 0,0 0 18,0 0-6,0 0 2,0 0 1,0 0 29,0 0 74,0 0-40,0 0 19,0 0-87,0 2-5,0-2-1,0 0 9,0 0-39,0 0 28,0 0-36,0 2 37,0-2-18,0 0 12,0 0-9,0 0 9,0 0 0,0 3 1,0-3 0,0 3-1,0-3 0,0 0 0,0 1 0,0-1 1,3 3 0,-3-3 0,0 3 5,0-3-3,0 2 5,0-2 41,0 2-34,0 1 36,2-3-24,-2 2 3,0 1 6,0-3-8,0 2-21,0 0 3,0-2 0,0 3 12,0-1-12,0-2 10,0 2-10,0-2 7,0 3-1,0-1 2,0-2-3,0 0-9,0 3 7,0-3-11,0 2 14,0-2-2,0 2 3,0-2-3,0 3 18,0-3-12,0 3 13,0-3-14,0 1 6,0-1-3,0 3 4,0-3-6,0 3-22,0-3 19,0 2-19,0 0-19,0-2 28,0 3-35,0-3 17,0 2 15,0-2-18,0 3 19,0-3-11,0 0 4,0 2-7,0-2 8,0 2 10,-2-2-9,2 3 8,0-3-8,0 3 2,0-3-1,0 1 1,0-1 0,0 3-1,-3-3 3,3 3-3,0-3-1,0 2 2,0-2-2,0 2 2,0-2-6,0 3 4,0-3-4,0 2 1,-2-2 3,2 3-3,0-3 3,0 2 0,0-2 0,0 2 1,-2-2-2,2 3 3,0-3-2,0 3 2,0-3 0,0 1-2,-3-1 3,3 3-2,0-3 1,0 3 0,0-3-1,0 2-27,0-2 20,-2 2-21,2 1 26,0-3-29,0 2 20,0 1-23,-2-3 28,2 2-3,0-2 1,0 2 4,0 1 6,-3 0-6,3-3 4,0 1 8,0-1-12,-3 3 14,3-3-17,0 3 16,0-3-11,0 2 15,-2-2-15,2 2 8,0-2-6,0 0 7,0 3-7,-2-3 2,2 0-2,0 2 1,0-2-1,-3 3 0,3-3 0,0 2 0,0-2 0,-2 2 0,2-2 0,0 3 0,-2-3 0,2 3 0,0-3 0,-3 1 0,3-1 0,0 3 0,-2-3 0,2 3-1,-3-3 1,3 2 0,0-2-7,0 0 5,-2 2-5,2-2 7,0 0-1,0 0 1,-2 0-1,2 0 8,0 3-5,0-3 6,0 0-8,0 0 7,-3 0-5,3 0 7,0 0 0,0 2-6,0-2 7,-3 0-17,3 0 6,0 0-6,-1 0 10,1 0-7,0 3 5,0-3-5,0 0 6,0 0-59,-3 0 38,3 0 2,0 0 84,0 0-8,0 0 5,0-3-64,0 3 5,0 0-4,0 0 9,0 0-16,0-2 13,0 2-13,0 0 19,0-3-8,0 3 8,3 0-8,-3-2 41,0 2-27,0-2 27,0 2-14,0-3-19,0 3 19,0-3-20,1 3 30,-1-1-15,0-2 19,3 3-21,-3-3-26,0 1 21,0 0-19,3-1 0,-3 1 13,0-1-16,0 3 21,2-2-22,-2 0 15,0-1-17,0 0-17,0 2 25,2 1-28,-2-3 29,0 0-29,0 1 16,0 2-23,0-2 31,0-1-5,0 1 5,3 2-3,-3-3-2,0 1-13,0 2 7,0-2-9,2-1 20,-2 3-4,0-3 4,0 2-22,0-2 13,0 3-13,0-3 17,0 3-12,0-2 7,0 0-9,0 2 11,3-3 15,-3 3-11,0-2 11,0 2-16,0-3 19,0 1-14,0 2 18,0-2-6,0 2-8,0-3 8,0 0-9,0 3 2,0-1 3,0-2-2,0 3-14,0-3 8,0 3-10,0-2 14,0 2-3,0-2 1,0 2-3,0-3 2,0 3 11,0-2-7,0 2 6,0 0-8,0-3-2,0 3 2,0-2 0,0 2-61,0-2 44,0 2-46,0-3 58,0 3-6,0 0 2,0 0-4,0-3 18,0 3-8,0 0 4,0 0-16,0-1 28,0 1-21,0 0 25,0 0-4,0 0-17,0 0 22,0-3-23,0 3 17,0 0-9,0 0 9,0 0-4,0 0-6,0 0 5,0-3-5,0 3 0,0 0 0,0 0 0,0 0 31,0-2-22,0 2 24,-3 0-31,3 0-1,0 0 1,0 0 1,0-2-13,0 2 11,0 0-11,0 0 14,0-3-24,0 3 17,0 0-19,0 0 22,0 0-2,0 0-1,0-2-1,0 2-2,0 0 3,0 0-7,0 0 6,0-3-26,0 3 11,0 0-13,0 0 14,-2 0 22,2 0-14,0 0 14,0 0 16,0 0-19,0-2 23,0 2-29,0 0 12,0 0-7,-3 0 9,3 0-1,0 0-7,0 0 10,0-2-12,0 2 6,0 0-6,0 0 6,0 0-8,0-3 5,0 3-5,0 0 5,0 0 2,0 0-3,0 0 1,0 0-2,0 0-15,0-2 11,0 2-36,0 0 31,0 0-19,0 0 5,-2 0 14,2 0-16,0 0 18,0 0-3,0-2 2,0 2-6,0 0 4,0 0 17,0 0-11,0 0 15,0 0-4,0 0-9,-2 0 11,2 0-12,0-3-9,0 3 9,0 0-9,0 0-38,0 0 32,0 0-38,0 0 49,0 0-24,0-2 16,0 2-20,0 0 44,0 0-19,0 0 19,0 0-26,0 0 0,0-3 3,0 3-2,0 0 5,-3-2 9,3 2-6,0 0 7,0 0 19,0-2-23,0 2 25,0 0-26,0 0 8,0-3-6,0 3 5,0 0-5,0-3-34,0 3 24,0 0-25,0 0 32,0-1 2,0 1-3,0 0 5,0 0-4,0-3-1,0 3-3,0 0 2,0 0-3,0 0 4,0-3-3,3 3-83,-3 0 21,0 0-35,0 0 69,0 0 19,0 0 173,0 0-125,0 0 125,0 0-136,0 0 8,-3 0-5,3 0 5,0 0-10,-3 3 25,3-3-16,-1 0 18,1 0-31,-3 0 3,3 3-5,-3-3 9,1 0 11,2 0-8,-2 0 11,-1 1 6,1-1-11,-1 0 15,1 0-19,0 0 42,-1 0-31,0 0 31,2 0-38,-2 0-3,-2 0 4,5 0-2,-5 0-6,5 0 5,-2 0-1,-3 0 12,3 0-31,-1 0 22,0 0-29,2 0-22,-2 0 35,-2 0-41,3 0 49,-1 0-34,1 0 24,-1 0-32,3 0 35,-2 0-18,0 0 13,-1 0-12,0 0 7,2 0 2,1 0-3,-3 0 2,3 0-2,-3 0 1,3 3-1,-2-3 39,0 0-26,2 0 27,-3 0-34,3 0-10,-2 0 7,-1 0-7,1 0 11,2 0-14,-2 0 9,-1 3-9,0-3-47,2 0 44,1 0-47,-3 0 56,0 0-77,3 0 13,-2 0-69,2 0-10,0 0 28,0 0-52,0 0 86,-2-3-268,2 3 107,0 0-187,0 0 131,0 0 157,-3 0 29,3 0 112,-2-3 0,-1 3 0</inkml:trace>
  <inkml:trace contextRef="#ctx0" brushRef="#br0" timeOffset="170">1202 3630 9502,'0'-3'-1148,"0"3"1154,2 0-38,-2 0 56,0 0 0,0 0 16,0 0 14,0 0-40,0 0-12,0 0 19,0-3-17,0 3 20,0 0-4,0 0 3,0 0 25,0 0-25,0 0 25,0 0 25,0 0 15,0-2 27,-2 2-15,2 0-41,0 0 75,0 0-67,0 0 142,0 0 185,0 0-184,0 0 162,0 0-315,0 2-51,0-2 37,0 0-36,2 0 41,-2 0 41,0 0-37,3 0 32,-3 0-41,2 0-46,-2 0 31,0 0-33,2 0-25,-2 0 54,3 0-57,-3 0 6,0 0 41,3 0-46,-2 0 53,-1 0-15,0 0 2,3 0-4,-3 0-7,0 0 34,3 0-35,-3 0 30,2 0-12,-2 0 1,0-2 8,0 2-9,2 0 22,-2 0-17,0 0 19,0-2-36,0 2-1,0 0-2,3 0 3,-3-3 29,0 3-11,0 0 12,0-2-18,0 2 5,0 0-6,0-2 3,0 2-4,0-3 2,0 3-3,0-2-18,0 2 13,0-3-14,0 1 23,0 2-27,0-2 20,0-1-23,0 0 25,0 2-43,0 1-11,0-3-10,0 0 14,0 1-19,0 0-10,0-1-12,0 1-81,0-1 63,0 1-82,0 0 70,0 2 41,0-3 38,0 0 32,-3 2 0,3 1 0</inkml:trace>
  <inkml:trace contextRef="#ctx0" brushRef="#br0" timeOffset="171">1347 3594 9502,'0'-3'-213,"2"0"65,-2 3 100,0 0-17,0 0 34,0 0-41,0 0 3,0 0 61,0 0-30,0 0 5,-2 3 42,2 0-45,-3-3 56,3 1-60,-3 2-13,3 0-15,-1-1 17,-2-2-12,3 2-11,-3 1-11,3-1 22,-2-2 51,2 3 12,0-3 0,-2 2 0</inkml:trace>
  <inkml:trace contextRef="#ctx0" brushRef="#br0" timeOffset="172">2380 3663 8847,'0'0'-492,"-3"0"492,3 0 81,0 0 607,0 0-400,0 0 429,0 0-606,3 0 18,-3 0 3,1-3 1,-1 3-32,3 0-36,-3 0 26,0 0-11,3-1-31,-3 1-13,2 0-20,-2 0-47,2-3 35,-2 3 7,3 0-5,-1 0 27,-2 0-37,3-3 9,-1 3-10,0 0 60,1 0-30,0 0 24,-2 0-35,2-2 32,0 2-23,-1 0 27,0 0-12,1 0 2,-1 0 1,1 0-55,-1 0 38,0 0-35,1-2 46,0 2-61,-2 0 39,2 0-47,0 0 57,-1 0-38,0 0 21,1 0-26,-1 0 27,-2 0 5,3-3-11,-1 3 0,0 0 40,1 0-28,0 0 31,-3 0-43,1 0 4,2 0 0,-3 0 8,0 0-21,3 0 14,-3 0-16,2 0 22,-2 0-47,0 0 35,2 0-41,1 0 22,-3 0 13,0 3-17,2-3 17,-2 0 5,3 0-10,-3 0 9,2 0 2,-2 0-3,0 0 5,2 0-7,-2 0 11,3 0-7,-3 0 10,3 0-13,-3 0 45,0 0-32,1 0 35,-1 0-42,0 0 3,3 0-3,-3 0 4,0 0-13,0 0 12,0 0-12,3 0-19,-3 0 23,0 0-23,2 0 29,-2 0-20,0 0 13,2 0-19,-2 0 21,0 0-22,3 0 16,-3 0-19,2 0 27,-2 0-9,0 0 7,3 0-7,-3 0-11,2 0 8,-2 0-6,2 0-11,-2 2 14,0-2-14,3 0 19,-3 0 5,0 0-3,3 0 1,-3 0-7,0 0-44,1 0 29,-1 0-28,3 0 41,-3 0 18,0 0-17,3 0 15,-3 0-12,0 0-3,2 0 8,-2 0 22,0 0-23,0 0 25,2 0-31,-2 0 27,0 0-17,0 0 19,0 0-20,3 0-3,-3 0 7,0 0-2,0 0 3,-3 0 0,3 0 0,0 0 0,0 0 0,0 2 0,0-2 16,0 0-12,-2 0 13,2 0-16,0 0 18,0 0-11,0 0 13,0 3-17,0-3 10,0 0-7,0 0 18,0 0-15,0 0 9,0 0-10,0 0 3,0 3-4,0-3 4,0 0-3,0 0-18,0 0 15,0 1-18,0-1 20,0 0-17,0 0 13,0 0-16,0 3 17,0-3-8,0 0 5,0 0-8,0 3 37,0-3-24,0 0 23,0 2-22,0-2-3,0 0 7,0 2-6,0-2-8,0 0 5,0 3-5,0-3 8,0 0-3,0 0 2,0 0-3,0 0 16,2 0-9,-2 2 9,0-2-13,0 0-5,0 0 3,0 0-3,3 0-5,-3 3 7,0-3-6,0 0 10,0 0-11,0 0 7,2 0-8,-2 0 10,0 2-7,0-2 3,0 0-4,0 0 2,0 0 1,0 2-1,3-2 39,-3 0-26,0 0 29,0 0-37,0 0 33,2 3-21,-2-3 23,0 0-26,0 0 33,0 2-18,0-2 21,0 0-59,0 0 20,2 0-19,-2 0 29,0 0-35,0 2 24,0-2-28,0 0 6,0 0 16,0 0-20,0 3 20,0-3-9,0 0 2,3 2-4,-3-2 5,0 0 4,0 0-5,0 3 4,0-3 1,0 0 0,0 2 1,0-2-1,0 0 26,0 2-19,0-2 20,0 3-24,0-3 1,0 0-1,0 0 2,0 3 43,0-3-30,0 0 33,0 1-40,0-1 14,0 0-7,0 3 8,0-3-4,0 0-6,0 0 8,0 3-8,0-3 17,0 0-13,0 2 14,0-2-37,0 2 17,0-2-18,0 3 21,0-3-34,0 0 23,0 0-27,0 2 33,0-2-27,0 3 19,-3-3-23,3 0 12,0 2 7,0-2-10,0 0 10,0 2 0,0-2-4,0 0 3,0 3 13,0-3-8,-2 3 9,2-3-12,0 0 45,0 0-31,0 1 36,0-1-45,0 0 10,0 3-7,0-3 11,0 3-12,0-3 5,0 0-4,0 2 5,0-2-25,0 0 19,0 2-19,0-2 10,0 0 10,0 3-14,0-3 13,0 2-25,0-2 18,0 0-22,0 3 25,0-3-19,0 0 13,0 2-14,0-2 8,0 0 3,0 2-5,-2-2 7,2 0-7,0 3 4,0-3-5,0 0 3,0 3 4,-3-3-4,3 1 4,0 2-1,0-3-1,0 0 1,0 3-2,0-3-5,-2 2 4,2-2-4,0 2 16,0-2-6,-3 0 7,3 3-10,0-3 10,0 2-7,-2 1 8,2-3-10,0 0 7,0 2-5,0-2 6,-2 2-2,2-2-2,0 3 2,0-3-2,0 0-4,0 3 5,0-3-5,-3 0 4,3 0-33,0 1 23,0-1-24,0 0-21,0 3 37,0-3-43,0 3 66,-3-3-16,3 0 15,0 2-19,0-2-1,0 2-2,0-2 1,0 0-1,-1 3 22,1-3-14,0 0 15,0 2-16,0-2-1,0 3 6,0-3-4,0 2 4,0-2-4,0 0 2,0 0-16,0 2 11,0-2-12,0 3 13,0-3 21,-3 0-16,3 3 16,0-3-17,0 0 12,0 0-8,0 1 9,0-1-5,0 0-6,0 0 9,0 0-9,0 3 16,0-3-11,0 0 12,0 0-5,0 0-6,0 0 10,0 3-11,0-3 2,0 0 5,0 0 6,0 0 1,0 0 16,0 0-19,0 0 5,0 0-5,3 0-9,-3 0 10,0 0-8,0 0-3,0 0 0,0 0-9,0 0 12,0 0-17,1 0 13,-1 2-10,0-2 10,0 0-2,0 0 1,0 0 2,3 0-1,-3 0 2,0 0-1,0 0 0,0 0 1,0 0 0,0 0 0,0 0-1,3 0 1,-3 0-1,0 0 13,0 0-8,0 0 9,0 0-12,2 0 30,-2 0-20,0 0 22,0 0-26,0 0-3,2 0 5,-2 0-17,0 0 13,0 0-12,3 0 15,-3-2-7,0 2 5,0 0-5,2 0 3,-2-3-11,0 3 7,0 0-8,0 0 8,3-3-1,-3 3-2,0 0 1,2 0 11,-2-1-6,0 1 7,0 0-13,2-3 3,-2 3-3,0-3 5,0 1-5,0 2 3,3 0-4,-3-2 5,0-1-4,0 1 3,0 2-4,2-3 5,-2 3 6,0-2-5,0 0 5,0 2 12,2-3-14,-2 0 15,0 3-18,0-1 0,0-2 2,3 3-1,-3-3-6,0 1 5,0 2-6,3-2 8,-3 2-9,0-3 6,0 1-7,0 2-14,0-3 15,0 3-17,2-2 19,-2 2 1,0-2-3,0-1 2,0 3 1,0-3-1,0 2 1,0 1-1,0-3 3,2 3-2,-2-3 4,0 3-5,0-2 26,0 2-18,0-2 21,0 2-27,0-3 4,0 3-3,0-2 3,0-1-6,0 3 5,0-2-6,0 2 1,0-2 3,0 2-4,0-3 6,0 3-4,0-3 3,0 3-4,0-1 3,0 1-4,0-3 2,0 0-3,3 3 3,-3-2 0,0 2 0,0-2-11,0 2 8,0 0-9,0-3 11,0 3 3,0-2-3,0 2 3,0-3-4,0 3 5,0-2-4,0 0 4,0 2-5,0-3 3,0 3-2,0-3 3,0 3 1,0-1-3,0-2 4,2 3-4,-2-3 3,0 3-2,0-2 3,0 2-3,0-2 1,0 2-1,0-3 0,0 3-8,0 0 5,0-2-5,0 2 7,0-3-6,0 3 4,0 0-4,0-2 5,0 2 0,0 0-1,0 0-1,2-2 0,-2 2 0,0-3 0,0 3-10,0 0 7,0-2-8,0 2 10,0 0-20,0-2 15,0 2-14,0 0 17,0 0 10,0 0-7,0-3 7,0 3-3,0 0-6,0 0 5,0-2 1,0 2-5,0 0 6,0 0-7,0 0 13,0-3-9,0 3 11,0 0-11,0 0-12,0-2 9,0 2-9,0 0 12,0-2-4,0 2 3,0 0-4,0 0-12,0-3 10,0 3-11,0 0-3,0 0 13,0 0-15,0 0 18,0-3 7,0 3-5,0 0 3,0 0-7,0 0 17,0 0-12,0 0 14,0 0-18,0 0 11,0-1-8,0 1 9,0 0-9,0 0 4,0 0-4,0 0 7,0 0-17,0-3 12,0 3-12,0 0 12,0 0 2,0 0-3,0-3 2,0 3 1,0 0-2,0 0 2,0 0-4,0 0-2,0-2 1,0 2 0,0 0 1,0 0 16,0 0-11,0 0 12,0 0-13,0-2 5,0 2-3,0 0 4,0 0-4,0 0 0,0 0 1,0 0-1,0-3 0,0 3 1,0 0 0,0 0-11,0 0 8,0 0-10,0 0 3,0 0 15,0-2 37,0 2 7,0 0 16,0 0-26,0 0-10,0 0-10,0 0 22,0 0-1,0-3 13,0 3-10,0 0-44,0 0-29,0 0-35,0 0 22,0 0-21,0 0 45,0-2-16,0 2 20,0 0-4,0 0 27,0 0-27,0 0 24,0 0 29,0-2-33,0 2 40,0 0 10,0 0-38,0 0 47,0 0-120,0 0 57,0 0-83,0-3 83,0 3-31,0 0 19,0 0 4,0 0-10,0 0 69,0 0-41,0 0 46,0-2-41,0 2-7,0 0-5,0 0 9,0 0 6,0 0-4,0 0 9,0 0-21,0-2-5,0 2 5,0 0-10,0 0 0,0 0 8,0 0-11,3 0 10,-3 0-2,0 0 1,0-3 0,0 3-26,2 0 19,-2 0-20,0 0 27,0 0-20,0-3 14,0 3-16,0 0 16,0 0-10,3 0 5,-3 0-7,0-2 5,0 2 22,0 0-16,0 0 18,0 0-3,0-2-11,0 2 13,2 0-29,-2 0 10,0 0-8,0 0 13,0 0 4,0 0-4,0-3 2,0 3-3,0 0 9,0 0-5,0-2 5,0 2-15,0 0 2,0-2-3,0 2 14,0 0-4,0 0 7,0 0-9,0-3 15,0 3-10,0 0 12,0-2-14,0 2-1,0 0 0,0 0-1,0-3 2,0 3 7,0 0-4,0-2 5,0 2-2,0 0-2,0 0 4,0 0-4,-2-2-1,2 2 1,0 0-2,0 0 4,0-3-4,-3 3 4,3 0-3,0 0 15,0 0-11,0-3 13,-2 3-16,2 0 2,0 0-1,-3 0 0,3 0-2,0 0 2,0 0-1,-2 0-10,2 0 9,0 0-9,0 0 11,-2-1-53,2 1 39,0 0-43,0 0 53,-3 0-152,3 0 33,0 0-104,0 0 129,0 0 44,0 0 53,-2-3 0,2 3 0</inkml:trace>
  <inkml:trace contextRef="#ctx0" brushRef="#br0" timeOffset="173">1349 3601 9028,'0'2'-394,"0"-2"456,0 2-44,-2-2-16,2 3 10,-3-1-12,3-2 17,-3 3-29,3-1 20,-1-2-21,-2 2-16,0 1 30,1-1-31,0 0-23,2-2 42,-3 0-46,3 3 54,0-3-52,0 3 28,0-3-40,0 0 48,3 0-4,-3 0 8,0 0 20,2-3-16,-2 3 20,0 0-28,2 0 58,-2 0-40,0 0 167,3 0-92,-3 0 66,0 0-74,0 0-29,0 3-2,-3-3 4,3 0-2,0 0-38,0 2 33,-2-2-32,2 0 34,0 0-46,0 2-11,0-2-102,0 0 68,0 0-39,0 0 107,-2-2-16,2 2 17,0 0 168,0 0-140,0 0 141,0 0-150,0-2-24,0 2 30,0 0 16,2-3-34,-2 0 41,0 1-49,0 0-2,0 2 2,0-5 2,0 3 5,0 2-64,0-3 48,0 1-52,0-1-11,0 1 51,0 2-55,0-2 62,0 2-38,0 0 15,0-3-22,0 3-41,0 0 57,0-3-66,0 3 74,-2 0-77,2 0 58,0 0-61,0 0 86,0 0-2,0-1 20,0 1 0,0 0 0</inkml:trace>
  <inkml:trace contextRef="#ctx0" brushRef="#br0" timeOffset="174">1351 3653 9502,'0'-2'-790,"0"2"830,3 0 66,-3 0 6,0-2-106,0 2 33,0 0-32,0 0 40,0-3-1,0 3-5,0 0-75,0 0 52,0 0-54,-3 0 3,1 0 44,2 3-54,-2-1 13,-1-2 26,3 2-32,-3 1 39,2 0-6,-2-2-1,3 2-1,-3-3-3,3 3 4,-2-1-7,2-2 5,0 2 2,0-2 3,0 0 1,0 0 48,2 0-36,1 0 40,-3-2 11,3 0 18,-2-1 2,2 3-6,0-3-2,-1 2-30,-2-2 39,2 0-39,-2 3-23,3-2 27,-3 2-24,0-2 35,2 2-64,-2 0 2,-2-3-59,2 6 31,0-3-41,-3 2 63,1 0-33,0 1 36,-1 0-3,3-2-5,-3 2 1,2 0 4,1-3 8,-3 4-5,3-1 5,-3-3-2,3 2 32,0-2-22,0 3 24,0-3-29,0 0-1,0 0 2,0 0 0,3 0 51,-3 0-37,3-3 41,-2 3-26,-1-2-13,3-1 19,-3 1-24,3 0-7,-3-1 4,0 3-6,2-3-40,-2 2 38,0 1-40,0-3 52,0 3-57,0-3-17,0 3-3,0-2-4,0 2 0,0 0 23,0-2-31,0 2 58,0-3-1,0 3-3,0 0-5,0-2 25,0 2-15,0-3 24,0 3-35,0 0 7,0-2-5,0 0 12,0 2-44,0-3 35,0 3-37,0-2-45,0 0 16,0 2-81,0 0 99,0-3 8,0 0 60,0 1 0,2 0 0</inkml:trace>
  <inkml:trace contextRef="#ctx0" brushRef="#br0" timeOffset="175">5729 3878 9502,'7'0'59,"-4"0"-10,1 0-87,-1 0 90,-1 0-29,3 0 69,-3 0-33,1 0-14,1 0 28,-1 0-24,2 0 2,0 0 28,-3 0-32,2 0 29,2 0-52,1-3 45,-5 3-55,3-2 61,2 2-77,-2 0 51,0-3-51,0 3 68,-1 0-50,1 0 38,0 0-44,0 0-33,-1 0 38,2 0-41,-2 0-10,1 0 59,0 0-65,0 0 70,-2 0 7,1 0-2,1 0 2,0 0-10,0 0 22,-1 0-18,3 0 23,-1 0-44,-2 0 12,4 0-11,-4 3 19,2-3-8,1 0 9,-3 0-4,-1 0 9,4 0-55,-5 0 35,4 2-43,-2-2 4,-1 3-8,1-1-12,-1 0 16,-1-2-19,1 6 42,-1-4-49,0-2 46,1 2 15,-1 1-17,0-1 57,1 0-45,0-2 28,-1 3-34,0-3 29,3 0-17,-3 0 21,1 0-18,2 0 22,-1 0-8,-1 0 14,2-3-16,0 3-13,-1-4 12,1-1-10,2 0-22,-1-2 19,-2 2-22,1-5 26,0 0-26,2 1 19,-2-1-24,2-1 13,-2-2 4,2 1-8,0-2 10,-1 2-19,1-3 11,0 3-12,-2-3 14,-1 3-44,2 1-19,-2-2 1,1 4-117,0-1 76,-3 1-122,1 2-75,-1-1 39,0 3-70,-2 0 77,0 3 144,3-3 9,-6 3 107,3 0 0,-2-1 0</inkml:trace>
  <inkml:trace contextRef="#ctx0" brushRef="#br0" timeOffset="176">1199 3627 8355,'0'0'-23,"3"0"68,-3 0-48,0 0 63,0 0 33,0 0-51,0 0 61,0 0 1,2 0-49,-2 0 55,0 0-64,0 0 66,0 0 11,0 0 49,0 0-17,0 0-47,0-3 46,0 3-43,0 0 17,0 0-32,0 0-29,0 0-40,0 0 29,0 0-33,0 0 13,0 0 15,-2 0-14,2 0 17,0 0-43,0 0 29,-3 0-40,3 0 46,0 0-61,0 0 43,-2 0-48,2 0 56,0 0-41,0 0 30,-2 0-31,2 0 5,0 0 19,0 0-25,0 0 4,-3 0 15,3 0-17,0 3 21,-3-3 14,3 0-14,0 3 12,-1-3-14,1 0-11,0 0 8,0 2-9,0-2 28,-3 0-10,3 2 11,0-2-15,0 0 9,0 3-6,0-3 8,-3 2-10,3-2-22,0 2 18,0-2-20,0 0-7,0 3 20,0-3-25,0 0 31,0 2-13,-2-2 7,2 3-8,0-3 4,0 2-11,0-2 1,0 0-3,0 2 20,0-2-3,0 3 5,0-3-9,0 3 15,0-3-10,0 1 13,0-1-8,0 3 2,-2-3 1,2 3 0,0-3-13,0 0 6,0 2-5,0-2 6,0 2-9,0-2 7,0 3-9,0-3-2,0 0 6,-3 2-8,3-2 9,0 0 55,0 3-40,0-3 41,0 0-34,-2 0-11,2 2 16,0-2-16,0 0-22,0 2 16,0-2-15,0 0 21,0 3-3,0-3 2,0 2-4,0-2 13,0 0-10,0 2 7,0-2-15,0 3 35,0-3-28,0 2 29,0-2-7,0 0-15,0 3 22,0-3-22,2 0 68,-2 0-48,3 2 53,-3-2-65,2 0 58,-2 2 15,2-2 6,1 3 30,0-3-77,-2 0 27,2 3-29,0-3 8,-1 0-3,0 1 5,1-1-82,-1 0-18,3 0-2,-3 0 18,4 3-362,-2-3 301,1 0-328,0 0 407,2 0 0,1-3 0</inkml:trace>
  <inkml:trace contextRef="#ctx0" brushRef="#br0" timeOffset="177">2037 3675 9502,'0'-2'-1045,"0"2"999,0 0 14,0 0 3,0-3 32,0 3-37,0 0 45,0 0-25,0 0 16,0-2-17,0 2 8,0 0 9,0 0-9,0 0 4,0-2 2,0 2-5,0 0 4,0 0 0</inkml:trace>
  <inkml:trace contextRef="#ctx0" brushRef="#br0" timeOffset="178">2076 3675 9502,'1'0'-408,"-1"3"318,0-3 148,0 0-40,3 0 93,-3 0-93,0 0 254,0 2-193,0-2 205,0 0-215,-3 0 1,3 0 5,-1 0-15,1 0-32,-3 0 12,0 0-11,1 0-23,0 0-16,-1 0-4,1 0 10,-1 0-7,-1 0-9,1 0-14,0 0 16,-1 0-9,4 0-8,-5 0-25,3 0-64,-1 0 41,1 0-63,-1 0-63,3 0 42,-2 0-57,2 0 70,-2 0-20,2 0-55,0 0 93,0 0-8,0 0 144,2 0 0,0 0 0,1 0 0,-1 0 0,1 0 0,1 0 0,-1 0 0,0 0 0,-2 0 0,5 0 0,-4 0 0,0 0 0,1 0 0,-1-2 69,-2 2 21,3 0 16,-3 0 58,2 0-72,-2 0 60,0 0 144,0 0-161,0 0 156,0 0-223,-2 0 41,-1 0-34,1 0-14,-1 0 16,1 0-25,-3 0 38,2 0-73,2 0-15,-2 2 0,-2-2-69,3 0 47,-3 0-30,2 0-37,1 2 95,0-2-31,-1 0 38,-1 0-13,4 0-4,-6 3-6,4-3 7,0 0-15,-1 0 6,1 2-10,2-2 18,-3 0-34,3 0-18,-2 0 4,2 0 3,-2 0 43,2 0 2,0 0-5,0 0 4,0-2-10,0 2 18,0 0-173,0 0 164,0 0-166,0 0 230,0 0-69,0 0 31,-3 0 11,3 2-27,0-2 41,0 0-38,0 0-8,0 0 2,0 0-8,0 0 8,0 0 32,0 0-23,0 0 29,0 0-43,0 2 4,0-2-2,0 0 5,0 0 0,0 0 2,0 0-2,0 0 3,0 0-1,0 3 31,0-3-22,0 0 22,0 0-28,0 0 37,0 2-28,0-2 32,0 0-37,0 0 51,0 0-36,0 0 43,0 3-51,0-3 39,0 0-25,3 2 31,-3-2-63,0 0 24,0 2-25,0-2 17,0 3 11,0 0-11,0-3 14,0 1-50,0-1 33,0 3-37,2 0 47,-2-3-46,0 2 33,0 0-43,0-2 44,0 3-52,0-3-5,2 0-9,-2 2 15,0-2-19,0 0-10,0 3-12,0-3 4,0 0 45,0 0 1,0 2 31,0-2-15,0 0 14,0 0-28,0 2 38,0-2-49,0 0-7,0 0 5,0 0-25,0 0 74,0 0 89,0 0-54,0 0 65,0 0-79,0 0-30,0 0 13,0 0-4,3 0 30,-3 3-11,0-3 8,0 0-22,0 0 23,0 0-16,0 0 16,0 0-20,2 0-2,-2 3-2,0-3 3,0 0-2,0 0 6,0 0 11,3 0-8,-3 0 7,0 0-13,2 0 39,-2 0-30,0 0 31,2 0-23,1 0-21,0 0 22,-3 0-21,1-3 34,2 3-15,0 0 18,-1-3-79,3 3 45,-3 0-43,1-2 53,1 2-53,-1-2 33,1 2-40,-1 0 45,2 0-34,0-3 21,-3 3-29,3 0 15,0 0 8,-2 0-11,1 0 9,-1-2 5,1 2-8,-1 0 7,2 0 4,-3 0-2,0 0 3,1 0-3,1 0-7,-1 0 6,0 0-6,-1 0 7,0 0-4,1 0 3,2 0-2,-3 0 4,0-3 0,1 3 1,-1 0-3,3 0 20,-2 0-15,-1-2 16,0 2 14,1-2-24,1 2 28,-1 0-33,2-3-1,-3 3 1,0-3 2,1 3 1,0 0-8,1-1 6,-1 1-9,-1-3 12,0 3 42,1 0-30,-1-3 30,1 3-26,-1-2-12,0 2 12,1 0-10,0 0 0,-2-2 6,2 2-5,0 0-54,-1 0 38,0 0-40,1-3 56,-3 3-53,2 0 37,1 0-44,-1 0 50,-2 0-82,2 0 11,1 0-71,-3 0-289,3 0 287,-3 0-227,0 0 367,0 0 0,0 0 0</inkml:trace>
  <inkml:trace contextRef="#ctx0" brushRef="#br0" timeOffset="179">2372 3699 8226,'0'-2'179,"0"2"-151,0 0 55,0 0-66,0-3 49,0 3 13,0 0 2,0 0 39,-2 0-35,2-2 17,0 2-9,0 0-22,0-3-13,0 3 18,0 0-23,0 0 29,0-2-18,0 2 14,0 0-14,0 0-4,0-2 2,0 2 8,0 0 32,0 0-21,0-3 18,0 3 282,0 0-281,0 0 272,0 0-353,0 3 54,0-3-126,0 2 32,0-2-122,0 0 114,-3 2-49,3-2 101,0 3-54,0-3 41,0 2-4,0-2-2,0 3 5,0-3 8,0 2-8,-2-2 6,2 2-4,0 1 30,0-3-18,-3 3 20,3-3-12,0 1-10,0-1 12,-2 3-13,2-3-14,0 3 9,0-3-10,0 2-18,0 0 24,-2-2-25,2 3 31,0-3-26,0 0 17,0 2-19,-3-2 19,3 3-1,0-3-3,0 0 1,-2 0-11,2 2 10,0-2-11,0 0 12,0 2 21,-2-2-15,2 0 17,-3 0-17,3 3-3,0-3 4,-3 0-2,3 0 16,-2 3-10,2-3 11,0 0-16,0 0-1,-2 0 2,2 0-1,0 0-8,0 0 9,-3 0-10,3 0 10,0 0-10,0 0 6,0 0-8,-2 0-6,2 0 12,0 0-15,0 0 18,0 0-16,-2 0 12,2 0-14,0 0 14,-3 0-12,3 0 9,-2 0-9,2 0 7,0 0 0,-3 0-1,3 0 2,-2 0 26,2 0-20,0 0 21,-2 0 33,2 0-42,-3-3 48,3 3-58,-3 0 39,3 0-27,-1 0 33,1-3-37,0 3-19,-3 0 16,3 0-13,-3-2-9,3 2 24,-2 0-27,2 0 29,0 0-8,-2-2 0,2 2-2,-3 0-25,3 0 22,0 0-24,-2 0 28,2 0-17,-3 0 13,3-3-13,-2 3 11,2 0 5,-2 0-3,2 0 5,0 0 15,0 0-16,-3 0 17,3-2-19,-3 2-8,3 0 6,0 0-5,-1 0 0,1 0 8,-3 0-7,3 0 8,-3 0-17,3 0 11,0-3-14,-2 3 15,2 0-9,0 0 4,-2 0-7,2 0 5,-3 0 18,3 0-15,-2 0 18,2-2-16,0 2 4,0 0-3,-3 0-5,3-2 4,-2 2-4,2 0 6,-2-3-4,2 3 3,-3 0-3,3-3 3,0 3-14,-3 0 9,3-1-10,-1 1-22,1-3 26,0 3-28,-3 0-163,3-3 41,-3 1-125,3 2 90,-2 0-258,0-2 68,2 2-187,-3-3 316,3 3 112,-2 0 142,-1-2 0,3-1 0</inkml:trace>
  <inkml:trace contextRef="#ctx0" brushRef="#br0" timeOffset="180">1751 3714 9502,'0'0'-1147,"0"-3"1147,0 3 0,0 0-24,-1 0 70,1 0-49,0 0 116,0 0-31,0-3 5,0 3-10,0 0 19,0 0-44,0 0 129,0 0-16,0 0 44,0 0 48,0 0-33,0 0-17,0-1 25,0 1-104,0 0 22,0 0-67,0 0 27,0 0 28,0 0-29,0 0 20,0 0-57,0 0 9,1 0-23,-1 0 15,0 0-17,3 0 24,-3 0-50,0 0 33,3 0-29,-3 1 15,0-1 23,2 0-30,-2 0 23,2 0-17,-2 0 20,3 0-20,-1 3 5,-2-3-30,3 0 12,-1 0-6,-2 0-9,2 3-14,-2-3 1,3 0-32,0 0 64,-3 0-34,1 2 32,-1-2-43,3 0-19,-3 0 5,3 2 3,-1-2 12,-2 0 16,0 0-22,2 0 57,1 0-2,-1 3 10,-2-3-18,3 0 46,-1 0-46,-2 0 55,2 0-76,1 0 15,-3 0-12,3 0 23,-3 0-38,1 0 34,2 2-35,0-2 38,-1 0-81,0 0 54,1 0-59,-3 0 44,2 0 17,1 0-26,-1 0 25,0 0 0,1 0 0,-3 0-1,3 0-3,-2 3-2,-1-3 3,6 0 1,-6 0-2,2 0 4,0 2-3,1-2 7,-3 0 1,2 0 2,1 0-2,-3 2-3,2-2 65,0 0-50,1 0 54,-3 0-9,3 0-38,-2 3 48,-1-3-28,3 0-12,-3 3 21,3-3-23,-3 0-68,2 0 52,0 0-56,-2 1 68,3-1-13,-3 0 8,2 0-9,-2 3-20,3-3 18,-3 0-26,2 0 22,0 0 58,-2 0 13,3 0 8,0 3 59,-2-3-105,-1 0 68,3 0-77,-3 0 2,3 0-2,-1 0 4,-2 0 5,2 0-39,-2 0-24,3 2 2,-1-2-47,-2 0 81,3 0-38,-1 0 33,-2 0-31,2 0-33,-2 0 14,3 0-48,-3 2 80,2-2-46,-2 0 48,2 0-20,-2 0 15,3 0-15,-3 0 14,0 0 9,3 0-6,-3 3 10,2-3-13,-2 0 3,2 0-2,-2 2 3,3-2-3,-1 0 3,-2 0-3,2 0 0,1 0 1,-3 0-2,2 0 3,1 3-4,-3-3 3,2 0-4,-2 0 4,2 0-2,1 0 1,0 0-1,-3 0 0,1 0 6,-1 0-3,3 2 11,-3-2-10,3 0 6,-3 0-8,0 0 15,2 0-11,-2 0 13,0 2-13,2-2-6,-2 0 5,3 0-6,-3 0 7,0 0-9,2 3 6,-2-3-5,0 0-9,3 0 11,-3 0-14,2 3 17,-2-3-13,0 0 9,2 0-11,-2 0 13,0 1-4,0-1 3,3 0-3,-3 0 6,3 3-4,-3-3 4,0 0-5,1 0 6,-1 0-4,3 0 4,-3 3-4,0-3-2,0 0 3,3 0-3,-3 0-2,0 0 4,2 2-3,-2-2-8,2 0 7,-2 0-7,0 0 9,0 0 2,3 2-3,-3-2 3,2 0-13,-2 0 9,0 0-10,3 0 1,-3 3 5,0-3-6,2 0 8,-2 0 1,0 0-57,2 0 41,-2 2-46,0-2 20,3 0 20,-3 0-24,3 3 29,-3-3-18,0 0 9,0 0-12,1 0 11,-1 0 27,3 0-21,-3 2 21,3-2-30,-3 0 7,2 0-10,-2 0 15,0 2-17,0-2 16,2 0-13,-2 0-12,0 0 13,3 3-17,-3-3 22,0 0-2,0 0 3,0 0-11,0 0 6,2 0 41,-2 0-30,0 0 38,0 0-44,0 0 9,0 0-13,3 0-40,-3 0-31,0 0-2,0 0 57,0 0 22,0 0 38,0 0-30,0-3 1,0 3 2,0 0 2,0 0 29,0-2-25,0 2 31,0 0-35,0 0 37,0-2-26,0 2 24,-3 0-30,3 0 26,-2-3-18,2 3 24,0-2-10,-3 2-7,3-3 9,-2 3 2,2-2-13,-2 2 17,-1 0-18,3-2 3,-3 2-1,2-3 0,1 3 1,-3-3-7,0 3 6,1-1-6,2 1 7,-2-3-2,-1 3 1,1 0-1,-1-3-4,3 3 2,-2 0-3,0-2 4,-1 2-52,3 0 38,-3-2-40,2 2-7,1 0-19,-3-3 0,0 3 4,1-2-290,2 2 58,-2-3-103,-1 3 205,3-2 205,-2 2 0,-1-2 0</inkml:trace>
  <inkml:trace contextRef="#ctx0" brushRef="#br0" timeOffset="181">1351 3707 9502,'-2'0'-308,"2"0"79,-2 0 119,2 0 49,0 0 73,0 0 126,0 0-11,0 0 123,0 0-162,-3 0 32,3 0-31,0 0-19,0 0 29,0 0-58,0 0 24,0 0-16,-3 0 17,3 0-41,0 0-19,0 0-2,-1 0 6,1 0-25,-3 0 46,3 0-59,-3 0 70,3 0-45,-2 0 25,2 0-35,-2 1-16,2-1 27,-3 0-27,3 0 22,-2 0 21,2 0-22,-3 0 23,1 0-8,2 0 4,-2 3-3,2-3 4,-3 0 3,0 0-1,3 0 3,0 3-8,-1-3 3,1 0-1,-3 0 3,3 2-10,-3-2 7,3 0-8,0 0-2,0 2 8,0-2-9,-2 0 12,2 3-21,0-3 14,0 0-17,0 0 20,-2 0-18,2 2 13,0-2-15,0 0 23,0 3-7,0-3 7,-3 0-11,3 0 3,0 2-4,0-2 4,0 0-7,0 0 6,0 2-5,0-2 6,0 0 28,0 0-21,0 3 21,0-3-26,3 0 56,-3 0 13,0 3 7,0-3-24,2 0-38,-2 0-5,2 0 0,-2 1 10,3-1-10,-3 0 10,0 0-20,3 0 19,-3 3-19,0-3 23,1 0-51,-1 0 27,0 3-33,3-3 30,-3 0-13,0 0 1,3 0-6,-3 0 28,0 2-3,2-2 6,-2 0-17,2 0 5,-2 0-5,3 0 7,-3 2-2,0-2 3,2 0-2,-2 0 3,0 0-4,3 0 2,-3 0-2,2 0 42,-2 0-28,0 0 30,2 0-38,1 0 2,-3 0-1,3 3 3,-3-3-31,0 0 23,1 0-24,-1 0 31,3 0-48,-3 0-12,0 0-4,3 0 6,-3 0 36,0 0 1,2 0-6,-2 0-2,0 0 18,2 0-22,-2-3 20,3 3 19,-3 0-21,2 0 26,-2 0-2,3-2-19,-3 2 23,2 0-23,-2-2 9,0 2-3,2 0 9,-2-3-14,0 3 0,0-3 1,3 3-2,-3-1 2,0 1-4,0-3 3,3 3-4,-3-3 2,0 3 1,0-2-1,0 2 0,0-2 1,0 2-2,0-3 2,0 3-5,0 0 3,0-2-3,-3 2 4,3 0 1,0 0 0,-3 0 0,3-3-1,-2 3 1,2 0 0,-2 0 1,2 0-1,-3-2 6,1 2-3,2 0 4,-3 0-7,1 0 1,0 0 0,-1 0-1,3 0 1,-3 0 0,2 0 0,-2 0 6,-2 0-5,3 2 6,2-2-6,-3 3-3,1-3 2,-1 0-2,1 2-8,2-2 8,-2 0-8,2 3 9,-3-3-72,3 2-21,-3-2-3,3 0 12,0 2-4,0-2 7,0 3-64,0-3-173,0 3 62,0-3-145,0 0 128,0 0 137,0 0 34,0 1 102,3-1 0,0 0 0</inkml:trace>
  <inkml:trace contextRef="#ctx0" brushRef="#br0" timeOffset="182">1303 3721 9502,'2'0'125,"-2"0"-23,0 0-37,0 0 213,0 2-240,0-2 172,0 0-169,-2 0-12,0 0 70,2 0-23,-3 0-26,1 0 7,-1 0-9,1 0 14,-3 0 19,3 0-37,0 0 9,-4 0-87,4 0 82,-3 0-54,3 0 73,0 0-66,-3 0-21,2 0 0,-1 0 10,1 0-22,0 0 10,2 0-72,-2 0 58,0 0-30,1 0 2,0-2 16,2 2-113,-3 0 79,3 0-120,-2-3-11,2 3 11,-3 0-23,3-2 52,0 2-146,0 0 60,0 0-11,0-2 137,0 2 133,0 0 0,0 0 0</inkml:trace>
  <inkml:trace contextRef="#ctx0" brushRef="#br0" timeOffset="183">1255 3743 9037,'0'2'217,"0"-2"-134,0 0-10,0 0 3,0 0-12,2 0 15,-2 0 42,0 0-30,0 2 32,0-2-63,3 0 16,-3 0-15,2 0 27,1 0-67,1 0-12,-1 0-11,1-2-176,-1 2 96,2 0-118,0-2 77,-3 2-24,3 0 8,-3-3 10,1 3 61,1-3 68,-4 3 0,3-1 0</inkml:trace>
  <inkml:trace contextRef="#ctx0" brushRef="#br0" timeOffset="184">1361 3740 9502,'2'-3'-510,"-2"3"109,3 0 237,-3 0 50,0 0 107,0 0-31,0 0 92,3 0-33,-3 0 38,0 0-46,0 0 47,0 0 15,0 0 2,1 0-8,-1 0-14,0 0-22,0 0 54,0 0 10,0 0 204,3 0 10,-3 0 16,0 0-105,0 0-140,0 0 9,0 0-5,0 0 10,0 3-24,0-3 8,0 3-13,0-3 26,0 0-48,0 0 37,0 2-48,0-2 18,3 2 8,-3-2-3,0 3-31,0-3 41,0 2-47,0-2 47,0 3-32,0-3 29,0 2-31,2-2 35,-2 0-11,0 2 2,2-2-4,-2 3-14,0-3 7,3 3-7,-1-3 11,-2 1-9,0 2 5,3-3-1,-3 0-31,2 3 32,-2-1-36,0-2 37,2 2 26,-2-2-16,0 3 15,0-1 45,0-2 10,0 3 6,3-1-14,-3-2 1,0 2 15,0 1 8,3-3-5,-3 3-37,0-3 1,1 1 15,-1 2-37,0-3 15,3 3-10,-3-3 12,0 2-57,3 0-13,-3-2-18,0 3 26,2-3-59,-2 2 27,2-2-101,-2 3 76,0-3-48,3 2 19,-3-2-66,0 0 37,2 2 13,-2 1 37,0-3 20,3 3-10,-3-3 9,0 1 0,2 2 4,-2-3-2,0 3-2,2-1 0,-2-2 35,0 2-23,3 1 25,-3-1-6,0 1-17,0-3 22,3 2-25,-3 0 17,0 1-11,0-1 12,1-2-37,-1 2 19,0 1-20,0-3 24,3 0-24,-3 3 17,0-1-19,0-2 20,0 2-40,0-2-20,0 0 3,0 3-3,0-1 26,0-2 4,0 2-7,0-2 4,0 3 10,0-3-13,0 2 21,0 1-9,0-3 11,0 2-10,0 0 31,0 1-21,0 0 24,0-3-26,0 2-4,0 0 6,0 1-6,0-1 6,3 0-35,-3-2 27,0 3-25,0-1-147,0 1 34,0-1-118,2 0-370,-2 1 150,2 0-281,-2-3 433,0 1 168,3-1 177,-3 3 0,0-3 0</inkml:trace>
  <inkml:trace contextRef="#ctx0" brushRef="#br0" timeOffset="185">1308 3759 8917,'-3'3'34,"3"0"50,0-3 21,-2 1 20,2-1 8,-2 3-11,2-3-57,-3 0 9,3 3-8,-2-3 16,2 0-14,-3 2 8,3-2 1,-2 2-7,0-2 8,-1 0-11,1 3-31,2-3 25,-2 0-17,-1 2 25,0-2-17,3 3 8,-2-3-12,0 0 16,-1 2-35,3-2-24,-2 0-3,2 2-58,-2 1 81,-1-3-43,1 3 57,2-3-29,-3 1 13,3-1-19,-2 3 18,0 0 9,2-1-8,-3-2 4,3 2-7,-3 1 4,3-3-7,-1 2 6,1 1-16,-3-1 13,3 0-9,-3 1 14,1 0-40,0-2 28,2 2-31,-3 0 38,3-1 0,-2 0-1,-1 1 6,3-1-6,0 1 3,-2-1-9,2 0-7,-2 1 4,2-1-2,-3 0-1,3 1 8,0 0-6,-3-1 8,3 0-59,-1 1 42,-2-1-46,3 0-5,-3 1-21,3-3-1,-2 2 4,2 1 21,-2-3 19,2 2-28,-3 0 30,3-2 23,0 3-28,-2 0 26,2-3-38,0 2 74,0-2-55,0 2 57,-3 1 10,3-1-46,0 0 59,0 1-28,-2-1-16,2 1 23,0-1-25,-2 0 7,2 1-1,0 0 4,0-2-10,-3 2 2,3-3 0,-3 3 0,3-1-1,0 0-16,-1 1 13,1-3-12,0 2 5,0 1 5,0-1-6,0-2 7,0 0-13,0 2 9,0 1-10,0-3 3,0 3 5,0-2-5,0-1 5,0 3-11,0-3 8,0 3-9,0-1 11,0 0-5,0 1 4,0-1-6,0 1 8,-3-3-3,3 2 3,0 0-6,0-2 3,0 3-4,0 0 4,-3-3-21,3 1 15,0 2-16,0-3 20,0 3-36,0-3 26,0 2-28,0-2 34,0 0-31,0 2 22,0-2-26,0 0 30,0 0-27,0 3 17,-2-3-22,2 0 41,0 2-17,0-2 19,0 0 1,0 3-14,0-3 17,0 0-22,0 2 19,0-2-51,0 0 42,0 0-44,0 0 52,0-2-8,2 2 9,-2-3 17,0 3-20,3-2 23,-3 2-28,0-3 23,0 3-14,3-2 21,-3 0-15,0-1-6,0 3 5,1-3-10,-1 2 6,3 1-1,-3-3 1,3 0-1,-3 1 2,2 0-2,-2 2 2,2-3 15,-2 1-12,3-3 13,-1 3-17,1-1 9,-1 0-4,0 2 6,-2-5-6,3 4-71,0 0-16,-2-3-5,2 2-243,-3-1 123,3 1-88,-1-1 155,0-2 140,1 2 0,-1-1 0</inkml:trace>
  <inkml:trace contextRef="#ctx0" brushRef="#br0" timeOffset="186">2051 3794 8847,'-3'0'-346,"3"0"499,0 0-24,0 0-38,0 0-24,-1 0-26,1 0 52,0 0-24,0 0 18,-3 0-23,3 0 22,0-3-16,0 3 17,0 0 7,0-3-19,0 3 21,0-2-17,0 2 40,0 0 19,0 0-7,0-2-1,0 2 5,0 0-15,0-3 29,3 3-37,-3 0-13,0-2 9,0 2-12,1 0-18,-1 0 17,0-3-21,3 3 4,-3 0 14,3 0-12,-1 0 18,-2 0-38,2-2-19,1 2-11,-3 0 14,2 0-17,1 0 40,-3 0-46,2 0 33,0 0 2,1 0-6,-3 0-27,3 0 32,-2 0-36,-1 0 40,3 0-63,0 0 45,-3 0-46,2 0 55,-2 0-21,2 0 12,1 0-17,-3 0 20,2 2 52,-2-2-38,3 0 39,-3 0-20,2 0-23,-2 0 25,2 3-14,-2-3-11,3 0 17,0 0-17,-2 0-4,-1 2 3,3-2 4,-3 0 2,3 0-50,-3 3 33,2-3-43,0 0 54,-2 0-38,3 0-14,-1 2-8,1-2-29,-3 0 56,2 0-21,-2 0-30,2 0 46,1 2-52,-3-2 60,2 0-10,-2 0 2,2 3-6,1-3-2,-3 0 44,3 0 7,-1 0 7,-2 0-10,2 3-17,-2-3-9,3 0 13,-3 0-10,2 0-34,-2 0 27,2 0-23,1 1-24,-3-1 37,2 0-42,1 0 17,-3 0 19,2 3-20,-2-3 12,2 3-51,-2-3 26,3 0-35,0 0 49,-3 0-13,1 2 2,-1-2-6,3 0 24,-3 0-1,3 2 5,-1-2 46,-2 0-41,2 0 43,-2 3-51,3-3 46,-1 0-30,-2 0 34,3 2-37,-3-2-7,2 0 10,-2 0-7,2 3 10,-2-3-17,3 0 14,-3 2-13,3-2-29,-3 0-12,1 0-5,2 2-35,-3-2 66,3 3-32,-3-3 33,2 0 18,0 0-20,-2 3 17,3-3-23,-3 0 69,2 0-50,-2 1 52,3-1-59,-1 0 13,-2 0-5,0 0 8,2 0 8,-2 0-13,0 0 20,0 3-11,3-3-11,-3 0 8,3 0-15,-3 0-53,0 0 46,0 0-51,1 3 63,-1-3-5,3 0 3,-3 0-7,0 0 3,3 2 13,-3-2-9,2 0 11,-2 0-15,2 0 7,-2 0-5,0 2 8,3-2 7,-3 0-8,0 0 10,2 3-2,-2-3-9,0 0 11,3 2-11,-3-2-18,0 0 13,2 0-17,-2 3 21,2-3-33,-2 0 22,0 0-25,3 0 31,-3 0 7,3 2-5,-3-2 4,0 0 0,0 0-9,1 0 9,-1 2-4,3-2-4,-3 0 5,0 0-5,3 0 17,-3 0-11,2 3 14,-2-3-16,2 2 12,-2-2-9,3 0 8,-3 2-9,0-2 60,0 0-43,2 3 47,-2-3 7,3 0-43,-3 3 47,0-3-62,2 0 7,-2 2-4,0-2 9,0 0-36,2 2 22,-2-2-17,0 0 33,0 0-62,3 0 45,-3 0-53,3 0 52,-3 3-67,0-3 36,0 0-44,1 0 22,-1 0 33,0 2-36,3-2 48,-3 0-15,3 0 13,-3 2-14,0-2 23,0 0-17,2 0 16,-2 3-20,0-3 44,2 0 18,-2 2 1,0-2 2,3 3-27,-3-3-2,0 0 7,0 2-25,2 0 2,-2-2-1,0 0-14,0 0 19,0 3-19,0-3 19,0 0-18,0 3 9,0-3-10,3 0 4,-3 0 2,0 2-7,0-2 4,0 0 1,0 0-21,0 0 16,0 0-17,0 2 28,0-2-3,0 0 2,0 3 29,0-3-24,0 2 25,0-2-32,0 0 30,0 2-19,0-2 22,2 0-26,-2 3-2,0-3 5,0 0-4,0 2 10,0-2 19,0 0-13,0 0 15,0 3-44,0-3 15,0 2-14,0-2-1,0 0 14,0 2-17,0-2 18,0 0-14,0 3 11,0-3-11,0 0 12,0 3 15,0-3-12,0 0 10,0 1 2,0-1-12,0 0 14,0 3 3,0-3-14,0 0 17,0 3-19,0-3 25,2 2-18,-2-2 21,0 2-24,0 1-5,0-3 4,0 0-2,0 2 5,0 1 7,0-3-6,0 2 1,3-2-3,-3 2 4,0 1-3,0-3 4,3 3-17,-3-3 9,0 1-9,0 2-22,0-3 24,0 3-26,1-3 32,-1 2-25,0-2 18,0 2-21,0-2 24,0 3-42,0-3 30,0 2-36,0-2-5,0 3 26,0-3-29,0 2 58,0 0-11,3-2 12,-3 3-20,0 0 17,0-2-13,0 2 14,0 0-17,0-1 36,0 0-24,0-2 27,0 3-29,0-1 0,0-2 2,0 3 3,0-1-23,0 0 18,0-2-17,0 3 13,0-3 4,0 3-5,0-2 1,0-1 5,0 3-6,0-3 5,0 3-8,0-1 17,0-2-13,0 2 13,0-2-12,0 3-14,0-3 14,0 2-14,0-2-3,0 3 12,0-3-13,0 2 18,0 0-1,-3 1 1,3 0-6,0-3 18,0 1-14,0 2 15,0 0-17,0-1 10,0-2-7,0 2 7,0 1 9,0-1-11,0 1 16,0-3-18,-1 2-11,1-2 8,0 2-9,0-2-3,0 3 11,0-3-13,0 2 14,0 0-34,-3-2 22,3 3-24,0-3 30,0 3-25,0-3 14,-3 2-17,3-2 30,0 2-3,0-2 2,0 3-6,0-1 24,0 0-16,0 1 18,0-1 7,0 1-21,0-3 23,0 2-29,0 0 22,0 1-14,0 0 16,0-3-15,0 2-55,0 0 43,0-2-43,0 3 55,0-3 3,0 2-3,0-2-3,0 2 4,0-2-10,0 0 10,-2 3 8,2-3-11,0 2 14,0-2-20,0 3 4,0-3-2,0 0 7,-2 2-5,2 0 16,0-2-11,0 3 12,0 0-13,0-3-3,-3 1 1,3-1-4,0 3 6,0-3-1,0 3 1,0-3 1,0 2-1,0-2 2,0 2-3,0-2 9,0 3-6,0-3 7,0 2-9,0-2-24,0 0 18,0 3-19,0-3-6,-2 2 20,2-2-22,0 0 27,0 2 8,0-2-8,0 3 6,0-3 0,0 3-5,0-3 1,0 1-4,0 2 28,0-3-19,0 3 24,0-3-30,0 2 33,0-2-19,0 2 24,0 1-28,0-3 1,0 2-2,0 1 9,0-3-14,0 2 8,2-2-7,-2 2-22,0-2 20,0 0-21,0 3 24,0-3-8,0 3 2,0-3-4,0 1 4,0-1 3,0 3-5,0 0 4,0-3 3,0 2 3,0-2-1,0 2 0,0-2 4,0 3-6,0-1 9,0 1-3,0-3-4,0 2 5,0 0-6,0-2 12,0 3-8,0 0 8,0-2-10,0-1 0,0 3 0,0 0 0,0-1 1,0-2-3,0 2 3,0 1-2,0-1 2,0-2-15,0 3 11,0-1-10,0 0-13,0-2 18,0 3-20,0-3 12,0 3 7,0-3-8,0 1 8,0 2 1,0-3-2,0 3 1,0-3-1,0 2 3,0-2-4,0 2 3,0-2-2,0 3-4,0-3 3,0 2-1,0 1-4,-2-3 5,2 2-4,0-2 17,0 2-9,0-2 10,0 3-13,0-1-24,0-2 17,0 0-17,0 2 23,0-2-4,0 3 2,0-3-3,0 3 4,0-3-3,0 2 3,0-2-4,0 0 24,0 2-16,0-2 16,0 3 0,0-3-14,0 0 17,0 2-21,0-2 24,0 2-17,0-2 20,0 3-22,0-3 18,0 0-12,0 2 15,0-2-17,0 0 5,0 3-4,0-3-8,0 0 5,0 2-6,0-2 9,0 0-34,0 2 24,0-2-27,0 0 33,0 3-9,0-3 6,0 0-10,0 3 10,0-2-11,0-1 7,0 0-8,0 3 8,0-3 15,0 3-10,0-3 11,0 0-34,0 2 14,0-2-14,0 0 17,0 2 1,0-2-2,0 3 1,0-3 19,0 2-14,0-2 15,0 0-18,0 3 9,2-3-7,-2 0 7,0 0-14,0 2 6,0-2-4,0 0 6,0 0 13,0 2-8,0-2 8,0 0-6,0 0-4,0 3 2,0-3-6,0 0 12,0 3-8,0-3 10,0 0-10,0 1 7,3-1-2,-3 0 4,0 0-14,0 3 5,0-3-5,0 0 7,0 0 2,0 3-2,0-3 1,0 0 2,0 2-4,0-2 4,0 0-4,0 0 2,0 0-2,0 0 3,0 0-2,0 0-11,0 2 9,0-2-8,0 0-13,0 0 15,0 0-17,0 3 12,0-3 6,0 0-7,0 0-36,0 0 29,0 0-67,0 0 71,0 0-272,0 2 92,0-2-164,0 0 117,0 0 144,0 0 11,0 3 90,2-3 0,-2 2 0</inkml:trace>
  <inkml:trace contextRef="#ctx0" brushRef="#br0" timeOffset="187">1961 4005 9502,'-1'0'-510,"-2"0"109,3 0 311,0 0 116,-3 3 94,3-3-73,0 0-12,0 0 99,-2 0-10,4 0 124,-2 0-140,0 0-13,3 0 59,-3 0-21,3 0 86,-3 0-12,1 0 16,-1 0-24,3 0-21,-3 0-56,3 0-14,-3 0 15,0 0-45,2 0 43,-2 0-42,2 0 41,-2 0-46,3 0-16,-3 0 11,2 0-13,-2 0 13,3 0 3,-1 0-22,-2 0-7,2 0 6,-2 0-22,3 0 23,0 0-23,-2 0-11,2 0-5,-3 0 15,3 0-31,-1 0 57,0 3-67,1-3 13,-3 0 28,2 2-28,1-2 38,-1 0-52,0 0 30,1 0-40,0 0 28,-3 2 25,1-2-30,2 0 32,0 0-57,-1 0 38,-2 0-41,2 0 59,1 0-14,-3 3 12,2-3-18,1 0 4,-1 0-4,0 0 6,-2 0-2,3 0-22,-3 0 17,3 0-19,-2 0-16,-1 0 28,3 2-29,-3-2 36,3 0-22,-1 0 13,-2 0-16,2 0-37,-2 0-12,3 0-13,-3 0 18,2 0 13,-2 0 24,3 0-30,-3 0 31,2 0 10,-2 0-6,2 0 5,1 0 43,-3 0-43,3 0 45,-3 0-8,0 0-31,1 0 37,-1 0-45,3 0 25,-3 0-16,3 0 25,-3 0-22,0 0-20,2 0 13,0 0-16,-2 0 24,3 0 8,-3 0-7,2 0 5,-2 0 3,0 0-8,3 0 8,-3 0-12,0 0 24,2 0-17,-2 0 17,0 0-9,0 0-9,2 0 12,-2 0-12,0 0 8,0 0-5,3 0 7,-3 0-6,0-2-15,0 2 11,3 0-13,-3 0 5,0 0 8,0 0-8,1 0 8,-1 0 0,0 0-1,0 0-2,0 0 17,0 0-13,3 0 14,-3 0-16,0 0 20,0 0-12,0 0 13,3 0-15,-3 0 49,0 0-31,2 0 34,-2 0-13,0 0-25,0 0 29,2 0-33,-2 0-17,0 2 13,0-2-11,0 0-15,3 0 28,-3 0-30,0 0 31,2 0-45,-2 0 30,0 0-34,0 0 38,0 3-12,0-3 0,3 0-4,-3 0 3,0 0 10,0 0-11,0 2 10,0-2 2,0 0-2,0 0 4,2 2-7,-2-2 35,0 0-24,0 0 28,0 0-24,0 3-4,0-3 7,0 0-6,0 3-27,2-3 21,-2 0-20,0 0 18,0 1 4,0-1-5,0 0 5,0 0-8,0 3 2,0-3-4,0 0 13,0 0-5,0 3 5,0-3-8,0 0 8,0 2-6,0-2 8,0 0-8,0 2 2,0-2-1,0 3 3,0-3-6,0 2 5,-2-2-5,2 0 4,0 3-3,0-3 3,-2 2-3,2 0 0,0-2 2,0 3-4,-3-3 3,3 2 8,0 0-6,-2-2 7,2 3-8,-3 0-1,3-3 1,0 2-1,0-2 22,-2 2-14,2-2 14,0 3 11,-2-3-16,2 2 21,0 0-26,0-2-5,-3 3 0,3-3 1,0 2 1,0-2 5,0 3-3,-3-3 4,3 2-3,0-2-18,0 2 13,0-2-15,-1 3-3,1-3 16,0 3-19,0-3 17,0 2 13,0-2-13,-3 2 12,3 1 0,0-3-9,0 2 11,0 0-12,0-2-4,-3 3 5,3-1-4,0-2 6,0 3-14,0-3 11,0 2-10,0 0 31,0 1-14,-2-3 15,2 3-4,0-2 3,0-1 4,0 3-6,0-3-31,0 3 14,0-1-14,0-2 19,0 2-7,-2 1 6,2-3-7,0 2 9,0 1 27,0-3-18,0 2 19,0-2 7,0 2-25,0 1 25,0 0-32,0-2-6,0 2 4,0-3 0,0 3 4,0-3 22,2 2-15,-2-2 20,0 2-3,0 1-8,0-3 9,0 2-19,0-2-45,0 3 33,0-3-34,0 2 42,0-2-22,2 2 15,-2-2-16,0 3-14,0-3 23,0 3-26,3-3 16,-3 1 12,0 2-12,3 0 7,-3-1-12,0 0 6,1 1-10,-1-1 16,0 1 23,0-1-16,0 0 20,3 1 5,-3 0-20,0-3 22,0 1-34,0 2 5,3 0-3,-3-1 6,0 0-19,0 1 13,0-3-12,2 2 18,-2 1-21,0-3 16,0 2-20,2-2 22,-2 2-29,0 1 20,0-3-26,0 0-26,3 3 33,-3-2-38,2-1 57,-2 3-5,0 0 3,0-1-6,3-2-7,-3 2 6,0 1-8,0-1 6,2 1 14,-2-1-10,0 0 12,0 1-15,2-1 20,-2-2-14,0 2 19,0 1-7,3 0-5,-3-3 8,0 2-10,0-2 25,2 0-18,-2 0 20,0 2-12,0-2-10,2 0 13,-2 3-13,3-3 2,-3 0 1,0 0-2,3 2 3,-3-2-16,0 0 13,0 2-14,2-2-29,-2 3 30,0-3-35,2 2 27,-2 1 8,0-1-11,0 0 11,3-2 17,-3 3-14,0 0 13,0-2-17,2 2 23,-2 0-16,0-1 18,2-2-21,-2 2 6,0 1-2,0-1 3,3-2 17,-3 3-16,0-3 19,0 2-25,2-2 7,-2 0-6,0 0 5,0 2-56,0-2 39,0 0-41,0 0 51,0 0-67,0 3 45,0-3-51,0 0 61,0 0 16,0 0-17,0 3 14,0-3-4,0 1-6,0-1 3,0 0 55,0 3-50,3-3 53,-3 0-60,0 3 26,0-3-12,0 2 24,0-2-27,2 0 12,-2 2-11,0-2 12,0 0-10,0 0-11,0 3 8,0-3-12,0 0-20,2 2 23,-2-2-25,0 3 30,0-3 2,0 0-6,0 2 4,0-2 2,0 0-1,0 2 3,0-2-6,0 0-15,3 3 12,-3-3-11,0 0 13,0 0 3,0 0-2,0 3 3,0-3 4,0 0-4,0 0 5,0 0-31,0 0 17,0 1-19,0-1 24,0 0-15,0 0 10,0 0-12,0 0 15,0 3-7,0-3 4,0 0-4,0 0 5,0 3 15,0-3-11,0 0 9,0 0 11,0 0-20,0 0 21,0 0-6,0 0-12,0 2 16,0-2-18,0 0 10,0 0-6,0 0 9,0 0-9,0 0-6,0 0 4,0 2-5,0-2 9,-3 0-6,3 0 2,0 0-4,0 0-5,0 3 8,0-3-11,0 0 23,0 0-10,-2 0 10,2 0-12,0 0 37,0 2-27,0-2 30,0 0-35,0 0 3,0 0 3,0 0-2,0 0 4,0 0 2,-2 0 0,2 3 0,0-3-11,0 0 4,0 0-5,0 0 9,0 0 0,0 2-1,0-2-3,0 0 17,0 0-13,0 0 13,0 0-15,0 2 13,0-2-9,2 0 10,-2 3-9,0-3-9,0 0 8,0 3-8,0-3-7,0 0 10,2 1-10,-2-1-4,0 0 13,0 0-14,0 3 14,0-3-12,3 0 7,-3 3-10,0-3 12,3 2-3,-3-2 2,0 0-1,0 0 0,1 0 2,-1 2-1,0-2 2,0 0-2,0 0 1,3 0 0,-3 3-8,0-3 6,0 0-6,3 0 7,-3 0-36,0 0 26,0 2-28,2-2 35,-2 0-22,0 0 15,0 0-19,0 3 21,0-3-7,0 0 5,2 2-7,-2-2 24,0 0-16,0 2 13,0-2-12,0 0-4,0 3 5,0-3-3,0 0 13,0 3-9,0-3 13,0 0-14,0 1 19,0-1-13,-2 0 11,2 3-14,0-3-10,0 3 7,-2-1-5,2-2 9,0 2-11,-3-2 6,3 3-8,0-3 22,-3 2-9,3 1 10,0-3-13,-1 2 8,1 0-8,0-2 8,-3 3 5,3-3-8,0 3 9,-3-3-9,3 1 7,0-1-2,-2 3 3,2 0-3,0-3-2,0 0 2,-2 2-3,2-2 1,0 2-1,0-2 0,0 3 0,0-3 0,-3 2 0,3-2 0,0 3 0,0-3 0,0 2 0,0-2 0,0 2 0,0-2 0,-2 3 0,2-1 0,0-2 0,0 2 0,-3 1-9,3-3 7,0 3-7,0-1 9,0-2-13,0 2 9,0-2-8,0 3 9,0-3 5,0 2-4,0-2 2,0 0-3,0 2 2,0-2-2,0 3 2,0-3-21,0 2 14,0-2-14,0 3-5,0-3 15,0 0-15,0 2 20,0-2 6,0 2-6,0 1 6,0-3-8,0 3 2,0-2-3,0 2 1,0-3-1,0 3 14,0-1-9,0 0 12,0-2-6,0 3-5,0-1 7,0 1 5,3-3-9,-3 2 10,0 0-12,0-2 7,2 3-5,-2-3 5,0 3-6,0-3 5,0 0-3,0 0 5,0 1-5,3-1-27,-3 0 20,0 0-22,0 3 14,0-3 7,0 0-9,0 0 15,0 3-3,2-3 2,-2 0-3,0 0 9,0 2-7,0-2 7,0 0-9,0 2 12,0-2-8,0 3 10,0-3-13,2 0 12,-2 2-9,0-2 14,0 0-11,0 0 2,0 3-1,0-3-2,0 0-1,0 2 1,3-2 0,-3 0-10,0 0 7,0 2-6,0-2 8,3 0-18,-3 0 12,0 0-13,0 0 16,0 3-6,0-3 5,0 0-7,0 0 16,1 0-8,-1 0 7,0 3 2,0-3-8,0 0 10,0 0-11,0 0 8,0 0-5,0 0 6,3 1-5,-3-1 1,0 0 0,0 0 0,0 0 0,3 0-4,-3 0 3,0 3-3,0-3 3,2 0-1,-2 0 1,0 0 0,0 0 0,2 0 0,-2 0 0,0 3 0,0-3 0,0 0 0,0 0 0,3 0 0,-3 0 0,0 2 1,0-2-1,0 0 0,0 0 0,2 0 0,-2 0 1,0 0-1,0 0 0,0 2-8,3-2 6,-3 0-6,0 0 7,0 0-12,0 0 8,0 0-9,0 0 11,0 3-2,2-3 1,-2 0-1,0 0 0,0 0-26,0 0 18,0 0-20,2 0 30,-2 0-3,0 2 1,0-2 13,0 0-14,3 0 13,-3 0-15,0 0 15,0 0-10,0 3 12,0-3-14,3 0-4,-3 0 3,0 0-2,0 0 4,1 0-2,-1 0 1,0 2-1,0-2 5,3 0-2,-3 0 2,0 0 17,3 0-14,-3 0 15,0 0-20,2 0 7,-2 0-5,2 0 7,-2 0-6,3 0 3,-3 0-3,0-2 5,2 2-4,-2 0 0,3 0-1,-3 0 0,2 0-33,-2-3 24,2 3-26,-2 0 32,0 0 1,3-2-4,-3 2 3,3 0-1,-3 0 0,1-3 1,-1 3-3,0 0 9,3 0-6,-3-2 6,3 2 3,-3 0-8,2-2 9,-2 2-10,0 0 8,2-3-5,-2 3 7,0 0-3,3-3-4,-3 3 5,0 0-5,0 0 1,2 0 0,-2-1-1,0 1 1,0 0-1,0 0 0,3-3 0,-3 3 1,0 0-2,0 0 1,2 0 0,-2 0 0,0 0 0,2-3 0,-2 3-1,0 0 1,3 0 0,-3 0 0,0 0 3,0 0-2,0-2 3,3 2-3,-3 0-1,0 0 1,0 0 0,0 0-1,0 0 0,0-2 1,0 2 0,1 0-2,-1 0 1,0 0 0,0-3 1,0 3-1,3 0 1,-3 0-1,0 0 7,0 0-5,3 0 6,-3 0-7,0-2 3,0 2-2,2 0 2,-2 0-2,2 0 0,-2 0 0,0-3 1,3 3 4,-3 0-3,0 0 4,0 0-10,0 0 3,0 0-3,2 0 5,-2 0-6,0-2 4,3 2-4,-3 0 5,0 0-4,0 0 2,2 0-3,-2 0 9,0 0-4,0 0 4,2 0-6,-2 0 0,0 0 1,3 0 0,-3 0-2,3 0 2,-3 0-1,0 0 1,1 0-2,-1 0 2,0 0-2,3 0 2,-3 0-2,3 0 2,-3 0-3,0 0 3,2 0-19,-2 2 14,0-2-15,2 0 17,-2 0 2,0 0-1,3 0 0,-3 0-13,0 0 7,2 0-8,-2 0-19,0 0 22,3 0-24,-3 0 29,0 0 4,0 0-3,2 0 3,-2 0-6,0 0 0,2 0-1,-2 0 1,0 0-2,0 0 7,3 0-4,-3 0 5,3 0 11,-3 0-11,1 0 12,-1 0-8,3 0-5,-3 0 8,0 3-9,3-3 7,-3 0-4,2 0 3,-2 0-2,2 0-2,-2 0 2,0 0-2,3 0 1,-3 0-28,0 0 20,2 0-21,-2 2-5,3-2 23,-3 0-26,2 0 39,-2 0-9,0 0 8,2 0-13,-2 0 14,3 0-12,-3 0 12,2 0 0,-2 0 4,0 0 1,2 0-2,-2 0-22,0 0 10,3 0-7,-3 0-43,3 0 40,-3 0-43,2 0 52,-2 0-20,0 0 12,2 0-15,1 0 11,-3 0 30,2 0-26,-2 0 25,2 0-9,-2 0-12,3 0 10,-1 0-15,-2 0 38,3 0-25,-1 0 36,0 0-18,-2 0-9,3 0 12,0 0-13,-3 0 2,1 0 1,2-2 2,-3 2-6,0 0 1,3 0-2,-3 0 1,2 0-15,-2 0 9,0 0-9,2 0 13,-2 0-39,0 0 27,0 0-29,3 0 23,-3 0 10,2 0-14,-2 0 15,3 0 12,-3 0-9,2-3 8,-2 3-13,2 0 36,-2 0-26,3 0 31,-3 0-29,3 0 7,-3 0-2,1 0 5,-1 0-10,3 0 4,-3 0-2,3 0-1,-3 0-1,0 0 1,2 0 1,-2 0-14,0 0 9,2 0-11,-2 0 14,0 0-12,3 3 8,-3-3-9,2 0 10,-2 0-8,0 0 6,3 0-7,-3 0 8,2 0 3,-2 2-2,2-2 2,-2 0 1,3 0-3,-3 0 4,0 0-3,3 0-1,-3 0 2,1 0-2,-1 0 17,3 0-12,-3 0 15,3 0-18,-3 0 2,0 0-1,2 0 0,-2 0-3,2 0 2,-2 0-2,0 0 3,3 0-4,-3 0 3,2 0-3,-2 0 0,0 0 2,3 0-2,-3 0 2,0 0 0,2 0-1,-2 0 0,2 0-4,-2 0 4,3 0-4,-3 0 5,3 0-11,-3 0 8,0 0-8,1 0 8,-1 0 1,0 0-1,3-2 0,-3 2 5,0 0-4,3 0 4,-3 0-5,0 0 3,2 0-3,-2 0 4,0-3 1,2 3-2,-2 0 4,3 0-5,-3 0 3,2 0-2,-2 0 2,0 0-2,0 0 0,3 0 1,-3 0-1,0 0-7,2 0 5,-2 0-5,0 0 6,0 0-15,0 0 10,2 0-12,-2 0 16,0 0 0,0 0-1,3 0-5,-3 0 7,0 0-7,0 0 6,3 0-16,-3 0 9,0 0-10,0 0 13,1 0-20,-1 0 14,0 0-15,3 0 17,-3 0 17,0 0-12,3 0 13,-3 0 8,0 0-17,2 0 18,-2 0-16,0 0-5,2 0 6,-2 0-7,0 0 5,0 0-3,3 0 7,-3 0-4,0 0-59,0 0 41,0-2-49,2 2 60,-2 0 7,0 0-5,0 0 1,0 0 13,0 0-18,0-2 17,0 2 16,0-3-23,3 3 25,-3-3-33,0 2 12,0 1-8,0-3 15,0 0-13,0 3 12,0-2-8,0 2 7,0-2-7,0 2-5,0-3 3,0 3-3,0-2-10,0 2 10,0-3-11,0 3 14,0 0-33,0 0 21,0-2-26,0 2 38,-3 0-7,3-2 8,0 2-9,0 0 9,0 0-9,0 0 9,0-3-11,0 3 36,-2 0-25,2-3 27,0 3-23,0 0-6,0-1 11,0 1-11,0 0 3,0 0-2,0-3 3,0 3-7,0 0 6,0 0-7,0 0 6,0 0-4,0 0 2,0 0-3,0-3 2,0 3 1,0 0-2,0-2 1,0 2 1,0 0 0,0 0 0,0 0 0,0-2 0,0 2 1,2 0-1,-2 0 0,0-3 0,0 3 0,0 0 0,0-2 7,3 2-5,-3 0 5,0-3-6,2 3 9,-2-2-6,0 2 8,0 0-12,0 0 3,0 0-2,2-2-1,-2 2-13,0-3 10,0 3-10,0 0 8,3 0 5,-3-2-6,0 2 6,0-2-2,0 2 1,3-3-2,-3 3 2,0-3 3,0 3-2,0-2 3,1 2 2,-1 0-4,0-2 4,0 2 6,0 0-8,3-3 10,-3 3-12,0 0 10,0-2-7,0 2 6,0 0-7,0-2-4,0 2 3,0 0-2,0-3 4,0 3-8,0-2 6,0 2-5,0 0 6,0-3 0,0 3-1,0-2-5,0 0 4,0 2-4,0 0 5,0-3-3,0 3 2,0-3-2,0 3 2,0-1-29,0-2 21,0 3-23,-3 0 29,3-3-24,-1 1 17,1 2-22,-3-2 12,3 2 4,-3-3-6,1 1 8,2-1 12,-2 3-11,2-2 9,-3 2 9,1-2-12,-1-1 15,3 3-18,-2-3 9,2 3-4,-2 0 6,-1-1-3,3 1 30,-3 0-20,2-3 21,1 3-25,-3 0-5,3-3 8,-3 3-9,1-2 2,2 2-1,0-2 1,-2 2-5,2 0 5,-3-3-6,3 3 7,-2 0-6,-1-2 4,3 2-5,-2 0 4,0 0 0,2-3-2,-3 3 2,3 0 20,-3 0-13,2 0 16,-2 0-23,0 0 3,1 0-2,0 0 3,2 0 29,-3 0-21,1 0 22,-1 0-26,3 0 35,-2 0-23,0 0 25,2 0-30,-3 3-4,0-3 8,3 0-6,-1 0-19,-2 0 13,0 0-17,3 0 9,-2 2 0,0-2-5,-1 0 6,3 0-13,-2 0 15,-1 0-18,1 0 18,0 3 2,-1-3-2,0 0-2,2 0 1,-2 0 18,0 2-13,1-2 16,2 0-13,-2 2-2,-1-2 3,1 0-8,-1 0 3,3 3-2,0-3 4,-2 0 8,2 0-7,-2 0 7,2 0-6,-3 0-15,3 0 10,-3 0-12,3 0 14,-1 0-14,1 0 11,-3 0-13,0 0 13,3 0-2,-2 0 1,0 0 3,-1 0-2,3 0 2,-2 0-2,2 0 12,-3 0-8,1 0 8,2 0-12,-2 0-4,-1 0 3,3 0-2,-2 0 5,2 0-8,0 0 5,-2 0-5,-1 0-1,3 0 5,0 0-6,-3 0 9,3 0-1,0 0 1,-2 0-2,2 0-3,-2 0 2,2 0-3,0-3 3,-3 3-1,1 0 1,2-2-1,-2 2 2,2 0-4,-3-2 3,1 2-2,-1 0-1,3-3 2,-2 3-1,2 0 1,-2 0-1,-1-2 0,3 2 1,-3 0 0,3-3 0,-1 3 0,1 0 0,-3-2 0,3 2 0,0 0 0,-3 0 0,3-2 0,0 2 0,0 0 0,0-3 17,0 3-12,0 0 14,0 0 20,0-3-26,0 3 28,0 0-33,0 0-13,0 0 12,0-1-10,0 1 13,0 0-44,0 0 33,0 0-35,0-3 43,0 3-9,0 0 4,0-3-5,0 3-12,0 0 13,0 0-20,-2-2 20,2 2-7,0 0 5,0-2-4,0 2 2,0 0-1,0-3 1,0 3 1,0 0 9,0-2-5,0 2 6,0 0-6,0 0 3,0-3-2,0 3 3,0 0-3,0 0-1,0-2 2,0 2 2,0 0-3,0 0 4,0 0-4,0-2 1,0 2 0,0 0 1,0-3-2,0 3-3,0-3 3,0 3-3,0 0 3,0-1-6,0 1 4,0 0-4,0-3 4,0 3 0,0 0 0,0-3 1,0 3 0,0 0 0,0-2-1,0 2-13,0-2 9,0 2-10,0 0 14,-2-3-7,2 3 5,0-2-4,0 2 4,0-3-15,0 3 11,-3 0-12,3-2 14,0 2 9,0 0-6,0-2 5,-2 2 4,2 0-11,0 0 12,0-3-12,-3 3 5,3 0-1,0-3 2,0 3 6,0 0-7,-2-1 9,2 1-8,0-3 2,0 3 0,0-3-1,0 3 0,0-2-12,-2 0 7,2 2-7,0-3 10,0 1-1,0-1-1,0 1 3,0 0-2,0 2 2,0-3-3,0 0-8,0 2 5,0-2-5,0 0 7,0 3-12,0-2 7,0 0-8,0-1 11,0 1-1,0-1-1,0 1 0,0 0 10,0 2-5,0-3 5,0 1-8,0 0 10,0 2-7,0-3 8,0 0-2,2 1-4,-2 0 5,0-1-5,0 1 0,0 2 2,0-2-1,0-1 1,0 1-11,0-1 7,0 1-7,0 0 5,0-1 2,0 0-3,0 2 5,0-2-8,0 0 5,0 1-6,0 0 10,0-1-3,0 1 4,0-1-6,0 1 26,0 2-19,0-2 20,0-1-7,0 0-12,0 2 15,0-2-15,2 0 11,-2 3-4,0-2 4,0-3-18,0 3 7,0-1-6,0 3 10,0-4-27,0 4 18,0-6-21,0 5 26,0-2-23,0 0 16,0 1-19,0 0 22,0-3-18,0 2 12,0 1-15,0 0 21,0-1-8,0 0 8,0 2 4,0-2-7,-2 0 8,2 1-10,0 0 31,0-1-22,0 1 25,0-3-30,0 3 34,0-1-24,0 0 28,0 2-26,0-2-1,0-2 3,0 3-13,0-1 5,0 1-5,2-1 8,-2 1-5,0 0 4,0 2-4,3-3 5,-3 1-9,0 0 6,0 2-7,0-3 7,0 3-4,0-3 2,2 1-4,-2 0 19,0 2-11,0-3 11,0 1-12,0-1-1,0 3 1,3-4 0,-3 1 2,0 1 0,0 0 1,0 2-1,0-3-7,0 0 5,0 1-4,0 0 24,2-1 2,-2 1 2,0 0-5,0 2-24,0-3 7,0 1-4,0-1-12,0 1 14,2 0-15,-2 2 19,0-3-19,0 0 13,0 2-14,0 1 16,0-3-7,0 0 2,3 1-3,-3 0-2,0-1 8,0 3-10,0-2 8,0-1-3,0 1 2,0 2 0,3-2-1,-3-1 0,0 0 0,0 2 1,0-2-2,0 0 2,0 3-2,0-2 2,0 0-20,0-1 14,0 1-15,0-1 18,0 3-8,0-2 4,0 0-5,0-1 11,0 3-3,0-3 2,0 2-4,0 1 0,0-3 0,0 3 0,0-3 3,0 3-3,0 0 4,0-2-3,0 2 8,0-2-5,0 2 7,0-3-9,0 3 6,0-2-4,0 2 5,0-3-20,0 3 11,0-2-12,0 2 19,0-2-4,0 2 4,0-3-4,0 3 4,0-3-3,0 3 2,0-1-4,0 1 5,0-3-3,0 3 4,0-3-5,0 1 4,0 2-2,1 0 3,-1-2-2,0-1 1,0 3-1,0-2-6,0 2 3,0-3-4,0 3 5,3-2-36,-3 2 25,0-2-29,0 2 37,0-3-9,0 3 5,0 0-7,0-3 6,0 3-2,0-1 2,0 1-3,0-3 21,0 3-16,0-3 16,0 3-17,0-2 16,0 0-10,0-1 15,0 3-12,0-2-2,0 2 3,0-3-5,0 3 8,0-2-4,0 0 5,0 2-4,0-3-2,0 1 3,-3 2-3,3 0 1,0-2-1,0 2 0,-1-3 0,1 3 6,0-3-4,0 3 5,-3 0-2,3-2-2,0 2 3,-3-2-5,3 2-1,0 0 3,0-3-3,-2 3 3,2-2-4,0 2 3,-2 0-4,2 0 13,0-3-6,0 3 7,-3-2 9,3 2-14,0 0 15,0-2-18,0 2 18,-2-3-11,2 3 12,0-2-14,-3 2-6,3 0 7,0-2-7,0 2 20,-2 0-11,2-3 11,-2 3-12,2 0-19,0 0 14,0-3-15,-3 3-1,3 0 12,0-2-13,-3 2 16,3 0-11,0-2 5,0 2-6,-1-3 9,1 3 33,0 0-23,-3-2 23,3 2 7,0 0-28,-3-2 30,3 2-32,0 0-10,-2-3 12,2 3-10,0-2-11,-2 2 13,2-3-11,-3 3 17,1 0-9,2-2 6,-3 2-11,3 0 12,-2-2-9,0 2 6,2 0-12,-3-3 11,3 3 37,-3 0-26,2-3 33,1 3-43,-3 0 47,3-1-33,-3 1 39,3 0-26,-2-3-4,0 3 8,-1-3-6,3 3-30,-2-2 24,-1 2-22,3 0-2,-2-2 14,0 2-18,-1-3 23,0 3-36,3 0 25,-1-2-28,-2 2 59,0 0-23,1 0 22,0-3-30,-1 3 16,1 0-10,2 0 11,-3-2-16,1 2 3,2 0 0,-2 0 1,-1-2 19,3 2-11,-3 0 10,2 0-10,-2 0-1,3-3 1,-3 3 4,3 0-27,-2 0 2,0 0-9,2-3 9,-3 3-4,1 0 15,-1 0-18,3 0-6,-2-1 14,0 1-18,-1 0 22,3 0-7,-3 0-1,3 0-1,-1 0-3,1-3 0,-3 3 2,0 0-2,3 0-25,0 0 24,-2 0-28,2 0 34,-2 0-49,2 0 33,0 0-38,-3 0-17,3-3 41,0 3-45,0 0 55,-2 0-16,2 0 6,0 0-9,-3 0 9,3 0 20,0 0-20,-2 0 15,2 0 22,-2 0-26,2 0 32,0-2 10,-3 2-30,3 0 32,-2 0-37,2 0 28,-2 0-14,-1 0 19,3 0-23,-3 0 12,1-2-8,2 2 10,-2 0-10,-1 0-3,1 0 7,2 0-5,-2 0 1,2-3 0,-3 3-2,3 0 16,-2 0-12,-1-2 12,3 2-15,-2 0 32,2 0-23,-2 0 27,-1 0-31,3 0-3,-3 0 3,3-3-2,-1 3-11,-2 0 13,0 0-13,3 0 16,-2 0-12,2 0 7,-2 0-8,2 0 1,-3 0 6,3 0-10,-2 0 9,2 0 49,-3 0-35,1 0 40,0 0-50,2 0 17,0 0-12,-3 0 17,0 0-18,3 0-15,-1 0 13,1 0-12,-3 0-7,3-2 19,-3 2-21,3 0 23,-2 0-11,2 0 5,0 0-7,-2 0 4,2 0 4,0 0-8,0 0 5,-3 0-22,3 0 17,0 0-15,-2 0 19,2 0-79,0 0 15,-3 0-68,3 0 72,-2 0-405,0 0 355,2 0-310,-3 2 419,0-2 0,3 3 0</inkml:trace>
  <inkml:trace contextRef="#ctx0" brushRef="#br0" timeOffset="188">1274 3791 9502,'0'3'-93,"0"-3"45,-2 0-74,2 1 59,0-1-2,0 0 59,0 3 9,-3-3 61,3 3-4,0-3-5,0 0 6,-2 2 14,2-2-11,0 0 11,-2 2-15,2-2-18,-3 3 21,3-3-29,-2 2 36,2 1-13,-3-1 10,1-2 3,0 2-54,2 1-18,-3 0 0,0-2-42,2 2 40,-2 2-11,0-3 18,1 3-16,0-2 41,2-1-53,-3 3 51,3-1-21,-2-1 18,2 2-26,-3-3 12,3 3-16,0 0 11,0 0 51,-2-3 24,2 3 1,-2 0-8,2-3-43,-3 3-3,3-3 12,-3 1 1,3-1-65,-1 3 50,1-3-58,-3 4 66,3-6-52,0 1 35,0 2-40,0-3-1,0 3 33,0-1-44,0-2 36,0 2-6,0-2 1,0 3-1,0-3 15,0 2-9,0 1 10,3-1-6,-3-2 31,0 2-22,0 1 24,0 0-39,0-2 6,0 2-3,0 0-24,0-3 25,0 2-26,-3 3 31,3-3-35,0 1 24,0-3-27,0 2 30,0 0-11,-3-2 4,3 3-7,0-3 5,0 3 10,0-3-11,0 1 10,0-1-7,0 3 2,0-3 0,0 0 9,0 3-8,0-3 9,0 2-9,0-2 2,0 2-1,0-2 0,0 3 1,0-3-24,0 2 17,0-2-18,0 3 21,0-3 6,0 2-6,-2-2 6,2 2-8,0-2 19,0 0-15,-2 0 7,2 0-11,0 3-6,-3-3 8,3 0-53,0 0 38,0 0-39,-2 0 52,2 0 9,0 0-7,0 0 1,0 0-6,0 0 52,0 0-37,0-3 41,0 3 4,0-2-41,0 2 45,0-2 20,0-1 19,0 1 15,0-1-22,0-1-6,2 1 4,-2-1 27,3-2-25,-1 2-51,0-4 3,1 1 1,0 0 13,-2-3-88,5 1 11,-2-4-91,-1 4-344,2-3 322,-1 0-283,2 2 424,1-2 0,-3 0 0</inkml:trace>
  <inkml:trace contextRef="#ctx0" brushRef="#br0" timeOffset="189">1262 3813 8355,'0'2'-14,"0"-2"14,-2 0-8,2 0 78,0 0 42,0 0 161,0 0 30,0 0 28,0 0-83,0 0-118,0 0-9,0 0-63,-3 0-9,3 0 1,0 0-38,0 0 49,0 2-24,0-2 14,0 0-19,0 0 14,0 3-46,-2-3 33,2 0-36,0 3 7,0-3 27,0 1-37,0-1 12,0 0 16,0 3-18,0 0 24,0-1 32,0-2-26,0 2 25,0 1-29,0-1 10,0 1-6,0-1 7,0 0-9,0 1-11,0 1 15,0-1-13,0-3 24,0 5-12,0-3 10,0-2-34,0 5 22,0-5-21,0 2 23,0 1-28,0-1 15,0-2-17,2 3 21,-2-3-36,0 2 26,0 0-29,0-2 35,0 0-33,3 3 23,-3 0-29,0-3 33,0 2-8,0-2 5,0 2 39,2 1-26,-2-3 31,0 2-41,0 0 20,3-2-14,-3 3 19,0-1-20,0-2 14,2 3-9,-2-3 12,0 2-15,0 0-6,0-2 8,2 0-8,-2 3-34,0-3 30,0 0-36,0 3 20,0-3 19,3 0-25,-3 0 27,0 0-42,0 1 29,0-1-32,0 0 37,2 0 7,-2 0-5,0 3 3,0-3-10,0 0 41,0 0 15,2 0 4,-2 0-5,0 0-39,0 3 0,0-3-33,0 0 24,3 0-24,-3 2 34,0-2-52,0 0 36,0 0-37,0 0 45,0 2-40,0-2-27,0 0 4,0 3-19,0-3 56,0 0-23,0 0 19,0 0-3,0 0 7,0 2-4,0-2 29,0 0-22,3 0 22,-3 0-24,0 3 24,0-3-14,0 0 16,0 2-17,0-2 7,0 0-1,0 0 5,2 0-7,-2 0 2,0 2-2,0-2 3,0 0-4,0 0 0,0 0 1,0 0-65,0 3 47,0-3-50,0 0 60,0 0-34,0 0 21,2 0-26,-2 0 29,0 0 19,0 0-17,0 3 16,0-3-5,0 0-11,0 0 9,3 0-13,-3 0 49,0 1-33,0-1 40,0 0-11,0 0-20,2 0 24,-2 0-24,0 0-4,0 3 6,0-3 0,0 0-2,0 0-9,0 0 5,0 3-7,0-3 9,0 0-10,0 0 7,0 0-8,0 0 5,0 2 0,0-2-1,0 0-1,0 0 3,0 2-3,0-2 3,0 0 0,0 3 0,0-3 0,0 0 0,0 2 0,0-2 0,0 3 0,0-3 0,0 0 0,0 2 0,0 0 0,0-2 0,0 0 0,0 3 0,-2 0 0,2-3 0,0 1 0,-3 2 0,3-3 0,-2 3 0,2-1 0,0 0 0,0-2 0,-2 3 0,2-3 0,0 2 0,-3 1 12,3-1-8,0-2 9,0 2-13,0-2 1,-3 3-1,3-3 2,0 3 0,0-2 0,0-1 0,0 3-2,0-3 2,0 3-2,0-1 3,0-2-6,0 2 4,-2-2-4,2 3 1,0-3 2,0 2-3,0-2 3,0 3 17,0-3-12,-2 2 13,2-2-11,0 2-3,0-2 4,0 3-5,-3 0-6,3-3 6,0 1-7,0-1 9,0 3-27,-2-3 19,2 3-19,0-3 24,0 2-15,0-2 9,0 0-11,0 2 20,0 1-5,-2-3 2,2 2 41,0-2-36,0 3 38,0-3-45,0 2 36,0 0-22,-3-2 25,3 3-26,0-3-12,0 2 13,-2-2-10,2 2 2,0-2 3,0 3-4,0-3 7,0 3-29,-3-3 21,3 2-25,0-2 10,0 2 10,0-2-14,0 0 13,0 3-2,0-1 0,-2-2-3,2 2 5,0-2 12,0 3-8,0-1 10,0-2 12,-2 0-16,2 3 19,0-1-24,0-2-1,0 2 3,0 1-2,0-3-5,0 3 5,0-3-4,0 2 6,0-2-9,-3 2 7,3 1-9,0-3 11,0 2-11,0-2 7,0 2-10,0-2 8,-3 3-1,3-1-1,0-2 2,0 3-4,0-3 2,0 2-1,0-2 3,0 2 1,0-2-1,0 3 1,-1-3 0,1 3 0,0-2 0,0-1-1,0 3 10,0-3-8,0 3 9,0-3-10,0 2 1,0-2-1,0 2 2,0-2-27,0 3 19,0-3-20,0 2 10,0-2 11,0 0-13,0 3 15,0-3 1,0 2-3,0-2 1,0 2-2,-3-2 9,3 3-7,0-3 5,0 3 5,0-3-10,0 1 11,0-1-11,0 3 12,0-3-8,0 0 11,0 3-10,0-3 1,0 2 1,0-2-2,0 2-1,3-2 1,-3 0-1,0 3 0,0-3 1,0 2-1,0 1 0,0-3-4,0 0 3,0 2-4,0-2 5,0 2 0,0-2 0,0 0-1,0 0-32,0 3 23,0-3-23,0 0 29,0 3 5,0-3-5,0 0 4,0 0-6,0 1 30,0-1-23,0 0 23,0 0-10,0 3-12,0-3 14,1 0-18,-1 3 9,0-3-6,0 0 10,0 0-12,0 0 7,0 0-6,3 2 9,-3-2-14,0 0 10,0 0-11,0 0 10,3 2-9,-3-2 5,0 0-7,0 0 6,0 0-1,0 0 0,0 0 2,2 3 0,-2-3 0,0 0 0,2 0 0,-2 2 0,0-2 0,0 0 0,3 0-8,-3 0 6,0 3-6,0-3 8,0 0-11,0 0 7,2 2-7,-2-2 11,0 0-2,0 2 3,3-2-4,-3 0 5,0 0-4,0 0 4,0 3-2,0-3-2,2 0 2,-2 0-3,0 0 21,0 3-15,0-3 18,2 0-21,-2 0 11,0 0-7,0 1 8,0-1-23,0 0 13,3 0-13,-3 3 14,0-3-21,0 0 16,0 0-18,0 3 19,0-3 0,0 2-2,0-2 2,0 0-1,0 0 0,2 0-3,-2 0 2,0 2 11,0-2-8,0 0 10,0 0-7,0 3-3,0-3 4,0 0-2,0 0-1,0 2 1,0-2 0,0 0-15,0 0 10,0 3-10,0-3 13,0 0-6,0 2 4,0-2-4,0 0 3,0 2 3,0-2-4,0 3 3,0-3 2,0 0-2,0 3 3,0-3-5,0 0 5,0 1-3,0-1 5,0 3-6,0-3 3,0 3-2,0-3 2,0 2-1,0-2 0,0 2 0,0-2-1,0 3 1,0-1 0,0-2 0,0 3 0,0-1 0,0-2 0,0 2-1,0 1 2,0-1-1,0-2 0,0 2 0,0 1 11,0 0-8,0-1 9,0-2-13,0 2 3,0 1-3,0-1 3,0 0-6,0-2 4,0 3-4,0-1 6,0 1-3,0-1 2,0-2-1,0 2 13,0-2-9,0 3 10,0 0-13,0-3 25,0 1-17,0 2 20,0-3-30,0 3 5,-2-3-3,2 2 5,0-2-22,0 2 16,0 1-18,0-1 23,0 1-11,0-3 7,0 2-10,0 0 11,0-2-8,0 3 6,0 0-10,-3-2 11,3-1-7,0 3 7,0 0-4,0-1 2,0-2 0,0 2 0,0 1 0,0-3 1,0 2 0,0-2 0,0 3-19,0-3 13,0 2-16,0-2 19,-2 2-1,2-2 1,0 0-2,0 3-9,0-3 4,0 3-5,-2-3 5,2 0 3,0 1-3,0 2 3,0-3 7,-3 3-5,3-3 7,0 2 4,-2 0-8,2-2 9,0 3-11,0-3 14,-3 2-10,3 1 11,0-1-4,-2-2-7,2 2 10,-2-2-9,2 3 0,0-3 2,0 3-2,0-3 2,-3 0-30,3 1 21,0-1-22,0 0 27,0 3 0,-3-3-2,3 0 0,0 3 1,0-3 0,-1 2-1,1-2 7,0 0-8,0 2 8,-3-2-8,3 3 7,0-3-3,-3 2 4,3-2-4,-2 3 10,2-3-5,-2 2 6,2 0-9,0-2-1,-3 3 0,3-3 1,0 3-3,-2-3 2,2 1-1,-3-1-1,3 3 2,0-3-2,0 3 2,-2-3-2,2 2 1,0-2-1,0 2 1,-2-2-1,2 3 0,0-3 0,-3 0-3,3 2 2,0 1-2,0-3 3,0 0-9,-3 2 7,3-2-8,0 2 12,-1-2-3,1 3 3,0-3-4,-3 3 5,3-3-3,0 1 3,0-1-4,-3 3 3,3-3-3,0 3 4,0-3-5,0 2 2,0-2-2,-2 2 3,2 1 0,0-3-1,0 2 1,0 1 0,0-3 0,0 2 1,-2 0-2,2-2 1,0 3 0,0-1 1,-3-2-2,3 2 2,0 1-1,0-3 1,0 3-4,0-1 3,-2-2-3,2 2-3,0-2 4,0 3-4,-3-1 5,3-2 0,0 0 0,0 2 1,0 1-2,0-3 4,0 2-2,0 1 2,0-3-3,0 0 26,-2 2-19,2 0 21,0-2-1,0 3-17,0-3 19,0 3-21,0-3 1,0 1 1,0-1-1,0 0-4,0 3 3,0-3-2,0 3 5,0-3-7,0 0 5,0 0-6,0 2 6,0-2-17,0 0 9,0 2-11,0-2 3,0 0 9,0 3-9,0-3 11,0 2-7,0-2 4,0 3-5,0-3 11,0 0-5,0 2 5,0 0-6,0-2 23,0 0-16,0 3 17,0-3-20,0 3 1,0-3 1,0 1 0,0 2-8,0-3 5,0 3-3,0-3 5,0 2-9,0 0 7,0-2-8,0 3 0,0-1 6,2-2-6,-2 0 6,0 3-4,0-1 2,0-2-3,0 2 3,0 1 0,0-3 0,0 0 1,3 3 0,-3-3 0,0 1 0,0 2 0,2-3 0,-2 3 0,0-3 0,0 2 9,0-2-7,3 2 8,-3 1-9,2-3 0,-2 2 0,0-2 0,0 3 0,0-1 2,0-2-1,2 2 1,-2 1-5,0-3 4,0 3-4,0-3 4,0 1-2,0 2 1,0-3-1,0 3 1,3-1-4,-3-2 3,0 2-3,0-2 2,0 3 1,3-3 0,-3 0 0,0 2-1,0-2 1,1 0 0,-1 3 0,0-3 0,0 0 0,0 2 0,0-2 0,3 0 2,-3 2-2,0-2 3,0 0 11,0 0-10,0 3 11,0-3-7,0 0-5,0 0 6,3 3-5,-3-3-11,0 0 7,0 1-7,2-1-12,-2 0 17,0 0-18,0 3 20,0-3-18,2 0 11,-2 0-12,0 3 18,0-3-2,0 0 1,3 0-5,-3 2 7,0-2-5,0 0 5,0 2-6,2-2 12,-2 3-7,0-3 9,0 0-8,0 0-3,0 2 4,0-2-2,3 0-13,-3 3 9,0-3-10,0 0 17,0 2-4,0-2 3,0 2-5,0-2 7,0 0-5,2 3 4,-2-3-5,0 0 3,0 3-2,2-3 3,-2 0 2,0 1-3,3 2 5,-3-3-6,0 0-15,0 3 11,3-3-13,-3 2 7,0-2 5,0 0-6,0 2 7,1-2 5,-1 3-6,0-3 5,0 2-6,0-2 12,0 0-8,3 3 8,-3-3-6,0 0-2,0 2 4,0-2-4,0 0 2,3 2-2,-3-2 5,0 0-5,0 3 3,0-3-3,0 0 2,0 0-4,0 0 2,0 2-3,0-2 4,0 0-4,0 0 3,0 2-3,0-2-22,0 0 17,0 0-19,0 0 24,0 0-13,0 3 8,0-3-11,0 0 24,0 0-8,0 3 7,0-3-10,0 0 21,0 0-16,0 0 17,0 0-22,0 0 29,0 2-19,0-2 24,0 0-14,0 0-5,0 0 8,0 2-9,0-2-2,0 0 4,0 0-3,0 0-3,0 3 3,0-3-3,0 0 2,0 0-7,0 2 6,0-2-7,0 0 8,0 0-10,0 2 7,0-2-7,0 0 6,0 0 0,0 0 0,0 3 0,0-3-5,-3 0 3,3 2-4,0-2-1,0 0 5,0 3-6,0-3 7,0 0 1,-3 2-1,3-2 1,0 0-2,0 2-8,0-2 5,-1 0-5,1 3-1,0-3 7,0 3-8,-3-3 9,3 1 1,0-1-1,0 3 1,-3-3 7,3 3-6,0-3 7,0 2-10,0-2 9,-2 2-6,2-2 7,0 0-8,0 2 4,0-2-2,-2 0 2,2 3-13,0-3 7,0 3-5,0-3 9,0 2-12,0-2 8,0 0-11,0 2 11,0-2-2,0 0 1,0 3 0,0-3 10,0 0-7,0 0 7,0 0-10,0 2 16,0-2-11,0 0 11,0 0-9,0 0-3,0 2 6,2-2-5,-2 0 6,0 0-5,2 0 4,-2 0-3,0 0 0,3 3-1,-3-3 1,0 0-1,0 0 0,3 0 0,-3 0 0,0 2-6,0-2 5,1 0-6,-1 0 7,3 0-1,-3 0 1,0 0-1,3 0 1,-3 3-1,0-3 1,2 0 9,-2 0-8,0 0 9,2 0-10,-2 0 4,0 0-3,0 0 4,3 0-4,-3 0-6,0 2 5,0-2-4,0 0 2,0 0 4,0 0-4,0 0 3,0 0-3,0 2 2,0-2-1,0 0 1,0 0 0,0 0-1,0 3 1,0-3 13,-3 0-10,3 0 12,0 0-14,0 3 3,0-3-2,-2 0 3,2 1-7,0-1 4,-2 3-4,2-3 5,0 0-5,0 3 3,-3-3-3,3 0-2,0 2 4,0-2-4,-3 0 5,3 2-2,0-2 0,0 0 0,-1 0 0,1 3 1,0-3 0,0 0 0,0 2 7,-3-2-6,3 3 7,0-3-8,0 0 16,0 2-11,-3-2 13,3 2 4,0-2-14,0 3 16,0-3-18,0 0-7,0 3 7,-2-3-7,2 1 9,0-1-8,0 0 8,0 3-8,0-3-6,0 3 9,0-3-12,0 0 14,0 2-15,0-2 11,0 2-14,0-2 3,0 0 5,0 3-6,0-3 9,-2 2-3,2-2 1,0 3-2,0-3 3,0 2 5,0-2-5,0 0 4,0 2-4,0-2 2,0 3-2,0-3 2,0 3-15,0-3 10,0 0-10,0 1 13,-3-1-16,3 3 12,0-3-14,0 3-4,0-1 13,-2-2-16,2 0 20,0 2 6,0 1-6,-3-3 5,3 2 12,0-2-15,0 3 16,0-3-18,-2 2 8,2-2-4,0 2 6,-2-2 7,2 0-11,0 3 13,0-3-14,-3 3 9,3-2-6,0-1 7,0 0-7,0 3 10,0-3-7,0 3 6,-3-3-10,3 0 2,0 2-1,0 0 1,0-2-2,0 3 1,-1-3 0,1 2 0,0 1 0,0-3 1,0 0 0,0 2-3,-3 0 3,3-2-3,0 3 3,0-3 2,0 3-2,0-2 2,0-1 1,0 3-3,0-3 3,0 3-1,0-3-2,0 2 2,0-2-2,0 2 17,0-2-11,0 3 12,0-3-16,0 0 6,0 0-3,0 2 4,0-2-5,0 3 8,0-3-5,0 0 7,0 2-8,0-2-1,0 0 0,0 0 3,0 2-11,0-2 7,0 0-7,0 3 19,0-3-8,0 0 8,0 0-11,0 0-10,0 2 6,0-2-7,0 0 10,0 0-5,0 2 4,0-2-3,0 0-20,0 0 17,0 0-19,0 3-7,0-3 21,0 0-23,0 0 27,0 3-11,0-3 5,0 0-10,0 2 11,0-2 11,0 0-7,0 0 9,3 0-13,-3 2 17,0-2-12,0 0 13,0 0-8,0 3-6,0-3 9,0 0-5,0 0-4,0 0 5,0 2-8,1-2 8,-1 0-1,0 0 0,0 2-1,0-2-1,0 0 1,0 3-1,0-3 0,3 0-6,-3 0 5,0 0-5,0 0 9,0 0-2,0 0 3,3 2-4,-3-2 7,2 0-4,-2 0 5,0 0-4,2 0-2,-2 0 2,0 0-2,0 0-7,3 0 5,-3 0-4,0 0 6,2 0-12,-2 0 8,0 0-11,3 0 16,-3 0-3,0 0 2,2 0-4,-2 0 4,2 0-4,-2 0 3,3 0 4,-3 0-4,3 0 5,-3 0-7,1 0 7,-1 0-5,3 0 7,-3 0-7,3 0 6,-3 0-5,0 0 4,2 0-3,-2 0-1,2 0 0,-2 0-1,3 3 1,-3-3 0,0 0 1,2 0-1,-2 0 0,3 0 0,-3 0 0,0 0 0,2 0 0,-2 0 0,0 0-1,2 0 1,-2 0 0,0 0 0,3 0 0,-3 0 0,2 0 0,-2 0 0,0 0 1,2 0 0,-2 0 0,0 0 9,3 0-7,-3 0 8,3 0-10,-3 0-1,0 0 1,2 0 0,-2 0 1,2 0-2,-2 0 1,3 0 0,-3 0-2,2 0 2,-2 0-2,2 0-1,-2 0 3,0 0-3,3-3 3,-3 3-17,0 0 12,2 0-12,-2 0 14,3 0-8,-3 0 4,0 0-5,2 0 9,-2 0-1,2 0 1,-2 0-2,0 0 7,3 0-5,-3 0 4,3 0 2,-2 0-7,-1 0 8,3-2-7,-3 2 1,3 0-1,-3 0 2,2 0-1,-2 0-22,2 0 16,1 0-19,-3 0 23,2 0 3,-2 0-3,0 0 2,3 0-2,-3 0-4,2 0 3,-2 0 0,0 0-1,0 0 1,2 0-1,-2 0-20,3 0 14,-3 0-13,0 0 18,0 0-15,3 0 11,-3 0-12,0 0 14,1 0-2,-1 0 1,0 0-3,3 0 22,-3 0-17,0 0 16,3 0-9,-3 0-7,2 0 8,-2 0-9,0 0 20,2 0-15,-2 0 19,3 0-20,-3 0 12,2 0-7,-2 0 6,0 0-5,3 0-1,-3 0 1,2 0-2,-2 0 0,0 0 1,0 0-1,2 0 0,-2 0 0,0 0 0,3-3 0,-3 3 0,0 0 0,3 0 0,-3 0 0,0 0 0,1 0 0,-1 0 0,0 0 0,3 0 0,-3 0 0,3 0 0,-3 0 0,0 0 0,0 0 0,2 0 0,-2-2 11,2 2-8,-2 0 9,0 0-5,0 0-4,3 0 5,-3 0-5,2 0-3,-2 0 3,0 0-1,3 0-6,-3 0-2,0 0 0,2 0 0,-2 0 4,2 0 2,-2 0-4,0 0 4,0 0-1,3 0 1,-3 0-3,0 0 4,0 0-3,3 0 3,-3 0-2,0 0 1,0 0 0,0 0 2,1 0-2,-1 0 1,0 0 0,0 0-1,0 0 0,0 0 0,0 0 0,0 0 0,3 0 0,-3 0 0,0 0-25,0 0 17,0 0 53,0 0-24,0 0 53,0 0-62,0 0-22,0 2 15,-3-2-16,3 0 2,0 0 11,0 3-15,0-3 16,0 0-11,0 0 8,-1 0-6,1 2 34,0-2-19,0 0 21,0 3-28,0-3 7,-3 0-3,3 0 5,0 2-5,0-2 14,0 0-7,0 0 8,0 0-8,0 0 2,0 0 1,0 2 1,0-2-27,0 0 14,0 0-16,0 0-25,0 0 32,0 0-34,0 3 39,0-3-1,0 0-1,0 0-2,0 0 0,0 0 2,0 0 37,0 0-24,0 0 54,0 3-49,0-3 14,0 0-18,3 0-17,-3 0 12,0 0-12,1 0 16,-1 0-20,0 0 16,3 0-17,-3 0 4,3 0 8,-3 0-12,2 0 12,-2 0-2,2 0-3,-2 0 1,3 0-6,-3 0 8,2 0-7,-2 0 7,3 0 0,-3 0 0,2 0 0,0 0-1,-2 0 1,3 0 0,-3 0 1,3 0-1,-2 0 0,2 0 0,-3 0 0,3 0 0,-1 0 0,0 0 1,-2-3-1,3 3 0,-3 0 0,2 0 0,1 0 0,-3 0 0,2 0 0,-2 0 0,2 0 1,1 0 0,-3 0 1,3 0-2,-3 0 0,1 0 0,-1 0 0,0 0-6,3 0 5,-3 0-5,0 0-6,3 0 9,-3 0-9,2 0 10,-2 0-2,0 0 1,2 0-2,-2 0 2,3 0-10,-3 0 7,2 0-8,-2 0 8,3 0 10,-3 0-8,2 0 8,-2 0-17,2 0 6,-2 0-6,3 0-17,-3 0 19,0 0-20,2 0 22,0 0 1,-2 0-2,3 0 0,-3 0 0,3 0 9,-3 0-8,2 0 7,-2 0 11,2 0-13,-2 0 14,3 0-20,-1 0 21,-2 0-15,2 0 18,-2 0-31,3 0 12,-3 0-11,0 0 15,2 0-6,-2 0 5,3 0-6,-3 0 4,2 0-32,-2 0 21,0 0-23,2 0 34,1 0-3,-3 0-1,0 0-2,3 0-4,-3 0 3,0 0-3,1 0 23,-1 0-16,3 0 16,-3-3-18,0 3 4,3 0-2,-3 0 3,0 0-3,0 0 8,2 0-5,-2 0-77,0 0 36,0 0-52,0 0 68,0-2 15,0 2 24,0 0-17,0 0 21,2 0-3,-2 0-13,0 0 15,0 0-17,3 0 10,-3 0-5,0 0 7,2 0-6,-2 0-5,0 0 6,3 0-6,-3 0-18,0 0 13,2 0-13,-2 0 18,2 0-1,-2 0 0,0 0-3,3 0 11,-3 0-8,3 0 8,-3 0-10,1 0 10,2 0-7,-3 0 9,3 0-17,-3 0 6,0 0-5,2 0 7,-2 0 4,0 0-3,2 0 4,-2 0-4,0 0 44,3 0-32,-3 0 34,0 0-65,2 0 18,-2 0-17,0 0 23,0 0-33,0 0 23,3 0-33,-3 0 49,0 0-12,0 0 15,0 0-10,0 0-1,0 0-4,0-2 4,0 2-4,0-3-10,0 3 11,0-2-11,0-1 14,0 1-8,0 2 5,0-2-6,0 2 8,0-3-3,0 1 3,0 2-4,0-2-13,0 2 8,0-3-9,0 3 13,0-3 0,0 3-1,0 0 1,0-2 12,0 2-9,0 0 9,0-2-12,0 2 26,0 0 45,0 0-26,0 0 23,0 0-66,0 0 3,0 0-3,2 0 2,-2 0-4,0 0 2,0 0-2,0-3-24,2 3 20,-2 0-23,0-2 29,0 2-8,3 0 6,-3-2-8,0 2 6,2-3 2,-2 3-3,0-2 5,0 2 6,0-3-8,0 3 9,2-2-12,-2 2 8,0 0-5,0-2 7,0 2 2,0 0-4,0-3 6,0 3-7,0-3 1,0 3 0,0 0 1,0-1-2,0 1 8,-2-3-6,2 3 7,0 0 18,0 0-19,-2 0 22,2-3-26,-3 3 34,3 0-24,0 0 27,-2 0-39,2-2 7,0 2-6,-2 0 9,2 0-1,0-2 2,-3 2-1,3 0 1,-2 0-11,2 0 7,-3 0-9,3-3-6,-2 3 13,2 0-15,-2 0 16,2 0-4,0-2 3,-3 2-5,3 0 6,-3 0-3,3-3 4,-1 3-3,1 0-10,-3 0 7,3 0-6,-3-2 8,3 2-8,0-2 6,-2 2-7,2 0 5,0-3 1,-2 3-2,2-3 1,0 3 21,-3 0-15,3-1 15,0 1-6,0-3-8,-2 3 10,2-3-12,-3 3 17,3 0-12,0-2 14,-2 2-15,2 0-13,-2-2 8,2 2-8,-3 0-2,3-3 11,-3 3-11,2 0 11,1 0 1,-3 0-3,3 0 2,-3-2 5,1 2-3,0 0 3,2-3-6,-3 3-7,1 0 6,-1 0-5,1-2 7,2 2-2,-2 0 1,-1 0 1,1 0-8,0-2 5,2 2-6,-3 0 7,0 0 16,1-3-13,2 3 13,-2 0-13,2 0-1,-3 0 1,1 0-2,0-3-7,2 3 6,-3 0-5,3 0 8,-2 0-11,2-1 7,-3 1-6,3 0 1,-2 0 6,2-3-6,-2 3 5,2 0 23,-3-3-18,0 3 19,3 0-29,-1 0 5,1-2-3,-3 2 5,0 0-3,1 0 4,2-2-4,-2 2 6,2 0 4,-3-3-3,1 3 4,2 0-4,-3 0-3,1 0 3,2 0-3,-2-2-11,2 2 9,-3 0-9,0 0 2,3 0 7,-1-3-7,1 3 8,-3 0-8,3 0 5,0 0-5,-3 0 5,3 0-1,0 0-2,-2-2 0,2 2 5,-2 0-2,2 0 3,0 0-3,-3-2 5,3 2-4,-2 0 6,2 0-9,-3 0 2,3 0-1,-2-3 2,2 3-3,-2 0 2,2 0-3,-3 0 4,3 0-4,-3 0 3,3-3-4,0 3 3,-1 0 0,1 0-1,0 0 1,-3 0 1,3-1 0,0 1 0,0 0 0,-3 0-1,3 0 0,0 0 0,0 0-6,0 0 4,0 0-4,0-3 5,0 3 1,0 0-10,0 0 5,0 0-42,0 0 35,0 0-28,0 0 36,0 0-4,0-3 3,0 3-4,0 0 1,0 0 18,0 0-13,0 0 12,0-2 2,0 2-15,0 0 16,0 0-16,0-2 9,0 2-4,0 0 6,0 0-4,0-3-3,0 3 7,0 0-6,0-2-3,0 2 1,0 0-4,0 0 6,0-3-3,0 3 2,0 0-3,0-2 3,0 2-1,0 0 1,0-2-1,0 2 2,0 0-2,0-3 2,0 3-3,0 0 1,0-3-1,0 3 2,0 0-18,0-1 12,0 1-12,3 0 16,-3 0-16,0-3 10,0 3-11,0 0 13,0 0 1,0 0-2,0 0 0,0 0 12,0 0-9,0-3 10,0 3-1,0 0-8,0 0 11,0-2-11,0 2 7,0 0-3,3 0 4,-3 0-4,0-2 0,0 2 0,0 0 0,0 0-1,0 0 1,0-3 0,0 3-1,0 0 0,0 0 0,0 0 0,0 0-12,0-2 8,0 2-9,0 0 11,0 0 4,0 0-3,0 0 3,1-3-4,-1 3 4,0 0-3,0 0 3,0 0-13,0 0 6,0 0-5,0 0 8,0-2-14,0 2 10,0 0-11,0 0 18,0 0-4,0 0 4,0 0-7,0-2 4,0 2-3,0 0 2,0 0-2,0 0 6,0 0-4,0 0 6,0-3-7,0 3 1,0 0 0,0 0 2,0 0 0,0-2 0,0 2 3,0 0-5,0 0-5,0 0 2,0 0-15,0 0 16,0-2-9,0 2 10,0 0 1,0 0 0,0 0 0,0 0 5,0 0-6,0 0 6,0-3-7,0 3 0,0 0-3,0 0-38,0 0 25,0 0-68,0-3 18,0 3-86,0 0-124,0 0 49,0 0-13,0 0-44,0 0 217,0 0-128,0 0 200,0-2 0,-1 2 0</inkml:trace>
  <inkml:trace contextRef="#ctx0" brushRef="#br0" timeOffset="190">5490 3982 9038,'7'0'-84,"-4"0"447,-1 0-128,0 0-147,1 0-42,-1 0-120,3 0 35,-3-3 54,4-1 10,-2-2-20,1 2 54,0-4-60,0 1 64,2-5-49,-3 2-6,4-1-8,-1-2 15,0 1-31,0 0-25,1 0-2,-1 3 6,-2-1 23,0 3-34,-3-1 9,3 1-159,-5 4 92,3 2-111,-2-2 127,-1 3 39,-1 0 51,1 3 0,-3-2 0</inkml:trace>
  <inkml:trace contextRef="#ctx0" brushRef="#br0" timeOffset="191">1262 3837 9502,'-2'-3'-397,"2"3"292,0 0 44,0 0-107,0-2 318,0 2-77,0 0 170,0 0-141,0 2-48,0-2 7,-3 3-6,3-1 0,0-2-13,0 3 16,0-3-14,0 2 14,0 0-8,0-2 3,0 3-4,0-1-20,0 0 14,0 1-19,0-3 22,0 3 27,0-1-20,0 0 27,0-2-81,0 3 40,0-1-42,0 0 36,0 1 8,0-3-5,0 2 7,3 1-23,-3-1 14,0 0-24,0 1 27,0 0-16,0-1 11,0 0-13,0 1 24,2-1-13,-2 0 11,0-2-7,0 3 13,0-3-5,0 2 4,3-2-49,-3 3 26,0-3-24,0 2 34,0 0-55,2-2 37,-2 3-45,0 0 59,0-3-27,0 1 19,2 2-26,-2-3 49,0 3-24,0-3 21,0 2-18,3-2-5,-3 2 7,0-2-8,0 3-14,2-3 17,-2 0-15,0 2 25,0-2-24,2 0 16,-2 3-17,0-3 17,3 0 33,-3 2-26,0-2 24,3 0-12,-3 0-14,2 0 20,-2 2-25,0-2 1,0 0 0,2 0 1,-2 0-23,3 0 27,-3 0-27,0 0 34,2 3-86,-2-3 15,0 0-72,0 0 59,0 3-12,0-3 40,0 1-9,2-1 26,-2 0 1,0 3-6,0-3-2,0 0 30,0 0 19,0 3 4,0-3 5,3 0-41,-3 0 9,0 0-1,0 0 5,0 0 6,2 0-3,-2 0 0,0 0-45,0 2 31,0-2-33,0 0-8,0 0-15,0 0-31,3 0 46,-3 0-78,0 0 91,0 0-53,0 0 56,0 2 26,0-2-23,-3 0 34,3 0-24,0 0 32,0 3-16,0-3-8,-2 0 10,2 2-9,0-2 28,0 3-15,-3-3 18,3 0-30,0 2-2,-2 0 1,2-2 1,0 3 21,-2 0-15,2-2 17,-3 2-19,3 0-12,-2-1 8,2 0-10,0-2 3,-2 3 7,2-1-7,0 1 6,0-1-14,-3 0 10,3 1-10,0-3 25,-3 3-8,3-2 8,0 2-12,0 0 22,0-1-15,-2 0 17,2 1-21,0-1-4,0 1 4,-2-1-2,2 0-8,0 1 11,-3 0-11,3-2 13,0 2 4,0 0-4,0-3 3,-2 2-22,2 0 12,0-2-14,0 3 16,0-3-8,0 0 6,0 2-6,-2-2 7,2 0 7,0 3-5,0-3 6,0 0 6,0 2-9,-3 0 9,3-2-12,0 3 19,-2-3-13,2 2 17,0 0-27,0 1 8,-3-3-7,3 3 9,0-1-22,0-2 16,-2 2-16,2 1 18,-2-1-17,2-2 10,0 2-12,0-2 15,0 3 2,0-3-6,0 2 4,-3-2 0,3 0 0,0 3 4,0-3-5,0 2-5,0-2 4,0 0-3,0 2 1,-3-2 4,3 3-4,0-3 5,0 3-9,0-3 5,-1 2-6,1-2-9,0 2 11,0 1-13,0-3 15,0 2-1,-3-2 0,3 2 0,0 1 0,0-3 0,0 2 0,0 1-1,0-3 3,0 2-2,0-2 2,0 2-3,0 1 5,0-3-2,0 3 2,0-3-1,0 1-2,0-1 3,0 0-3,0 3-2,0-3 1,0 0-4,0 3-10,0-3 11,0 0-11,0 2 13,0-2 4,0 0-3,0 2 1,0-2-3,0 3 16,0-1-11,0-2 12,0 0-9,0 3-4,0-3 5,0 2-4,0-2 7,3 2-3,-3-2 4,0 3 45,0-3-39,1 0 44,-1 3-53,0-3 18,3 0-11,-3 1 12,0-1-18,3 3 6,-3-3-6,0 0 9,0 3-9,0-3 9,0 2-8,2-2 9,-2 0-34,0 2 22,0-2-23,2 3 27,-2-1 2,0-2-8,0 3 3,0-3-15,0 2 12,0-2-9,3 0 12,-3 2-12,0-2 9,0 3-11,0-3 3,0 0 5,2 3-7,-2-2 7,0-1 1,3 3-2,-3 0 2,0-1 23,0 0-17,0-2 16,2 3-22,-2-1 4,0 1 0,0-1 3,0 0-4,2-2 68,-2 3-49,0 0 55,0-3-86,0 1 20,3-1-17,-3 0 23,0 3-19,0-3 16,0 0-13,0 0-88,0 0 67,2 0-92,-2 0 82,0 3 1,0-3 1,0 0 17,0 0 0,0 0 1,0 2-5,0-2 51,0 0-37,0 0 40,0 0-23,2 2-16,-2-2 21,0 0-17,0 3 4,0-3 4,0 0-2,0 2 2,0-2-54,0 0 41,0 0-42,0 0 17,0 0 16,0 0-25,0 0 30,0 3-4,0-3 17,0 0-14,0 0 10,0 0-12,0 0 8,0 0-4,0 2 5,3-2 0,-3 0-6,0 0 10,0 0-9,0 2 6,0-2-3,0 3 0,0-3 41,0 0-30,0 3 33,0-3-42,0 1 45,0-1-30,0 0 33,0 3-39,0-3-15,0 3 13,0-3-12,0 0 18,0 2-38,0-2 32,0 0-29,0 0-5,0 0 25,0 2-32,0-2 24,0 0 1,0 0-8,0 0 6,0 0 4,0 3 2,0-3 0,0 0-2,0 2 9,0-2-6,0 0 9,0 3-6,0-3 1,0 0 0,0 2 0,0-2-1,0 0 1,0 2-1,0-2-1,0 3 0,-3-3 1,3 2-1,0-2 10,0 2-7,0-2 9,0 3-12,0-3 20,0 3-14,0-3 16,-2 2-19,2-2-3,0 2 2,0-2-1,0 0-23,0 3 21,0-3-22,0 2 27,0-2-20,0 2 13,0 1-14,-2-3 13,2 2 3,0 1-7,0-1 5,0-2 2,0 2-1,0 1 2,0-3-5,-3 3 10,3-2-7,0-1 9,0 3-4,0-3-2,0 3 3,0-3-3,0 2-1,0-2 1,0 0 0,0 2 2,0-2-2,0 3 2,-2-3-3,2 2 7,0-2-4,0 3 5,0-3-6,0 2 0,0-2 1,-2 2-1,2-2-3,0 3 2,0-3-2,0 3 1,0-2 1,0-1 0,-3 3 0,3 0-3,0-1 2,0-2-3,-2 2 3,2 1-2,0-3 1,0 2-1,0-2 1,0 3 1,0-1-1,0-2 1,-3 2 0,3-2 0,0 0 0,0 3 5,0-3-4,0 3 5,-2-3-6,2 1 16,0 2-11,0-3 12,-2 3-14,2-3 4,0 2-1,0-2 2,0 2-2,0-2-9,-3 3 7,3-1-7,0-2 0,0 3 5,-3-1-7,3-2 9,0 2-9,0-2 6,0 3-7,0 0 35,0-3-22,0 0 23,-1 1-27,1-1-2,0 3 3,0-3-2,0 0 4,0 3-9,0-3 9,0 0-9,-3 2 12,3-2-4,0 0 3,0 2-6,-3-2-2,3 0 0,-2 3-1,2-3-3,-2 2 3,2-2-4,0 3 5,0-3-2,-3 2 2,3 0-2,0-2 3,-2 3-1,2 0 0,0-3-2,0 1 1,0-1-1,-3 3 1,3-3 1,0 3 0,0-3 0,0 0 0,-2 2 0,2-2 0,0 2 0,0-2 0,0 0 0,-2 0 0,2 3 0,0-3 0,-3 0 0,3 2 0,0-2 0,0 3-8,0-3 6,-3 2-6,3-2-8,0 2 10,0-2-12,0 3 15,-1-3-6,1 3 4,0-3-6,0 1 6,0-1 8,0 3-5,-3-3 5,3 3-8,0-3 12,0 2-9,0-2 11,0 2-8,0-2-1,0 3 2,0-3 2,0 2-4,0 1 5,-3-3-5,3 2 2,0-2-2,0 2 1,0-2 0,0 3-5,0-1 3,-2-2-3,2 0 4,0 2-32,0 1 23,0-3-26,0 3 32,0-1-2,-2-2 0,2 2-2,0-2 5,0 3-4,-3-3 2,3 2 11,0-2-11,0 2 10,0 1-11,0-3 11,0 2-6,-2 1 9,2-3-4,0 2-5,0 0 7,0-2-6,0 3 0,-3-3 0,3 3-1,0-3 0,0 1 0,0-1 0,0 0 0,0 3-11,0-3 8,0 3-8,0-3 9,0 0-7,-2 0 4,2 2-5,0-2 11,0 0-3,0 2 3,0-2 1,0 0-4,0 3 5,0-1-6,0-2 13,0 3-8,0-1 8,0-2-10,0 2 7,2 1-3,-2-3 4,0 3-3,0-2 7,0-1-5,0 3 6,0 0-43,0-3 24,0 2-25,0-2 20,0 2 7,0 1-8,0-3 8,0 2 1,0-2-1,0 3 0,0-1-3,0-2-3,0 2-1,0 1-1,0-3-5,0 3 8,0-3-7,0 1 10,0 2-10,0-3 7,0 3-6,0-1 8,0 0 12,0-2-10,0 3 7,0-3 5,0 2-12,0 1 13,0-3-14,0 2 8,0 0-6,0-2 8,0 0-13,0 3 3,0 0-2,3-3 3,-3 0 3,0 1-1,0 2 0,0-3-2,0 3-4,0-3 1,0 2-2,2-2 6,-2 2-1,0-2 2,0 3-2,0-3-3,3 2 1,-3-2 1,0 0 0,2 3-5,-2-3 4,0 2-5,0-2 6,2 2 10,-2 1-8,0-3 14,0 3-14,0-3 4,0 1-5,3-1-1,-3 3 0,0-3 0,0 0 1,0 3 10,3-3-7,-3 2 9,0-2-9,0 2-19,1-2 14,-1 3-16,0-3 18,0 0-24,0 2 17,3-2-19,-3 3 19,0-3 2,0 0-3,0 2 3,0 0 0,3-2 0,-3 0-1,0 3 19,2-3-13,-2 3 15,0-3-18,0 0 18,0 1-11,2-1 14,-2 3-16,0-3-15,0 3 14,0-3-15,0 0 23,3 2-6,-3-2 5,0 0-4,0 2-2,2-2 2,-2 0-5,0 3 5,0-3-5,0 2 5,0-2-4,3 0 8,-3 0-5,0 3 5,0-3 2,0 0-7,0 2 9,0-2-8,0 0 4,2 2-4,-2-2 3,0 0-3,0 0-1,0 0 1,0 0 0,0 3 1,2-3 0,-2 0 0,0 0 1,0 0-23,0 2 15,3-2-17,-3 0 19,0 0-46,0 0 30,0 2-34,0-2 48,3 0-3,-3 0 0,0 0 20,0 3-18,0-3 19,0 0-23,0 0 33,0 3-23,1-3 25,-1 0-26,0 0-18,0 2 17,0-2-16,3 0 30,-3 0-11,0 0 9,0 2-10,0-2 4,3 0-3,-3 0 4,0 3-31,0-3 19,0 0-19,0 0 23,0 0-16,2 2 10,-2-2-13,0 0 16,0 0-12,0 0 10,0 0-15,0 2 24,0-2-12,0 0 12,0 0-14,0 0 23,0 0-17,0 3 17,0-3 3,0 0-14,0 2 19,0-2-22,0 0 15,0 0-11,0 0 14,0 3-15,0-3 28,0 0-19,0 0 19,0 2-23,0-2 1,0 0-1,0 0 2,-2 0-6,2 2 6,0-2-5,0 0-8,0 0 9,0 3-10,0-3 12,0 0-5,0 0 3,-3 0-4,3 3 4,0-3-2,0 1 1,0-1-2,0 0 3,-3 3-1,3-3 2,0 0-2,0 3-16,0-3 11,-1 0-11,1 2 13,0-2 2,0 0-3,0 2 2,0-2 4,-3 2-3,3-2 2,0 0-4,0 3 7,0 0-5,-3-3 6,3 0-2,0 2-2,0-2 3,-2 0-3,2 2 2,0-2-1,0 0 3,0 3-1,0-3-3,0 0 4,-2 0-4,2 2 7,0-2-5,0 0 6,0 0-7,0 0 22,0 0-16,0 0 17,0 2-25,0-2 5,0 0-5,2 0-2,-2 0 6,0 0-6,0 0 7,0 0-4,0 0 2,2 0-3,-2 3-4,0-3 6,0 0-6,0 0 4,3 0-39,-3 0 25,0 2-28,0-2 41,0 0-1,3 0 3,-3 0-6,0 0 10,0 3-7,0-3 7,0 0 1,1 0-8,-1 0 9,0 0-9,0 0 41,3 2-27,-3-2 30,0 0-31,0 0-32,3 0 25,-3 0-26,0 0-7,0 0 23,2 0-26,-2 0 34,0 0-19,2 2 12,-2-2-15,0 0-24,0 0 27,3 0-28,-3 0 32,0 0 20,0 0-19,2 0 18,-2 0-18,0 0 13,0 3-12,3-3 12,-3 0 11,0 0-15,0 0 21,0 0-25,0 0 18,2 0-11,-2 0 12,0 0-4,0 0-8,0 0 13,0 0-32,0 0 19,0 0-20,0 0 20,0 0-8,0 3 5,0-3-8,0 0 8,0 1 2,0-1-2,0 3 0,0-3 24,0 3-21,0-3 22,-2 2-34,2-2 7,0 2-5,-3-2 8,3 3 7,-2-3-5,2 2 8,0 1-8,-3-1 4,3-2-3,0 2 1,0 1-6,-2-3 2,2 0-2,-2 3 5,2-2-1,0-1 1,0 3-2,0-3-9,-3 3 7,3-3-6,0 2 8,0-2-37,0 2 27,-3-2-30,3 0 36,0 0-5,0 3 3,0-3-6,-1 2-2,1-2 2,0 0-3,0 3 4,0-1 12,-3-2-11,3 0 11,0 2 12,-3-2-15,3 3 18,0-3-22,-2 3 62,2-3-45,0 0 50,0 0-61,0 1 28,-2-1-17,2 3 17,0-3-16,0 0-4,0 0 7,0 0-3,0 3-16,0-3 12,0 2-16,0-2 30,0 0-10,0 0 10,0 2-17,-3-2-19,3 3 10,0-3-13,0 2 20,0-2-5,0 3 3,-2-3-4,2 2 2,0-2 3,0 2-3,-3-2 4,3 3 40,0 0-29,0-2 31,0-1-54,0 3 12,0-3-12,0 3 18,-2-3-12,2 2 11,0 0-12,0-2 13,0 3-28,0-3 19,0 2-21,-2 1-7,2-3 23,0 2-29,-3-2 33,3 2-4,0 1 1,0-3 1,-3 3 11,3-3-10,0 1 11,0-1-13,-1 3 6,1 0-2,0-3 3,0 2-4,-3-2 14,3 2-9,0 1 10,0-3-11,0 2 2,-3 1 2,3-3 0,0 2-2,0-2-3,0 2 0,0 1 29,0-3-19,0 2 21,0-2-28,0 2 7,0-2-4,0 3 4,0-3-2,0 0-7,0 3 6,0-3-3,0 0-11,0 0-360,0 2 264,0-2-265,0 0 368,0-2 0,3 2 0</inkml:trace>
  <inkml:trace contextRef="#ctx0" brushRef="#br0" timeOffset="192">5569 3873 9502,'3'-5'-733,"-3"5"798,2-2 162,-2 2-148,3-3-39,-3 3-57,2-2 17,0 2 95,-2-2-23,3 2 27,0-3-33,-1 3 65,0 0-45,3-3 58,-3 3-67,1 0-8,-1-2 3,3 2-9,0 0-34,-1 0 43,2 0-42,-2 0 58,1 0-68,0 0 38,3 0-43,-4 0-9,3 0-16,-2 2-16,2-2 18,0 3-3,-1 0 1,1-1-15,0 0-51,-2-2 76,-1 3-42,4-3 49,-3 0 20,0 0-19,2 0 17,-3 0-38,2 0 18,1 0-19,0 0 23,-2 0-53,2 0 39,0 0-41,-2 0 52,2-3-148,0 3 33,-2-2-103,0 0 62,2-1 85,-2 3 3,0-3 62,0 1 0,2-3 0</inkml:trace>
  <inkml:trace contextRef="#ctx0" brushRef="#br0" timeOffset="193">3547 4590 9502,'3'0'-126,"-1"0"197,1 0-101,-3 0 85,2 0-109,-2 0 32,0 0-3,2 2 42,-2-2 7,0 0 29,0 3 7,0-3 21,0 0-34,0 0 20,0 0-45,-2 0 1,2 0 24,-2 0-33,2 0 23,0-3-23,0 3-8,0-2 25,0-3-25,0 0 31,0 2-22,0-1 14,0-1-21,0 0-3,0 0 18,0 1-19,2-2 21,0-1-56,-2 3 33,3-4-38,0 4 49,-2-2-23,2 2 12,0-3-16,1 2 34,-1 0-6,-1-2 6,-2 2-4,5 0-8,-3 0 8,1-2-7,0 2-5,-2 1 6,2-2-5,0-1 9,-1 3-14,3-1 11,-3 0-11,1-3 14,-1 4-27,3-1 16,-3 0-19,3 0 17,-2 1 6,-1-2-7,3 5 6,-3-5-5,0 2 2,1 1-2,-1-2-4,3 3 4,-5 0-3,2-1 5,1 0 3,0 2-1,-2-2 3,-1 0-4,3 3-2,0-2 2,-1 0-3,0-1-2,1 1 1,-1-1-2,3 1 20,-3 0-11,3-4 13,-3 5-17,3-2 37,-2 0-27,1 1 30,-1 0-36,1-1 6,-1 1-5,0-1 9,-1 1-27,3 0 19,-3 2-19,1-3 16,-1 0 3,0 2-2,1 1 4,0-3 15,-2 0-12,5 1 7,-4 0-12,0 2 3,3-5-2,-2 2 4,-1 1-5,3 0 6,-2-1-4,1 1 9,-1 2-5,1-2 1,-1-1-1,2 0-1,-3 1-12,0 0 10,1 2-10,0-3 6,-2 3 2,5-2-5,-6 2 4,2-2-19,0 2 14,1-3-14,-1 3 18,1-2-6,-1 2 4,0-3-5,1 3 21,0-2-12,-2 2 12,2-2-16,0 2 2,-1-3 0,0 0 1,1 2 0,-1 1-9,1-3 7,-1 0-6,0 1-7,1 2 10,-1-2-11,0-1 14,1 3-20,0-2 13,-3-1-17,2 1 17,0 2-9,1-2 2,-1-1-2,-2 3 4,2-3 4,-2 2-3,3 1 3,-3 0-4,0-3 4,2 0-4,-2 3 5,3 0-2,-3-2 2,0 2-2,2-2 6,-2 2-3,0-3 3,0 3-5,0 0 20,0 0-14,0-2 15,2 2-18,-2-3-1,0 3 79,0 0-44,0 0 54,0 0-91,0 0 10,0 0-21,0 0 2,3 0 15,-3 0-17,3 0 21,-3 0 30,0 0-23,2 0 22,-2 0-9,0 0-17,2 0 18,-2 0-20,3 0-17,-3 0 15,2 0-11,-2 0 18,2 0-12,-2 0 6,3 0-7,-3 0-28,2 0 26,-2 0-30,3 0 29,-1 0-8,0 0-1,-2 0-2,3 0 16,0 0-3,-3 0 5,1 0-8,2 0 29,-3 0-19,3 0 22,-3 0-28,2 0 28,-2 0-20,2 0 24,1 0-12,-3 0-6,2 3 9,1-3-9,-1 0-2,-2 0 3,2 2-1,1-2-1,0 0-1,-3 0 0,1 0 0,2 0-21,-3 0 17,3 3-20,-1-3 23,-2 0-27,2 0 18,1 0-22,-1 0 19,-2 2 0,3-2-1,-1 0 2,0 0 2,-2 0-3,3 0 2,-3 0 1,3 2 0,-2-2 2,2 0-3,0 0-6,-3 0 5,2 0-4,0 0 6,1 0-8,-1 0 6,1 0-6,-1 0 0,0 0 5,1 0-6,0 0 6,-3 0-3,4 0 2,-4 0-2,5 0 1,-5 0 0,2 0 1,1 0 0,-1 0-5,1 0 3,-1 0-3,0 0 4,1 0-5,0 0 3,-2 0-3,2 0 6,2 0-1,-3-2 1,1 2-1,-1 0 2,3-2-3,-3-1 4,1 3-2,1 0-1,-1-2 2,2-1-2,-3 3 2,1 0 0,1-2 0,-1 0-1,-1 2-33,1-3 24,-1 0-25,0 3 17,1-1 9,0-2-12,-1 3 14,3-3 6,-5 3-5,2-2 5,0 0 3,1 2-8,-1-3 10,1 1-12,-3 2 8,2-3-6,0 3 7,1-2-3,-3 2 15,3-2-6,-2 2 10,2 0-14,-3-3-1,3 3-1,-1 0 0,0 0-3,-2-3 3,3 3-2,-1 0 0,-2-1 0,3 1 0,-3 0 1,2 0 34,-2 0-24,2 0 26,1 0-35,-3 0 2,0 0-2,3 0 5,-3 0-10,0 0 9,0 0-8,1 0 32,-1 0-18,0 0 21,3 0-25,-3 0 9,0 0-7,0 0 6,0 0-6,3 0-18,-3 0 13,0 0-15,2 0 17,-2 0-3,2 0 3,-2 0-2,3 0 0,-3 0 2,2 0-4,1 0-1,-1 0 25,-2 0-19,2 0 20,1 0-30,0 1 6,-2-1-5,-1 0 9,6 0-6,-6 3 3,2-3-2,0 0-2,1 0 6,-1 3-6,1-3 5,-1 0 20,0 2-15,4-2 16,-6 0-22,4 0-3,-1 2 2,-1-2 0,3 0 10,-3 3-1,1-3 1,1 0-1,-1 2-5,1-2 4,2 3-3,-4-3 2,3 0 4,-3 2-3,3-2 2,-3 0-14,3 0 7,0 2-9,-2-2-1,1 0 10,-1 3-10,1-3 10,-1 0 8,2 0-7,-3 0 6,0 3-8,4-3 13,-5 0-8,2 0 9,2 1-11,-3-1 0,1 3 0,-1-3 1,3 3-16,-3-3 11,1 0-11,1 0-2,-1 0 13,2 0-14,-3 2 15,3-2-12,0 0 5,-3 0-7,4 0 8,-5 0 0,5 0-2,-4 0 1,3 0-1,-3 0 1,3 0-2,-3 0 1,4 0-13,-5 0 12,2 0-12,2 0 14,-3 0-22,1 0 15,-1 0-16,3 0 12,0 0 4,-2 0-5,-2 0 3,5-2 10,-2 2-8,-1 0 5,2 0-4,-3-3 0,3 0-1,-2 3 2,1-1-2,1-2 2,0 3-1,0-3 10,-1 1-15,-1 2 13,1-2-13,2-1 4,-2 1 3,1-1-4,0 1 3,-3 2-11,3-2 8,0-1-7,-1 0 9,2 3-9,-2-1 6,-1-2-6,2 3 17,-1-3-8,2 1 8,-2 2 2,1-2-9,0 2 10,0-3-12,-1 3 16,2 0-11,-2-2 13,1 2-15,0 0 12,0-3-8,-1 3 11,2 0-12,-5 0 21,5 0-16,-2 0 16,-1 0-17,2 0 1,-3 0 1,3 0-1,-2 0-1,-2 0 3,5 0-3,-4 0-3,0 0 2,3 0-2,-2 0 4,1 0-6,-1 0 4,0 0-5,1 0 6,-1 0 17,-1 0-13,0 0 14,3 0-19,-2 0 2,1 0-1,-1 0 7,-1 0-3,0 0 4,4 0-4,-4 0 6,0 0-2,1 3 3,-1-3-5,3 0-3,-3 2 3,1-2-4,-1 3 2,0-1-13,1-2 9,0 2-19,1 1 19,-2 0-7,1-3 8,-1 1 7,0 2-6,1-3 5,2 0-8,-3 3 19,1-3-14,1 2 15,-1-2-18,2 0 56,-3 2-37,3-2 40,-2 0-33,1 3-21,-1-3 24,-1 2-25,0-2-9,3 3 11,-2-1-12,1-2 21,-1 2-31,0-2 21,1 3-27,-1-3 13,1 3 7,-1-2-9,2-1 9,-3 3-1,3 0-5,-2-1 2,1-2-5,1 2 9,-3-2-6,3 0 6,-2 3 27,1-1-20,2-2 21,-2 3-10,1-3-10,0 0 12,0 2-14,-3-2-7,3 2 5,-1-2-3,2 0 6,-2 0-14,1 3 10,0-3-11,0 3 13,-1-3 0,2 0 0,-2 1-3,1-1-9,0 3 2,0-3-3,-1 3 6,2-1-7,1-2 3,-3 0-4,1 2-4,0-2 10,0 3-10,-1-3 12,4 0 0,-3 0 0,0 2 0,-1-2 2,2 0-3,-2 0 4,3 0-5,-2 0 4,0 0-3,0 0 3,-1 0 1,2 0-2,-2 0 4,1 0-5,0 0 0,0 0-1,-1 0 0,2 0 2,-2 0-12,4 0 8,-6 0-9,3 0 3,-1 0 5,2 0-6,1 0 7,-2 0-9,-1 0 6,1 0-8,-3 0 9,6 0-9,-6 0 7,5 0-6,-2 0 19,-2 0-9,1-2 8,2 2-11,-2 0 12,1-3-8,0 1 10,0 2-11,-1-2-1,-1 2 1,1-3 1,-1 0-1,2 3 1,-3-1-1,3-2 1,-2 3 2,-1-3-2,3 3 1,-2-2-15,-2 0 7,2-1-8,0 3 10,-1-2 13,3-1-9,-3 3 9,1-2 0,-1 0-7,3-1 8,-2 0-9,1 2 9,-1-2-6,1 0 8,1 1-9,-2 0 7,1 2-6,2-5 9,-5 5-9,5-3 3,-2 1-3,-1 0 2,2-1-3,-1 3 1,-1-3 0,1 2-5,-1-2 4,2 0-3,-3 1 4,3 0-8,0-1 6,-3 1-7,3-1-1,-3-1 5,4 4-6,-2-6 8,-1 5 0,1-2 0,-1 0-1,2-1 1,-3 1 3,0 1-4,4-1 3,-4 1-1,0-3-2,3 3 4,-3 0-3,1-1-22,-1 0 16,1-1-16,-1 1 10,0 1 7,1-1-8,0-1 9,-3 1-4,1 1 2,2 0-4,-3-1 11,0 0-6,3 1 6,-1 0-9,-2-1 11,0 1-7,2 0 8,-2-1-6,3 1 14,-3-1-8,0 1 9,0 2-17,0-2 1,2-1-2,-2 0 4,0 2-4,0 1 4,3-3-3,-3 0 4,0 1-4,0 0 2,2-1-5,-2 3 10,0-2-4,0-1 4,2 3-6,-2-2 6,0 0-4,0-1 5,3 3-5,-3-3 9,0 2-4,3 1 5,-3-3-1,0 3-6,1-3 6,-1 3-6,0 0 3,0-2-2,0 2 4,3-2-4,-3 2 1,0-3 0,3 3-1,-3-2 0,0 2 0,0-3 0,2 3 0,-2 0 0,2-2 0,-2 2 0,0 0 3,3 0-3,-3-2 4,0 2-4,2 0 0,-2 0 0,0 0 0,3 0-23,-3 0 17,0-3-18,2 3 23,-2 0 9,0 0-8,2 0 7,-2 0-5,0 0-4,3 0 5,-3-3-6,3 3 12,-3 0-9,1 0 9,2 0-9,-3 0 2,3-1 1,-3 1 1,2 0-2,0 0-1,-2 0 2,3 0-1,-3 0-18,2 0 12,1 0-16,-3 0 20,2 0-2,-2 0 0,0 0-1,2 0 5,-2 0-5,3 0 4,-3 0-4,3 0 8,-2-3-6,-1 3 7,3 0-8,-3 0 5,3 0-2,-1-3 3,-2 3-1,2 0-1,1 0 1,-3 0-2,2-2-2,1 2 1,-1 0 1,-2-2-2,2 2 1,1 0-1,0-3 1,-2 1 0,-1 2-1,3-3 1,0 1 0,-1 0 0,0-1 0,1 0 0,-1 2 0,1-5 0,-3 4 0,4 0 0,-1-3 0,-1 0 0,-2 3 0,2-1 0,1-1 0,0 1 0,-1 0 0,-2-1 0,2 1 0,1 1 0,-1-1 0,-2-1 0,2 1 0,1 1-20,-3 0 14,2-4-15,-2 6 19,3-4 2,-1 1-1,-2 3 0,2-2-2,-2-1 4,3 1-3,0 0 4,-1 2 2,-2-3-6,2 1 6,1 2-6,-1-2 4,-2-1-2,2 3 3,1 0 7,-1-3-8,-2 3 9,3-2-10,-1 2 35,0 0-25,-2 0 27,3-2-32,0 2 30,-3 0-18,1 0 18,2 0-36,-3 0 7,3 0-5,-1 0 10,0 0-18,-2 0 12,3 0-15,-1 0 14,1 2 3,-1-2-3,0 0 0,1 2-4,1-2-2,-4 3-1,6-3 1,-4 0-3,0 3 2,3-3-2,-2 2 18,1-2-8,-1 2 10,1-2-12,-1 3 20,2-3-14,-3 2 16,3-2-6,0 2-8,-3-2 9,1 0-12,0 3-13,1-3 12,-1 0-10,-1 2 14,3-2-11,-3 0 8,1 0-10,-1 0 20,3 0-6,-2 0 3,-2 0-7,2 0 38,0 0-29,1 0 32,-1 0-33,-1 0-2,1 0 3,-1 0-2,0 0-24,1 0 19,-1 0-17,0 0 25,1 0-28,0 0 20,-1 0-23,3 0 10,-3 0 8,0 0-12,0 0 7,1 0-10,2 0 7,-3 0-13,3 0 15,-3 0-13,1 0 8,2 0-6,-1 0 9,-1 0 1,2 0 0,0 0 0,-3 0 0,3 0 1,-3-2 0,3 2 0,0 0 0,-2-3 1,-2 3-2,2-2-23,2 2 17,-3-2-18,1 2 23,2-3-9,-3 3 5,0-2-6,1 2 7,0-2 0,-2 2-3,5-3 3,-4 3 7,0 0-4,3-3 6,-2 3-10,-1 0 15,0-2-10,1 2 13,0 0-9,-2 0 0,2-2 1,0 2-3,-1 0-1,0 0 1,1 0-1,-1 0-2,1 0 1,-1 0 0,0 0 1,1 0-9,0 0 7,-2 0-8,2 0 3,0 0 3,-1 0-4,0 0 5,1 0 12,-3 0-10,2 0 10,3 0-12,-3 0 6,1 0-5,0 0 6,-3 0 1,1 0-4,2 2 5,0-2-4,-1 0 9,0 0-4,1 2 4,-3-2-5,2 0-9,1 3 7,-1-3-6,0 0 5,1 0 0,-1 3 0,-2-3 12,2 2-8,1-2 9,0 2-12,-3-2-2,4 0 2,-4 3-1,3-3 2,-1 2-8,0-2 6,-2 2-6,3-2 9,-1 3-26,-2-3 20,3 0-21,-1 2 23,-2-2-9,2 3 4,-2-3-5,3 0 5,-3 2 2,0-2-4,3 2 6,-3-2-3,0 0 3,2 0-1,-2 3 0,0-3-1,2 0 2,-2 3-1,0-3-7,0 2 7,0-2-7,0 0 8,0 0-2,0 0 1,0 0-1,0 2 2,0-2-2,3 0 2,-3 3 1,0-3-3,0 0 3,0 0-3,0 0 2,2 2-2,-2-2 3,0 0-2,0 0 1,0 2 0,0-2-23,0 0 15,2 0-16,-2 0-54,0 0-57,0 3-36,0-3-475,0 0 451,0 0-321,0 0 515,3 2 0,2-2 0</inkml:trace>
  <inkml:trace contextRef="#ctx0" brushRef="#br0" timeOffset="194">5388 4025 9502,'0'-2'-402,"3"-1"493,-3 3-22,0 0 25,2 0-18,-2-2 15,3 2-8,-3 0-19,2 0 16,3 0-18,-2-3 13,-2 3-24,2 0 26,2-2-24,0 2-12,0-2 22,2 2-31,-3-3-28,4 0-10,-1 2-20,0-5 26,3 4-25,-3-3-9,3 0-18,-1 1 26,-1-2-40,2 2 31,-3-1-101,0 0 92,0 0-167,-2 1 86,0 1-121,0 0 16,-3 2 49,0-2 34,-2 0 59,3 3 88,-6-2 0,3 2 0</inkml:trace>
  <inkml:trace contextRef="#ctx0" brushRef="#br0" timeOffset="195">5273 4170 9502,'0'-5'-162,"0"3"125,0-1 44,0 0-29,0 2 78,0-5-90,2 4 62,-2 0-94,0-3 85,2 2 3,1-1 40,1 1 0,-1-1 16,2-2-12,0 2 12,0-1-15,2-2-24,-3 2 17,2 0-21,1-2 5,0 2 14,-2 0-14,2-2 25,-2 5-34,2-4 22,-2 2-25,0-1-24,-1 0-13,4 0-9,-3 1 14,-1-2-2,-1 5-18,2-7 2,2 3 2,-3 0 0,-1 1-11,4-3-15,-2 4-51,0-2 17,0 0-7,-1 0 19,2 1 3,-4 1-10,3 0-16,-3 2-140,1-2 167,-1 3-103,0 0 167,-2 0 0,3 0 0</inkml:trace>
  <inkml:trace contextRef="#ctx0" brushRef="#br0" timeOffset="196">5217 4192 9134,'0'0'368,"0"2"-290,0-2-13,0 0 21,0 0-22,0 2 50,0-2-39,0 0 53,2 0-22,-2 0 7,3 0-1,0 0-13,-2 0 7,5 0-9,-2-2 11,4 0-39,2-5 10,-1-1-13,3-2 18,3-1-72,-1-2 51,3-2-49,0 1 25,0-2-12,-3 1-6,3-2-5,-5 3-89,0 4 17,-2 1-119,-1-1 104,-2 2-194,-1 4 81,-4-2-120,0 2-153,-2 4 140,0-3-174,0 3 287,-2 0 75,-3 0 129,1 0 0,-6 0 0</inkml:trace>
  <inkml:trace contextRef="#ctx0" brushRef="#br0" timeOffset="197">2114 4025 9502,'0'2'282,"0"-2"-39,0 0 653,-2 0-779,2 0-102,0 0 15,-3 0-94,3 0 10,0-2 17,-3 2-42,3 0 86,-1 0-74,-2 0 101,0-2-69,3 2 90,-2 0-31,2-3 26,-2 3-36,-1 0 22,3-2-15,-2 2 16,2 0-20,-3-3 6,1 3-1,0 0 7,2 0-47,-3-2 33,3 2-37,-3 0 49,2 0-59,1 0 40,-3 0-50,0 0 59,3 0-44,-2 0 31,0 0-38,2 0 33,0 0-5,-3 0 3,3 0-3,-2 0 15,2 0-10,0 0 10,0 0 43,0 0-37,0 0 42,-3 0-52,3 0 15,0 0-9,0 0 15,-2 0-15,2 0 5,0 0-4,-2 0-21,-1 0 15,3 0-15,0 0 22,-3 0-17,3 0 12,-1 0-17,1 0 18,-3 0-37,3 0 26,0 0-32,-3 0 36,1 0-12,2 0 9,-2 0-8,-1 0 3,3 0 10,-2 0-8,2 0 11,-3 0-5,3 0-2,-2 0 3,2 0-2,-2 0 0,2-2 1,-3 2-1,0 0-11,3 0 9,-1 0-9,1 0 9,-3 0-5,0 0 3,3 0-4,-2 0 4,0 0-7,2 0 3,-3 0-4,3 0 13,-2 0-4,-1 0 4,3 0 3,-2 0-5,2 0 6,-2 0-8,2 0 4,-3 0-1,0 0 2,3 0-3,-1 0-20,-2 0 15,0 0-15,3 0 19,-2 0-92,0 0 18,-1 0-84,3 0 93,-2 0 14,-1 0 52,3 2 0,-2-2 0</inkml:trace>
  <inkml:trace contextRef="#ctx0" brushRef="#br0" timeOffset="198">1614 4054 8670,'0'2'25,"0"-2"0,0 0-3,0 0 3,0 3-13,0-3 5,0 0-6,-2 0 6,2 0-1,0 0 75,0 0-51,0 0 59,0 2-45,-3-2-20,3 0 23,0 0-29,0 0 69,0 0 33,0 0 54,0 0-9,0 0-47,0 0 539,-2 0-487,4 2 469,-2-2-598,0 0-22,0 0-22,3 0-6,-3 0 26,2 0-3,1 0-6,-1 0-30,-2 0 20,2 0 24,4 0 26,-6 0-34,4 0 27,-1 0 11,-1 0-10,3-2 18,-3 2-22,1 0-23,1 0 19,-1 0-14,0 0-24,-2 0 37,2 0-33,0 0-11,-1 0-11,0-2-15,1 2 16,-1 0-13,3 0-7,-5 0-19,5 0 20,-5 0-11,3 0-3,-2 0-17,2 0 17,0 0-18,-1 0 43,0 0-47,1 0 35,-1 0 4,1 0-9,-1 0 12,0 0-31,1 0 18,-1 0-19,0 0-9,-2 0 25,3 0-26,0 0 28,-1 0 28,0 2-18,1-2 15,-1 0-25,-2 0 64,2 0-48,1 2 126,-1-2-109,1 0 52,-3 0-60,2 0 51,0 0-28,1 0 37,0 0-42,-2 0-4,-1 0 11,3 0-6,0 0 9,-3 0-19,2 3 17,0-3-16,1 0 0,-3 0 6,2 0-10,1 0 66,-1 0-40,-2 0 42,2 0-55,1 0 58,-3 0-41,3 3 43,-2-3-48,2 0 6,-3 0 2,3 0 2,-3 0 5,2 0-34,0 0 29,1 0-26,-3 0-19,2 0 30,1 0-37,-3 0 3,2 0 25,-2 0-28,2 0 29,-2 0-15,3 0 6,-3 0-11,3 0 13,-2 0 2,2 0-4,-3 0 3,3 0 10,-1-3-6,0 3 7,-2 0-9,3 0 5,-1 0-2,-2 0 4,3 0-10,-1 0 4,0 0-3,-2 0 5,3 0-7,0 0 5,-3 0-5,1 0 5,2-3-5,0 3 4,-1 0-6,-2 0 6,2 0-3,-2 0 3,3 0-4,-1 0 3,-2 0-1,3 0 1,-3 0-14,2 0 10,0 0-11,-2 0 14,3 0-19,-3 0 13,3 0-14,-3 0 17,1 0-3,-1 0 2,3 0-5,-3 0 15,3 0-9,-1-2 9,-2 2-12,2 0 19,-2 0-14,3 0 15,-3 0-12,2 0-3,1 0 5,-3-2-4,2 2 2,-2 0-1,2 0 3,-2 0-2,3 0 0,0 0-1,-3 0 0,1 0 0,-1 0-1,3-3 1,-3 3-1,3 0 1,-3 0 0,2 0-1,-2 0-1,0 0 1,2 0-1,-2 0 2,3-2-20,-3 2 14,2 0-15,-2 0 19,0 0-18,3-2 12,-3 2-14,2 0 17,-2 0-16,2 0 10,-2 0-11,3 0 25,-3-3-7,2 3 8,-2 0-12,2 0 15,-2 0-10,3-2 13,-3 2-7,3 0-3,-3 0 5,0-3-5,2 3 4,-2 0 0,2 0 2,-2-2-3,0 2-27,3 0 20,-3 0-22,2 0-21,-2-2 32,0 2-37,2 0 45,-2 0-30,3-3 22,-3 3-27,0 0 47,2 0-18,-2-3 17,0 3-23,3 0 19,-3 0-16,0 0 17,2-1 3,-2 1-13,0 0 17,2 0-19,-2 0-33,3-3 25,-3 3-24,0 0-36,3 0 49,-3-3-53,0 3 62,0 0 20,1 0-19,-1 0 16,0 0-28,3-2 39,-3 2-32,0 0 32,0 0-7,3 0-17,-3-2 18,0 2-23,0 0 6,0 0 2,0 0 2,2 0-23,-2-3 13,0 3-14,0 0 22,0 0-31,0 0 22,0-2-30,2 2 33,-2 0-76,0 0 53,0 0-59,0-3 68,3 3-5,-3 0-1,0 0 0,0 0 22,0-2-18,2 2 21,-2 0 49,0 0-54,0 0 60,0 0-73,0 0 47,0 0 9,0-2 309,0 2-206,0 0 196,0 0-272,0 0-8,0 0-26,0 0 13,-2 2-11,2-2 20,-3 0-26,3 2 16,0-2-28,-2 0 33,2 3-31,0-3 22,-2 0-28,2 2-17,0-2 27,-3 3-31,3-3 20,-3 0 16,3 2-17,-1 0 17,-2-2-28,3 0 19,-3 3-24,1 0 25,0-2-15,-1-1 6,1 3-7,-1 0 8,-1-1-39,1 0 26,-1 1-29,1-1-126,-4 1 39,4-1-116,-1 0-292,-1 1 376,0-1-271,0 0 437,2 1 0,-1 0 0</inkml:trace>
  <inkml:trace contextRef="#ctx0" brushRef="#br0" timeOffset="199">1419 4399 8355,'-2'-3'-74,"2"3"75,0 0-38,0 0 42,0 0 4,0 0-3,0 0 4,0 0-6,-3 0 79,3-1 27,0 1 47,0 0 28,0 0 109,0 0-128,0 0 83,0 0-197,0 0-24,0 0 6,0-3-9,0 3-16,0 0 27,0-3-30,0 3 34,3 0 9,-3-2-6,0 2 11,2-2 3,-2-1-11,2 3 11,1-2-15,-3 2 14,3-3-5,-3 3 7,1-2-29,-1 0-11,3 2 3,0-3 9,-3 3-8,2-3 20,0 2-24,-2 1-25,3 0 33,-3-3-37,2 3 44,-2-3 20,3 3-17,-1 0 13,-2 0-21,0-2 22,2 2-16,-2 0 19,3 0-23,-3-2-27,0 2 21,0 0-15,3 0-38,-3 0 48,0 0-52,1 0 31,-1-3 20,0 3-23,0 0 28,0 0-53,3 0 36,-3 0-50,0-2 53,3 2-13,-3 0 10,0 0-9,2-3 6,-2 3 33,0 0-23,2 0 30,-2-2-31,3 2 0,-3 0 3,0 0-13,0 0-15,2-2 12,-2 2-11,0 0 10,0-3 8,0 3-11,3 0 14,-3 0-21,0 0 10,0-3-14,2 3 16,-2 0-7,0-1 6,0 1-10,2 0 12,-2-3-5,3 3 5,-3 0-3,0-3-11,2 3 9,-2-2-7,0 2 7,2 0 2,-2-2-3,0 2 2,3-3 2,-3 3-2,0 0 2,0-2-3,3 2 13,-3-3-9,0 1 10,2 2 4,-2 0-11,0-2 14,2 2-17,-2-3 26,0 3-17,0-3 21,3 3-28,-3-1 5,2 1-4,-2-3 5,0 3-9,0-3 8,2 3-9,-2-2 9,0 2-2,0 0 1,3-2-1,-3 2-11,0-3 8,0 3-11,0-2 12,0 2 14,0-3-9,0 3 12,2-2-8,-2 2-5,0-2 7,0 2-7,0-3 15,0 3-10,0 0 11,0-2-15,0 2 14,0 0-8,0-2 12,0 2-7,0-3-3,0 3 3,0-3-5,0 3 1,0 0 1,0-2-1,0 2-27,0 0 18,0-2-18,0 2 26,0-3-61,0 3 44,0 0-52,0-2 61,0 2-35,0 0 24,0 0-28,0-2 34,0 2-10,0 0 8,0 0-9,0-3 10,0 3-9,0 0 8,0-2 8,0 2-10,0 0 13,0 0-15,0 0 195,0 0-140,0 0 149,0 0-215,0 0 21,3 0-22,-3 0 24,0 0 2,0 0-3,0 0-2,0 0 56,2 0-43,-2 0 45,0 0-51,0 0 5,0 0 1,0 0 2,2 0 1,-2 0-32,0 0 28,3 0-28,-3 0 1,0 0 18,3 0-22,-3 0 28,0 0-28,0 0 19,1 0-26,-1 0 15,3 0 2,-3 0-5,0 0 7,3 0-13,-3 0 9,2 0-11,-2 0 16,2 0 1,-2 0-1,3 0 0,-3 0-4,2 0 3,-2 0-3,3 0-12,-3 0-3,2 0-1,-2 0 2,0-3-6,2 3 13,-2 0-16,3 0 18,-3 0 4,3 0-3,-3 0 4,0-2-7,1 2 22,-1 0-16,3-2 16,-3 2-9,3 0-7,-3 0 9,0-3 8,0 0-11,2 3 15,-2-1-19,0 1 14,0-3-10,2 3 11,-2-3-11,0 1 4,0 0-3,0-1 3,0 3-3,3-2 14,-3-3-10,0 5 11,0-5-13,2 2 1,-2 2 0,0-2-3,3 0 2,-3 1-2,0-3 3,0 3-6,0-1 4,2-1-3,-2 1 5,0 0-30,0 2 20,0-5-22,0 4 28,0 0-19,0-1 13,2 1-17,-2-1 25,0 1-8,0 0 8,0-1-3,0 0-3,0 3 3,0-1-5,0-2 13,3 0-8,-3 1 10,0 2-13,0-2 12,0-1-8,2 3 12,-2-2-12,0-1 5,0 1-4,0 0 4,2-1-7,-2 3 2,0-3-2,0 2-6,0-2 6,0 3-7,3-3 9,-3 1 0,0 2 0,0-2-1,0 2-1,0-3 5,2 3-4,-2-2 4,0 2-5,0-3 5,0 1-2,3 2 2,-3-2 1,0 2-4,0-3 4,0 1-2,2 2 0,-2-2 0,0 2-1,0-3-29,0 3 21,2-3-22,-2 1 27,0 2-20,0-2 13,0 2-13,0 0 14,0-3-19,0 3 10,0 0-12,0-2 34,0 2-10,0 0 9,0 0 8,0-3-19,3 3 21,-3 0-23,0-2 20,0 2-13,0 0 15,0-2-13,0 2 4,0-3 1,0 3 0,0 0-2,3-2-19,-3 2 14,0 0-14,0-2-45,0 2 44,0 0-51,1 0 43,-1-3 9,0 3-11,0 0 12,0 0-14,0-3 4,0 3-9,0 0 12,0 0 28,0 0-26,0 0 25,0 0 2,0-2-5,0 2 19,0 0 0,0 0-25,0 0 20,0 0-9,0-2-6,0 2 10,0 0-11,0 0 4,0 0-3,0 0 2,0 0 43,0 0-17,3-3 23,-3 3-10,0 0-29,0 0 46,0 0-30,0 0 16,0 0 12,0 0-32,0 0 28,3 0-32,-3 0-19,0 0 14,0 0-16,0 0 20,0 0 0,2 3 2,-2-3 56,0 0-40,2 0 41,-2 0-56,0 0 15,3 0-8,-3 0 11,0 0-12,2 0 63,-2 2-47,3-2 56,-3 0-62,2 0 0,-2 0 2,2 2 1,-2-2-33,3 0 36,-3 0-35,3 0 30,-3 0-1,1 0-8,-1 3 7,3-3 27,0 0-22,-3 0 22,2 0-31,0 0 16,-2 0-11,3 0 16,-1 0-11,-2 0-1,3 0 4,-1 0-7,0 0-54,-2 0 44,3 0-45,0 0 19,-3 0-16,1 0-3,2 0 1,-3 0-24,3 0 35,-3 0-41,2 0 48,0 3-17,-2-3 6,3 0-10,-1 0 12,1 0 19,-1 0-19,-2 0 17,2 0 30,1 0 15,0 0 4,-3 0-10,1 0-37,2 2-3,-3-2 8,3 0-31,-3 0 25,2 0-25,0 0 32,1 0-73,-1 0 51,-2 2-57,3-2 46,-3 0 4,2 0-14,0 0 15,-2 0-2,3 0 1,-1 0-3,0 0 13,-2 0-5,3 0 8,0 0-11,-3 0 6,2 0-3,0 0 6,-2 0-7,3 0-25,-1 0 19,0 0-20,-2 0-28,3 0 37,-3 0-40,2 0 48,1 0-19,-1 0 9,-2 0-13,2 0 30,4 0-7,-6-2 6,1 2-12,2 0 37,0 0-27,-1 0 32,0 0-40,3 0 52,-5 0-35,5-2 43,-3 2-19,1 0-17,-3 0 22,4 0-23,-1 0-1,-3 0 5,3 0-3,-1 0 3,0 0-54,1 0 39,-3 0-39,2 0 12,1 0 25,-1 0-28,-2 0 33,2 0-43,1 0 24,-3 0-29,3 0 54,-3 0-13,1 0 16,2 0-26,-3 0 35,3 0-26,-3 0 29,2 0-1,0 0-19,1-3 23,-3 3-24,2 0 11,1 0-5,-3 0 8,2 0-7,0 0-1,-2 0 2,3 0-2,0 0 0,-2 0-2,-1 0 1,3 0-1,0 0-1,-1 0 2,0 0-2,1 0 1,-3 0 0,2 0 0,1 0 0,-1 0 6,0 0-4,-2 0 4,3 0-5,0 0-2,-2 0 2,-1 0-1,3 0 10,-3 0-7,3 0 8,-1 0-9,0 0 42,-2 0-30,3 0 33,-1 0-51,-2 0 10,3 0-9,-1-3 13,-2 3-18,2 0 15,1 0-16,0 0 18,-2 0-9,2-2 7,-3 2-7,3 0-1,-1-2-1,0 2-3,1 0 3,-3 0-1,2 0 4,1-3-5,-1 3 2,0 0 3,1 0-2,-3-2 2,2 2-3,0 0 3,1-2-3,-3 2 3,3 0-3,-1 0 2,-2-3-1,2 3 1,-2 0 0,3-2 0,-1 2 0,-2 0-10,2-3 7,-2 3-7,3 0 6,-3-2 2,2 2-4,-2 0 5,3 0 1,-3-2-1,2 2 0,-2 0-1,2 0-8,-2-3 6,3 3-7,-3 0 8,0 0-38,3 0 27,-3-3-31,0 3 38,1 0-3,-1 0 1,0-1 7,3 1-5,-3 0 3,0-3-6,0 3-18,3-3 15,-3 3-14,0 0 16,0-2-24,0 2 18,0 0-17,0-2 6,0 2 11,2 0-13,-2 0 12,0-3-1,0 3-1,0 0 0,0 0 15,0-2-9,0 2 6,0 0-10,0-3 13,0 3-7,0 0 12,0 0-12,0-2 10,0 2-6,0 0 7,0 0-126,0 0-31,0 0-115,0 0 0,0 2 1</inkml:trace>
  <inkml:trace contextRef="#ctx0" brushRef="#br0" timeOffset="200">2116 4025 9950,'0'0'430,"0"2"-350,0-2 73,3 0-114,-3 0 28,0 0-30,0 0 35,2 0-11,-2 0 22,0 0-17,0 0 18,0 3-51,3-3 25,-3 3-29,0-3-19,0 0-15,0 1-7,0-1 11,0 3-11,0-3-8,0 0-11,0 3-5,0-1 57,0-2-11,0 2 6,0 1 23,0-3-21,0 2 19,0 1-24,0-3 56,0 4-42,0-4 45,-3 3-45,3-1 45,0 0-22,0 1 27,0-3-16,0 3-22,0-1 31,0 0-28,-2-2 13,2 3-11,0-1 7,0 0-51,0-2-2,-3 3-10,3-3 11,0 2-24,0-2 37,0 0-40,0 3 46,0-3-18,-2 0 0,2 2-9,0-2 7,0 0-22,0 2 16,0-2-27,0 3 39,0-3-7,-2 0 5,2 3-4,0-3 1,0 2-1,0-2 5,0 0 34,0 2-24,0-2 26,-3 3-34,3-3 38,0 2-27,0-2 32,0 2-38,0-2 11,0 3-8,0-3 12,0 2 3,-3-2-3,3 3 6,0-3-32,0 0 13,0 2-14,0-2 20,0 2-37,0-2 26,-1 0-32,1 3 38,0-3-16,0 0 11,0 3-14,0-3 87,0 0-55,0 1 58,0-1-72,-3 0 26,3 3-17,0-3 20,0 0-41,0 3 12,0-3-6,0 0 15,0 2-43,0-2 30,-3 2-31,3-2 43,0 0-44,0 3-17,0-3-11,0 2 15,0-2 2,0 0 29,-2 3-43,2-3 41,0 2-15,0-2 14,0 0 4,0 2-3,0-2 4,0 3-7,0-3 36,0 0-26,0 3 31,0-3-31,-2 1 45,2-1-26,0 3 28,0-3-28,0 0-8,0 3 11,0-3-24,0 0 11,0 2-13,0-2 16,0 0-19,0 2 14,0-2-15,0 3 15,0-3-6,0 2 1,0-2-3,0 3 0,0-3 23,0 2-19,0-2 17,0 0-17,0 2 2,0-2 0,0 0-6,0 3 6,0-3-6,0 0 8,0 0 3,0 3-2,0-3 3,0 0-5,0 0-5,0 1 4,0-1-4,0 0 3,0 3 3,0-3-5,0 0 4,0 3 48,0-3-35,0 0 39,0 0-27,0 0-12,0 2 15,0-2-15,0 0-4,2 0 4,-2 0-2,0 2 3,0-2-32,0 0 26,0 0-27,0 0 33,0 0-13,0 3 5,0-3-7,0 0 15,0 2-4,0-2 1,0 0-6,0 0-3,0 3 2,0-3 1,0 0 10,0 0-6,0 2 7,2-2-10,-2 0 46,0 2-31,0-2 35,0 0-43,0 0-5,0 0 3,0 3-3,0-3 15,0 0-4,0 0 5,0 3-3,3-3-29,-3 0 22,0 0-21,0 0-19,0 1 32,0-1-39,0 3 44,3-3-38,-3 0 28,0 3-33,0-3 35,0 0-2,0 2 1,1-2 0,-1 0-2,0 2 0,0-2 1,0 3 0,0-3-3,0 0 2,0 2-1,3-2-6,-3 0 5,0 3-6,0-3 8,0 0-6,0 2 5,0-2-6,0 0 30,0 2-18,3 1 19,-3-3-26,0 0 1,0 3-1,0-3 1,0 0 3,0 1-1,0-1 2,2 3 0,-2-3-7,0 3 6,0-3-6,0 0 7,0 2-37,0-2 25,2 2-28,-2-2 25,0 0 2,0 3-4,0-3 1,0 2 21,3-2-14,-3 3 12,0-3 2,0 2-13,0-2 14,2 0-15,-2 2 8,0-2-3,0 0 4,0 3-1,0-3-5,0 0 7,3 2-6,-3-2-4,0 0 3,0 0-6,0 2 8,0-2-9,0 0 7,0 0-9,2 3 4,-2-3 3,0 0-3,0 0 3,0 0-1,2 3 0,-2-3 0,0 0 1,0 0 0,3 2 0,-3-2 0,0 0 0,0 2 0,0-2 0,2 0 0,-2 3 11,0-3-9,0 0 10,0 2-11,2-2 40,-2 0-28,0 2 32,0-2-47,3 3 7,-3-3-7,0 0 11,0 0-15,0 2 12,0-2-12,3 0 14,-3 0-8,0 3 5,0-3-7,0 0 7,0 0-2,2 0-1,-2 2-37,0-2 24,0 0-26,0 0 35,0 2-40,2-2 29,-2 0-33,0 0 41,0 3-3,0-3 0,0 3-3,0-3 1,3 1 24,-3-1-17,0 0 16,0 3-4,0-3-16,0 0 18,0 0-15,0 3 22,2-3-10,-2 0 14,0 0 18,0 0-30,0 0 33,0 0-39,0 2-3,2-2 2,-2 0-4,0 0-35,0 0 32,0 0-34,0 0 41,0 0-59,0 0 40,3 2-44,-3-2 51,0 0 3,0 3-9,0-3 6,2 0 8,-2 2-6,0-2 4,0 0-11,0 3 24,0-3-17,0 0 23,0 0-26,0 2 25,0-2-19,0 0 24,0 0-15,0 0-1,0 2 3,3-2-4,-3 0-3,0 0 3,0 0-3,0 0-4,0 3 3,0-3-4,0 0 5,0 0-8,0 0 5,0 0-4,0 3-7,0-3 9,0 0-10,0 0 11,0 0-13,2 1 10,-2-1-12,0 0 21,0 0-7,0 0 6,0 3-8,0-3-11,0 0 7,0 0-8,0 3 9,0-3 15,0 0-11,0 0 11,0 2 2,0-2-10,0 0 12,0 0-14,2 0-1,-2 0 1,0 0 0,0 2-23,0-2 17,0 0-18,0 0 24,0 0 6,0 0-5,0 0 5,0 3-9,0-3 6,0 0-6,0 0 5,0 0-7,0 0 0,0 2-2,0-2 1,3 0-1,-3 0 4,0 0-1,0 0 2,0 3-20,0-3 15,0 0-17,0 0-15,0 0 24,0 0-26,0 0 29,0 2 4,0-2-7,0 0 6,0 0-5,0 0 19,3 0-18,-3 0 16,0 2-22,0-2 44,0 0-27,0 0 53,0 0-47,0 0 15,0 0-1,0 3-15,0-3 19,0 0-20,0 0-15,0 0 11,0 0-13,0 0 18,0 3-8,0-3 5,0 0-8,0 0 8,0 0 3,0 0-3,0 0 7,0 1-1,0-1-1,0 0 0,0 0 15,0 0-14,0 3 16,0-3-19,0 0 8,0 0-6,0 3 9,0-3-10,0 0 5,0 0-4,0 0 2,0 0-2,0 2 1,0-2-1,0 0-1,0 0 1,0 0-2,0 0 3,0 2-7,0-2 5,-3 0-5,3 0 5,0 0-3,0 0 2,-3 3-2,3-3 4,0 0-1,0 0 2,0 0-2,0 0-7,-2 2 5,2-2-6,0 0-1,0 0 7,0 0-8,-2 0 9,2 3 13,0-3-9,0 0 9,0 0 19,0 0-23,0 2 25,0-2-17,0 0-6,0 0 0,0 0-4,0 0-8,0 0 11,0 0-14,0 0 12,0 2-12,0-2 10,0 0-9,0 0 4,0 0-5,2 0 2,-2 3-50,0-3 33,0 0-36,0 3 47,2-3-20,-2 0 11,0 1-15,0-1 26,3 0-1,-3 3 0,0-3-5,3 3-13,-3-3 9,0 2-9,0-2 41,1 0-22,-1 2 22,0-2-24,0 0 9,3 0-2,-3 3 6,0-3-9,3 0 23,-3 0-16,0 0 18,2 2-21,-2-2 9,0 0-2,0 0 10,2 0-11,-2 0 2,0 3-3,0-3 51,0 0-36,0 0 39,3 0-50,-3 0 17,0 2-9,0-2 12,0 0-22,0 0 4,0 0-1,0 0 4,2 0-37,-2 0 26,0 2-28,0-2-3,0 0 30,0 0-34,0 0 36,0 3-33,0-3 18,0 0-28,0 0 32,0 0 7,0 0-2,0 0 3,0 3-8,0-3 22,0 0-15,0 0 18,0 1-7,0-1-8,0 0 9,-2 3 7,2-3-15,0 0 20,0 3-22,0-3 0,0 2 1,0-2-2,-3 2 4,3-2-17,0 3 12,0-3-14,0 2 18,-2 1-14,2-3 9,0 2-12,0 0 14,0-2-4,-2 3 2,2 0-16,0-3 11,-3 1-11,3 2 14,0-3-14,0 3 10,0-3-11,0 2 13,-3-2-44,3 2 32,0-2-35,0 3 42,0-3-22,0 2 14,0 1-19,-1-3 48,1 2-23,0-2 22,0 2-28,0-2 19,0 3-13,0-1 17,0-2 36,0 2-37,0 1 42,0-3-43,0 3 9,0-1-5,0-2 13,0 2-12,0-2-1,0 3 3,0-3-8,0 2-11,-3-2 10,3 0-11,0 2 14,0-2-5,0 0 3,0 3-6,-3-3 6,3 2-4,0-2 3,0 0-3,0 3-14,0-3 12,0 2-12,0-2 14,-2 2-19,2 1 13,0-3-14,0 0 17,0 3 1,0-2-2,0 2 30,0-3-23,0 3 23,0-3-29,0 2 17,0 0-11,0-2 14,0 3-15,0-3 4,0 2 2,0 1-1,0-3 4,0 0-7,0 2 7,0-2-7,0 2 6,0-2-10,0 0 7,0 3-12,0-3 9,0 0-3,0 0 2,0 3-15,0-3 10,0 0-10,0 0 15,0 1-22,0-1 15,0 0-17,0 3 19,0-3 1,0 3-2,0-3 2,0 2 0,0-2-2,2 2 1,-2-2 11,0 3-8,0-3 10,0 2-13,0-2 34,0 0-24,0 3 29,0-3-35,0 0 9,0 2-6,0-2 7,0 0-6,0 2-3,0-2 2,0 0 0,0 3-32,0-3 26,0 0-28,3 0 22,-3 0 7,0 3-10,0-3 11,0 0-12,0 0 8,0 1-11,0-1 12,0 0 5,0 0-2,3 3 4,-3-3-8,0 0 14,0 0-9,0 0 12,0 3-9,0-3-2,0 0 2,0 0-3,1 2 6,-1-2-2,0 0 2,0 0 0,0 0-5,0 2 5,0-2-4,0 0 1,0 0-1,0 0 1,0 0-1,0 0-20,0 0 14,0 3-15,0-3 21,3 0-3,-3 0 3,0 0-3,0 0 0,0 0-2,0 0-1,3 0-10,-3 0 7,0 0-6,2 0 11,-2 0-49,0 2 32,0-2-35,2 0 42,-2 0-18,0 0 13,0 0-18,3 0 13,-3 0 4,0 0-9,2 0 9,-2 0-5,3 0 4,-3 0-6,0 0-17,0 0 14,2 0-14,-2 0 25,2 0-27,-2 0 16,0 0-18,3 0 16,-3 0-5,0 3 2,3-3-4,-3 0 32,1 0-16,-1 0 17,0 0 9,3 0-23,-3 0 26,3 0-32,-3 0 36,0 0-23,0 0 27,2 0-27,-2 0 14,0 0-7,2 0 10,-2 0-9,0 0 21,0 0-10,3 0 11,-3 0-4,0 0-15,0 0 15,2 0-10,-2-3-1,0 3 3,3 0-5,-3 0 1,0 0 0,2-2 1,-2 2-2,0 0 1,0 0 0,0 0-1,2 0-1,-2 0 1,0 0 0,0 0 0,3-3 0,-3 3 0,3 0 0,-3 0 2,0 0-1,0 0 1,1-2-1,-1 2 10,0 0-8,0 0 9,3-2-11,-3 2 20,0 0-13,3-3 16,-3 3-23,2 0 4,-2-3-3,0 3 5,2 0 35,-2-1-23,0 1 24,3 0-29,-3-3-4,2 3 5,-2 0-1,0 0-24,3 0 17,-3-3-19,0 3 23,2 0-23,-2-2 16,2 2-17,-2 0 21,3 0 8,-3-2-7,0 2 3,3 0-5,-3-3-5,0 3 4,1 0-4,-1 0 1,3 0 4,-3 0-2,3 0 12,-3-2-8,0 2 7,2 0-8,0 0-14,-2 0 10,3 0-13,-3-3 16,0 3-17,2 0 12,-2 0-14,3 0 12,-3-2-3,2 2 0,-2 0 6,0 0 0,2 0 2,-2 0-4,3 0-2,-3 0 2,3 0 0,-3 0 0,0 0 0,1 0 2,-1 0-1,3 0-2,-3 0-32,3 0 22,-3 0-23,0 0 28,2 0 1,0 0-4,-2 0 10,3 0-7,-1 0 7,-2 0-8,3 0 6,-3 0-5,2 0 5,-2 0-5,2 0-3,-2 0 4,3 0-3,-3 0 6,3 0-22,-2 0 18,-1 0-18,3 0 14,-3 0 3,3 0-6,-1 0 5,0 0 28,-2 0-21,3 0 21,-3 0-12,2 0-11,1 0 13,-3 0-14,2 0 10,-2 0-2,2 0 4,-2 2-2,3-2-33,-3 0 26,0 0-26,2 0 14,-2 0 9,0 0-14,2 0 17,-2 0-4,0 0 2,3 0-6,-3 0 20,3 0-16,-3 0 16,2 3-17,-2-3 11,2 0-7,-2 0 9,3 0-2,-3 0-5,2 0 10,-2 0-20,0 0 11,2 0-10,1 0 10,-3 0 5,2 0-4,-2 2 3,3-2-5,-1 0 7,-2 0-5,2 0 5,1 0-7,-3 0-50,3 0-12,-2 0-4,-1 0 14,3 0-75,0 0 26,-1 0-40,0 0 72,1 0 68,-1 0 0,3-2 0</inkml:trace>
  <inkml:trace contextRef="#ctx0" brushRef="#br0" timeOffset="201">1607 4059 8746,'0'0'431,"0"2"-228,0-2 77,0 0-124,0 0-85,0 0 33,0 2-45,0-2 16,0 0-15,0 0 20,0 3-58,0-3 44,0 0-48,0 3 46,0-3-37,-2 2 29,2-2-36,0 2 43,0 1-42,0-1 26,-3 0-28,3 1 11,0-1 7,-3 1-11,3-1-12,-1 0 22,1 1-22,0 0 31,-3-1-46,3 3-5,0-3-13,0 0 13,-3 3-11,3-2 37,0-1-41,0 0 47,0 1-37,-2 1 25,2-1-33,0 0 5,0-1 6,-2 0-10,2 1-24,0-1 38,0 1-39,0-1 47,0-2-51,-3 2 37,3 1-41,0 0 46,0-3 3,0 1-4,0-1 2,0 3 11,0 0-14,0-3 15,0 2-17,0-2 9,-2 2-5,2-2 6,0 3-4,0-1 9,0-2-1,0 3 3,0-1-15,0-2 3,-3 2-7,3-2 9,0 3 12,0-3-9,0 3 8,0-2-11,0-1 66,0 3-48,0 0 53,0-3-21,0 2 13,0 0 2,0-2-9,0 3-40,0-1 11,0-2 8,0 3-48,0-3 39,0 2-49,0 0 55,0-2-60,-2 0-17,2 3-4,0-3-3,0 3 14,0-3-34,0 0 11,-2 1-19,2-1 65,0 3-23,0-3 74,0 3-46,-3-3 44,3 2-53,0-2 58,0 0-37,0 2 42,0-2-43,0 3 65,0-3-33,0 0 42,0 2-46,0-2-20,-2 0 22,2 0-16,0 3-19,0-3 15,0 0-18,0 0 4,0 2 14,0-2-15,0 0 12,0 0 8,-2 2-11,2-2 8,0 0-9,0 3-1,0-3 1,-3 0-1,3 3 4,0-3 18,0 0-11,-2 1 12,2-1-15,0 0-1,0 3 1,0-3-7,-3 3 0,3-3 0,0 0-1,0 0 14,0 2-8,0-2 7,0 0-7,-2 2 38,2-2-26,0 0 27,0 0-36,0 0-8,-2 3 7,2-3-2,0 0 52,0 0-28,0 2 30,-3-2 28,3 0-53,0 0 62,-3 0-72,3 0 38,-1 0-27,1 0 28,-3 0-32,3 0-40,-3 0 30,1 0-30,2 0 41,-2 0-60,-1 0-19,3 0-8,-2 0 7,-1 0 54,1 0-8,2 0 0,-2 0 0</inkml:trace>
  <inkml:trace contextRef="#ctx0" brushRef="#br0" timeOffset="202">5094 4259 9502,'5'0'-15,"-2"0"70,-2 0-84,2 0 90,0 0-78,-1 0 118,0 3-17,1-3 68,-1 0-36,1 0-12,-1 0 8,0 0 4,3 0 1,-3 0-17,4 0 6,-2 0-19,1 0-18,2-3 2,0 1-27,1-1 27,1-1-32,1-2-1,-2-1-8,3 0-51,-1 2 44,-1-2-54,4 0 45,-4-3-59,4 1 38,-1 2-66,-2-3 68,1 0-46,-1 1 15,-1-1 5,1 0-172,-2 1 84,-1 1-111,-3 1 48,-1 0-89,2 2 12,-5 3-58,2-4-34,-2 4 107,0 2 15,-2-2 117,0 2 112,-4 0 0,-1 0 0,0 2 0</inkml:trace>
  <inkml:trace contextRef="#ctx0" brushRef="#br0" timeOffset="203">4059 4196 9502,'7'-2'-39,"-4"0"54,-1 2-37,3 0 107,-3-3 4,3 0 43,-3 3 6,3-1 7,-3 1-49,4-3 39,-2 3-45,1-3-10,0 3-13,-3-2 9,5 2 2,-1-2 6,-2 2-24,3 0-4,-2-3-103,0 3 76,3 0-116,-1 0 114,0 0-99,0 0 75,1 0-106,-1 0 101,-3 0-82,6 0 45,-2 0-35,-1 0-26,0 3 75,0-3-20,1 2 32,-1-2 12,0 2 19,0 1-14,0-3 73,-2 3-66,0-2 40,2 2-51,-2 0 48,0-3 13,-1 2 11,2 0-14,-5-2-54,2 3 9,2-1-3,-3-2 13,3 3-37,-2-3 27,-1 2-33,0-2 12,1 2 18,0-2-24,-2 0 20,5 0 48,-4 0-39,3 0 35,-3 0 2,3 3-32,0-3 35,-1 0-33,2 0 2,-2 0 8,1 3-4,2-3-42,-1 0 25,1 0-24,-3 0 37,4 0-70,-1 0 47,0 0-60,0 0 73,3 0-53,-2 0 37,1-3-48,1 0 51,-1 1-31,1 0 22,-3-1-27,3-2 37,0 3-15,-3 0 15,2-1-13,-2 0 22,3 2-16,-3-2 16,1 0-22,-1 1 4,-3 0 0,2-1 3,-2 1-40,1 2 29,0-3-33,-3 1 41,1 2-48,0-2 33,-2 2-40,2-3 35,0 3 0,-3-3-2,2 2-2,0-2 30,-2 0-26,3 1 25,-3 0 9,2-1-20,1 3 25,-3-2 7,2 2-24,-2-3 27,2 1-32,1 2-52,-3 0-27,0 0 7,0 0-1,0 0 62,0 2-20,-3 1 12,-1-1-23,-1 3-5,0-3 8,-3 4-13,4-5 11,-3 2 45,-1 0-36,-2-1 37,3 0 4,0 1-24,-2-3 28,-1 2-33,3-2 18,-3 3-11,1-3 16,-1 0-18,0 0 62,1 0-45,-1 2 50,3-2 6,-1 0-38,1 0 44,0 0-56,2 0 69,3 0-8,-3 0 64,2 0 6,1 0 36,2 0-48,0 0 54,2 0-80,3 0 23,0-2-19,3-1 14,1 1-41,1-1 41,-1 1-81,1 0-3,-1-1-7,1 0 15,-1 2-22,1-2 37,2 0-44,-2 1 0,-3 2-7,3-2-10,-2 2 13,-1 0-12,0-3-9,0 3-18,1 0 18,-1 0-8,-3 0-13,1 0 2,0 0-21,0 0 62,-1 3-18,2-3 15,-2 2-4,-1 0 1,2 1-8,-1 1 40,-1-1-29,1-3 29,2 3-30,-4-1 43,5-2-27,-2 2 30,0-2 23,-1 3-44,2-1 52,-2-2-60,1 3-11,2-1 6,-2-2-7,-3 2-2,4-2 15,0 0-15,-3 3 16,1-3 6,2 0-4,-2 3 4,1-3-9,0 0-12,0 0 3,-3 1-5,3-1 31,2 3-13,-2 0 17,-3-3-22,6 2 16,-4-2-12,2 2 18,-2 1 0,1-1-8,2-2 8,-2 3-13,3-1-24,-4 0 20,1 1-20,2 0 24,-2-3-20,0 1 13,2 2-13,-2-3 22,2 3-7,-2-1 5,0-2-7,2 2 6,-2 1-4,0-1 6,0-2 9,-1 3-10,1-1 10,0 0-15,0-2-8,0 3 10,-1-3-6,1 3 8,0-2-18,0-1 10,2 3-12,-2 0 16,2-3-1,-2 2 0,3-2-4,-1 0-24,-3 2 15,4-2-16,-1 3-4,0-1 21,0-2-22,1 3 25,-4-1-70,3-2 51,1 2-57,-1 1 70,3-3-55,-3 2-8,0-2-12,3 0 13,-2 0-18,1 0-10,1 0-16,-1 0 21,1 0-2,2-2-9,-3-1-20,4 1-191,-4 0 67,4-3-120,-4 0-115,1 0 110,0 1-112,-1-2 250,-2 2 107,3-1 120,-3 0 0,0-3 0</inkml:trace>
  <inkml:trace contextRef="#ctx0" brushRef="#br0" timeOffset="204">3938 4206 9502,'5'-5'-667,"-1"5"735,-1-2-10,0 2 152,1-3-95,1 3 93,0 0-61,0 0 102,-1-2-88,4 2-7,-3 0-49,2-2-4,1 2-77,1 0-9,-2 0-13,3-3 25,0 3 20,-1-3-9,1 3-11,2-1-68,-3 1 39,1-3-70,2 0 38,0 3-56,1-2 25,-4 0-49,1-1-58,0 1 41,-1-1-54,1 1 66,-3 0-47,0 2 24,0-3-69,-2 3-18,-2-3 17,1 3 50,-4 0 69,0 0 93,0 0 0,0 0 0,-4 3 0,-4-3 0</inkml:trace>
  <inkml:trace contextRef="#ctx0" brushRef="#br0" timeOffset="205">3701 4290 9502,'-4'0'-882,"1"3"653,1-3 141,-1 2 18,-1-2 70,1 3 0,1-3 0,0 2 0,-1 0 0,1 1 7,-3 0-5,3-3 6,-1 1 33,0 2 11,2-3 4,-2 3-11,0-1 5,3-2 8,-2 2 3,2-2 429,-2 0-303,2 0 365,2 0-362,0-2 14,4 0-21,-2-1-32,1 0-80,2-1 25,-2-1-15,4-2 37,-1 2-49,-1 0-34,3-2-14,-1 0 19,1 2 1,0-2 41,2 0-58,-5 1-7,5-1-9,-2 0-46,0 2-10,-1 1-12,1-2 20,0 2 18,-1 1-14,1-1-5,-1 1-16,-1 1 18,1-1 4,-2 3-7,3-2-18,0 2-24,-3 0 16,0 0 10,1 0-43,-1 0 76,-3 0-44,1 0 37,0 0-78,-3 2 14,1-2-68,0 3 78,-3-1-148,1-2 59,-1 3-91,-1-1 37,-2 0 135,0-2-2,-1 6 96,-4-5 0,-2 7 0</inkml:trace>
  <inkml:trace contextRef="#ctx0" brushRef="#br0" timeOffset="206">3813 4208 9502,'4'0'-550,"2"3"601,-5-3-27,2 0 60,-3 3 12,5-3 11,-5 0-16,5 0 15,-3 0-42,-2 0 53,3 0-52,-1 0-2,0 0 3,1 0-9,-1 0 32,0 1-16,1-1 20,2 0-21,-3 0-1,3 0 5,0 0-2,2 0-17,-2 3 5,2-3-11,0 0 15,-2 0-63,5 0-16,-3 0-4,5 0 9,-2 0-35,2 0 15,0 0-92,0 0-34,0 0 24,1 0-43,1-3 57,-5 3-173,4-1 57,-1 1-129,-3-3 109,-1 3 135,-1-3 17,2 3 100,-4-2 0,5 0 0</inkml:trace>
  <inkml:trace contextRef="#ctx0" brushRef="#br0" timeOffset="207">3552 4527 9502,'-7'-2'-161,"5"2"228,-1-3-135,3 3 97,-3-3-140,3 3 121,0-1 1,0-2 77,0 3-19,0 0 12,0-3-6,0 1-3,0 0 46,0-1-21,3 1 26,-3-1-34,3 1-49,-1 0-9,0-1-15,3 1 25,-2-3-46,1 0 65,-1 3-61,1-1 11,2-1 34,-2-4-35,1 4 37,2-2-39,0-1 18,1 0-31,-1 0 34,3-2-13,0-1 2,-1 0-6,3 1 27,3-6-3,-3 2 7,2 2-13,1-4-37,-1 3 24,1-2-26,-4 1-13,4-1-31,-3 5-63,-2-4 49,0 6-175,-1 0 109,-4-1-128,0 7-83,-3-2 88,0 0-99,-2 1 115,0 2 134,-2 2 27,0 1 80,-6 0 0,1 4 0</inkml:trace>
  <inkml:trace contextRef="#ctx0" brushRef="#br0" timeOffset="208">1518 4264 9502,'0'-2'171,"0"2"9,0 0 285,0 0-311,0 0-42,3 0 72,-3 0-134,0 0 56,0 0-59,0 0-29,0 0-24,0 0 0,1 0 13,-1 0 0,0 0-23,3 0-24,-3 0-25,0 0 81,3 0-24,-3 0 20,2 0-11,-2 0-7,2 0 1,-2 0 7,3 0-46,-1 0 28,-2 0-32,3 0 49,-3-3-38,2 3-18,-2 0 1,2 0-64,-2 0 28,3 0-16,-3 0-109,3 0 76,-3-2-107,0 2 99,0 0-89,0 0 163,1 0-70,-1 0 143,0-3 0,0 3 0</inkml:trace>
  <inkml:trace contextRef="#ctx0" brushRef="#br0" timeOffset="209">1414 4387 9502,'0'2'-974,"0"-2"919,0 3 76,0-3 11,0 0-4,0 3 4,0-3-7,0 0 304,0 0-220,0 0 239,0 0-306,0 0 10,0 0-10,0-3 5,3 3-35,-3 0 30,0-3-33,0 3 39,0 0-6,2 0 1,-2 0-2,2-2 11,-2 2-10,0 0 10,3 0-15,-3-2 13,0 2-10,3-3 16,-3 3-14,1 0 7,-1 0-4,3-2-1,0 2-22,-3 0 19,0-3-18,2 3 24,-2 0-69,2 0 45,-2 0-54,3-2 5,-3 2 36,0 0-42,2-2 50,-2 2-20,3 0 7,-3-3-10,2 3-19,-2-3 31,2 3-37,-2-1 38,3 1 19,-3-3-13,3 3 15,-3 0-22,1-3 38,-1 3-27,0-2 35,3 2-26,-3 0 6,3-2 1,-3 2-1,2-3-48,-2 3 30,0-2-27,2 2 13,-2 0 16,3-3-19,-3 3 19,0 0-47,2-2-17,-2 2-1,0 0-3,0-2 30,3 2 2,-3 0-7,0-3 21,0 3 0,2 0 0,-2-3 15,0 3-17,2 0 18,-2 0-19,0-1 8,3 1-2,-3 0 5,0-3 2,0 3 7,2-3-2,-2 3 3,0 0-7,0-2-5,2 2 3,-2 0-2,0-2-4,0 2 4,3 0-3,-3-3-29,0 3 22,0 0-24,0-2 30,0 2 1,3 0-3,-3-3 2,0 3-3,0-2 4,2 2-5,-2 0 5,0 0 4,0-2-5,0 2 6,0 0-8,0-3 3,2 3-1,-2 0 4,0-3-7,0 3 4,0 0-4,0 0 4,0-1-20,0 1 14,0 0-16,0-3 18,3 3 7,-3 0-6,0-3 5,0 3-1,0 0-4,0 0 3,0-2-4,2 2 4,-2 0-2,0-2 4,0 2-3,0 0-12,0 0 9,0 0-9,0-3 5,0 3 3,0 0-4,0-2 5,0 2-13,0 0 10,0 0-12,2-3-3,-2 3 9,0 0-11,0-2 10,0 2 4,0-2-4,0 2 4,3 0-4,-3-3 3,0 3-6,0 0 6,0-2-1,0 2 2,0 0 0,0-2-1,0 2 9,0 0-7,0-3 9,2 3-10,-2-3 0,0 3 0,0 0 0,0-2-9,0 2 6,0 0-5,0 0-2,0 0 7,0 0-8,0-2 10,0 2-3,0 0-5,0 0 20,0 0-15,0 0 21,0-3-5,0 3 3,0 0 2,0 0-3,0 0-68,0 0 42,0 0-125,0 0 37,0-2-84,0 2 1</inkml:trace>
  <inkml:trace contextRef="#ctx0" brushRef="#br0" timeOffset="210">3171 4990 9502,'10'0'-292,"-6"-3"238,1 3 131,2-1 25,0-5 115,1 4-72,-1-5-24,0 0-32,0 0-23,3-1-73,-3-2 59,1 3-61,-1-3 28,-3 1-18,6-1-11,-5 0 17,0 3-18,3-2 45,-4 2-43,1-3 49,2 0-23,-2 3 8,0-2-25,-1 1 23,4-2-8,-3 3 9,2 0-2,-2-3 1,5 1-1,-6-1 0,4 3-15,-4-1 13,3-1-10,-1 1 14,1 2-38,-5-1 26,3 1-30,0 2 37,-3-4-39,3 4 27,-5-1-31,3-3 36,1 4-29,-4-1 21,3-2-25,-1 2 15,0-3 4,1 4-6,-1-3 5,1-1 4,1 1-7,-1 0 7,1 0-23,2-1 16,-2 1-17,1 0 21,-2 0-19,1-1 13,2 1-15,-2 0 18,-1 2 7,-1 0-5,3-2 27,-3 5-24,1-4 17,-1 2-22,-2 1 9,2 1-5,1-3 8,0 0-9,-2 3 17,2 0-12,0-4 13,-1 5-14,3-5 6,-3 2-3,1 1 2,1-2-9,-1 1 4,0 1-6,-2-1 8,2-2-8,0 2 5,1 1-7,-1-1-2,-1 1 5,3-2-6,-3 3 9,1 0-13,0-1 8,-3-1-9,4 1 11,-1 0-16,-1 1 9,0 0-11,3-1 8,-2 1 6,-1-3-8,0 3 15,4-1 7,-5 0-4,2-1 3,0 1 28,1-1-29,-1-1 33,-1 2-39,1 1 45,1-3-29,-1 1 33,1-2-38,2 2 28,-4-1-12,3 0 16,-1 0 42,1-2-52,2 2 56,-1-2-66,1 2-24,2-3 17,-2 1-17,0 0-213,3-2 55,-1 2-98,4-1 141,-1-2 117,0 3 0,2-3 0</inkml:trace>
  <inkml:trace contextRef="#ctx0" brushRef="#br0" timeOffset="211">2302 4356 9502,'3'0'12,"-3"0"38,0 0-5,2 0-28,-2 0 78,0 0-35,0 0 32,0 0 7,0 0 5,2 0-3,-2 0-30,0 0 12,0 0-23,0 0 30,0 2-47,0-2 33,0 0-39,0 0 47,0 0-48,0 0 34,3 2-36,-3-2-4,0 0 30,0 0-35,0 0 37,0 3-60,0-3 44,0 0-51,3 3 64,-3-3-10,0 0 5,0 1-10,0 2-34,0-3-27,0 3 9,0-3-7,0 2-5,0 0 26,1-2-30,-1 3 39,0-3-25,0 2 12,0 1 4,0-1 14,0-2 24,0 2-28,3 1-4,-3 0 2,0-3-4,0 1 8,0 2-33,0-3 24,0 3-25,0-1 32,0-2-18,0 2 13,0-2-12,0 3-16,0-3 23,0 0-29,0 2 32,0-2-25,0 0 18,0 3-24,0-3 43,0 0-20,0 2 19,0-2-18,0 0 17,0 0-11,0 0 12,0 2-14,0-2 52,0 0-36,0 0 41,3 3-42,-3-3-6,0 0 10,0 0-11,2 0 18,-2 0-11,0 0 14,0 0-28,0 0 12,0 0-14,2 3 19,-2-3-29,0 0 21,0 0-24,0 0 25,0 0-10,3 0 6,-3 0-10,0 0 29,0 1-17,2-1 17,-2 0-20,3 0 12,-3 0-9,2 0 9,-2 0-8,0 0 8,2 0-2,-2 0 7,3 0-8,-3 0 0,2 0 0,-2 0-2,2 0 2,-2 0 0,3 0-2,0 0 3,-3 0-19,2 0 11,-2 0-13,2 0 14,1 0 0,-3 0-1,2 0-30,-2 0 23,0 0-25,2 0 33,1 0-29,-3 0 20,2 0-23,-2 0 25,0 0 15,3 0-10,-1 0 10,-2 0-16,2 0 2,1 0-1,-3 0 2,3 0-13,-3 0 8,1 0-9,-1 0 5,3 0 5,-3 0-5,3 0 8,-3 0-18,2 0 13,-2 0-17,2 0 18,-2 0 8,0 0-7,3 0 7,-3 0-11,2 0 42,-2 0-29,3 0 34,-3 0-44,2 0 4,-2 0-1,0 0 2,0 0-1,2 0 3,-2 0 1,3 0-14,-3 0 14,0 0-17,3 0 14,-3 0-13,0 0 6,1 0-8,-1 0 6,0 0-5,3 0 2,0 0-2,-3 0 20,0 0-8,2 0 9,0 0 8,-2 0-15,3 0 16,-3-1-18,2 1 19,-2 0-12,3 0 15,-3 0-17,2 0 0,-2 0 3,2 0-2,-2 0 4,0 0-32,3 0 26,-3 0-25,3 0-9,-3 0 25,1 0-31,-1 0 19,0 0 8,3 0-9,-3 0 9,3 0 36,-3 0-29,0 0 29,2 0-34,-2 0 33,2 0-22,-2 0 25,0 0-28,0 0 11,3 0-3,-3 0 13,2 0-35,-2 0 18,0 0-19,3 0 12,-3 0 8,2 0-8,-2 0 7,2 0-8,-2 0 5,3 0-10,-3 0 10,0 0 66,3 0-48,-3 0 52,1 0-69,-1 0 5,0 0-3,3 0 18,-3 0-10,0 0 14,3 0-14,-3 0-24,0 0 17,0 0-17,2 0 24,-2 0-37,0 0 25,2 0-33,-2 0 40,0 0-7,3 0 4,-3 0-11,0 0 34,2 0-25,-2 0 25,0 0 9,0 0-25,3 0 27,-3 0-34,0 0 25,0 0-16,2 0 23,-2 0-24,0 0-28,0 0 19,0 0-22,2 0 32,-2 1-42,0-1 29,3 0-33,-3 0 5,0 0 23,0 0-26,0 0 9,3 0 17,-3 0-22,0 3 21,0-3-8,1 0 6,-1 0-6,0 0 5,0 0 26,0 3-19,3-3 21,-3 0-26,0 0-2,0 0 2,3 2 1,-3-2 1,0 0-8,0 0 5,2 2-4,-2-2-30,0 0 28,0 0-30,0 0 25,2 3 6,-2-3-9,0 0 7,0 0 5,0 0-8,3 2 7,-3-2-9,0 0 15,2 3-10,-2-3 11,0 0-11,0 0 13,0 0-8,0 0 9,3 0-4,-3 0-3,0 2 5,0-2-5,2 0-34,-2 0 23,0 0-26,0 0 9,0 0 16,0 2-17,0-2 18,0 0 8,0 0-8,0 0 8,0 3-13,2-3 25,-2 0-21,0 0 22,0 0-3,0 0-11,0 3 15,0-3-4,0 0-8,0 0 9,0 0-8,0 1 1,0-1 2,3 0-1,-3 0-1,0 0-2,0 0 1,0 3-1,0-3 0,0 0 0,0 0 0,0 0 0,0 3-6,0-3 4,0 0-3,0 0 1,0 0 3,0 0-3,0 2 3,0-2 0,0 0 0,0 2 1,0-2-2,0 0 3,0 3-2,0-3 3,0 0-4,0 2 2,0-2-1,0 3 2,0-3-1,0 0 0,0 0 0,0 2-7,0-2 4,0 0-5,0 2 7,0-2 1,0 0 0,0 0 0,0 3-1,0-3 2,0 0-2,0 2 2,0-2-2,0 0 26,0 0-19,0 0 21,0 2-25,0-2 1,0 0-1,0 3 4,0-3-8,0 0 7,0 0-6,-3 3 9,3-3-4,0 0 4,0 0-2,0 2-10,0-2 6,0 0-7,0 2 9,0-2-9,0 0 6,0 0-8,0 0-5,0 0 9,0 3-9,0-3 0,0 0 9,0 0-12,0 2 14,0-2-11,0 0 7,0 0-8,0 0 9,0 2 0,0-2 0,0 0 0,0 3 5,0-3-5,0 0 5,-2 0 3,2 2-6,0-2 7,0 0-8,0 0 4,0 3-2,0-3 2,0 0-1,0 0 3,0 0-2,0 2 2,0-2-4,0 0-11,0 2 8,0-2-7,0 0-25,0 3 24,0-3-27,0 0 22,0 0 7,0 0-8,0 0 7,0 3-39,0-3 26,0 0-29,0 0 36,0 1-1,0-1-4,0 0 0,0 0 2,0 3 1,0-3-1,0 0 2,0 0 35,0 3-27,0-3 29,0 0 10,0 0-30,0 0 35,0 0-41,0 0 13,0 2-5,0-2 8,0 0-7,2 0-45,-2 0 34,0 0-35,0 2 43,0-2-13,0 0 8,0 0-8,0 0-19,0 0 19,0 0-26,0 0 31,0 0-8,3 3 7,-3-3-9,0 0-33,0 0 24,0 0-26,0 0 35,0 2-18,0-2 13,0 0-17,0 3 20,0-3-7,0 0 6,0 0-7,0 2 26,0-2-21,0 0 20,0 0 24,0 2-31,0-2 38,0 0-46,0 0 41,0 0-28,0 0 36,-3 3-40,3-3-21,0 0 14,0 0-15,0 0 8,0 0-6,0 3 0,0-3-40,0 0 47,0 0-163,0 0 127,0 0-101,0 0-363,0 0 110,0 0-158,0 0 299,-2 1 272,2-1 0,0 0 0</inkml:trace>
  <inkml:trace contextRef="#ctx0" brushRef="#br0" timeOffset="212">1412 4406 9502,'2'0'-465,"-2"0"431,0 0-52,3 0 95,-3 0-30,0-2 74,0 2-34,0 0-4,2 0 25,-2 0 26,0 0-6,0 0 28,0 0-49,0 0 19,0 2-14,0-2 46,0 3-39,0-3 13,0 2-15,0 1-6,0-3-17,-2 2 15,2 0-3,0 1-49,0 0 52,0-2-58,0-1 55,-3 3-23,3 0 8,0-1-12,0 0 10,0 1-27,0-1 15,0 1-16,-2-1-20,2-2 41,0 2-44,0 1 48,0 0-38,0-2 29,0 2-30,0-3 34,0 3-7,0-1 3,0 0-9,0-2 33,-3 3-27,3-1 27,0 1-29,0-1 35,0 0-22,0-2 26,0 3-46,0-1 12,0 0-10,0 1-4,0-3 16,0 3-15,0-1 18,0 0 18,0 1-15,0-3 14,0 2-22,0 0 9,0 1-8,0-3 7,0 2-8,-2 1-11,2-1 10,0-2-7,0 2 0,0 1 8,0 0-9,0-2 12,0-1 10,0 3-6,0 0 5,0-1 3,-2-2-11,2 2 9,0 1-13,0-1 12,0 1-8,0-3 11,0 2-10,0 0-10,0 1 7,-3 0-5,3-3-22,0 1 24,0 2-27,0 0 14,-3-1-14,3-2 5,0 2-5,0 1-20,-1-1 31,1 1-40,0-1 45,0 0-5,-3 1 3,3 0-2,0-2 0,-3 2 4,3 2-2,0-3 1,0 1 13,0-1-14,-2 1 15,2-1-2,0 0-10,-2 1 13,2 0-13,0-3-26,-3 1 19,3 2-21,0 0 28,0-3-41,-2 0 29,2 2-34,0-2 32,0 0 1,0 0-5,0 0 68,0 0-44,0-2 49,0-1-61,0 0 60,0 2-42,0-2 53,0 0-59,0 1 36,0 0-25,0-3 29,0 2-55,2-1 25,-2-2-23,0 2 25,0 1-28,0-1 17,3-1-21,-3 0 12,0 3 8,0-4-9,2 2 5,-2 1-7,0-1 2,0-1-5,2 2 10,-2-1-4,0 1 4,0-1-6,0 1-7,0-2 7,0 3-8,3-1 13,-3 1 1,0-3-1,0 3 0,3-1 22,-3-1-17,0 1 18,0 0-22,1 1 1,-1-3 1,0 3-1,0 0 2,0-1-12,0 1 11,0-1-11,0 1 7,0 0 3,0 2-4,3-3-26,-3 0 21,0 3-22,0-1 26,0 1-1,0-3-2,0 3 0,0-3-1,0 3-6,0 0 4,0-2-4,0 2 5,0 0 6,0-2-6,0 2 5,0 0-5,0-3 0,0 1-2,0 2 2,3 0 16,-3-3-9,0 3 12,0-2-3,0 0-9,0 2 9,2-3-11,-2 3-1,0-3 4,0 3-3,2 0 2,-2-1 1,0 1 1,0 0-1,0-3-10,0 3 1,0 0-5,0 0 4,0-3-40,0 3 31,3 0-33,-3-2 40,0 2-33,0 0 19,0-2-22,0 2 45,2-3-8,-2 3 5,0-2-11,0 2 31,3-3-22,-3 1 28,0 2-18,2-5-12,-2 5 14,2-3-119,-2 2 24,0-2-90,3 0 108,-3 3 15,0-2 59,0 2 0,0 0 0</inkml:trace>
  <inkml:trace contextRef="#ctx0" brushRef="#br0" timeOffset="213">1419 4392 8467,'0'0'387,"0"0"-375,0 3 5,0-3 4,0 0 55,2 0-62,-2 0 63,0 0-35,0 0 40,0 0-22,0 0 30,0 1-35,0-1 72,0 0-52,0 0 50,0 0-68,0 0 18,0 0-8,0 3 13,0-3-4,-2 0-31,2 0 25,0 0-16,0 3-45,0-3 49,0 2-60,0-2 12,-2 2 31,2-2-34,0 3 44,0-3-52,0 2 36,0 1-50,-3-1 56,3 0-68,0 1 49,0 0-52,0-2 75,-2 2-17,2 0 15,0 1-15,-3-1-4,3-1 0,0 1-3,0-1-11,-2 3 11,2-2-8,-2-2 12,2 2 17,-3 0-13,3 1 14,0-1-18,-3-1 2,3 1-1,0-1 1,0 0-4,-1 1 2,1-1-2,0 0 5,0 1-51,0 0 38,-3 1-41,3-4 45,0 3 3,0-1-6,0 0 6,0 1-46,-3-1 32,3 1-37,0-1 44,0 0-35,0 1 25,0-3-30,0 3 18,0-2 2,0 2-4,0 0 9,0-3 15,0 2-10,0 0 10,0 1-18,0 2 4,0-3-4,0 0 5,0 1-18,-2 0 14,2 1-15,-2-1 19,-1-1-42,3 3 29,-2 0-32,-1-1 38,3-1-1,-2 1-4,2-1 2,0 2 3,-2 0-1,2-3 3,0 3 14,-3-3-15,3 1 16,0 0-18,0-2 7,0 5-2,-3-6 4,3 4-2,0-4-23,0 3 19,0-3-19,-1 2-1,1 1 13,0-3-18,0 2 22,0-2 9,0 2-7,-3 1 6,3-3 5,0 3-14,0-2 14,0 2-14,0-3 34,0 3-23,-3-1 25,3-2-28,0 2 1,0 1 4,0-1-2,0-2 5,-2 3-6,2-3 6,0 2-6,0-2 6,0 2-5,0-2 4,0 3-3,0-3 17,0 3-13,0-3 14,0 1 0,0 2-13,0-3 15,0 3-16,0-3-14,0 2 12,0-2-11,0 2-39,-2-2 39,2 3-41,0-1 22,0-2 20,-3 3-25,3-3 29,0 2-17,0-2 11,-2 2-19,2-2 17,0 3 39,0-1 16,0-2 2,0 2-11,0-2 27,0 3-48,0 0 60,0-3-42,0 2-9,0 0 14,2 1-11,-2-3-182,3 2 46,-3-2-117,0 2-147,2-2 261,-2 3-170,0-3 279,2 2 0,1-2 0</inkml:trace>
  <inkml:trace contextRef="#ctx0" brushRef="#br0" timeOffset="214">3059 4976 9381,'6'0'364,"-4"0"-259,0 0 0,-2 0-1,3-3 11,-1 3-75,1 0 56,-1 0-63,0-2 65,1 2-54,1 0-18,2-3-4,-2 1-43,1 2 38,2-2-16,0-1-43,3 1 80,0-3-39,-1 2 50,1-1-28,2-1 9,3 0-15,-3-2 23,0-1 5,0 1-6,0 3 3,3-6-7,-3 2-9,-1 1 11,-1 3-10,2-4-17,-2 1 20,-3 0-25,3 2-32,-2 0 45,-4-2-47,3 2 56,1 1-33,-4-2 16,-1 4-20,1-5 25,2 4-30,-4-1 18,3 1-22,-3-1 15,3-2 13,-3 2-15,4-1 10,-5 0-10,5 0 6,-2 1-5,-1-2 9,2 2-6,-1-1 5,1 0-5,0 0-4,-2 1 7,1-2-9,1 2 10,-3 2-11,3-4 7,-2 2-6,-1 1 8,0-1-38,1 1 28,0 1-30,-2-1 37,2 1-21,0-3 15,1 3-20,-4 0 6,3-1 4,2-2-6,-3 3-9,0-1 17,4 1-21,-5-3 23,5 3-35,-4-1 26,3-1-25,-3 1 30,3 0 10,-3 2-7,4-5 8,-5 4-15,2 0-7,0-3 5,-1 2-8,0 1 11,1 0-2,-1-1 3,1 0-12,-1 2 9,-2-2-12,2 0 13,-2 1 18,3 0-12,-3-1 15,3 1-19,-3-1-5,1 3 4,-1-4-3,3 4-6,-3-6 7,3 5-6,-1 1 4,0-3 3,-2 0-3,3 1 5,-1 0 6,1-1-5,-3 1 2,2-1-7,-2 1 4,2 2-4,1-2 7,-3-1-60,3 3 38,-3-3-40,0 3 52,0-1-65,0 1 48,1-3-55,-1 3 63,0 0-35,0-3 22,0 3-30,0-2 91,0 2-48,0-2 42,0 2-55,0-3 31,0 3-20,0 0 26,3-2-24,-3 2 16,3-3-1,-3 3 7,0-2 3,2 2-15,-2 0 17,2-2-23,-2 2 11,3-3-10,-3 3 6,2-3 44,-2 2-37,3 1 37,-3-3-47,2 3 58,0-3-37,-2 3 41,0-2-48,3 0 20,-3 2-9,3-3 13,-3 1 58,0-1-57,1 3 65,-1 0-76,0-2 59,0 0 8,0 2 10,0-3 36,0 3-23,0-3 1,0 3-9,0-1 29,0-2-58,0 3 59,0 0-25,0 0-22,0-3 32,0 3-25,-1 0 39,1 0-23,-3 0 35,0 0-46,-1 3-2,1-3 1,-2 4-6,1-1-15,-2 4 19,2-2-19,-3 2 23,-1 3 26,1-3-24,0 5 23,-3-2-63,-2 5-17,0-4 5,0 4-1,-3 2-19,1 0 37,-1 0-35,-1 2 3,-1-2-4,2 0-18,-2-1 14,3-1-12,-1-1-4,3 1-21,-2-3 21,4 3-32,-2-3 52,5-1-59,-3 2 28,1-4 13,2 4-18,-3-1 31,0-1-16,2-1 10,1 2-12,-2 1-47,2-4 46,-6 3-52,4 0 64,-1 0-75,-1-2-19,1 2-11,0-5 20,-2 3-61,2 0 33,1-3-124,-1 0 93,0-2-183,3-1 75,2-4-8,1 3 117,-2-3 149,4-3 0,2 2 0</inkml:trace>
  <inkml:trace contextRef="#ctx0" brushRef="#br0" timeOffset="215">1392 4537 9502,'0'2'-653,"0"-2"606,0 2-34,0-2 83,0 0 8,0 3 37,0-3 3,0 0-3,0 3-2,0-3 3,0 0-4,0 1-17,0 2 12,0-3-8,0 3 14,0-1-8,0-2 3,0 2-12,0 1 15,0-1 1,0-2-2,0 3 3,-2-1-12,2 0 5,0-2-6,0 3-26,0 0 21,-2-3-23,2 1 30,0 2-24,0 0 14,-3-1-14,3 0 16,0 1-21,0-1 10,-2-2-16,2 3 17,0-1 7,0 0-9,0 1 8,-3-3 28,3 3-21,0-3 26,0 1-13,0 2-9,0 0 11,0-3-16,0 2-26,-2 0 24,2-2-23,0 3 31,0-1-36,0-2 25,-2 3-26,2-1-14,0-2 29,0 2-36,0 1 43,0-3-25,0 3 18,0-2-24,-3-1 28,3 3-10,0-3 9,0 3-8,0-3 9,0 2-3,0-2 4,-3 2-5,3 1-12,0-3 10,0 0-9,0 2 7,0-2 2,0 3-2,-1-1 3,1-2-15,0 2 10,0 1-11,0-3 20,0 3 12,0-3-7,0 1 5,0 2-5,0-3-7,0 3 11,0-3-12,0 0 1,0 2-1,0-2 3,0 2 0,0-2-26,0 3 18,0-3-19,0 2 1,-3-2 15,3 3-17,0-1 24,0-2-1,0 2-3,0-2-1,0 3 25,0-1-17,0-2 21,0 2-26,0-2-7,-3 3 5,3 0-1,0-3-5,0 2 10,0-2-9,0 2 12,0-2-13,0 3 8,0-3-8,0 2-15,0-2 17,0 0-21,0 2 23,-2-2-32,2 3 24,0-3-27,0 2 32,0-2-16,0 3 11,0-3-12,0 2 1,0-2 6,0 0-8,0 2 9,-2-2 7,2 3-9,0-3 9,0 3-5,0-3 1,0 1 1,0-1-2,-3 3-17,3-3 12,0 3-11,0-3 15,0 0-18,0 0 13,0 2-15,0-2 68,-2 0-36,2 0 71,0 0-68,0-2 21,0-1-20,0 0 46,0-1-25,0 1 31,0 1-27,0-3-16,0 3 19,0-3-17,0 3-5,0-3 4,0 0-5,0 0-15,0 3-4,0-3-2,0 0 1,2 3-18,-2-3 24,0 3-30,0-4 35,0 5-7,0-5-1,0 4-2,3 0 0,-3-1-11,0 1 4,0-1-5,0 1 10,0 0 4,0-1-2,2 3 2,-2-3 0,0 2 0,0 1 0,0-3 4,0 0-3,0 1 3,0 2-3,2-2-12,-2-1 8,0 3-8,0-2 11,0-1-6,3 1 4,-3 0-5,0-1 0,0 3 2,0-3-3,3 2 6,-3-2 7,0 0-6,0 3 6,0-2 0,0 0-4,1-1 6,-1 3-9,0-2 25,0-1-18,0 3 21,3-2-24,-3 0 21,0-1-15,0 3 18,0-3-23,0 3 5,0-1-4,3-2 5,-3 3-12,0-3 10,0 1-10,0 0 0,0-1 7,0 3-9,0-2 10,0-1-28,0 1 20,0 0-24,0-1 29,0 0-28,0 2 19,0-2-21,0 0 20,0 3 1,0-2-2,0 0 0,0 2-26,0-3 16,0 3-18,0-2 23,0 2 55,0 0-39,0 0 43,0 2-50,0 1 47,0-1-33,0 0 38,0 1-2,0 0-24,0 1 28,0-1-4,-3 1-19,3-1 22,0 2-22,0-1 20,-3-1-16,3 1 21,0-1-24,-1 2-16,1 0 16,0-3-19,0 3-26,0 0 31,-3-2-34,3 1 44,0-1-12,0 1 6,0-1-13,0-1 5,0 1 2,0-1-3,0 0 1,-3 1-3,3 0-1,0-2-1,0 2 4,0 0-11,0-1 10,0 0-10,0 1-2,0-1 11,0 1-13,0-3 15,0 2 6,0 0-6,0 1 5,0 0-8,0-3 1,0 1 0,0 2 0,0 0-2,0-3 1,0 2-1,0-2 4,0 2-6,0-2 5,0 3-4,0-1-6,0-2 6,0 3-6,0-3 8,0 2 4,0-2-3,0 2 1,0-2 2,0 3-4,0-3 4,0 2-4,0-2-5,0 2 4,0-2-3,0 0 4,0 3-6,0-3 6,0 3-6,0-3 3,0 0 2,0 2-2,0-2 1,0 0-11,0 0 7,0 2-9,0-2 12,0 0-35,0 3 24,0-3-26,0 0 37,0 0-3,0 0 2,0 2-4,0-2 8,0 0-6,0 0 8,0 0-10,0 0 10,0 2-7,0-2 9,0 0-6,0 0 0,0 0 1,0 0-2,0 3-1,0-3 1,0 0-1,0 0-30,0 2 22,0-2-24,0 0 29,-2 0-7,2 3 5,0-3-9,0 0 9,0 0 4,0 2-3,0-2 2,0 0-4,0 0 6,0 0-4,0 0 5,0 2 7,0-2-8,0 0 9,0 0 1,0 0-11,0 3 13,0-3-13,0 0 7,0 0-6,0 0 4,0 3-3,0-3-6,0 0 4,0 0-3,0 1-19,0-1 17,0 3-17,0-3-6,0 0 18,0 0-19,-2 3 21,2-3 14,0 0-13,0 0 10,0 2-14,0-2 33,0 0-25,0 0 26,0 2-29,0-2 43,0 0 16,0 0 0,-3 0 66,3 0 44,0 0-43,0 0 32,3 2-166,-3-4 16,0 2-20,0 0 20,0 0-8,2 0 1,-2 0-3,0 0 7,0-2 9,0 2-8,0 0 7,2 0 26,-2 0-21,0 0 23,0 0-35,3 0 6,-3 0-5,0 0 8,0 0-11,0 0 8,0 0-9,3-2 11,-3 2-11,0 0 8,0 0-9,0 0 9,1 0-7,-1 0 3,0 0-4,0 0 2,3 0 3,-3 0-3,0 0 3,0 0-18,0 0 13,3 0-13,-3 0 9,0 0 5,0 0-6,0 0 7,0 0-6,0 0 4,0 0-5,2 0 14,-2 0-8,0 0 9,0 0-10,0 0-18,0 0 13,2 0-13,-2 0-7,0 0 19,0 0-24,0 0 29,0 0 3,0 0 6,0 0 37,0 0-18,0 0 100,3 0-86,-3 0 54,0 0-73,0 2-5,0-2 4,0 0-5,0 0 1,0 2 3,0-2-2,0 0 0,0 2-22,0-2 14,0 0-15,0 3 25,0 0-4,0-3 2,0 2-2,0 0-6,0-2 5,0 3-6,-3-3 7,3 2-3,0 0 3,0-2-4,0 3-6,0-3 7,0 2-7,0 1 10,0-3-3,0 2 2,0-2-2,0 2-5,0-2 4,0 3-5,0-3-2,0 3 4,0-2-3,0 2 5,0-3-11,0 3 7,0-3-9,0 2 11,0-2-8,0 2 4,0-2-5,0 3-6,0-1 10,0-2-12,0 3 15,0-1-41,0-2 29,0 2-33,0 1 18,0-3 12,0 3-17,0-2 20,0-1-35,0 3 25,0-3-25,0 3 28,0-3-10,0 2 6,0-2-10,3 2 13,-3-2-34,0 0 24,0 0-28,0 0 33,0 0-25,2 0 20,-2 0-39,0 0 36,0-2-23,0 2 24,3-2 9,-3-1-5,0 0 8,0 2-14,0-2 43,2 3-30,-2-3 33,0 1-41,0 0 52,0 2-37,0-3 43,0 1-51,0 2 47,0 0-32,0-3 54,0 3-51,0 0 18,0 3-18,0-3 6,-2 2-4,2 1 5,0-1-5,0 0 17,-3 1-13,3 0 12,0-3-15,0 1 21,0 2-14,0 0 17,0-3-28,0 0 8,0 2-7,0-2 9,0 2-56,0-2 38,0 0-41,0 0 45,0-2 4,0 0-10,0 2 19,0-3-14,0 0 12,0 2 18,0-2-21,0 0 23,0 1-25,0 0 6,0-1-3,0 1 9,0-1-5,0 1-3,0 0 3,0-1-7,0 3-11,0-4 10,0 1-11,0 3 16,0-3-17,0 3 12,0-2-15,0 2 18,0-2-5,0-1 3,0 3-3,0 0 0,0-2 0,0 2 1,0-3-1,0 3 0,0 0 1,0 0 0,0 0-15,0 0 11,0-2-11,0 2 14,0 0-2,0 0 2,0 0-3,0 0 9,0 0-8,0 0 7,0 0-7,-2 0 11,2-2-7,0 2 8,0 0-11,0 0 9,0 0-5,0 0 7,0 0-5,-3 0-2,3-3 4,0 3-4,0 0 23,0 0-17,0 0 20,0 0-24,0 0 9,0-2-6,0 2 7,0 0-14,0 0 6,0 0-5,-2 0 7,2-2-9,0 2 7,0 0-8,0 0 9,0 0-8,-2-3 5,2 3-7,0 0 6,0-3-2,0 3 0,0 0 1,0 0 0,0 0 1,-3 0 0,3-2 0,0 2 0,0 0 0,0 0 0,-3 0-2,3 0 1,0-2 0,-1 2 1,1 0-18,0 0 13,0 0-14,-3 0 17,3 0-39,0-2 28,0 2-30,-3 0 6,3 0 18,0 0-20,0 0-80,-2 0 26,2 0-104,0-3 102,0 3-198,0 0 99,0 0-101,-2 0 115,2 0 79,0 0 0,0 0 0</inkml:trace>
  <inkml:trace contextRef="#ctx0" brushRef="#br0" timeOffset="216">2497 4554 8428,'0'0'251,"0"0"-107,0 0-30,0 0 153,0-3-182,0 3 112,0 0-150,0 0-38,-1 0-14,1 0 4,-3 0-61,-2 0 24,3 0-8,-3 0 5,0 3 21,0-3-29,1 2 9,-4-2-70,3 2 34,0 1-25,-2-1 24,4-2 27,-1 3 26,1-1-31,-1-2 25,4 0 48,-3 2-51,3-2 75,0 0-73,0 0 25,3-2-3,-1 2-24,0-2 21,1-1-17,0 3 1,-2-2 8,2-1-12,0 1 17,1 2 17,-4-2-13,3 2 8,-1 0-15,-2-3 65,3 3-46,-3 0 51,0 0 9,0 0-45,0 0 97,0 0-48,0 3 3,-3-3-21,1 2-20,-1 0-19,-1 1 19,1-3-41,-1 2 27,1-2-26,0 3 36,-1-1-55,1-2 34,1 0-37,-1 2 16,1-2-3,0 0-12,-1 0 11,3 0-14,-3 0 21,3 0-53,0 0 48,0 0-20,0 0 29,0 0-4,0-2 13,0 2-4,0 0 14,0 0-7,0 0 2,0 0-2,0-2-10,0 2 7,0 0-8,0 0 5,0 0 3,0 0-8,0-3 7,0 3 12,0 0-6,0 0 12,-1 0-14,1 0 1,0 0 1,0 0-1,-3 0 22,3 0-16,0 0 15,-3 0-20,3 0 0,0 0 1,0 0 1,-2 0-3,2 0 2,0 0-3,0 0 4,0 0-9,-2 0 7,2 0-6,-3 0 0,3 0 6,0 0-6,-2 0 5,2 0-1,-3 0-2,3 0 1,0 0 17,-2 0-11,2 0 13,-2 0-16,2 0-3,0 0 3,-3 0-2,3 0 2,-3 0-3,3 0 2,-1 0-2,1 0 4,0 0-6,-3 0 4,3 0-7,-3-2 8,3 2-3,-2 0 2,2 0-4,-2 0 3,2 0-4,-3 0 4,3 0 2,0 0-1,-2 0 2,2 0-3,-3 0 17,3 0-12,-2 0 14,2 0-3,0 0-10,-2 0 12,2 0-14,-3 0-2,3 0 2,0 0-2,-2 0 3,2 0 0,0 0 3,-2 0-1,2 0-6,-3 0 3,3 0-5,0 0 4,-3 0-8,3 0 4,0 0-6,-2 0 7,2 0-3,0 0 2,-2 0-5,2 0 4,-3 0 0,3 0 1,-2 0 0,2 0 1,-2 0-1,2 0 0,-3 0 12,1 0-9,2 0 9,-3 0-10,3 0 53,-2 0-36,2 0 40,-2 0-22,2 0-22,-3 0 27,3 0-28,0 0 1,-3 0 0,2 0 1,1 0-23,-3 0 21,3 0-20,-3 0 23,1 0-67,2 0 46,-2 0-52,2 0 60,-3 0-64,1 0 44,-1 0-46,1 0 63,0 2 0,-1-2 0</inkml:trace>
  <inkml:trace contextRef="#ctx0" brushRef="#br0" timeOffset="217">2341 4577 9627,'0'0'123,"0"0"-74,0 0 51,0 0-5,0 0 193,2 3-161,-2-3 149,0 0-171,0 0-19,0 0 28,0 0-72,0 0-14,-2 0 2,2 3-49,0-3 23,-3 0-3,3 0-25,-2 0 66,2 0-21,0 2 5,-2-2-40,-1 0 15,3 0-20,-2 2 32,2-2 21,-3 0-21,1 0 15,2 3-55,-2-3 42,2 0-40,-3 2 26,3-2-8,-3 3-2,2-3 5,-2 2-12,3 0 19,-3-2-23,3 0 25,-2 3-12,2-3 4,-2 3-7,2-3 2,0 1 0,-3 2-4,3-3 3,0 3 19,-2-3 18,2 2-8,-3 0 7,3-2 20,0 3-32,0-3 38,-2 2-43,2-2 4,0 3-2,0-3 5,0 2-29,-2-2 24,2 2-23,0 1 28,0-3-12,0 3 8,0-3-8,0 1 50,0 2-32,0-3 30,0 3-55,0-3 8,0 2-7,0-2 14,-3 2 1,3 1 0,0-3 0,0 2 2,0 1 16,0-3-8,0 2 10,0-2-16,0 2 15,0 1-12,0-3 13,0 3 0,0-3-11,0 1 13,0 2-27,0-3 8,0 3-3,0-1 10,0-2-42,0 2 30,0-2-36,0 3 43,0-1-41,0-2 30,0 3-36,0-1 17,0-2 10,0 2-15,0-2 16,0 3 29,0-1-25,0-2 23,0 2-16,0 1-5,-3 0 7,3-3-8,0 2 10,0 0-6,0 1 9,0-3-10,0 2-15,0 0 12,0-2-12,0 3 17,-1-1-52,1 1 35,0-1-41,0-2 42,0 2 0,-3 1-4,3-3-1,0 3 10,0-2-9,0 2 7,0-3 18,0 3-15,0-1 18,0-2-22,0 2 31,0-2-22,0 2 28,0-2-33,0 3 7,0 0-5,0-3 8,0 2-14,0-2 9,0 2-9,0-2 9,0 3-18,0-3 13,0 0-16,0 2 8,0-2 4,0 2-5,0-2 8,0 3-6,0-1 2,0-2-4,0 3 4,0-1 66,0-2-47,-3 2 50,3 1-61,0-3 60,0 3-38,-2-2 43,2 2-58,0-3 3,0 3 2,0-1-29,-2-2 28,2 2-30,0-2 35,0 3-30,-3-3 19,3 2-21,0-2 18,-2 3-16,2-3 2,0 2-7,0-2 24,-3 0-2,3 2 4,-2-2-9,2 3 39,-2-3-27,2 3 32,-3-3-30,3 0-4,-3 1 6,3 2-3,-1-3-22,1 3 19,-3-3-19,3 2 22,-3-2-15,1 2 10,0-2-10,2 3-11,-3-3 16,3 2-22,-2-2 23,2 3-4,-3-1 3,3-2-6,-2 2 14,2-2-11,0 0 10,-2 3-9,2-3 9,-3 0-5,3 3 7,0-3-9,-3 0-6,3 0 5,0 1-10,-1-1 11,1 0-3,0 3 4,-3-3-1,3 0-10,-3 0 6,3 0-7,0 3 3,-2-3 4,2 0-6,-2 0 7,2 2-4,-3-2 3,3 0-1,-2 0 1,2 2 0,-3-2 0,3 3 0,-2-1 0,2-2 0,-2 0 0,2 3 0,0-3 0,-3 2 0,3-2 0,-3 2-5,3-2 3,-1 3-3,1-3 5,-3 0-33,3 3 24,-3-3-27,3 1 33,-2-1-63,2 0 44,0 0-51,0 0 62,-2 0 4,2 3-3,0-3-1,-3 0 7,3 0-12,0 0 12,-2 0 20,2 0-23,0 0 26,-3 0-30,3 0 27,0 3-14,0-3 17,-2 0-15,2 0 0,0 0 5,-2 0-3,-1 0-15,3 2-1,-3-2-5,3 0 8,0 0-9,-1 2 10,1-2-11,-3 0 17,0 0-6,3 0 5,0 0-7,-2 3 13,2-3-10,-2 0 11,2 0-11,-3 0 11,3 2-7,0-2 9,-2 0-3,2 3-6,-3-3 8,3 0-8,-2 0 2,2 2-1,-2-2 0,2 2-16,0-2 11,0 0-11,-3 3 13,3-3 3,0 3-3,-2-2 2,2-1-3,0 3 11,0 0-9,-2-3 10,2 2 15,0 0-18,0-2 21,0 3-7,0-3-11,0 2 13,0 1-14,-3-3-11,3 2 11,0-2-9,0 0 10,0 2-16,0-2 12,0 3-12,0-3 12,0 0-5,0 2 3,0-2-4,0 2-5,0-2 7,0 0-8,0 3 10,0 0-11,0-3 7,0 2-7,0-2 8,0 2 0,0-2 1,0 0-1,0 3-19,0-3 14,0 2-15,0-2 20,0 0-2,0 2 1,0-2 7,0 0-5,0 3 5,0-3-9,0 0 16,0 0-11,0 2 12,0-2-15,0 0 5,0 0-3,0 3 5,0-3-5,0 0-20,0 2 14,0-2-14,0 0 6,0 0 8,-3 2-10,3-2 13,0 0 1,0 0-3,0 3 0,0-3 7,0 0-5,0 0 5,0 0 1,0 0-7,0 3 8,0-3-14,0 0-29,0 0 18,0 0-19,3 0 28,-3 0 5,0 2-5,0-2 3,0 0 3,0 0-2,0 0 4,3 0 16,-3 0-14,0 0 15,2 0-19,-2 0 39,2 0-27,-2 0 32,3 0-37,-1 0 4,0 0-1,-2 0 4,3-2-10,-1 2 9,1 0-6,-1 0 8,-2-3-39,2 3 28,1 0-30,0 0 26,-2 0 6,2-3-9,0 3 31,-1 0-21,0 0 21,-2 0-26,3 0 33,-1 0-22,1-2 25,-1 2-28,0 0-6,-2 0 8,3 0-6,0 0 10,-2 0-20,-1 0 18,3 0-17,0 0-57,-1 0 52,-2 0-61,2 0 64,1 0 1,-1 2-5,-2-2 0,3 0 22,-1 0-20,0 0 18,1 0-19,0 0 35,-3 0-25,1 0 26,2 0-30,-3 0 17,3 0-7,-1 0 9,0 0 4,-2 3-10,3-3 10,-1 0-10,-2 0-26,3 0 17,-1 0-17,0 0 20,1 0 0,0 0-1,-3 0 1,1 0-62,2 0 45,0 0-49,-1 0 61,0 0-18,1 0 12,-1 0-16,1 0 18,-1 0-6,0 0 3,1 0-17,0 3 12,-2-3-15,2 0 14,0 0 18,-3 0-13,2 0 15,3 0-19,-3 0 37,1 0-27,-1 0 35,0 0-39,-2 0 36,3 0-26,0 0 26,-2-3-19,2 3-3,0 0 5,-3 0-22,2 0 9,0 0-6,-2 0 11,3 0-21,-3 0 15,2 0-20,1 0 24,-1 0 3,-2 0-4,2 0 2,1 0-4,-1 0 33,0 0-23,1 0 26,2 0-34,-5 0 21,2 0-14,1 0 20,-1 0 6,0 0-15,1 0 17,-1 0-26,1 0 1,-1 0 1,0 0 1,1 0 66,0 0-48,-3 0 49,1 0-61,2 0-21,0 0 15,-3 0-12,2 0 24,0 0 25,-2 0-17,3 0 16,-1 0-84,1 0 44,-1 0-45,-2 0 31,2 0 16,1 0-17,0 0 17,-3 0 6,1 0-9,2 0 8,0 0-7,-1 0 19,0 0-10,1 0 12,-3 0-14,2 0 2,1 0-4,-3 0 3,2 0-20,0 0 15,-2 0-15,3 0 18,-3 0-67,3 0 47,-3 0-51,1 0 28,-1 0 17,3 0-21,-3 0 22,3 0 4,-1 0-4,0 3 3,-2-3-6,3 0-32,-1 0 18,1 0-18,-1 0 56,0 0-18,4 0 18,-5 0-6,2 0 4,0 0 3,-1 0-6,0 0-14,1 0 0,-1 0 2,-2 0 2,3 0-10,-1 0 9,-2 0-10,2 0 14,-2 0-25,3 0 22,0 0-21,-2 0-22,-1 0 23,3 0-31,-3 0 53,3 0-8,-1 0 12,0 0-19,-2 0 23,3 0-17,-1 0 18,1 0-19,-1 0 55,-2-3-38,2 3 43,1 0-53,-3 0 20,3 0-15,-3 0 25,1 0-12,-1-3 2,3 3-1,-3 0-6,3 0-7,-3 0 9,0 0-8,0 0 4,2 0 0,-2 0-2,0 0 3,2 0-4,-2 0 2,0 0-6,3-2-3,-3 2 6,2 0-6,-2 0 11,3 0 8,-1 0-7,-2 0 8,2 0-22,-2 0 8,3 0-9,-3 0 12,2 0-68,-2 0 48,2 0-53,-2 0 67,3 0 10,0 0-8,-3 0 2,2 0-10,-2 0 16,2 0-10,-2 0 20,3 0-4,-3 0-12,2 0 12,-2 0-10,0 0-5,2 2 11,-2-2-13,0 0 7,3 0-4,-3 0 8,2 0-4,-2 3-17,3-3 10,-3 0-17,0 0 19,2 0-26,-2 0 19,2 0-23,-2 3 10,3-3 9,-3 0-14,3 0 18,-3 0-21,1 0 16,-1 2-21,3-2 25,-3 0-8,0 0 8,3 0-6,-3 0 10,0 0-9,2 0 9,-2 0-8,0 0 21,0 0-15,0 2 17,0-2-24,2 0-1,-2 0 2,0 0-1,0 0 3,0 0 4,0 0-3,0 0 5,3 0 21,-3 0-18,0 0 17,0 0-22,0 0 15,0 0-6,0 0 8,2 0 5,-2 0-13,0 0 14,0 0-43,0 0 22,3 0-22,-3 0 25,0 0 10,0 0-8,0 0 8,0 0-5,2 0-3,-2 0 2,0 0-4,0 0-1,0 0 14,0-2-9,0 2 10,0 0-3,2-2-6,-2 2 10,0-3-44,0 3 28,0-3-28,0 1 33,0 2-26,0-2 17,0 2-20,0-3 23,0 3 2,0-2-3,0 2 1,0-3-5,0 3 10,0-2-6,-2 2 6,2 0 15,0-2-17,0 2 19,0 0-2,0-3-14,0 3 17,-2-2-19,2 2 11,0 0-7,0-2 8,0 2-8,0-3 2,0 3-2,0-3 2,0 3-2,0-2-5,0 2 3,0-2-4,-3 2 2,3-3 2,0 3-2,0 0 2,0-2 3,0 2-3,0 0 3,0-2 0,0 2-2,-2-3 2,2 1-2,0 2 0,0-3 0,0 3 0,0-2 0,0 0-15,0 2 11,0-3-27,0 3 25,0-3-12,0 2 14,-3-2-5,3 3 4,0-3-7,0 3 7,0-2-9,0 0 7,0 2-6,-2-3 6,2 3-22,0-2 16,0-1-18,0 3 30,-2-2-7,2 2 7,0-2-11,0 2 20,-3-3-15,3 0 15,0 3 3,0 0-15,-3-1 15,3 1-16,0-3 6,0 3-1,-1-3 4,1 3-1,0-2 2,0 2 1,0 0 0,-3-2-1,3 2-5,0-3 4,0 3-3,-3 0-30,3 0 22,0-2-24,-2 2 16,2-3 7,0 3-9,-2 0 10,2-2 5,0 2-6,0 0 5,-3 0-8,3-2 15,0 2-12,0-3 11,0 3 6,-2 0-12,2 0 14,0-3-17,-3 3 16,3 0-11,0 0 15,0-1-10,0 1-1,0 0 2,0 0-4,-2 0 1,2 0 0,0 0 0,0 0-1,0-3 0,0 3 1,-2 0-1,2 0 0,0 0 0,0 0 0,-3-3 0,3 3 5,0 0-4,-2 0 5,2 0 30,0-2-25,-2 2 28,2 0-35,-3 0 20,0 0-14,3-2 15,-2 2-15,2 0-4,-2 0 5,-1-3-2,3 3 1,-2 0 1,0 0 0,-1-2-3,1 2 6,-1 0-5,3-3 3,-2 3-9,0 0 7,2-2-7,-3 2 7,0-2-20,2 2 14,1-3-14,-3 3 17,3-3-15,-3 3 12,1-1-14,2 1 15,-2-3-12,-1 3 8,3 0-11,-2-3 10,-1 3-2,3-2 0,-2 2-2,0 0 4,2-2-2,-3 2 2,0 0 0,2-3 0,-2 3 0,3-2 0,-3 2 0,1 0 0,0-3 0,-1 3 0,3 0 0,-2-2 0,-1 2 0,1 0 21,2-2-15,-2 2 16,-1 0-18,3 0-1,-3-3 2,3 3-2,0 0 19,-1 0-14,1 0 15,0-3-15,0 3 12,0 0-8,0 0 10,0 0-4,0-1-4,0 1 8,0 0-10,0 0-17,0-3 11,0 3-13,0 0 15,0 0 3,0 0-2,0-3 2,-3 3-22,3 0 12,0-2-14,0 2 17,0 0-11,0-2 5,0 2-7,0 0 4,0-3 6,0 3-6,0 0 3,-3-2 2,3 2-2,0-3 2,0 3-1,0 0 1,0 0-1,0-2 1,0 2 0,0-2 0,0 2 0,-2 0 0,2-3 0,0 3 0,0-2 0,0 2 0,0-2 0,0 2-1,0-3 7,0 0-5,0 3 5,0-2-5,0 2-1,0-2 0,-2 2 0,2-2 1,0-1-7,0 3 6,0-3-5,0 2 5,-3-2 0,3 3 0,0-3 0,0 3-3,0-2 2,0 0-2,-2 2-5,2-3 5,0 3-5,0-2 6,0-1 3,0 3-3,0-2 4,0 0-4,0 2 3,0-3-2,0 1 4,0 2-4,0-2 2,0-1-1,0 0 2,0 3-2,0-2 0,0 0 0,0 2-3,0-3 2,0 3-3,0-2 4,0 0-9,0-1 6,0 3-7,0-2 9,0-1-14,0 3 9,0-2-10,0 0 12,0 2 5,0-3-2,-3 0 1,3 3 5,0-1-7,0 1 7,0-3 11,0 3-13,0-3 15,0 3-19,0-2 11,0 2-8,0-2 11,0 2-11,0 0 0,0-3 0,0 3 0,0 0-2,-2-2 0,2 2-1,0 0 1,0-3-4,-2 3 5,2 0-4,0-2 1,0 2 4,-3 0-6,3-2 4,0 2-2,0-3 2,-3 3 0,3 0 0,0-3 25,0 3-17,0-1 19,0 1-23,0-3 7,-1 3-5,1-3 7,0 3-8,0-2-6,0 2 5,0 0-4,0-2 2,0 2 4,-3 0-6,3-3 1,0 3 2,0 0-3,0 0 1,0-2 9,-3 2-9,3 0 8,0-3-7,0 3 8,0-2-5,0 2 5,0-2 12,-2 2-13,2-3 14,0 3-16,0-3-2,0 3 1,-2-1 2,2 1-6,0 0 6,0-3-5,0 3 4,0-3 5,-3 3-4,3 0 4,0 0-6,0-2 5,-2 2-3,2-2 3,0 2-10,0-3 4,-3 3-5,3 0 7,-2-2-5,2 2 4,0 0-3,-2-3 24,2 3-14,0-2 14,0 2-20,-3-2 0,3 2 1,0 0 0,-3-3 1,3 3-9,0 0 7,-1-3-6,1 3-8,0 0 11,0 0-12,-3-1 15,3 1-10,0 0 6,-3 0-8,3 0 13,0 0-4,-2-3 4,2 3-8,0 0 4,-2 0-4,2 0 5,-3 0-2,3-3 4,-2 3-3,2 0 3,-3 0 7,3 0-6,0 0 6,0-2-8,-2 2-8,2 0 6,0 0-7,-2 0 30,2 0-15,-3 0 14,3 0-19,0 0 2,-3 0-1,3 0 3,-1 0-2,1 0 12,-3 0-9,3 0 9,-3 0-24,3 0 10,-2 0-10,0 0 13,-1 0 5,3 0-3,-2 0 3,-1 0-6,1 0 1,2 0-2,-2 2 1,-1-2-53,1 0 40,0 0-42,-1 0 52,0 0-4,1 0 1,0 3-3,-1-3 0,1 0 0</inkml:trace>
  <inkml:trace contextRef="#ctx0" brushRef="#br0" timeOffset="218">1388 4735 9093,'0'-3'-21,"0"3"36,0 0-31,0 0 16,2 0 27,-2 0 21,0 0 5,0 0-12,0 0-2,0-3-13,0 3 18,0 0-20,0 0 5,0 0-6,0 0 7,0 0-15,-2-1 17,2 1-15,0 0 13,-3 0-46,3 0 28,0-3-30,-2 3 12,-1 0 20,3 0-24,0 0 26,-2 0-9,2 0 5,-2 0-6,2 0 2,0 0-49,-3 0-19,3 0 1,-3 0 9,3 0 52,-1 0-2,-2 0 0,0 0 0</inkml:trace>
  <inkml:trace contextRef="#ctx0" brushRef="#br0" timeOffset="219">3072 4968 9502,'-34'5'0,"15"-2"-288,2-1 74,-2 3-181,1-2 162,-1-3 364,2 4-18,-2-4 221,2 3-103,1-1-127,-4-2 10,3 0-123,0 0 16,0 0-5,1 0 17,-1 0 0,2 0 34,-2 0-37,1 0 38,1 0-62,1 0-17,-1 0-7,2 0-2,-1 0 9,5 0-23,-1 0-5,1 0 5,3 0 21,2 0 9,1 0-5,1 0 11,2 0 11,0 2-13,0-2 18,2 0-12,4 0 11,-2 0-8,5 3 40,4-3-27,-1 0 28,-1 0-30,7 0 51,-1 2-30,-1-2 34,1 0-43,2 3 43,1-3-26,-1 2 30,0-2-38,-2 2-6,1-2 11,1 0-39,-2 0 31,-1 3-32,4-3 33,-4 0-44,4 0 31,-3 0-34,2 0 37,0 0-18,0 0 7,3 0-9,-5 0 7,2-3-1,-1 3-4,1 0 1,-2-2-16,-3 0 18,4-1-17,-7 3-49,1-2 47,1-1-50,-4 1 63,1 0-42,-3-1 26,-3-1-30,2 4 34,-4-3-8,0 0-1,-2 3-3,3-2-5,-3 2 12,-3-2-15,3 2 14,-4 0 42,-2 0-30,2 0 34,-6 0 4,3 0-32,-2 0 37,-1 2-37,-5 0 37,4 1-22,-7 0 31,4-2-42,-3 5 62,0-4-45,-3 0 50,4 1-58,-1-1 3,-2 1-2,-1-1 4,1 0-14,0 1 15,-1-3-12,4 3-29,-4-3 30,4 1-34,-4-1 40,3 3-77,0-3 55,3 0-63,-1 0 76,3 0-42,2 3 29,3-3-36,0 0 37,4 0-21,1 0 4,2 0 13,0 0-12,2 0 28,4 0 36,-2 0-36,3-3 46,3 3-58,-2 0 59,1-3-42,1 2 49,0 1-56,-1 0 45,-2 0 7,3 0 10,0 0 12,-3 0-45,2 0 12,1 0-22,-3 0 1,3 0 2,-2 0 1,1 0-7,1 0 5,-3 0-7,3 0 9,-3 0-37,2 0 23,1 0-28,0 0 35,-1 0-26,1 0 19,0 0-23,-3 0 42,2-3-13,1 3 11,0-3-15,-1 1 14,1 0-8,0-1 11,-3 1-32,2-3 13,-1 3-13,-1-4 19,3 2-12,-3 1 10,0-1-9,1-1 10,-1 0-24,0 0 14,0-2-14,1 2 11,-1-2 65,-3 2-47,4-2 47,-1-1 17,0 1-51,0 3 58,0-4-29,1 1-24,-1 0 28,3 0-28,-3-1-35,0 1 31,3 0-29,-1 0 36,1-1-37,0 1 29,-2 0-26,1 0 25,-2-1-63,0 1-31,3 0 2,-3 0-121,-2 2 95,2 0-96,-1 0-63,-2-2 57,1 4-71,0 1 55,-3 0-4,-2-1 93,3 3-8,-3-2 127,0 2 0,0 0 0,0 0 0,-3 2 0</inkml:trace>
  <inkml:trace contextRef="#ctx0" brushRef="#br0" timeOffset="220">1376 4805 9502,'2'0'-489,"-2"0"445,2 0 51,-2 0-13,0 1 68,0-1 7,0 0-5,3 0 4,-3 0 0,0 0-5,0 3 6,0-3-1,2 0 8,-2 0-4,0 0 3,0 0 0,0 3-13,0-3 26,0 0-25,3 0 18,-3 2-15,0-2 5,0 0-4,0 0-10,2 2 7,-2-2-8,0 0-13,0 0 16,2 0-16,-2 3 26,0-3-43,0 0 28,3 0-33,-3 2-7,0-2 37,3 0-42,-3 0 47,0 0-45,1 3 29,-1-3-31,0 0 40,3 0-58,-3 0 41,3 0-46,-3 2-2,2-2 33,0 0-33,-2 0 17,0 0 24,3 0-31,-3 0 30,2 0-31,-2 0 24,3 0-27,-3 0 28,2 2-13,0-2 8,-2 0-9,3 0 10,-3 0 38,3 0-27,-2 0 32,2 0 19,0 0-41,-3 0 47,2 0-52,0 0-14,1 0 13,-3 0-12,2 3 5,1-3 10,-3 0-10,2 3 14,0-3-51,1 0 33,-3 0-37,3 1 36,-2-1-13,-1 0 3,0 3-4,3-3-28,0 0 31,-3 0-33,2 0 38,-2 3-29,0-3 21,2 0-23,1 0 16,-3 0 3,2 0-5,-2 0 7,0 0-9,3-3 3,-3 3-5,0 0 4,2 0-1,-2 0 0,2 0 0,-2-3 6,0 3 0,3 0 0,-3 0-1,0 0 0,0 0 0,2 0 0,-2-1-3,0 1 1,0 0-1,2 0 3,-2 0 1,0 0 0,3 0 1,-3 0-2,0 0 4,0 0-3,0 0 3,0 0 0,3 0-3,-3 0 3,0 0-2,0 0 1,0 0 0,2 0 0,-2 0-2,0 0 0,0 0 1,0 0 0,0 0-23,2 0 17,-2 0-19,0 0 25,0 0-4,0 0 2,0 0-3,0 0 7,3 0-7,-3 0 6,0 1 2,0-1-5,2 0 6,-2 0-7,0 0 22,0 0-16,0 0 19,0 0-23,0 0 22,0 0-16,2 0 19,-2 0-9,0 0-6,0 0 8,0 3-10,0-3-3,3 0 4,-3 0-3,0 0 0,0 0 1,0 0-3,0 0 4,0 0-9,0 0 6,2 0-9,-2 0 11,0 3-13,0-3 10,0 0-10,0 0 10,3 0 0,-3 0-1,0 0 0,0 0 4,0 2-2,0-2 3,2 0 11,-2 0-12,0 0 13,0 0-15,0 0 9,0 0-6,0 0 8,2 0-9,-2 0 0,0 0 0,0 0 1,3 0-14,-3 0 12,0 2-12,0-2 6,0 0 0,3 0-2,-3 0 2,0 0-1,0 0 5,0 0-9,0 0 9,1 3-9,-1-3 6,0 0-4,3 0 3,-3 0 0,0 2 0,0-2 0,3 0 2,-3 0-1,0 0 2,2 0-2,-2 0 0,0 0 0,0 0 0,2 3-11,-2-3 8,0 0-8,0 0 10,3 0 1,-3 0-1,0 2 1,0-2-1,2 0 0,-2 0 0,0 0 1,0 0 1,0 0-2,3 2 3,-3-2-4,0 0-10,0 0 7,2 0-7,-2 0 1,0 0 7,0 3-7,0-3 8,2 0 5,-2 0-5,0 3 5,0-3-7,3 0 5,-3 0-5,0 1 5,3-1 4,-3 0-6,0 0 7,1 0-2,-1 0-3,0 0 4,3 3-3,-3-3 5,0 0-3,0 0 4,3 0-6,-3 3-1,0-3 1,0 0 0,2 0 0,-2 0-2,0 0 1,2 2 0,-2-2 1,0 0-1,0 2 0,3-2 0,-3 0-69,0 0 49,2 3-52,-2-3 64,0 2-270,3-2 50,-3 3-86,0-3 159,2 2 155,-2 0 0,2 1 0</inkml:trace>
  <inkml:trace contextRef="#ctx0" brushRef="#br0" timeOffset="221">1233 4928 8939,'0'2'601,"0"-2"-471,0 0 68,0 0-71,0 0-42,0 0 11,0 0-15,0 2-13,0-2-46,0 0 28,0 0-30,0 0 33,0 0-43,0 3 17,0-3-22,0 0 33,0 0 7,0 0-6,0 2 4,0-2 24,3 0-18,-3 0 25,0 2-27,0-2 1,0 3-2,0-3-2,0 0 9,2 0 2,-2 0 0,2 2 3,-2-2-26,3 0 17,-3 0-17,3 0-51,-3 3 47,0-3-54,1 0 25,-1 0-16,3 0 0,0 0 2,-3 0 4,2 0-19,-2 0 2,2 2-4,1-2 29,-1 0-5,1 0-1,-3 0-5,2 0 24,0 0-22,1 0 21,-1 0 40,0 0-35,1 0 43,0 0-44,-1 0-3,0 0 6,1 0-3,-1 0-31,0 0 25,1 0-25,-1 0 33,1 0-44,-3 0-6,2 0-9,0 0 11,1 0 7,0 0 14,-2 0-29,2 0 27,-3 0-11,3 0 14,-1 0-13,0 0 40,-2 0-31,3 0 31,-1 0-4,-2 0-17,3 0 25,-3 0-29,2 0 22,-2 0-15,2 0 19,-2-2-19,3 2-9,-3 0 5,3 0-8,-3 0 13,1 0-1,-1 0 1,3 0-3,-3 0 6,3-3-5,-3 3 5,2 0 14,-2 0-13,2-2 14,-2 2-18,3 0 5,-3 0-3,0 0 5,0 0-5,2 0 1,-2 0-1,0 0 2,3 0-3,-3 0 3,2 0-3,-2 0 2,0 0-4,2 0 2,-2 0-4,3 0 2,-3 0 2,0-3-4,3 3 4,-3 0-1,1 0 1,-1 0 0,3 0 0,-3 0 0,0 0 0,3-2 0,-3 2 0,0 0 0,0 0 0,2 0 0,-2 0 0,2 0 0,-2 0 0,0 0 0,0 0 0,3 0 0,-1 0 0,-2 0 0,0 0 0,3 0 0,-1 0 9,-2 0-6,2 0 8,-2 0-10,0 0-1,0 0 0,3 0 1,-3 0 0,0 0-32,3 0 23,-3 0-25,0 0 28,0 0 2,0 0-3,1 0 1,-1 0-4,0 0-2,0 0-33,0 0 23,0 0-21,0 0 14,0 0 12,0 0-19,3 0 21,-3 0-7,0 0 8,0 0 20,0 0-14,0 0 16,0 0-25,3 0 17,-3 0-11,0 0 13,0 0-9,0 0 18,2 0-10,-2 0 12,0 0-16,0 0-4,0 0 8,0 0-5,2 0 3,-2 0-3,0 0 2,0 0-27,0 0 19,0 0-21,0 0 23,0 0 6,0 0-7,3 0 0,-3 0 10,0 0-12,0 0 25,0 0-10,0 0 22,0 0-15,2 0 5,-2 0-4,0 0-9,0 0 28,0 0-23,0 0 14,0 0-19,0 0 1,0 2 0,0-2 1,0 0-25,0 0 19,0 0-21,0 3 27,0-3-52,0 0 37,0 0-43,0 0 51,0 2-19,0-2 12,0 0-16,0 3 17,0-3 8,-2 0-7,2 0 7,0 2-12,0-2 24,0 0-16,0 0 54,0 0-49,0 2 32,0-2-36,-3 0 11,3 0-8,0 0 11,0 3-9,0-3-2,0 0 1,0 0-3,0 0-3,0 0 7,0 3-8,0-3 14,0 0-5,3 0 4,-3 2-7,0-2 35,0 0-24,0 0 27,2 0-34,-2 0-2,0 2 1,3-2 1,-3 0 3,0 0 0,2 0 0,0 0 0,-2 0-10,3 0 10,0 0-11,-2 0 7,-1 0 0,6 0-2,-6 0 4,2 0 12,0 0-10,1 0 9,-3 0-12,2 0 17,1 0-11,-3 0 13,2-2-15,0 2-2,-2 0 4,3 0-4,-3 0-10,3 0 9,-2 0-10,-1 0-4,0 0 12,3 0-13,0 0 14,-3 0-11,2 0 7,-2 0-9,2 0 10,1 0-3,-3 0 0,2 0-1,-2 0 0,3 0-8,-3-2 5,2 2-6,-2 0 9,2 0-13,1 0 8,-3 0-9,2 0-5,-2 0 13,2 0-16,-2 0 18,3 0 4,-3 0-3,3 0 2,-3 0 10,2 0-12,-2 0 12,2 0-14,-2 0 7,3 0-2,-3 0 3,2 0-2,-2 0 4,2 0 0,1 0 2,-3 0-5,0-3-1,2 3 1,-2 0-13,3 0 10,-1 0-10,-2 0 12,0 0-15,2 0 10,1 0-10,-3 0 11,3 0-19,-3 0 13,0 0-15,1 0 18,-1 0 0,3 0-2,-3 0 9,0 0-7,3 0 8,-3 0-10,2 0 16,-2 0-11,0 0 12,0 0-13,2 0 13,-2 0-8,0 0 12,3 0-14,-3 0 3,0 0-3,2 0 3,-2 0-36,3 0 26,-3 0-27,0 0 29,2 0 3,-2 0-5,0 0 3,2 0-15,-2 0 11,0 0-14,3 0 15,-3 0 3,3 0-3,-3 0 3,0 0-6,1 0 2,-1 0 0,3 0 1,-3 0 18,3 0-12,-3 0 14,0 0-26,0 0 6,2 0-6,-2 0 7,0 0 0,2 0 0,-2 0 0,0 0 2,0 0 14,3 0-12,-3 0 13,0 0-16,2 0 16,-2 0-10,3 0 11,-3 0-14,0 0 11,0 0-8,2 0 9,-2 0-14,0 0 5,0 0-6,0 0-5,2 0 7,-2-3-8,0 3 12,0 0-17,0 0 11,0 0-14,0 0 15,0 0 9,3 0-5,-3 0 4,0-2 40,0 2-35,0 0 37,0 0-46,0 0 12,0-2-6,0 2 11,0 0-11,0 0 5,0-3-4,0 3 6,0-2-16,0 2 14,0 0-15,0-3 14,0 3-14,0-2 7,0 2-8,0 0 6,0-2 2,0 2-4,0 0 3,0-3 3,0 3 0,0-2 3,0 2 0,0-2-2,0 2 3,0-3-5,0 3 7,0-3-3,0 3 4,0-2-6,2 2 25,-2-2-16,0 2 17,0-3-14,0 3-2,0-2 5,0 2-5,2 0-13,-2-2 6,0 2-4,0 0 7,0-3-14,0 3 10,0-2-14,0 2 30,3 0-9,-3 0 9,0 0-14,0 0-7,0-3 3,2 3-3,-2 0 5,0 0 35,0 0-23,0 0 24,3 0-18,-3 0-8,0-2 12,0 2 6,0 0-11,2 0 11,-2-2-15,0 2-28,0 0 20,0-3-21,0 3 27,2-3-157,-2 2 34,0 1-108,0-3 126,-2 0 44,2 3 45,-2-2 0,-1 0 0</inkml:trace>
  <inkml:trace contextRef="#ctx0" brushRef="#br0" timeOffset="222">2536 4949 9502,'3'0'-911,"-3"2"747,2 1 92,-2-3 72,3 3 0,-3-3 0,2 2 0,-2-2 0,2 2 0,-2-2-69,3 3 52,-3-3-51,2 2 69,-2 0 42,0-2 11,2 3 2,-2-3-5,0 2 21,0 1-37,3-3 45,-3 2-4,0-2-40,0 0 47,0 2-29,0-2-5,0 0 15,0 3-13,0-3 45,0 0 25,0 0 152,0 0-114,0 3 112,0-3-179,0 0 29,0 0-32,-3 0 3,1 0 5,-3 0-1,-2 0 1,-2 0-75,-1 0 55,-2 0-48,-1 0 57,-3 0-39,-4 0 15,-2-3-29,1 0-45,-3-1 29,0-1-91,-3 0-35,3 0 14,-2 1-64,1-2 96,1 2-130,2-1 71,3 0-87,-3 0 46,5 1-55,1-2 9,1 2-44,1 1 37,1-1-14,2 1 100,1 1-4,1-1 134,-1 3 0,5-2 0,-5 2 0</inkml:trace>
  <inkml:trace contextRef="#ctx0" brushRef="#br0" timeOffset="223">2616 4980 9502,'-17'0'-271,"9"0"60,-1 0 92,-1 0 172,1 0-4,-3 0 123,2 0-67,-2 0 16,0 0-50,-2 0 17,-1 0-71,3-2-11,0 2 2,-3 0 6,1-2-14,2-1 37,-1 3-46,4-2-7,-3 2-13,4 0-13,1 0 21,0 0-4,2 0-10,3 0-19,2 0-39,0 0 75,0 0-45,5 0 57,2 2 24,5 1-18,0-3 25,1 2 18,3-2 14,-2 2 4,4-2 31,-1 3-77,-1-3 39,1 0-42,1 0 65,-2 0-46,-2 0 55,1 0-58,2 0 24,-3 0-17,1 0 20,1 0-21,-1 0-19,2 0 15,-3 0-23,1 0-22,2 0 31,-1 0-38,-1 0 15,2 0 22,-2 0-24,2 0 22,-1 0-20,1 0 8,-2 0-10,-1 0 14,1 0-18,2 0 8,-3 0-12,1 0 17,-1 0-13,1 0 7,-1 0-9,3 0 4,-3 0 10,3 0-8,-2 0-33,-1 0 29,1 0-31,2 0 37,-3-3-11,1 1 5,-1 0-8,1-3 8,-3 2-65,-1-1 42,-1 1-46,2-1 55,-5-2-50,3 4-23,-2-3-94,-1 0 28,-3 1-31,2 1 76,-2-1-65,-1 1 124,-1-2-46,3 0 108,-3 3 0,5-3 0</inkml:trace>
  <inkml:trace contextRef="#ctx0" brushRef="#br0" timeOffset="224">2467 4957 9502,'-6'0'-182,"4"0"155,0 0-11,-3 2 68,0-2 20,0 0-2,1 0 50,-4 0-59,-2 0 57,0 0-10,-1 0 16,-1 0-15,-3 0 17,-2 0-87,0 0 54,1 0-58,-1-2 81,-2-1-49,1 3 21,-1-3-33,-1 3-14,4-2 50,-4 2-47,6-2 53,-5 2-56,2 0-2,0-3-8,0 3-33,3 0 12,-4 0 6,2 0-3,-1 0 7,0 0 20,2 0-22,-1 0-40,-1 0 60,2 0-73,1 0 75,-1 0-12,5 0 11,-1 0-10,-1 0 72,2 0-56,0 0 56,1 0-64,2 0 38,-1 0-24,1 0 28,0 0-29,0 0-2,1 0 9,-1 0 2,2 0-3,-2 0-14,3 0 7,-4 0-50,3 0 43,-2 0-28,-1 0 35,1 0-39,0 0 26,0 0-35,-1 3 39,-1-3-15,2 0 10,-3 0-12,3 2 13,0-2-2,0 0 1,-3 0 0,2 0-2,1 0 1,-2 0 0,2 0 1,0 0-13,-3 0 10,2 0-10,-2 0-11,1 0 15,-1 0-17,3 0 22,-3 0-20,3 0 13,0 0-17,0 0 20,-3 0-14,6 0 10,-3 0-13,-1 0 13,3 0-6,-2 0 5,-1 0-3,4 0-1,-3 0 3,-1 0-2,1 0 2,0 0-15,2 0 11,-2 0-11,0 0-13,2 2 20,-3-2-22,4 0 26,-3 0-9,2 0 6,-2 0-9,1 0 14,2 3-7,-1-3 7,0 0-9,0 0 22,3 0-17,-3 3 18,1-3-5,1 0-7,-2 2 10,0-2-11,0 0-6,3 2 6,-3-2-5,1 0 6,-2 3-13,-1-3 10,2 0-10,1 2 13,-2-2 1,-1 2-1,3 1 0,-4-3-20,4 2 13,-3 1-14,1-3 13,-1 2 2,2-2-3,-2 2 3,3-2 0,-4 3-1,3 0 2,-2-2-1,2 2 4,-2-3-5,3 3 4,-6-1-6,5 0 11,-2 1-8,-3-3 9,3 2-44,-1 1 26,1-1-26,-3 0-4,1 1 27,2-3-30,-3 3 33,3-2-55,-5 2 35,5 0-38,-6-1 47,4 0-10,-1 1-4,0-1-10,-2 1-43,0-1 41,0 3-41,0-2 57,2 1-35,-2-1 21,1 1-22,1-1 42,0 2-10,1-3 13,-1 3-25,2-5 63,4 4-47,-3-1 52,-1 0-56,3-1 40,3 0-31,-3 1 38,3-3-12,-1 2-7,0 1 14,3-3 5,0 0 31,0 0 37,0 0-15,6 0-16,-2 0 42,4-3-22,-1 1 87,3-1-85,2-1 89,-1 1-61,2-4 96,3 4-50,-1-4-18,2 5-27,0-3-14,2 0-46,-2 1 48,2 1-43,3-2-9,-3 3-22,3-3-8,0 2 21,-2 1-11,1-3-6,1 5-25,0-4 19,-3 1-35,0 0 61,-2 3-68,2-2 21,-2 0 21,0-1-30,-2 3 41,-1-2-32,1 2 22,-3-3-24,2 1 21,1 2 10,-1-2-16,0 2 10,1-3-9,-3 3 1,5-3 0,-3 2 7,1 1 5,-1 0-3,1-3 3,-1 3-5,1-3 6,-3 3-3,2-2 5,-2 2-5,2-2-1,-1-1 3,-1 1-2,0 2-3,0-3 2,-3 1-2,4 2 0,-4-2 3,1 2-3,0-3 2,2 3-22,-5 0 15,5 0-17,-2 0 4,0 0 12,1 0-13,-1 0 16,-1 0-28,4 0 19,-1 0-22,0 0 24,0 0-2,0 0-1,-2 0 1,2-2 2,-1 2-2,2 0 3,-1 0 6,0 0-7,0 0 7,-3-2-8,4 2-5,-4 0 5,1 0-4,2 0-14,-2 0 17,0 0-17,2 0 18,-1 0-44,-1 0 30,0 0-33,2 0 39,0 0-33,0 0 21,0 0-23,-2 0 28,2 0-2,0 0 0,0 0-4,0 2-19,0-2 13,1 2-15,-4-2 25,3 3-2,-3-3 4,1 0-5,0 2 13,-1-2-8,1 0 7,-2 2-11,-1-2 10,0 3-5,0-3 8,-2 0-35,2 0 14,-2 0-15,0 0 24,2 0-59,-2 0 46,0 0-47,2 0 8,-2 2-7,-1-2-15,4 0 18,-1 3 4,0-3 25,-1 0-38,-2 0 36,3 0-8,-2 2 9,0-2-3,0 0-40,-1 0 52,-1 0-16,2 2 65,-3-2 0,3 0 0,-2 3 0,-1-3 0,3 3 0,2 1 0</inkml:trace>
  <inkml:trace contextRef="#ctx0" brushRef="#br0" timeOffset="225">2162 4980 9502,'-17'0'-355,"7"-2"74,-1 2 113,1 0 154,-2-2 28,-3 2 60,1-3 42,-3 1-34,-2 2 9,0 0-11,-3-3 12,-3 1-38,1 2 42,0-2-50,-3 2 69,1-3-47,2 1 58,-3 2-107,1-2 33,2-1-24,-5 3 33,4-3-51,2 3-19,-2-2-11,1 2-29,0 0 30,-3 0 1,4 0-4,-2 0-8,3 0 26,-1 0-36,-1 0 41,-1 0-3,3 0-10,1 0 6,-3 0-40,2 0 41,-2 0-41,-1 2 46,2-2-23,1 3 14,1 2-13,-4-3 12,3 1 0,1-1 0,2 0-3,-1 1-45,3 2-14,0-3-4,3 0 14,-1 4-140,5-5 147,-1 2-136,3 0 191,1 1 0,0-1 0</inkml:trace>
  <inkml:trace contextRef="#ctx0" brushRef="#br0" timeOffset="226">2186 4986 13907,'-9'0'585,"2"0"-467,-3 0-34,-2 0-63,-3 0 42,-4 0-45,-3 0 62</inkml:trace>
  <inkml:trace contextRef="#ctx0" brushRef="#br0" timeOffset="227">1711 4964 15438,'0'0'1,"-22"-3"-172,-2 1 61,0 0-121,2-1-17,2 3 94,6-3-13,0 3 97,4 0 62,0-2 0,1 2 0</inkml:trace>
  <inkml:trace contextRef="#ctx0" brushRef="#br1" timeOffset="228">2063 4951 9502,'-2'0'-1228,"2"0"1156,-3 0 72,1-2 0,2 2 34,-2 0-23,-1 0 26,3 0-42,-3 0 8,3 0-8,-1 0 10,-2 0-5,0 0 4,1 0-5,-3 0-26,3 0 23,-3 0-26,0 0 32,1 0-2,-4 0 0,-2 0 0</inkml:trace>
  <inkml:trace contextRef="#ctx0" brushRef="#br1" timeOffset="229">2037 4957 10250,'0'0'2,"4"0"5,2 0-1,-5 0 2,5 0 0,-2 0-3,-1 0 4,2 0-4,-3 0 7,3 0-5,-2 0 4,1 0-5,1 0 1,0 0-1,-3 0 0,3 0 3,0 2-3,-1-2 3,2 0-3,-2 0 6,1 0-3,-2 0 3,1 2-5,1-2-8,0 0 8,-2 0-7,1 3 4,-1-3 1,1 0-3,-1 0-6,2 0 8,-3 2-8,3-2 9,-2 0-5,1 0 1,-1 2-2,1-2 4,1 3-3,-2-3 1,1 0-2,-1 0 3,1 0-5,2 0 2,-4 2-4,3-2 7,-3 0-2,3 0 3,-3 3-2,4-3 3,-5 0-3,2 0 4,2 0-6,-3 0 1,1 0 0,-1 0 1,1 2 4,-1-2-3,3 0 3,-2 0 6,-2 0-6,2 0 6,0 0-8,1 0-4,-1 0 3,2 0-4,-3 0 6,3 0 8,-1 0-6,-1 0 7,0 0-4,1 0-3,-1 0 4,2 0-4,-5 0-15,2 0 10,0 0-10,1 0 13,0 0-61,-2 0-15,2 0-7,-3 0 19,5 0 56,-3 2 4,3-2 0,2 3 0</inkml:trace>
  <inkml:trace contextRef="#ctx0" brushRef="#br1" timeOffset="230">888 5038 8206,'3'0'0,"-3"0"20,1-2-14,-1 2 15,3 0 42,0-2-42,-3 2 47,2 0-58,0-3 13,1 3-8,-3 0 11,2-2-2,1 2-2,-3 0 4,2-3 0,0 3 13,-2 0-3,3-2 6,0 2-12,-3 0-12,1-2 6,-1 2-6,3-3 20,0 3-12,-1 0 13,-2 0-15,2-3-14,1 2 11,-1 1-7,1-3 10,-1 3-3,0 0 1,4-3-5,-2 3-2,-1-2 6,1 2-6,1-2 9,0 2-17,3-3 9,-4 3-9,3-2-19,1 2 23,-1 0-26,0 0 31,0-3-32,1 3 23,-1 0-24,0 0 20,3 0 3,-3 0-5,2 0 3,-1 0 15,1 0-12,-1 0 10,2 0-11,-3 0 6,0 0-4,2 0 6,1 0 7,-3 0-8,3 0 10,-1 0-8,1 3 5,0-3-2,-2 0 5,1 0-19,-2 0 7,3 0-9,-3 0 10,0 0-18,1 0 15,-1 0-16,-3 0 18,2 0-20,1 0 13,-2 0-15,-1 2 22,1-2-5,0 0 4,0 0-8,2 0 27,-2 0-21,0 0 22,-1 0-5,2 0-13,-2 0 17,3 0-19,-2 0-1,0 0 1,0 0 0,2 0 2,-2 0-22,2 0 16,-2 0-16,0 0 9,5 0-2,-6 0-3,4 0 1,-4 0 4,3 0 0,1-2-2,-1 2-6,0-3 9,0 3-10,1 0 11,-1-2 5,0 2-4,0-2 5,1-1-7,-1 0 20,0 2-14,0 1 16,1-3-12,-3 0-4,2 3 5,-2-2-2,-1 0-6,2 2 5,-2-3-5,1 1-3,0 2 6,0-3-6,-1 1 7,2 2-3,-2-2 0,1 2 0,-3 0 1,3-3 0,0 3 1,-3-2-2,3 2 10,-3 0-6,6 0 5,-6 0-8,3 0 17,2-2-11,-4 2 14,1 0-17,1 0 3,0 0-3,0 0 4,-2 0-6,1 0 4,1 0-4,0 0 5,-3 0 5,5 0-2,-4 0 4,1 0-11,2 0 3,-2 0-5,1 2-6,0-2 7,3 0-7,-7 0 9,5 0-15,1 2 10,-2-2-12,-1 0 15,-1 3-7</inkml:trace>
  <inkml:trace contextRef="#ctx0" brushRef="#br0" timeOffset="231">1588 4983 10825,'-15'0'5,"-7"0"-92,1 0 63,-6 3-112,-1-3 25,3 1 3,-1 2-10,4 2 50,0-3-33,1 1 43,-1-1-15,3 1 11,13-1 51</inkml:trace>
  <inkml:trace contextRef="#ctx0" brushRef="#br0" timeOffset="232">1276 5012 9788,'-14'0'-32,"-2"3"-7,8-3 18</inkml:trace>
  <inkml:trace contextRef="#ctx0" brushRef="#br0" timeOffset="233">1180 5019 9555,'-10'0'-17,"-1"0"-18,-4 0-32,2 0 28,-1 3-24,2-3 30,0 2-38,2-2 27,1 2-28,-1-2 29,1 3 2,1-3-6,1 2-40,4-2 72</inkml:trace>
  <inkml:trace contextRef="#ctx0" brushRef="#br0" timeOffset="234">975 5038 9769,'12'-4'75,"2"-4"-36,3 4 25,-2-3-9,4 1 9,-2-1-9,2 2 8,3 1-61,-1-2 35,1 2-38,-2 1-14,2 1 51,0 0-56,-1-1 26,1 1-17,0-1 2,-1 3 2,1-2 34,2 2-5,-4 0 1,3 0-14,-6 0-23,2 0 12,-1 0-15,-1 0-7,-1 0 30,-1 0-34,2 0 39,-6 0-69,7 0 50,-4 2-55,1-2 13,1 3-20,-2-3 0,4 0 2,-1 0 9,2 2 17,-2-2-24,-2 0 38</inkml:trace>
  <inkml:trace contextRef="#ctx0" brushRef="#br0" timeOffset="235">2536 4986 9502,'-4'0'0,"-2"0"4,5 0 1,-7 1 58,3 2 91,-4-3-4,-6 3 57,1-3-76,-6 2-45,-4-2 4,3 0-40,-1 0 23,5 0 2,0 0-35,-2 0-10,-3 0-8,0 0 9,0 0 33,1-2 1,-4 2-1,3 0 1,1 0-54,-1-3-12,-2 3-24,3 0 9,-1 0 23,0-3 0,1 3 5,-1-1 5,2 1-7,-2 0-4,6 0-23,-4 0-1,1-3 24,2 3 8,2 0 16,-1 0-2,-1 0-69,2 0-13,-2 0-58,-5 0 1,-1 0-139,-6 0 61,2 0-85,1 0 102,-1-3-154,3 3 65,-2 0-123,4-2 221,-3 2 58,4-2 105,-1 2 0,0-3 0</inkml:trace>
  <inkml:trace contextRef="#ctx0" brushRef="#br0" timeOffset="236">3074 5058 9392,'-5'0'308,"1"0"-208,-2 0 12,-1 0-1,-2 0-82,-5-3 60,-4 3-66,-1-4-9,-5-2-1,5 2-73,-3-1 58,5 3 11,3-1 35,-5-2-1,1 3-40,-1-3-7,-1 1-24,1 1 5,0-2 13,2 3 0,-2-1 11,2 1 3,0-1-77,1 1-20,-2 0-101,-6-1 46,5 0-177,-7 2 107,7-2-119,1 3 197,9 0 54,1 0 86,4 0 0,-1 3 0</inkml:trace>
  <inkml:trace contextRef="#ctx0" brushRef="#br0" timeOffset="237">2092 5002 8648,'3'0'69,"-1"0"46,0 0-19,-2 0-15,3 0 40,-3 0-13,0 0 69,-3 0-53,-1 0 6,1 0-109</inkml:trace>
  <inkml:trace contextRef="#ctx0" brushRef="#br0" timeOffset="238">1457 5000 11200,'-21'0'-53,"-1"-3"-1,-2 3 20,3 0-1,1 0-73,3 0-15,0 0-24,0 0 11,1 0 57,-1 0 5,-1 0-12,-1 0-179,-5 0 35,0 0-95,3 0-58,1 0 117,3 0-13,3 0 144,-1 0 135,5 0 0,1-2 0,1 2 0</inkml:trace>
  <inkml:trace contextRef="#ctx0" brushRef="#br0" timeOffset="239">999 5092 9502,'0'2'573,"-2"-2"-413,2 2-29,0-2-12,0 0 10,-3 0-9,3 3-8,-2-3 14,2 0-15,-3 0 35,1 0-52,0 0 42,-1 0-45,-1 0 40,-2 0-44,2 0 45,-1 0-45,0 0-16,0 0 32,-5 0-62,3 0 14,0 0-19,-2 0 2,-1 0 9,-2 3-8,-1-3 29,-1 1-37,-1 5 49,1-4-78,-1 3 7,-1 0-75,-1-1 7,0 3 0,2 1 15,-1-3 28,-1-1-3,-1 4 1,4-1-18,-2 0 18,3-2-17,-1 2 41,-1 0-43,1-1-1,14-6 35</inkml:trace>
  <inkml:trace contextRef="#ctx0" brushRef="#br0" timeOffset="240">649 5167 11836,'12'-8'-41,"8"1"-13,-1 0 47,-2 2-47,2-3 53,0 1-25,-2 0 17,0 2-18,0-2-8,-3 3 14,1-2-15,-1 2 23,-1-1-36,1 0-13,-2 3-4,0-4 10,0 5 29,-3-2 7,4 3-11,-4-3-58,4 1 32,-4 0-38,1-1 53,0 3-22,-3-2 13,5-1-19,-5 1-44,3 2 52,-1-2-54,-2-1 67,3 3-21,0-3 14,-3 3-25,1-1 63,1 1-37,-2-3 38,-2 3-40,3-3 17,-4 3-17,1 0 16,-3-2 10,1 2-13,-1 0 27,1 0-30,-1-2-22,-2 2 16,0 0-15,0 0 23,0-3 75,0 3-55,-2 0 51,-3 0-23,-2 0 5,0 0 9,-6 0-9,1 0 24,0 0-40,-2 3 45,-3-1-30,-2-2-18,-1 5 32,-2-2-32,0 1 37,1 1-27,-6-3 30,1 3-30,4 0 7,1 0-17,4-1-1,-1-1-1,2 2 3,-1 0 9,0-3 0,0 3-14,-3 0-2,4-1-30,-4 2-2,11-4 30</inkml:trace>
  <inkml:trace contextRef="#ctx0" brushRef="#br0" timeOffset="241">1127 5034 9425,'3'0'193,"-2"0"-192,-1 0 94,0 0-125,-1 0 100,-7 0-42,-2 0 3,-1 0-6,-4 0-15,-5 0 13,1 2-29,-5-2 6,2 2-71,3 1 46,2 0 6,1-2 30,-2 2 3,1 0-39,-5-1-12,6 0-26,-4 3 6,1-2 16,0 1-1,-1 2-15,1-2-1,2-1-2,-2 4 3,0-2 7,2-1 1,0 2 7,0-2 2,0-1-150,-2 4 133,-1-2-115,1 2 172,2-3 0,1 4 0</inkml:trace>
  <inkml:trace contextRef="#ctx0" brushRef="#br0" timeOffset="242">753 5092 9502,'0'-5'164,"-3"5"-14,1-3 24,0 3 13,-4 0 35,-1 0-29,-2 0-42,-4 0-28,-1 3-21,-5-1 29,7 3-93</inkml:trace>
  <inkml:trace contextRef="#ctx0" brushRef="#br0" timeOffset="243">649 5159 12600,'0'0'0,"26"-10"-18,-1 3 17,-1-3-61,-2 3 20,-3 0-118,3-2-64,-3 2 53,1 1-70,-4-1 90,4 2-107,-6 1 49,5-3-90,-2 4 87,0-2-9,0 0 2,-3 3-13,4-1-22,-2 1 7,1 0 31,-2-1 1,-1 3 126,1 0-46,-1 0 50,-2-3 2,-2 3-3,0 0 11,-6 0 36,-1 0 15,1 0 47,-6 3-42,-3-3 150,-7 5-103,-2-3 145,-6 6-28,-3-4-67,3 2 42,-2-2-62,6-1 1,-2 1 55,1-1 16,-2 2 16,0-1-8,-3 2-50,1-2-2,-1 1-10,0 2 0,-2-2 20,-1 2 6,2-2 3,-2 2-3,-4 0-22,5 1-1,5-1-16</inkml:trace>
  <inkml:trace contextRef="#ctx0" brushRef="#br0" timeOffset="244">1007 5051 9502,'-10'4'-46,"5"-1"119,-2-1-31,0 1 78,-1-1-32,-2 0 43,0 1 39,1 0-30,-5-2 45,-1 2-110,-2 0-4,-2 1-15,-3-1 15,-2 2-60,0 2 36,-3 0-110,6-2 63,2 2-38,4-2-6,-2 0-4,2-1 7,1 4 24,-1-3 1,4 2 4</inkml:trace>
  <inkml:trace contextRef="#ctx0" brushRef="#br0" timeOffset="245">84 5312 9502,'-19'14'-155,"7"-9"53,2 2-82,3-3 60,-3 4 79,3-3-32,2-3 82,-2 0-57,5 1 28,0-3-17,-1 0 14,3 0 15,0 0 26,3 0-30,1-3 156,1 1-29,2-3 108,3 1-115,0-2 130,2 2-91,-2-1 106,1-2-13,4 2-43,-3-3 53,2 4-50,-1-3-39,1-1 11,1 4-48,-1-6 40,1 3-84,-1-1 15,-2 1-26,5 0-93,-1 0 63,4-1-125,-1-2 121,0 3-89,3 0 81,0-2-105,2 2 22,3-3 28,0 0 13,-1 1 44,-2 1-8,5-2-9,-2 1 1,2-1-4,-3 3-43,0-3 31,1 3-34,-3 0 55,0 0-136,1-1 24,-6 4-122,-2 1-108,-3-1 71,-5 1-104,1 0 123,-2 1-153,-6 0 67,0-1 4,-2 3 156,-2-2 164,-5 2 0,0 0 0,-6 2 0</inkml:trace>
  <inkml:trace contextRef="#ctx0" brushRef="#br0" timeOffset="246">697 5099 9502,'3'3'-49,"-1"-3"57,-2 0-32,2 1 68,-2 2 191,3 0-15,-3-3 124,0 2-160,-3-2-32,-1 2-74,-1 1 38,-5-1 14,0-2-11,-4 3 11,-1-1-55,-1 0-10,-1 1-4,-2-3 22,-3 4-12,-2-1-2,-3 0-14,1 1-96,-3-1 60,0 1-100,-2 1 82,9-2 2,-3 1-29,11-1-15,-1 0-34,-1 1 8,2-1-6,-8 1 62,0-1-174,-7 4 102,5-2-120,-1 2 58,6-2 30,2 2-15,5-2 7,2 0-14,3-2 19,3 1 10,-1 1 7,2-3 81,1 1-23,2-1 34,-2 1 62,2-3-50,0 2 89,2-2-86,-2 0 85,2 0-66,6 0 90,-1-2 73,5 2-23,0-5 50,3 0-48,-1-3-24,3 4 12,0-3 5,2-1-23,-2 1 36,2 0-2,1 0 27,-1-1-96,0 4 19,3-3-57,-1 1 41,4 2-76,-3-4-3,4 4-81,-2 1-55,2-4 32,2 4-75,0-1 102,-4-1-85,5 3 73,-3-1-109,1-2 112,-3 1-52,0 1 95,-2 0-62,-5 2 85,0-5-55,-5 4 51,-3 0-52,-3 2 86,-2-3-58,-4 1 64,0 2-60,0 0-2,0 0 11,-2 0-6,-3 0 30,1 0-21,-4 0 22,-2 0-12,-1 0-8,-2 2 7,-2 1-12,-1 1-8,-4 2 5,4-5-6,-4 5 6,1 1-39,-3 0 27,3-2-29,-2 2-8,-4 0 35,3 3-40,-4-3 52,7 1-3,-1-1-31,6-3-8,-3 1-40,3 2 0,-3-1 31,2-2 9,1 3-23,-3-2-13,0 0-34,3 3 7,-3-4 23,2 1 1,-2 2 23,2-2 5,-1 3-26,4-4-10,-3 1-73,-7 2-6,6 0-6,-8 6-39,5-6 52,-1 0-12,3 2 99,7-3 36,-1 1 52,3 0 0,1 0 0</inkml:trace>
  <inkml:trace contextRef="#ctx0" brushRef="#br0" timeOffset="247">787 5123 9502,'2'2'-432,"-2"-2"532,2 0-6,-2 3-46,0-3 176,0 0-34,0 2 155,-4-2-132,-4 2-13,-2-2-70,-4 0-2,-2 0-54,-4 3 30,-4 0-31,0-1-6,2 0-12,0 1-52,8-1 0,-3 0 18,0 1 7,-3-1 27,4 1 1,-1 1-30,-2-1-8,2 2-36,-2 0 0,1-1 31,-1-1 10,2 4-46,1-2-19,-1-1-47,0 4 9,0-3 46,0 0 3,3 2 4,-5 0-145,-3 3 43,0 2-100,0-2 90,5-3-118,0 0 52,5 1-97,2-4 11,6-1-14,1-3 95,1 2 30,0-2 180,2-2 0,2 2 0</inkml:trace>
  <inkml:trace contextRef="#ctx0" brushRef="#br0" timeOffset="248">178 5287 9502,'10'-3'-233,"-5"2"55,0 1 83,2-3 245,-2 3-23,2-3 190,0 3-107,3-2-37,-1 0-39,-1 2-17,4-3 22,-3 1-12,4-1 12,-1 1-25,0 0-2,2-4 15,1 5-11,2-5-16,0 4 7,7-3-11,0-2-23,-2 2-3,-3 1-30,-2 1 7,2 0 13,-2-1-1,5-1-7,0 0 1,1 3-47,4-4-11,-3 2-26,5-1 7,2 0 19,-6 0 0,1 3-3,-7 0 20,3-1 6,0-1 20,-1 1-88,1 0-21,0 1-87,-1 0 23,4 2 6,-1-3 46,3 1 6,-1-1 23,-4 3 1,-1 0-450,1 0 361,2 0-330,1-2 472,-3 2 0,-1-2 0</inkml:trace>
  <inkml:trace contextRef="#ctx0" brushRef="#br0" timeOffset="249">4281 3279 9502,'2'-2'-1075,"-2"2"1003,0 0 72,0 0 0,0 0 0,3 0 0,-3 0 0,0 0 0,0 0 0,0 0 0,0 0 0,0 0 0,0 0 0,2 0-11,-2 0 78,0 0-10,0 0 79,0 0-55,0 0 98,0 0-67,0 0 102,0 0 78,2 0 42,-2 0 174,0 0-129,0 0 1556,0 0-1349,0 0 1146,0 0-1601,-2 0-56,2 0-14,-2 0 14,2 0 4,-3 0 30,1 0-24,2 0-1,-2 0-122,-1 0 58,0-2-93,3 2 52,-4 0-42,4 0 5,-3 0-58,1 0 46,0 0 41,-1 0 8,1 0 46,-1 0-3,1 0 4,0 0 7,-1 0-11,0 0-64,3 0 47,-1 0-46,-2 0 2,0 0 46,3 0-48,-2 0 55,0 0-75,2 0 7,-3 0-64,3 0 6,-2 0-3,-1 0 12,3 2 24,-2-2-24,0 0-3,2 0-24,-3 0 23,3 2 85,-3-2-19,2 0 26,1 3 16,0-3 6,-3 0 10,0 2-11,3-2-1,-2 3-25,2-3 31,0 2 10,-2-2-9,2 2 31,0 1-29,-3-3 4,3 3-1,0-3 10,0 1 2,-2-1-19,2 3-3,0 0-3,0-3-16,0 2 11,-3-2-12,3 2 13,0 1-11,0-3 7,-2 2-8,2-2 11,0 3-2,0-1 2,0 0-4,-2-2 53,2 3-37,0-3 39,0 3-49,0-2 37,0-1-23,-3 3 27,3-3-27,0 3-5,0-1 9,0-2-30,-3 2 22,3-2-22,0 0 26,0 3-4,0-3 1,0 2-2,0-2-4,-1 3 28,1-3-23,0 2 22,0-2-34,0 0 8,0 2-8,0-2 11,0 3-25,-3-3 18,3 3-17,0-3-24,0 1 33,0-1-36,0 3 42,0-3 4,0 3-7,0-3 3,-3 2-8,3 0 52,0-2-41,0 3 42,0-3 7,-2 2 16,2-2 7,0 3-16,0-1-64,0-2 18,0 2-13,-2-2-12,2 3 24,0-3-27,0 3 42,0-3-19,0 1 13,0-1-18,0 3 13,0-3-21,0 3 16,0-3-20,0 2 9,0-2-6,0 2-1,0-2 9,0 3-66,0-3 55,0 0-58,0 2 28,0-2 27,0 0-34,0 3 39,0-3 2,0 2-2,0-2-1,0 2-5,0-2 18,2 0-13,-2 3 18,0-3-15,0 2-3,0-2 7,2 2-3,-2-2 3,0 0 5,3 3-2,-3-3-29,0 0 16,3 3-21,-3-3 26,0 2-28,0-2 20,1 0-22,-1 2 26,0-2-8,0 0 6,3 3-8,-3-3-31,0 0 24,3 2-27,-3-2 33,0 2 19,2-2-16,-2 0 16,0 3 0,0-3-11,2 2 11,-2-2-17,0 3 47,0-3 16,3 0 1,-3 2-7,2-2-6,-2 0 17,0 2 1,0-2 11,3 3-60,-3-3 26,2 0-20,-2 0-10,2 3 13,-2-3-17,0 0 22,3 1-69,-3-1 50,3 0-59,-3 3 50,1-3 2,-1 3-9,0-3 6,3 2-35,-3-2 19,0 0-23,3 2 32,-3-2 26,2 0-22,-2 3 19,2-3 49,-2 0-48,3 0 53,-3 2-66,2-2 73,-2 0 19,3 0 15,-3 0-21,2 0-5,0 0-44,-2 0 54,3 3-77,-3-3 36,3 0-32,-2 0 42,-1 0-76,3 0 55,0 0-54,-1 2 38,-2-2 12,2 0-25,-2 0 21,3 0-43,-1 0 27,1 0-26,-3 0 44,2 0-7,0 0 11,1 0-14,-1 0 46,0 0-33,1 0 37,0 0-45,-3 0 51,2 0-37,0 0 44,1 0-26,-1 0-8,-2 0 13,2 0-12,1 0-24,-1 0 27,1-2-26,-1 2 23,-2 0-8,2 0 0,1 0 0,0-3-15,-3 3 11,1 0-15,2 0 21,0 0-9,-1 0 11,-2 0-9,2-2 2,1 2-2,-1 0-1,1 0-14,-1 0 15,-2 0-14,2 0 17,1 0 17,0 0-15,-3 0 15,1 0-16,2-3 59,0 3-42,-1 0 47,0 0-50,-2 0-4,3 0 11,-1 0-8,1 0-74,-1 0 54,-2-2-60,2 2 33,1 0 30,0 0-32,-2 0 35,2 0-40,0 0-15,-1 0-10,0 0 3,1 0-2,-1 0 14,1 0-12,-1 0 40,0 0-4,1 0 7,0 0-12,-2 0 34,2 0-23,0 0 29,-1 0-48,0 0 13,1 0-12,-1 0 17,1 0-13,-1 0 12,0 0-12,1 0 16,0 0-30,-2 0 20,2 0-22,0 0-6,-1 0 21,0 0-27,1 0 30,-1 0-29,1 0 21,-1 0-23,0 0 10,1 0 8,0 0-10,-2 0 14,2 0-40,0 0 27,-1 0-29,0 0 34,1 0-16,-1 0 7,1 0-10,1 0 0,-1 0 14,-1 0-19,0 0 19,1 0 0,2 0 1,-3 0-1,1 0 11,-1 0-15,0 2 14,3-2-13,-2 0 10,-1 0-4,0 0 6,1 0-7,0 0-27,-2 0 20,2 0-21,0 0 15,-1 3 6,0-3-10,1 0 8,-1 0 2,1 0-3,-1 0 4,0 0 29,1 0-21,0 0 23,-2 0-31,5 0 16,-4 0-11,0 0 13,1 0-14,2 0 42,-3 0-28,0 0 35,4 0-49,-5 0 9,2 0-8,0 0 10,-1 0-3,3 0 4,-3 0-4,1 0-29,-1 0 22,0 0-26,1 0 32,0 0-3,1 0 2,-1 0-4,-1 0 3,0 0 10,1 0-7,-1 0 7,1 0 18,-1 0-22,0 0 22,1 0-25,0 0-17,-2 0 15,2 0-14,0 0-11,-1 0 19,-2 0-19,2 0 27,1 0-53,-1 0 37,1 0-46,-1 0 50,0 0 2,1 0-6,0 0 7,1 0 37,-1 0-32,-1 0 34,0 0-46,1 0 52,-1 0-34,1 0 42,-1 0-69,0 0 23,1 0-20,-3 0 29,2 0-23,0 0 19,1 0-20,0 0 20,-1 0-37,-2 0 22,5 0-24,-3 0 24,-2 0-25,2 0 12,1 0-16,-1 0 59,3 0-21,-5 0 23,2 0-34,4 0 8,-5 0-5,2 0 11,-1 0-12,1 0 6,-1 0-8,0 0 9,1 0 6,-3 0-1,3 0 5,-1 0 17,0 0-22,1 0 22,-1 0-27,-2 0 12,2 0-7,-2 0 7,3-3-10,-1 3 25,-2 0-18,3 0 23,-3 0-14,2 0-3,-2-2 7,0 2-11,2 0 4,-2 0-3,3-2 3,-3 2-3,0 0 0,3-3 1,-3 3 1,1-3 7,-1 3-4,0 0 4,3-1-8,-3 1 36,0 0-25,3-3 28,-3 3-31,0 0-2,2-3 4,-2 3-3,2-2-3,-2 2 2,0-2-1,3 2 4,-3 0-4,0-3 2,0 3-4,2-2 39,-2 2-26,0-3 26,0 3-35,0 0 16,0-2-11,3 2 12,-3-2 7,0 2-18,0-3 21,0 3-22,0 0 5,0-2-1,0 0 1,0 2 2,0-3-3,0 3 1,0-3-3,0 1 1,0 2-3,0-2 4,0-1-3,0 3 24,0-2-15,0 0 16,0-1-16,0 3-3,0-2 5,0-1-4,0 3-15,0-2 9,0 2-12,0-2 21,0-1-3,0 3 1,0-3-4,0 2 14,0 1-10,0-3 12,0 3-15,0-3 3,0 1-2,0 2 4,0-2-21,0 2 17,0-3-17,0 3 22,0 0 0,0-2 0,-3 2 0,3-3-3,0 3-2,0 0-1,-2-2-1,2 2-26,0-2 20,-3 2-18,3-3 4,-2 3 14,2 0-16,-2-3 19,2 2 12,-3 1-8,3 0 8,-3-3-2,3 3-10,-1 0 8,-2-3-11,3 3-10,-3-2 9,3 2-9,-2 0 11,0-2-15,2 2 12,-3 0-11,3-3 8,-2 3 4,-1 0-5,3-2 3,-2 2 4,0 0-4,-1-3 4,3 3 11,-2 0-11,0 0 12,2 0-13,-3-2 41,0 2-27,3 0 29,-2 0-34,0 0-1,-1-2 6,3 2-3,-2 0-28,-1 0 17,2-3-21,-2 3 29,0 0-23,1 0 16,0 0-20,2 0 22,-5 0-20,5 0 14,-3-3-19,1 3 20,0 0-10,-1 0 7,1 0-10,0 0 16,-1 0-6,0 0 7,3 0-5,-2 0 9,0 0-6,-1 0 5,3 0-11,-2 0 2,0 0-3,2 0 4,-3 0-8,3 0 6,-2 0-6,2 0-6,-3 0 10,3 0-11,0 0 12,-2 0-2,2 0 0,0 0-139,0 0 127,0 0-124,0 0 157,0-1-13,2 1-3,-2-3 6,0 3-12,0-3 33,3 3-22,-3-2 25,0 2-26,2-2 2,-2-1 3,0 3-1,3-2-13,-3-1 4,0 3-7,0-2 10,0 2-11,2-2 8,-2 2-11,0-3-9,0 0 13,0 3-17,0-1 19,0 1-12,2-3 6,-2 0-7,0 3 0,0-2 12,0 2-12,0-2 12,0-1 5,0 3-5,0-2 6,0-1-9,0 3 11,0-2-7,0 0 8,0 2 3,0-3-8,0 3 9,0-3-10,0 2 0,0 1 1,0-3-1,0 0-9,0 3 6,0-2-7,0 0 10,0-1-3,0 1 1,-2 2-1,2-3 1,0 1 3,0 2-3,-2-2 2,2-1 1,0 0-2,0 3 3,-3-1-4,3-2 4,-2 0-2,2 1 3,-3 2-20,3-2 12,-2-1-13,2 3 16,-2-2 1,2-1-2,-3 1 2,0 2-3,2-2 6,1 2-5,-3-3 5,0 3-6,1-2-10,0 2 6,-1-2-6,1 2-2,-1 0 8,1-3-8,0 3 11,-1 0 8,0-3-5,2 3 5,1 0 1,-3-2-7,0 2 8,1 0-11,2-2 13,-2 2-9,-1-3 10,3 3-9,-2 0 31,-1 0-18,3-2 20,-2 2-12,2 0-13,-2 0 16,2 0-17,-3 0 7,3 0-2,-3-2 1,2 2-17,-2 0 9,3 0-12,-3 0 16,1 0-30,0 0 21,2 0-25,-3 2 29,1-2-9,-1 0 7,1 0-9,2 0 9,-2 0-5,-1 0 4,0 2-4,2-2 6,-2 0-6,3 0 6,-3 0-4,1 0-18,0 3 13,-1-3-13,1 0 14,2 0 1,-3 0-2,1 2 4,0-2-8,-1 0 4,3 0-6,-3 2 11,2-2-5,-2 0 5,3 0-6,-3 3-19,1-3 13,2 0-15,-2 3 21,2-3-20,-3 0 15,3 0-17,-2 2 11,2-2 6,0 0-10,-3 0 10,3 2-34,0-2 23,0 0-26,-2 0 40,2 0-15,0 0 39,0 3-27,0-6 33,0 3-19,0 0 5,0-2-6,0 2 4,0 0-4,0-2 3,0 2-17,0-3 11,0 3-13,0-3 13,0 3 3,0-2-5,0 2 4,0-2 14,0 2-10,0-3 12,0 3-15,0-2 20,0 2-15,0-2 17,-2 2-23,2-3 5,0 3-4,-3-2 6,3-1-6,-3 3 7,3-2-7,-1 2 6,1-2-46,-3 2 33,0-3-35,3 3 2,-2 0 29,0-3-36,2 3 41,-3-1 3,1 1-2,-1-3 1,3 3 19,-2 0-21,0-3 22,2 3-26,-3-2 28,1 2-20,2 0 24,-2-2-25,-1 2 6,0-3 1,1 3 6,2 0-45,-2-2 30,-1 2-37,1 0 25,2-3-12,-2 3 3,-1 0-3,1 0 10,-1-2 8,1 2-14,2 0 13,-2 0 14,-1-2-10,3 2 13,-3 0-3,2 0-14,1 0 14,-3-3-12,3 3 29,-3 0-14,3 0 17,-2 0-9,2 0-13,-2-3 17,2 3-18,-3 0-19,3 0 14,-2 0-17,2 0 8,-3 0 11,3 0-12,-2 0 12,2-1 7,-2 1-8,2 0 7,-3 0-9,3 0 7,-3 0-6,3 0 5,-1 0 6,-2 0-7,3 0 9,-3 0-10,1 0-12,0 0 9,2 0-7,-3 0 10,1 0-5,2 0 3,-3 0-7,1 0 9,0 0-3,-1 0 3,0 0-4,2 0 5,-2 0-3,0 0 3,1 0 0,0 0-2,-3 0 4,2 0-4,1 0 10,0 0-6,-1 1 7,0-1-7,2 0-20,-2 0 13,-2 0-15,3 3 18,2-3-34,-5 0 23,5 0-25,-3 3 17,1-3 11,0 0-15,-1 0-7,0 2 12,2-2-14,-2 0 17,0 2 18,3-2-14,-2 3 11,0-3-15,-1 0 36,1 2-24,2-2 28,-3 3-32,1-3 53,2 2-32,-2-2 36,2 2-31,-3-2-15,3 3 20,-3-3-19,3 3 6,0-3-4,-1 1 2,1 2 31,0-3-21,-3 3 23,3-1-31,-3-2 12,3 2-7,0 1 8,-2-1 8,2 1-13,0-3 17,-2 2-20,2 0 27,-3 1-20,3-1 26,0 0-27,-2 1 45,2 0-34,0 1 35,-3-1-30,3-1-1,0 0 4,-2 1-7,2 2-54,0-3 37,0 0-38,0 4 12,0-5-13,0 2 0,0 0 2,0-1-271,0 0 54,0 1-198,0-1 247,2 1 99,1-1 93,-1 0 0,1 1 0</inkml:trace>
  <inkml:trace contextRef="#ctx0" brushRef="#br0" timeOffset="250">4491 3526 9502,'-2'0'-351,"2"0"86,0 0 128,-3 0 57,3 0 56,0 0 11,0 0 55,0 0-5,-3 0 1,3 0-1,0 0 45,0 0 156,0 0-46,0 0 148,0 0-33,0 0-23,-2 0 38,2 0 25,0 0-58,0 0 45,0 0-70,0 0-9,0 0-29,-2 0 31,2 2-62,0-2 31,0 0-67,-3 0 26,3 2-2,0-2-39,-2 3 53,2-3-62,0 3 20,-2-3-22,2 1 8,-3-1-74,3 3 62,-2 0-58,-1-1 75,1 0-84,2 1-17,-2-1-18,2 1-10,-3-1 3,0 0-33,3 1 7,-1 0-40,-2-2 80,3 2-18,-3 0-17,3 1 7,-2-1-34,2-1 23,-2 1-37,2-1 68,0 0-68,-3 1 75,3 0-72,-2-2 50,2 2-53,0 0 64,0-1-51,-3 0 38,3 1-43,0-1 22,0 1 9,-2-1-12,2 0 15,0 1 13,0-1-14,-2 0 11,2 1 45,0 0-36,0-3 41,0 2-52,-3 0 36,3 1-26,0-1 34,0 0-53,0 1 16,-3-1-11,3 1 13,0-1-31,0-2 22,0 2-25,-1 1 10,1 0 15,0-3-18,0 1 15,0 2 29,0-3-26,0 3 25,0-3-7,0 2 17,0-2-4,0 2 0,0 1-12,0-3-11,0 0 19,0 2-18,0-2-27,0 3 20,0-3-20,0 2-25,0-2 42,1 0-45,-1 2 49,0-2-42,0 3 24,0-3-30,3 0 30,-3 2 7,0-2-14,0 0 11,3 2 20,-3-2-14,0 0 18,2 3-25,-2-3 26,2 0-18,-2 0 23,3 2-32,-3-2 8,2 0-7,1 0 12,-3 3-53,2-3 39,-2 0-40,2 0 46,-2 0 10,3 0-11,-3 0 5,3 0 24,-3 0-27,1 2 25,-1-2-29,3 0 34,-3 0-21,3 0 26,-3 0-43,2 0 8,0 0-3,1 0 8,-3 0-34,2 0-13,1 0-2,-1 0 3,0 0 35,-2 0-2,3 0-6,-1-2 5,0 2-12,1 0 8,-3 0-11,3 0 44,-1-3-34,0 3 35,1-2 12,-3 2 14,2-3 9,-2 3-14,2-2 18,1 2-43,-3-2 52,2 2-62,-2-3 14,0 3-11,3-2 15,-3 2-43,2-2 33,-2-1-33,0 3 36,2-2-22,-2 2 15,0-3-17,3 1-16,-3 2 25,0-2-35,0 2 37,3-3-21,-3 0 16,0 3-15,0-1 15,1 1-5,-1-3 4,0 3-4,0-3 4,0 3 0,0-2 0,0 2 0,0-2 8,3 2-6,-3-3 7,0 3 8,0-2-12,0 2 13,0-3-16,0 3 0,0-2 2,0 2-1,0-2 3,0 2-10,0-3 8,0 3-7,0-2 8,0 0-11,0 2 7,0-3-8,0 3 6,0-3 3,0 3-5,0-2 4,0 0 23,0-1-16,0 3 18,0-2 4,0 0-18,0 2 19,0-3-22,0 1 29,0 2-15,-3-3 20,3 1-3,0 2-20,0-2 23,0-1-26,-1 3-5,1-3 3,0 3-4,0-1 9,-3-2-22,3 3 15,0-3-17,-3 3 8,3-2 7,-2 0-9,2 2 8,0-3 13,-2 1-11,2 2 11,-3-3 17,3 1-19,-2 0 21,2 2-28,-3-3 5,1 0-1,0 2 4,2 1-36,-3-6 23,1 6-25,0-2 35,-1 0-89,0-1 22,1 1-85,2-1 84,-2 1-158,2 0 77,-3-1-116,3 0-49,0 3 66,0-1-68,0-2 78,0 3-416,0-3 131,3 3-283,-1-2-147,0 2 281,4 0-29,-2 0 354,1-2 328,0 2 0,0 0 0</inkml:trace>
  <inkml:trace contextRef="#ctx0" brushRef="#br0" timeOffset="251">4319 3530 9500,'0'3'294,"0"-3"-248,0 0 85,0 0-51,3 0 141,-3 0-74,0 0 74,0 3-10,0-3 81,0 0 143,0 0-58,0 0 7,0 0-183,0 0 37,0 0-28,0 0-11,0 1 69,-3-1-48,3 0-1,0 0-17,0 0-77,-2 0 5,2 3-4,0-3 5,-2 0-75,2 0 19,-3 3-50,3-3-54,0 0 49,-3 2-72,3-2 59,-1 2-37,1 1 34,-3-3-54,3 2-3,-3 1-7,1-3-39,2 2 41,-2 0 25,2 1 15,-3-3 29,3 3 63,-2-2-41,2 2 53,-3-3-67,3 3 65,-2-1-44,2 0 55,0 1-64,-2-3-14,2 2 15,0 1-11,-3-3 20,3 2-38,0 0 24,-2-2-29,2 3-16,0 0-22,0-2 0,0-1-8,0 3 12,-2 0-38,2-3 15,0 2-37,0-2 85,0 2-41,0 1 59,0-3 28,0 2-16,0-2 17,0 3 24,0-3 19,0 2 7,0-2-7,0 2-28,0-2-11,0 3 21,0-3-25,0 2-13,0 0 20,0-2 6,0 3-57,0-3 45,0 3-59,0-3 17,0 2 24,0-2-33,0 2 36,0-2-7,0 3 4,0-3-10,0 2 6,0-2-8,0 0 7,0 2-2,0-2 6,2 0 0,-2 3 1,0-3 2,0 0-5,0 0 6,2 2-6,-2-2-13,3 0 12,-3 3-13,0-3 16,2 0-36,-2 0 25,2 2-29,-2-2 35,3 0-30,-3 0 22,2 0-23,-2 0 75,3 0-40,-1 0 40,-2 0-52,2 0 45,1 0-32,0 0 33,-2 0-37,2 0 63,0 0-37,-1 0 44,-2 0-80,5 0 14,-5 0-11,2 0 25,1 0-54,-3-2 38,2 2-46,0 0 55,1 0-60,-3-3 35,3 3-44,-3-2 40,1 2 35,-1-3-33,3 3 32,-3-2 16,3 2-29,-3-2 37,2 2-46,-2-3 50,2 3-34,-2-2 46,0 2-51,3-2 15,-3 2-12,0-3 14,0 0-54,2 3 42,-2-2-43,0 0 12,0-1 20,3 3-31,-3-2 33,0 0-6,0 2 4,0-3-4,0 1 2,0 2-10,0-3 7,0 3-6,0-2 3,0 0 4,0 2-3,0-3-13,0 3 11,0-3-13,0 3 18,0-1-18,0 1 12,0-3-16,0 3 2,0-3 9,0 3-11,0-2 13,0 2 21,0-2-17,0 2 16,0-3-19,0 3 27,0-2-19,0 2 20,0-3 5,-3 3-22,3-2 29,0 2-28,-2-2 14,2 2-8,0-3 10,-3 0-21,3 3 11,-2-1-6,2 1 7,-2-3-35,2 0 22,-3 1-25,3 2 30,-3-2-51,2-1-15,1 1-6,-3 2-58,3-3 56,-3 1-61,3 0 51,-2 2-320,0-3 84,2 3-207,-3-3-377,3 2 258,0 1-319,-2-3 419,2 3 296,0-3 107,0 3 131,0-2 0,2 0 0</inkml:trace>
  <inkml:trace contextRef="#ctx0" brushRef="#br0" timeOffset="252">4628 3552 8849,'0'-2'307,"0"2"-229,0 0 60,0 0-16,0 0 33,0-3-5,0 3 92,0 0-98,0 0 98,0 0-95,0 0 167,0 0 3,0 0 614,0-2-483,0 2 307,0 0-620,0 0-20,0 0 8,0 0-22,-2 0-26,2 2 1,0-2-11,-2 3 25,2-3-55,-3 2 13,3 1-86,-2-3 80,2 2-37,-3 0 13,3-2 7,0 3-93,-2 0 79,2-2-97,-2 2 87,2 0-54,-3-1 38,3 0-23,-3 1-24,3-1 58,-1-2-20,1 3 30,0-1-15,-3 0 6,3 1-8,0-3 14,0 3-9,-3-2 6,3-1-8,0 3 40,0 0-20,0-3 20,0 2-27,-2-2 48,2 2 14,0-2 6,0 3 13,0-3-61,0 2 24,0-2-26,0 3-17,0-3 12,0 0-8,0 2 18,0-2-46,0 2 31,0-2-41,0 3 50,0-3-26,0 0 17,0 2-28,0 0 22,0-2-7,0 0 5,0 3-4,0-3 54,0 3-37,0-3 39,0 2-44,2-2 45,-2 2-25,0-2 30,0 0-50,0 3 4,3-3-2,-3 2-25,0-2 30,0 0-30,3 0 34,-3 2-25,1-2 14,-1 3-17,3-3 17,-3 0 13,3 0-14,-3 2 11,2-2-11,-2 3 1,2-3 1,-2 0-2,3 0 2,-3 0-2,2 2 6,-2-2-32,3 0 23,-3 0-22,2 0 28,-2 0-36,2 0 24,1 0-27,-3 0 29,3 0 15,-2 0-13,2 0 9,-3 0-11,3 0-2,-1 0 2,0 0-2,-2 0 49,3-2-34,-1 2 36,-2 0-24,3-3-14,-3 3 19,2-2-20,0 2 24,-2 0-17,3-3 18,-3 3-18,3-2 0,-3 2 0,0-2-2,1 2 31,-1-3-20,0 3 24,3-2-30,-3 0 10,0 2-9,3-3 7,-3 0 11,0 3-5,0-2 10,0 0-12,0 2-35,0-3 19,0 3-20,0-2 32,0 2-44,0-2 32,0 2-39,0-3 49,0 1-9,0 2 7,0-3-11,0 3 60,0-2-46,0 0 47,0-1-46,0 3-4,0-3 6,0 2-8,0-2 15,0 3-11,0-3 23,0 3-13,0-2-67,0 0 49,0 2-59,0-3 4,0 1 44,0 2-55,0-3 65,-3 1-74,3 2 52,0-2-59,-3-1 67,3 0-43,0 3 31,-1-1-36,1-2 39,0 0-10,-3 3 7,3-2-6,-3 0 15,3 2-10,-2-3 11,2 1-52,-2-1 29,2 1-30,-3 2 39,1-2-183,2 2 42,-3-3-123,1 3-434,2-3 170,-2 2-329,-1 1 353,0-3 287,3 3 89,-1-3 136,-2 3 0,0-2 0</inkml:trace>
  <inkml:trace contextRef="#ctx0" brushRef="#br0" timeOffset="253">8222 1503 8847,'-3'0'-89,"0"0"433,3 0-44,0 0-156,0 0 34,-2 0-152,2 3 100,0-3-60,0 0 55,0 0 36,-2 0-22,2 0 1092,0 0-845,0 0 800,0-3-1068,2 3 17,-2 0-47,2 0 2,1 0-12,-3 0 25,3 0-40,-2-2 55,2 2-54,0 0 72,-1 0-54,0 0 12,1 0-29,2 0-43,-3 0 0,0-2-13,1 2 16,1 0 14,-1 0-9,2 0-12,-3 0-29,1 0 71,2 0-32,-3 0 35,0 0-46,4 0-24,-5 0 6,2 0 1,0 0-1,1 0-23,-1 0 2,-1 0-54,1 0 94,-1 0-54,0 0 62,1 0-68,0 0 46,-2 0-59,2 0 41,0 0 5,-1 0-15,0 0 24,1 0-10,-1 0 8,1 0-6,-3 0 5,2 0-41,0 0-7,1 0-4,1 0-22,-1 0 56,0 0-23,-1 0 22,0 0 2,1 0-9,-1 0 4,1 0-12,-1 0 57,0 0-45,1 0 47,-1 0-23,0 0-14,1 0 19,0 0-22,-1 0-10,0 0 10,1 0-3,-1 0-32,0 0 31,1 0-34,-3 2 35,2-2 4,1 0-7,-1 0 4,0 0-24,1 0 17,0 0-21,-2 0 23,2 0-22,0 0 17,-1 0-20,0 0 22,-2 0 13,3 0-8,-1 0 13,1 0-17,-1 0 31,0 2-22,1-2 24,-3 0 5,3 0-23,-2 0 25,2 0-32,0 0 15,-3 0-9,2 0 17,-2 0-26,2 0 12,1 0-12,-3 0 12,2 0-5,-2 0 5,3 0-6,-3 0 4,2-2 45,-2 2-33,2 0 35,-2 0-1,3 0 11,-3 0 6,3-2-13,-3 2 12,1 0-36,-1 0 45,0 0-31,0 0 2,0 0 20,3 0 2,-3 0 61,0 0-50,0 0 84,-3-3-55,3 3 8,0 0-10,-1 0-77,-2 0 22,0 0-17,1 0 2,0 0 25,-1 0-20,1 0 27,-1 0-26,-1 0 16,1 0-22,-1-2 20,1 2-42,-2 0-24,0 0 5,0 0-45,1 0 38,-2 0-12,2 0-38,-1 0 70,0 0-34,-2 0 43,2-2-6,1 2-3,-2 0-7,2 0 8,-3 0 12,2 0-5,2 0 8,-1-3-12,-2 3 8,2 0-6,-1 0 12,3 0 14,-3 0-13,2 0 15,1 0-16,-3 0-6,2 0 6,-1 0-5,1 3-52,1-3 38,0 0-42,-1 0 52,1 2-47,-1-2 34,1 0-41,0 0 49,-1 0-7,0 2 4,2-2-7,-2 0 0,0 0-5,1 0 2,-3 3-28,3-3 22,-1 0-20,-1 0 27,1 0-16,0 0 10,2 2-8,-5-2 12,4 0 13,0 0-9,-1 0 4,1 0 15,-1 0-20,1 0 20,2 0-22,-2 0 37,2 0-19,0 0 28,0 0-26,0 0 68,2-2 25,-2 2-1,2 0 98,1 0-94,-1 0 110,1 0-45,-1 0-40,3 0-12,-2 0-31,-2 0-54,5-3 53,-4 3-49,3 0 55,-3 0-41,3 0 44,0 0-41,-2 0 34,1 0-73,-1 0 31,1 0-40,-1 0 37,2 0 16,-1 0-21,-1 3-46,1-3 37,-1 0-39,2 0 62,-3 0-66,3 2 46,-2-2-51,1 0 57,-1 0-35,1 2-21,2-2 5,-4 0-25,3 0 60,-3 0-31,1 0 31,1 3-5,-1-3 4,-1 0-7,0 0 45,4 0-40,-4 0 42,-2 0-42,2 0 16,1 0-9,-1 0 11,0 0-11,1 0-23,-3 0 19,2 0-15,1 0 19,-3 0-45,2 0 31,0 0-36,-2 0 2,3 0 25,0 0-30,-3 0-10,1 0 36,2 0-43,0 0 47,-1 0-12,-2 0-16,2 0 6,1 0-9,-1 0 44,1 0-15,-3 0 18,2 0-25,0-3 64,1 3-46,-3 0 53,3 0-15,-3 0-30,1 0 36,2 0-39,-3-2 15,3 2-2,-3 0 6,2 0-21,-2 0 1,0-2-2,2 2 8,1 0-20,-3 0 14,2 0-17,-2 0 21,3 0-27,-3-3 19,2 3-24,-2 0 26,2 0-15,-2 0 11,3 0-12,0 0 26,-3 0-14,1-2 13,-1 2 18,3 0-22,0 0 26,-3 0-32,2 0 73,-2-2-48,2 2 53,-2 0-67,3-3 61,-3 3-44,2 0 58,-2 0-37,3-3-11,-3 3 19,0 0-27,2 0-36,0-2 29,-2 2-32,0 0-21,3 0 41,-3-2-49,3 2 56,-3 0-22,1-3 8,-1 3-12,3-2 3,-3 2 14,0 0-19,3-2 17,-3 2-14,2 0 55,-2-3 1,2 3 11,-2-2 55,0 2-86,3-3 59,-3 3-81,0-2 21,2 2-17,-2-2 27,3 2-64,-3-3 50,0 0-52,2 3 55,-2-1-33,0-2 22,0 3-26,0-3 19,2 3-39,-2-2 13,0 2-20,0-2 31,0 2 11,0-3-10,0 3 16,0-2-12,0 2 12,0-3-9,0 3 15,0-2-10,0 2 10,0-2-11,0 2-1,0 0 4,0-3 0,0 3-9,0-3 6,0 3-7,0-1 8,0 1 7,-2-3-7,2 3 6,0-3-14,0 3 5,-2-2-4,2 2 6,0-2-32,-3 2 24,1-3-27,2 3 31,-3-2-15,3-1 10,-2 3-13,0-2 16,2 0-2,-3 2 1,0-3-5,3 3 10,-1-3-10,-2 3 10,3 0-7,-3-1 0,3-2 3,-2 3-3,0 0-14,2-3 10,-3 3-9,1 0-32,2-2 34,-3 2-37,3 0 42,-2-2-65,2 2 43,-2-3-48,-1 3 21,3 0 28,-3-2-35,2 2 40,1 0 2,-3-3-1,0 3-3,1 0-6,0 0 8,2-2-6,-3 2 10,1 0 6,-1 0 0,1 0 5,2 0-6,-2 0 39,-1 0-34,3 0 37,-3 0-11,2 0-24,-2-2 29,3 2-31,-3 0 9,1 0-3,2 0 4,-2 0-2,-1 0 10,3 0-2,-2 0 4,-1 0-5,1 0-7,2 0 6,-2 0-6,-1 2-10,0-2 7,2 0-8,1 0 11,-3 0 0,3 0 1,-3 0-2,1 2 61,2-2-43,-2 0 46,-1 0-58,3 3 13,-2-3-6,2 0 9,-3 2-1,1-2-7,2 0 12,-2 3-11,-1-3 4,3 0-3,-2 2 3,2-2-11,0 0 10,-2 2-10,2-2 9,-3 0 12,3 0-12,0 3 12,-3-3-18,3 0 6,0 3-4,0-3 4,0 1-8,-2-1 8,2 0-6,0 3 8,0-3-34,0 3 23,0-3-24,0 2 3,-2-2 19,2 2-22,0 1 25,0-3-55,0 2 39,0-2-48,0 3 56,0-3-39,0 2 28,0-2-30,0 2 35,0-2-59,0 0 41,0 0-45,0 3 3,0-3 33,0 0-44,0 0 54,0 0 55,2 0 23,-2 0 4,0 0-15,0 0 8,2-3 16,-2 3 15,0-2-18,0 2-75,3-2 12,-3 2-10,3-3-34,-3 3 44,0-2-46,2-1 43,-2 3-2,2-2-10,-2 2 4,0-2-1,3-1 7,-1 3-4,-2-3 0,0 3 22,2-1-14,1 1 19,-3-3-24,2 3 6,-2-3-3,3 3 8,-1-2-16,0 2 12,-2-2-11,3 2 10,0-3 4,-2 1-4,2 2 4,0-3 33,-1 3-29,0 0 32,1-2-41,-1 2 51,1 0-32,-1 0 36,0 0-38,1 0 16,0 0-4,-2 0 7,2 0-8,-3 0-41,3 0 35,-1 0-77,0 0 26,1 0-9,-1 0 7,-2 0 12,3 2 13,-1-2-17,0 0 16,1 3 4,0-3-10,-2 2 7,2-2-12,0 3 23,-3-3-19,2 2 19,0-2 0,1 2-9,-1-2 13,-2 3-14,3-3-20,-1 0 16,0 3-15,-2-3 18,3 1 1,-3-1-4,3 3 2,-3-3 10,1 3-8,-1-3 7,0 0-11,3 2 8,-3-2-7,3 2 8,-3-2 60,0 3-48,2-3 54,-2 2-62,0-2 35,2 3-16,-2-3 20,0 2-36,3-2 2,-3 2-2,0 1 7,0-3 6,0 3-6,2-2 5,-2 2-33,0 0 21,0-1-23,0 0 24,-2 1 2,2-1-58,-3 3 43,1-3-48,0 1-173,-1 1 38,0-1-142,2 0-550,-2-3 215,0 2-401,1 0 454,0-2-465,-1 3 730,1-3-467,-1 0 813,1 0 0,2 0 0</inkml:trace>
  <inkml:trace contextRef="#ctx0" brushRef="#br0" timeOffset="254">8161 1598 9522,'0'-3'262,"0"3"-218,0 0 15,3 0-65,-3 0 20,0 0 8,0 0 18,0 0 9,0 0 92,2-3 23,-2 3-6,0 0-4,2 0-21,-2 0-6,0 0 12,3 0 96,-3 0-52,2 0 106,-2 0-85,2 0-19,-2 0-38,3 0 2,-1 0-69,-2 0 52,3 0-56,-1 0 56,0 3-62,1-3-1,0 0-23,-2 0 32,2 0-36,0 0 57,1 0-82,-1 0 55,2 0-19,-3 0 9,3 0 22,-2 0 4,1 0 3,1 0 0,-3 0-27,3 0 23,0 0-19,0 0 15,-1 0-35,2 0-20,-2 0 4,1 0-60,0 0 24,0 0-3,-1 0 11,4 0 18,-3 0 14,0 0-23,-1 0-15,2 0 0,-2 0-16,1 0 14,0 0 27,0 0 6,-1 0-8,1 0 2,-3 0 0,4 0 1,-2 0 5,-1 0-46,2 0 31,-3 0-31,3 0 43,-3 0-49,3 0 35,-2 3-39,1-3 32,1 0 9,-3 0-14,3 0 5,-2 0 39,1 1-32,-1-1 30,1 0-33,-1 0 12,2 0-5,-3 0 11,1 0-17,-1 0 3,1 0 0,1 0 4,-1 0-4,0 0 3,-3 0-3,4 0-10,-1 0 11,-3 0-11,2 0 9,3 0-7,-3 0 0,1 0-3,-1 0 4,0 0-16,4 0 12,-5 0-13,2 0 2,2 0 12,-3 0-14,3 0 16,-2 0 20,1 0-15,-1 0 15,0 0 7,1 0-20,-1 0 23,-1 0-26,0 0 39,3 0-26,-2 0 28,-1 0-32,0 0 1,1 0 6,0 0-3,-2 0 5,2 0-51,0 0 38,-1 0-38,-2 0 0,2 0-12,1 0-9,-1 0 12,1 0-14,-1 0 33,-2 0-35,2 0 41,1 0 4,-1 0-2,0 0-9,1 0 67,0 0-52,-1 0 55,0 0-26,3 0-20,-5 0 23,2 0-19,1 0 47,-1 0-25,1 0 31,-1 0-58,0 0 5,1 0-2,0 0 10,-1 0-56,0 3 38,-2-3-45,3 0 58,-1 0-46,0 0 33,1 0-43,-1 0 19,1 0 10,-1 0-14,-2 0 19,2 0 3,1 3-7,0-3 4,-3 0 29,1 0-21,2 0 25,0 0-31,-3 0 55,2 0-39,0 0 44,-2 0-53,3 0 7,-1 0-4,-2 0 7,3 0-34,-1 0 26,0 0-26,-2 0 32,3 0-27,0 0 17,-2 0-20,-1 0 16,3 0 1,0 0-4,-1 0-3,-2 0 40,2 0-32,1 0 32,-1 0-35,-2 0 69,3 0-44,-1 0 48,0 0-46,-2 0-11,3 0 18,0 0-16,-3 0-20,1 0 14,2 0-16,-3 0-7,3 0 25,-1 0-26,-2 0 27,2 0-13,-2 0 3,3-3-6,-1 3 0,-2 0-9,3 0 2,-1 0-5,-2 0 11,2 0-14,1 0 9,-3 0-11,3 0 21,-3 0-1,1 0 1,2 0 1,-3 0 0,3 0 0,-3-3 0,2 3 3,-2 0-4,2 0 5,-2-1-6,0 1 2,3 0 1,-3 0 0,2 0 2,-2-3-2,0 3 3,3 0-3,-3-3 9,2 3-8,-2 0 8,2-2-4,-2 2-3,0-2 3,3 2-4,-3-3 5,3 3-3,-3-2 3,1 2-4,-1-3-4,0 3 3,3-1-3,-3 1 19,0-3-10,3 0 11,-3 3-14,0-2 48,2 0-34,-2 2 37,0-3-8,2 3-28,-2-2 34,0-1-40,3 3 21,-3-2-15,0 0 19,2 2-17,-2-3-4,0 3 1,3-3-3,-3 2 7,0 1 41,2-3-31,-2 0 30,0 3-32,0-2-6,2 0 7,-2 2-3,0-3 3,3 1 2,-3 2-1,0-3-15,0 3 8,2-2-3,-2 0 8,0 2-56,2-3 37,-2 3-46,0-3 58,0 2-55,0 1 39,3-3-50,-3 3 35,0-3 5,0 3-9,0-2 12,0 2-6,3-2 3,-3-1-4,0 3 12,0-2-2,0-1 2,0 3-3,0-2 45,0 0-31,0 2 34,2-3-41,-2 3 21,0-2-11,0 2 14,0-2-16,0-1-4,0 3 5,0-3-2,0 3-28,0-2 20,0 2-23,0-2 14,0-1 8,0 3-9,0-2 7,0 2-18,0-2 7,0 2-10,-2-3 13,2 3-4,0-2 1,0 2-2,-3 0 1,3-3 6,-3 1-4,3 2 4,0-2-1,-2 2 1,2-3 0,-2 3 7,2-3-6,-3 2 7,3 1-8,-2-3 2,2 0-1,-2 3 2,-1-2-2,3 0-2,-2 2 3,-1-3-2,3 3-1,-2-2 2,0 2-2,2-3 2,-3 3-3,0-2 3,2 2-3,1-2 1,-3 2 1,0-3-2,3 3 2,-2-3-24,0 3 17,-1 0-17,3-1 6,-2 1 11,-1 0-12,1-3 12,2 3-22,-2 0 14,-1 0-18,0-3-5,2 3 21,-2 0-25,0-2 29,1 2-17,0 0 11,2-2-14,-3 2 14,1 0 7,-1 0-3,1 0 6,0-3-10,-1 3-15,3 0 10,-3 0-12,2 0 32,-2 0-12,3 0 10,-3 0-18,1 0 3,0 0-1,2 0 5,-3 0 10,1 0-10,2 0 8,-3 0-11,1 0 38,2 0-26,-2 0 31,-1 0-39,0 0 36,3 0-26,-1 0 28,-2 0-13,0 0-9,3 0 10,-2 0-6,0 0-7,-1 0 12,3 0-9,-2 3-10,-1-3 5,1 0-9,0 0 12,2 2-16,-3-2 12,0 2-14,3-2 14,-1 3 9,-2-3-8,3 3 8,-3-3 57,3 1-46,-2-1 50,2 3-60,-2 0 1,2-3 0,0 2 5,-3 0-13,3-2 16,0 3-13,-2-1 16,2 1-24,0-3 17,0 2-18,0 0 18,0 1 5,-3 0-8,3-2 7,0-1-9,0 3 2,0 0 0,0-1-1,0-2-8,0 2 6,-2 1-5,2-1 1,0-2 8,-2 3-7,2-1 7,0 0-36,0-2 24,0 3-26,0-1 28,-3 0-1,3-2-4,0 3 2,0-3 20,0 3-12,0-1 15,0-2-2,0 2-11,0-2 12,0 3-14,0-3-1,0 0 2,0 2 1,0 0 0,0-2-3,0 3 3,0-3-3,0 2-19,0-2-16,0 0 4,0 3-5,0-1-22,0-2 30,0 2-35,0-2 9,0 3 31,0-3-34,0 3 38,0-2 20,0-1-15,0 3 14,0-3-22,0 3 9,0-3-6,0 2 10,0-2 0,0 0-5,0 2 8,0-2-22,0 0 23,0 0-19,0 0 53,-2 0-31,2 0 24,0-2-19,0 0 0,0 2 3,0-3-2,0 0-5,0 2 10,-2 1-6,2-3 21,0 0-17,0 1 10,0-3-15,0 3 19,0-1-13,0 1 16,2 0-19,-2-1 11,0 1-8,0 0 12,0-4-45,2 4 27,-2 0-26,0-1-8,0 1 28,3 0-30,-3-1 34,0 1-22,2-1 9,-2 1-12,2 0 11,-2-1 8,0 0-11,3 2 7,-3-2 2,0 0 42,2 1-28,1 0 27,-3-1 13,2 1-38,-2 2 47,2-3-53,-2 1 8,3 0-5,0 2 10,-3-3-32,1 3 25,-1-3-26,3 3 30,-3-1-31,3 1 20,-3 0-22,2-3 21,0 3-35,-2 0 16,3 0-20,-3-3 19,2 3 13,1 0-12,-1 0 11,-2 0 22,2 0-16,1 0 19,0 0-25,-3 0 73,1 0-52,2 0 61,0 0-36,-1 0-18,0 0 22,1 0-26,-1 0-15,-2 0 20,3 0-11,-1 0 12,-2 3-33,2-3 17,1 0-24,0 0-12,-3 3 28,1-3-32,2 0-2,0 1 30,-1-1-35,0 3 40,1-3 5,-1 3-4,1-3 3,-1 2 6,0-2 13,1 2-5,0-2 5,-2 3 17,2-3-26,-3 2 28,3-2-18,-1 3-12,0-3 17,1 0-16,-3 2 1,2-2-2,1 0 3,-3 2 1,2-2 3,0 0-2,-2 3-2,3-3-16,-3 0 10,3 3-9,-3-3 10,1 0-15,-1 1 8,3-1-11,-3 3 25,3-3-4,-3 3 7,0-3-10,2 2 41,-2-2-29,0 2 29,0 1-38,2-3 49,-2 2-33,0-2 40,0 3-49,3-3-31,-3 2 25,0-2-25,0 2-8,0-2 31,2 3-34,-2-3-3,0 2 30,0 0-33,3-2 32,-3 3-21,0-3 8,2 3-12,-2-1 9,0-2 4,0 2-7,2-2 6,-2 3 0,0-1-22,0 0 16,3 1-18,-3-3 12,0 2 10,0 1-13,0-1-5,2-2 12,-2 2-13,0 1 15,0 0 27,0-3-20,0 1 19,0-1-26,0 3 11,0 0-7,0-1 9,0-2 9,0 2-15,0-2 20,0 3-20,0-1-20,-2-2 15,2 3-17,0-1 18,0 0 4,-3-2-4,3 3 4,0 0 0,-2-2-2,2-1 1,-2 3-5,2 0-9,-3-3 6,3 2-6,-2 0 21,2-2-8,-3 3 9,3-1-12,-2-2 26,2 3-18,-2-3 21,2 2 4,-3-2-19,3 2 22,-3-2-28,2 3 29,1-3-21,-3 3 24,0-3-28,3 1 47,-2-1-33,0 0 39,-1 3-45,3-3 54,-2 0 6,-1 2 12,1-2-17,2 0 0,-2 3-31,-1-3 44,0 0-31,2 2 6,-2-2-3,0 0 24,1 0-27,0 2 35,-3-2-37,2 0 64,1 0-49,-3 0 42,2 0-52,-1 0-26,1 0 20,-1 0-17,1 0-23,-2 0-11,1 0-6,1 0 17,-1 0-20,1 0 42,-2 0-48,3 0 8,-3 0-7,2 0-16,1 0 15,-3 0 14,2 0 18,2 0-28,-2 0 22,-2 0 37,3 0 21,-3 0 6,2 0 37,-1 0-23,1 0-2,-1 0 5,-2 0 17,2-2-41,-1 2 58,0 0-100,0 0 40,1 0-34,-2 0 46,-1 0-71,3-2-4,-1 2-13,0 0 12,3 0 2,-4 0-21,2 0-1,-1 0 1,3 0 49,-3 0-11,2 0 4,1 0 35,-3 0 14,2 0 1,2 0 24,-2-3-57,0 3 25,1 0-18,0 0-37,-1-2 34,1 2-31,-1 0 49,1 0-57,0 0 4,-4 0-17,5-3 5,-5 3-27,4 0 37,-3 0-64,3 0 49,-3 0 3,0-1-9,1 1 18,-2 0-7,4 0 5,-3 0 3,0 0-1,1 0 2,1 0-2,-1 0 3,1 0 1,-2 0-1,3 0 1,-3 0 15,2 0-11,1 0 12,-3 0-15,3 0 51,0 0-36,-1 0 40,0 0-44,1 0 1,-3 0 4,3 0-4,0 0-19,-3 0 12,2 0-12,-1 0 19,1 0-45,0 0 33,-1 0-38,-1 0 44,3 0-30,-1 0 21,-2 0-32,3 0 21,0 0-4,-4 0 1,5 0 14,-5 0-2,4 0 4,0 0-7,-1 0 20,-2 1-14,3-1 17,-3 0-21,2 0 23,-1 0-16,1 0 21,1 3-75,-3-3 42,3 0-42,-1 0 52,1 0-52,0 0 34,-1 2-37,0-2-3,2 0-13,-2 0-11,-2 0 14,3 0 35,-1 0 8,1 3-14,-1-3 3,1 0 25,0 0-17,-1 0 21,0 0-70,2 0 26,-2 2-23,0-2 39,-1 0-41,1 0 32,1 0-37,-3 0-31,3 0 15,-4 0-69,5 0 54,-2 2-52,-2-2 60,3 0-42,-1 0 41,1 0 64,2 0-4,-3 0 25,3 0-23,-2 0 31,2 0-56,0 0 78,0 0-67,0 0 66,2 0 8,-2 0 7,3 0-9,-1 0 58,3 0-16,-3 0 84,4 0-75,1 0 21,-3 0-50,4 0 13,2 0-23,-3 0-6,2 3 12,4-3-4,-2 0-33,4 0-17,-1 3 0,4-3-151,-2 0 72,4 1-107,1 2 64,-4-3-268,3 3 63,-4-1-179,-2 0 198,1 1-640,-5-1 222,0-2-192,-3 3 496,2-1 443,-2 0 0,1 1 0</inkml:trace>
  <inkml:trace contextRef="#ctx0" brushRef="#br0" timeOffset="255">8245 1694 9502,'3'0'-121,"0"0"180,-3-2-32,0 2 60,0 0-12,1 0 24,-1 0 48,0 0-11,3-3 26,-3 3 3,0 0-12,0 0 9,0 0-31,0 0 47,3 0 26,-3 0-10,0 0 52,0 0-49,2 0 1,-2 0-14,0 0 11,2 0-48,-2 0 48,3 0-64,-1 0-47,-2 0 35,3 0-20,-1 0-9,0 0-1,4 3-15,-5-3 12,2 0-16,2 0 47,0 0-49,0 0-10,-3 2-20,3-2-32,-1 0 28,2 0 8,-2 0-1,1 0-14,-2 0 10,1 0-46,1 0 62,0 0-54,0 0 33,-3 2 24,3-2-29,0 0 27,-3 0-68,3 0 49,-3 0-59,1 0 48,2 0 5,-3 0-12,1 0 11,-1 0-22,3 0 11,-3 0-15,1 3 20,-1-3-35,0 0 20,1 0-21,0 0 11,-2 0 21,2 0-24,0 0 7,-1 0 8,0 0-8,1 0 12,-1 0-26,1 0 17,-1 0-21,0 0 25,1 0-7,0 0 2,-2 0-4,2 0 2,0 0 6,-1 0-8,0 0 7,3 0 41,-2 0-30,-1 0 33,0-3-45,4 3 2,-5 0 0,2 0 6,0 0-3,-1 0 4,0 0-5,1-2 6,-1 2 10,1 0-7,-3 0 7,4 0 1,-4 0-9,3 0 8,0 0-10,-2 0 3,-1 0-1,3 0 2,0 0-25,-1 0 17,-2 0-13,2 0 19,1 0-66,-1 0 46,1 0-52,-1 0 64,0 0-52,1 0 35,0 0-47,-2 0 98,2 0-42,0 0 39,-3 0-49,2 0 38,0 0-28,1 0 30,-1 0 26,1 0-40,-3 0 50,2 0-58,0 0-1,-2 0 1,3 2 5,-1-2 4,-2 0-49,2 3 34,-2-3-42,3 0-8,-3 0 39,3 0-44,-1 2 47,-2-2 2,2 0-8,-2 0 4,3 0-7,-3 3 14,2-3-15,-2 0 14,2 2 30,-2-2-26,3 0 33,-3 0-40,2 2 33,-2-2-23,0 0 30,3 3-33,-3-3 3,0 0-2,0 2 0,2-2-20,-2 2 17,0-2-18,0 3 11,2-3 7,-2 3-7,0-3 6,0 2 18,0-2-16,0 2 15,0 1-21,0-3 63,0 2-43,0-2 47,0 2-53,0-2-13,0 3 15,0-1-13,0-2-13,0 3 17,0-3-18,0 2 25,0-2-42,0 2 29,0 1-38,0-3 37,0 3-1,-2-2-3,2-1-1,0 3 9,-2-3-11,2 3 10,0-3 4,-3 2-5,3 0 8,0-2-10,0 3 3,-2-3-2,2 2 5,-3-2-4,3 3 35,0-1-26,-2-2 26,2 2-17,0 1-9,-2-3 11,2 0-12,0 3 35,-3-3-23,3 0 25,0 1-31,-2-1 35,2 0-19,0 0 22,-2 0-1,-1 3-26,3-3 28,-3 0-65,3 0 30,-2 0-28,0 0 34,-1 0-51,1 0-14,0 0-4,-1 0 12,1 0-5,-1 0 35,-1 0-49,1 0 54,0 0-23,2 0 15,-5 0-18,4-3 24,-3 3-15,3-1 13,-1 1-14,-1-3-8,1 0 9,0 1-8,2 2 7,-2-2 5,0-1-9,-1 1 11,1 2 8,1-3-6,-1 3 8,3-2-11,-2 2-16,0-2 11,2 2-13,-3 0 0,3 0 9,0 0 7,-3-3 50,3 3-18,3 0 25,-3 0-47,3 3 21,-3-3-15,2 0 21,0 2-23,1-2 9,-1 2-8,1-2 11,-1 3-13,3-3 10,-2 2-12,-2 1-3,2-3 9,2 2-17,-3-2 14,1 2-6,-1-2 5,1 3 1,-1-3 1,3 3-2,-2-3 2,-3 1-2,1-1 0,2 0 1,0 3-1,-1-3 24,0 0-17,1 0 19,-1 3-24,1-3 2,-1 0-1,0 0 2,1 0 1,-1 0-3,0 0 4,1 0-4,0 0 4,-1-3-13,-2 3 10,2-3-11,1 2 3,-1 1 6,-2-3-8,2-2 52,-2 3-34,3-1 34,-1 1-42,-2-3-30,0 3 24,0-1-24,0-1 33,0 1-128,0-2 26,-2 0-112,-1 3-437,1-1 143,-3-1-323,3 1 482,-3 1 153,0 0 190,3-1 0,-3 0 0</inkml:trace>
  <inkml:trace contextRef="#ctx0" brushRef="#br0" timeOffset="256">10635 1166 8279,'0'-3'714,"0"3"-484,0 0-126,0 0 133,0 0-98,0 0 79,0 0-14,0 0 35,0-3-19,0 3 15,0 0 7,0 0 16,0 0 53,0 0-91,0 0 19,0 0-5,0 0-65,0-1 50,0 1-18,0 0-116,0 0 51,0 0-75,0 0 7,0 0 0,0 0-28,0 0 4,-3-3-58,3 3 98,0 0-63,-3 0 52,3 0-27,0 0 6,-1 0 1,1 0-23,-3 0 31,3 0-22,-3 0 28,1 0-52,2 0 33,-2 0-43,2 0 54,-3 0-53,1 0-17,2 0-5,-3 0 11,3 0-13,-2 0 46,0 0-58,2 0 4,-3 0 21,3 0-29,-3 0 34,3 0 14,-1 0-15,-2 0 13,3 0 34,0 0-25,-3 0 31,3 0-39,-2 0 51,2 0-36,-2 0 44,2 3-50,0-3 26,-3 0-18,3 1 25,-2-1-52,2 0 29,0 0-29,-3 3-18,3-3-13,0 0-5,-2 3 11,2-3-7,0 0-11,-2 0-14,2 2-43,0-2 73,0 0-46,-3 2 56,3-2 13,0 0-11,-3 0 9,3 3-17,0-3 42,0 0-26,-1 0 34,1 2-15,0-2-15,0 3 19,0-3-17,-3 0 24,3 0-10,0 2 15,-3-2-16,3 0 6,0 2 0,-2-2 2,2 0-10,0 3-5,-2-3 9,2 0-7,0 3 20,-3-3-16,3 0 13,-2 1-28,2-1 10,0 0-11,-3 3 13,3-3 4,0 3-3,-2-3 3,2 0-5,0 2 33,-2-2-23,2 0 24,0 2-35,-3-2 4,3 0 2,0 3 0,-3-3-21,3 0 15,-1 2-18,1-2 17,0 3 7,-3-3-9,3 2 5,0-2 5,-3 2-7,3-2 6,0 0-6,-2 3-4,2-3 1,0 3-1,-2-2 3,2-1-12,0 0 13,0 3-11,-3 0-8,3-3 16,0 0-19,0 2 5,0-2 10,0 2-14,-2-2 15,2 3 1,0-3 0,-3 2 1,3-2 46,0 3 12,0-3 3,-2 2-9,2 0-33,0-2-4,-2 3 8,2-3-2,0 3-3,0-2 10,-3-1-8,3 3-21,0-3 16,0 3-16,0-3 23,-2 2-31,2-2 20,0 2-27,0-2 7,0 3 11,0-3-15,0 2 13,0 1 70,0-3-53,0 2 55,0-2-63,0 2 35,0 1-24,0-3 26,0 2-3,0 0-21,0 1 28,0-3-28,0 3-28,0-1 20,0-2-15,0 2 27,0 1-61,0-3 40,0 2-52,0 0 1,0-2 40,0 3-55,0-1 63,0-2-25,0 3 20,0-1-15,0-2 42,0 2-23,0-2 21,0 3-31,0-3 57,2 3-37,-2-3 41,0 1-44,0-1 36,0 3-19,0-3 23,0 3 22,3-3-40,-3 0 45,0 2-52,0-2 49,0 0-38,2 0 42,-2 2-44,0-2 2,0 0 0,0 3 1,2-3-5,-2 0 6,0 2-1,0-2 3,3 0-48,-3 3 35,2-3-41,-2 0-28,0 2 56,3-2-65,-3 0 77,2 2-31,-2-2 20,2 0-26,-2 3 39,3-3-19,0 0 18,-3 3-20,1-3 54,-1 0-39,3 1 42,-3-1-47,3 0-1,-1 3 6,-2-3-4,2 0-35,1 3 30,-3-3-32,2 0-5,-2 2 29,3-2-35,-3 2 42,2-2-50,0 0 34,-2 0-44,3 3 51,0-3-5,-3 0 3,1 0-5,-1 2 1,3-2 13,0 0-8,-1 0 13,-2 3-4,2-3-6,1 0 7,-3 2-7,2-2-11,1 0 11,-3 0-10,2 0-2,0 2 6,-2-2-9,3 0 13,0 0-16,-2 0 10,2 0-12,-3 0 14,3 0-7,-1 3 4,-2-3-4,2 0 5,1 0 18,-3 0-13,2 0 15,1 0-19,-3 0 1,2 0 0,-2 3-3,2-3 2,1 0-2,0 0 4,-2 0-27,-1 0 19,3 0-20,0 1 26,-1-1-9,0 0 6,1 0-7,-1 0 12,1 3-4,-1-3 3,3 0-8,-2 0 25,-2 0-19,2 0 21,0 0-16,-1 0-2,0 0 4,1 3-1,-1-3-36,1 0 28,-1 0-28,0 0 33,1 0-29,-1 2 18,0-2-21,1 0 21,0 0-5,1 0-1,-4 0-9,5 0 16,-2 0-8,-1 0 9,0 0-7,1 0 0,-1 0 0,0 0 3,4 0-5,-4 2 4,0-2-4,1 0 5,1 0-12,-1 0 9,2 0-9,-3 0 16,3 0-3,-2 0 2,1 0-4,-1 0 23,-1 0-17,3 0 16,-3 0-1,1 0-14,-1 0 16,0 3-17,1-3-7,1 0 7,-1 0-6,0 0 8,-1 0-4,0 0 5,1 0-5,-1 0-1,1 0-2,1 0-2,-1 0 2,0 0-14,-2 0 14,2 0-16,0 0-21,-1 0 26,3 0-29,-3 0 38,1 0-22,-1 0 13,0 0-17,1 0 19,1 0 27,-1 0-18,0 0 19,-1 0-20,3 0-6,-3 0 7,1 0 12,-1 0-13,3 0 18,-2 0-22,-2 0 7,5 0-5,-4 0 9,0 0-5,1 0-21,-1 0 14,1 0-18,1 0 24,-1 0-22,-1 0 16,0 0-22,1 0 20,0 0-2,-1 0 1,0 0 0,1 0 19,-1 0-18,1 0 17,-1 0 5,0 0-13,3 0 19,-3 0-24,1 0 18,0 0-12,-1-3 17,0 3-19,1 0-25,-1 0 19,0 0-22,1 0 0,-1 0 20,1-2-21,-3 2 23,2 0-16,0 0 5,1 0-13,-3 0 15,3 0-2,-2 0 5,2 0-1,-3 0 41,3 0-28,-1 0 30,0 0 2,-2 0-29,3 0 37,-1 0-44,1 0 33,-3 0-23,2 0 28,0 0-29,1 0-10,0 0 7,-3 0-7,1 0 7,2 0 5,0 0-6,-1 0 4,-2 0-16,2 0 10,1 0-11,-1 0 12,1 0 13,-1 0-12,0 0 11,-2 0-34,3 0 16,0 0-16,-2 0 38,2 0-12,0 0 11,-3 0-14,2 0 12,0 0-8,1 0 9,-1 0-12,1 0 8,-2 0-4,2 0 5,0 0-7,-1 0 16,0 0-10,1 0 13,-3 0-5,5 0-9,-5 0 13,2 0-12,0 0 3,1 0-2,0 0 0,-3 0-16,1 0 11,2 0-11,0 0 13,-3 0 2,2 0-1,-2 0 0,2 0-1,1 0 9,-3 0-7,2 0 19,-2 0-17,3 0 9,-3 0-12,2 0 3,-2 2-1,2-2 3,-2 0-3,3 0-30,-3 0 22,3 0-25,-2 0 32,-1 0-3,3 0 2,-3 0-4,3 0 2,-1 0 30,-2 0-22,2 0 23,-2 0-30,3-2 7,-3 2-4,2 0 8,-2 0-6,3 0 3,-3 0-2,0 0-8,2 0 4,0 0-4,-2 0 8,3-2-15,-3 2 9,3 0-14,-3 0 17,1 0 64,-1-3-45,3 3 47,0 0-53,-3 0-6,2 0 8,-2-3-3,2 3-8,-2 0 7,0-1 0,3 1-25,-3 0 25,2 0-27,-2-3 31,3 3-39,-3 0 24,0 0-27,2-3 21,-2 3 6,2-2-11,-2 2 8,3-2 31,-3 2-20,2-3 25,-2 3-31,2-2 22,-2 2-15,3-3 19,-3 3-28,3-2 9,-3 0-8,2 2 15,-2-3 6,2 3-3,-2-3 3,3 3-31,-3-1 13,2-2-14,-2 3 19,2-3-4,-2 1 2,3 0-5,-3 2 5,2-3 0,-2 1 0,0-1 0,3 3-7,-3-2 4,2 2-4,-2-2 5,0 2-5,0-3 3,2 3-4,-2-3-5,0 3 8,0-1-7,0-2 4,3 3-2,-3-3-1,0 3-1,0-2 1,0 2 2,3-2-3,-3 2 4,0-3 22,0 3-15,0-2 16,1 2-21,-1-3-3,0 3 3,0-2-1,0 2-1,0-2 5,0 2-5,0-3-22,0 1 18,0 2-19,3-2 25,-3 2-26,0-3 17,0 3-21,0-3 25,0 3-9,0-2 7,0 2-11,0-2 10,0 2 8,0 0-5,0-3 8,0 3-12,0-2 6,0 2-3,0 0 6,0-2-9,-3 2 6,3 0-4,0-3 10,0 1-6,0 2 5,0-3-6,-1 3-2,1-2 0,0 2 1,0-2 0,0 2-1,0-3 0,-3 3 1,3-3 0,0 3 5,0-1-3,-3 1 4,3-3-20,0 3 11,-2-3-11,2 3 13,0-2-19,0 0 13,-2 2-14,2 0-31,-3-3 35,3 3-41,-2-2 46,2-1 0,-3 3-5,3-2 5,-2 2-9,2-2 57,-2 2-42,2-3 44,0 3-6,-3-3 12,3 3 8,-2-1 12,2 1-49,-2 0 13,2-3-10,-3 3-14,3 0 17,-3 0-12,3-3 18,-2 3-65,2 0 44,-2 0-48,-1 0 50,3-2-34,-2 2 18,0 0-26,2 0 29,-3 0 3,1 0-5,-1 0 14,3 0-12,-2 0 13,0 0-12,2 0 13,-3 0-8,0 0 9,2 0-8,-2 0 1,3 0 2,-3 0 0,1 0 2,0 0-4,2 0 4,-3 0-4,1 0 1,2 0-1,-3 0 0,1 0 0,0 0 0,2 0 0,-3 0 0,0 0 10,3 0-7,-1 0 9,-2 0-11,0 0-1,3 0 1,-2 0-2,0 0 1,-1 0 1,3 0 0,-2 0-3,-1 0 3,1 0-3,0 0 4,2 0-32,-3 0 23,3 0-25,-3 0 31,3 0-12,-1 0 8,1 0-9,0 0 8,-3 0-10,3 0 7,0 0 7,0 0 0,0 0 15,3-2-16,-3-1 13,0 3-10,1-2 10,-1-1-10,3 3 6,-3-2-4,3 0 4,-3-1-5,2 0-2,-2 2 2,2-2-2,1 0-29,-3 3 22,0-2-23,0 0 29,2 2-3,-2-3 0,0 1-1,0 2 7,0-3-6,0 1 5,3 2-9,-3-2 15,0-1-10,0 3 11,0-3-12,0 3 10,0-1-5,0 1 7,0-3-1,0 0-6,0 3 7,0-2-2,-3 0-2,3 2 4,0-3-6,-2 1-9,2-1 7,-3 3-6,3-2 8,-2 0-50,0 2 34,2-3-36,-3 0 43,3 2-40,-3 1 25,2-3-29,-2 0 31,3 1 7,-3 0-12,1-1 40,0 3-28,2-2 28,-3-1-31,1 1 40,-1 2-29,3-2 32,-2 2-33,0-3 9,2 0-1,-3 3 3,0-1 1,3 1 5,-1-3 2,-2 0 1,3 3-25,-2-2 8,-1 0-12,1 2 16,0-3-12,-1 1 8,3 2-11,-3-3 13,2 3-1,-2-2-1,0 2 0,1-2 12,0 2-8,-1 0 9,3-3-13,-2 3 22,-1 0-15,1 0 20,0-2-20,2 2 3,-3 0-2,0 0-3,3 0 1,-1-2-2,-2 2 4,3 0-6,-3 0 3,1 0-4,2 0 6,-2-3-7,-1 3 5,1 0-7,-1 0 7,3 0-4,-2 0 3,0 0-1,-1 0 1,0 0 0,-1 0 0,1 0 6,1 0-4,0 3 5,-1-3-7,1 0 21,-1 2-14,1-2 16,0 0-21,-1 2 21,3-2-15,-2 0 17,0 3-19,2-3 10,-3 2-7,3-2-50,0 0 34,-3 2-41,3-2 54,0 0-35,0 0 24,0 3-30,0-3-38,0 0 43,0 0-91,0 0 93,0 0-38,0 0-10,0 2-23,0-2 57,0 0-24,0 0 129,0 0-70,0 0 25,0 0-26,3-2 59,-3 2-35,0-3 41,0 3-6,0-2-40,0 0 48,0-1-16,0 3-16,0-2 21,0 0-26,0-1 34,0 0-23,0 3 24,0-2-31,0 0 7,0-1-2,0 1 4,0 0-13,-3 2 1,3-3 3,-2 1 2,2 2-34,-2-3 22,-1 1-30,3 0 28,-2-1 6,0 3-7,-1-3 5,1 2-7,-1 1 1,1-3-3,0 0 5,-4 3 0,4-2 0,0 2 0,-1-2 1,-1 2-16,1-3 15,1 1-12,-1 2-18,1 0 22,0-3-27,-1 3 8,0-2 16,2 2-21,-2 0 25,0-2-19,1 2 14,0 0-16,2-3 16,-3 3 11,1 0-8,2 0 11,-3-3-14,1 3-2,2 0 2,-2 0-1,2 0-6,-3-1 7,0 1-7,3 0-27,-1 0 26,-2 0-28,0 0 35,1 0-39,2 0 27,-2 0-33,-1 0 38,1-3 5,-1 3-4,1 0 0,0 0-4,-1 0 14,-1 0-10,1-3 14,0 3 0,1 0-12,0 0 14,-1 0-9,1-2-6,-1 2 12,1 0-11,0 0 11,-1 0-8,0 0 7,2 0-7,-2 0 2,0 0-2,1 0 0,0 0-4,-1 0-4,1 0 2,-1 0-1,1 2 9,2-2-4,-2 0 4,-1 3-4,0-3 3,2 0-2,1 0 2,-3 3-1,0-3-2,1 0 3,0 1-3,2-1 21,-3 3-13,1-3 15,-1 0-17,3 3-5,-2-3 6,0 0-6,-1 2 6,1-2 35,0 2-24,-1-2 27,3 3-27,-3-3-6,1 0 9,0 2 12,-1-2-13,1 3 16,2-3-19,-2 2 14,-1-2-8,1 2 9,2-2-7,-3 0-33,1 3 25,0 0-26,2-3 29,-3 1 9,0-1-10,3 3 10,-2 0-14,2-3 3,-2 2-2,-1 0 7,3 1-5,-2-1 7,2 1-7,-2-3-29,2 2 21,-3 0-23,3 1 15,-2-1 13,2 0-13,-3 1 15,3-3-40,0 3 27,0-1-35,-2 0 36,2 1-15,0-3 11,0 2-13,-2 0-23,2 1 21,0-1-25,-3 1 35,3-1-10,0 0 8,-3 4-10,3-5 11,-1 2-27,1 0 20,0-1-23,-3 0 26,3 1-14,-3 2 10,1-3-16,2 0 16,-2 1-7,-1 0 6,3-2 31,-2 2-23,2 0 25,0-1-30,-3 0-17,3-2 13,0 0-14,0 3 9,0-3 6,0 0-10,0 0 64,0-3-38,0 3 41,0-2 18,0 0-48,0 2 58,0-3-67,0 0-3,0 2 3,0-2 6,3 0 3,-3 1 22,0-3-17,2 3 24,1-1-75,-3-1-8,2 1-14,0 0 1,-2 2 55,3-5-11,0 4 9,-3 0-17,1-3 12,2 2-11,0 1 14,-1 0-27,0-3 22,1 3-22,-1-1 29,1-2-68,-1 3 44,3-1-50,-3 1 77,0 0-10,1-1 5,0 1-13,1-1 31,-1 1-22,-1 0 28,1-1-2,-1 0-24,0 3 26,1-1-27,-1 1 10,0-3 1,4 0 3,-4 3 5,0-2-29,1 2 23,-1-2-23,0 2 19,1-3-2,-1 3-1,1-2 25,-1 2-20,0 0 21,1-3-26,0 3 17,-3 0-11,1 0 13,2-2-14,-3 2-3,3 0 4,-3 0-4,2 0 7,0 0-7,1-2 8,-3 2-7,2 0-5,1 0 6,-1 0-9,0-3 7,1 3 1,-3 0-1,3 0-2,-2 0 1,2 0-2,-3 0 2,3-3 2,-1 3-2,0 0 2,1 0-2,-1 0 2,1 0-2,-1 0 2,0 0-2,1 0 1,-3 0 0,3 0 0,-2 3 1,2-3 6,0 0-5,-1 0 6,0 0 28,-2 0 4,3 0 8,-1 3-13,1-3-33,-1 0 4,-2 0-2,2 0 8,1 0-8,-3 0 6,3 2-6,-2-2 79,2 0-49,0 0 54,-3 0-68,2 0-4,0 0 3,1 0-4,-3 0-25,2 2 24,1-2-22,-3 0 28,2 3-31,0-3 21,1 0-22,0 2 31,-3 1-36,1-3 26,2 0-36,-3 2 37,3-2 42,-1 2-30,-2-2 30,2 0 24,1 3-48,-3-3 52,2 3-57,-2-3-5,3 1 12,-1-1-8,-2 3 3,2-3-2,-2 3 7,3-3 6,-3 2-62,2 0 43,-2 1-55,2-3 10,-2 2 34,0-2-47,3 3 52,-3-1-34,0-2 25,0 2-27,3-2 18,-3 3 2,0-3-4,0 2 5,2-2-9,-2 2 6,0-2-7,0 3-33,0-3 32,0 3-36,0-3 44,0 2-5,0 0-14,0-2 7,0 3-9,0-3 0,0 2 12,0 0-15,0-2 30,0 3 1,0-3 2,0 2-1,0-2 36,0 3-35,0-3 37,0 0-42,0 2 4,2-2 3,-2 0 0,0 0 29,0 0-26,0 0 31,3 0-34,-3 2 19,0-2-15,2 0 16,1 0 13,-3 0-19,0 0 21,2 0-27,-2 0-30,0 0 22,2 0-20,-2 0 27,0 0-71,0 0 50,3 0-54,-3 0 66,0-2-53,2 2 36,-2 0-59,2-2 63,-2 2-22,3-3 20,0 1 14,-3 2-10,2-3 11,-2 3-19,2-2 46,1 2-32,-1-2 40,-2 2-48,2-3 29,1 3-20,-1 0 28,1-2-36,-3 2 14,2 0-12,0-2 11,1 2-11,0 0 8,-2 0-9,2-3 7,0 3 1,-1 0-3,0 0 2,1 0 15,-1 0-12,1 0 13,-1 0 5,0 0-14,1 0 16,0 3-18,-2-3 13,2 0-6,0 0 8,1 2-9,-1-2-14,-1 0 11,-2 0-9,5 2 6,-3-2 3,1 0-4,-3 0 4,3 3-12,-2-3 7,2 0-9,0 2 7,-3-2-2,2 0 1,0 2-2,-2-2-6,3 0 9,-1 3-9,-2-3-30,0 2 27,3-2-29,-2 0 36,-1 3 4,0-3-6,3 0 5,-3 2-8,3-2 8,-3 2-9,0-2 8,2 3-9,-2-3 19,2 3-14,-2-3 14,0 1 25,3-1-28,-3 3 34,0-3-21,2 0-8,-2 3 10,3-3-12,-3 2-8,0-2 6,2 2-4,-2 1 5,0-3-5,0 2 7,2 1-7,-2-3 7,0 2-13,0 0 7,0-2-9,3 3 35,-3 0-18,0-3 18,0 1-25,0-1 50,0 3-35,3-3 43,-3 3-33,0-3-7,0 2 10,0-2-11,0 2-23,0-2 21,0 3-21,0-1 27,0 1-31,0-1 21,0 0-21,0 1-38,1-3 38,-1 3-45,0-2 46,0 2-22,0 0 16,0-3-24,0 2 25,0 0 11,0 1-12,0-3 16,0 2 12,0 1-16,0-3 18,0 0-24,0 2 15,3-2-9,-3 2-6,0-2 0,0 3-9,0-3 15,0 3-54,0-3 38,0 1-44,0-1 55,0 0-48,0 3 33,0-3-40,0 3 47,0-3-37,0 2 26,0-2-33,0 0 35,0 2 33,0-2-23,0 3 24,0-3-96,3 0 42,-3 0-42,0 2 60,0-2-34,0 0 22,0 0-24,2 0 50,-2 0-13,2 0 12,-2 0-20,3 0 62,-3 0-46,2 0 48,1 0-18,-1-2 14,-2 2 2,2 0 49,1-3-75,0 3 42,-3-2-37,1 2-29,2-2 28,0 2-26,-1 0 29,-2-3-47,2 3 33,1 0-35,-1-3 38,-2 3-50,3 0-20,-1 0 0,0 0-27,1 0 74,-3 0-35,3 0 49,-2 0-20,2 0 18,0 0-23,-1 0 52,0 0-37,1 0 36,-3 0-40,2 3 31,1-3-15,-3 3 22,2-3-23,0 2-15,-2-2 17,3 2-15,-3-2 11,0 3-1,2-3 1,-2 0 17,0 2-10,2-2 10,-2 3-17,0-1 4,0-2-3,3 2 3,-3-2-4,0 3 9,0 0-6,0-2 8,3-1-6,-3 3 6,0 0-3,0-3 5,2 2-2,-2 0-4,0 1 5,2-3 2,-2 2-5,3 1 6,-3-3-8,2 2 10,0 0-6,-2-2 8,3 3-9,-1 0 3,1-3-4,-3 1 5,2-1-4,0 3 2,-2-3-2,3 3 1,0-3 32,-3 2-23,1 0 25,2-2-32,-3 0 8,3 3-3,-1-3 4,-2 2-24,2 1 13,-2-3-13,3 2 19,-3-2-37,0 2 26,0 1-28,2-3 36,-2 2-11,0 0 6,0 1-10,0 0 10,0-1-8,0 0 5,0 1-8,0 1 7,0-1 3,0-1-1,0 1 6,0-1-7,-2 0 2,2 1-2,0 0-2,-3-2 1,3 2 0,0 0 2,-2-3 6,2 2-4,-2 0 2,2-2-4,-3 3 7,3-3-4,0 2 6,-3 1 31,3-3-28,-1 2 31,1-2-38,-3 2 11,0 1-6,3-3 10,-2 3-7,0-2 1,-1-1 1,3 3 1,-2-3-21,-3 3 17,3-3-17,-1 2 19,1-2-21,0 2 14,-1-2-16,0 3 52,-1-3-25,1 2 24,-1-2-16,1 3-11,1-3 14,-3 2-15,3-2 26,-1 2-17,0-2 19,2 3-20,-2-3 18,0 0-7,1 0 9,0 3 2,-1-3-17,1 0 21,2 0-21,-3 0 22,1 0-18,0 0 16,-1 0-46,0 0 25,2 1-24,-5-1 32,4 0-14,0 0 8,-1 0-9,-2 0 8,1 3-34,1-3 24,-1 0-27,-2 0 29,4 0 4,-5 3-5,4-3-1,-1 0 50,-2 2-39,2-2 41,-1 0 12,1 0-42,-2 0 51,2 0-61,-1 2-4,0-2 4,3 0 3,-3 0 3,3 0-34,-4 0 24,2 0-28,-1 0 38,3 0-62,-3 0 43,0 0-53,0 0 40,1 0 4,-2 0-8,2 0 31,1 0-8,-2 0 7,1 0-16,-1 0-9,0 3 8,2-3-1,-1 0 3,-1 0 23,3 0-17,-3 0 19,0 0-22,0 0 46,2 0-33,-1 0 37,-1 0 16,0 0-40,3 0 44,-3 0-53,3 0 7,-4 0 2,2 0 0,-1 0-31,3 0 16,-3 0-12,0 0 22,0 0-59,1 0 39,-2 0-52,2 0 7,-1 0 38,2 0-43,-1 2 15,-2-2 25,2 0-35,-1 0 39,0 0-17,0 0 7,3 3-7,-3-3 2,1 0 34,-2 0-23,4 0 24,-3 0-25,0 0 6,3 0-3,-3 0 4,2 0 20,-1 0-18,1 0 21,-1 0-36,1 0 10,-2 0-9,3 0 11,-3 0-18,1 0 14,1 0-15,-2 0 17,0 0-23,1 0 14,1 0-15,-2 0 18,3 0-2,0 0-1,-4-3-1,4 3-6,0 0 8,-1 0-10,1 0 12,2-2-5,-2 2 5,-1 0-4,1 0 36,-1 0-26,1 0 28,0-3-34,-1 3 1,0 0 2,2 0 0,-2 0 1,0-2-6,1 2 5,-3 0-7,3 0 10,-1 0-8,-1 0 6,1-2-6,0 2-9,-1 0 11,1 0-13,1 0 6,0 0 5,-1 0-8,1 0 8,-1 0 14,1 0-10,0 0 12,2 0-15,-3 0 0,0-3 1,3 3 0,-1 0 1,1 0-4,-3 0 2,3 0-3,-3 0 3,3 0 1,-2-3 1,2 3 3,-2 0-2,-1 0 2,3 0-4,-2-1-6,-1 1 6,1 0-7,0 0 7,-4 0-74,5 0 53,-2 0-56,0 0 71,1-3-9,0 3 6,-1 0-10,1 0 25,-1 0-18,3 0 16,-2-3-9,0 3-6,2 0 6,-3-2-8,0 2 74,3 0-53,-1 0 61,-2-2-74,3 2 8,-3-3-5,1 3 12,0 0-6,-1-2-5,1 2 3,-1 0-8,1-3-2,0 3 9,2 0-11,-3 0 7,1-2 3,0 2-6,2-2 6,-3 2-23,3 0 14,-3 0-15,3-3 19,-2 3 15,2 0-10,0-3 11,0 3-14,-2-1 3,2 1-3,0-3 4,0 0-16,0 3 9,-3-2-9,3 2-43,0-2 38,0 2-41,0-3 53,0 1-39,0 2 23,-2-3-26,2 3 25,0-2-37,0 2 20,0-2-24,-2-1 53,2 3-8,0-3 7,0 2-15,0-2 47,0 0-36,0 3 43,0-2-7,0 0-24,0-1 31,0 1-34,0-1 0,0 3 5,0-2-2,0 0 4,0-1-32,2 1 25,-2 0-26,0-1 27,2 0-61,-2 3 40,0-2-44,0 0-18,0-1 46,3 1-52,-3 2 57,0-2 7,0-1-5,2 3-3,-2-2 34,0-1-25,0 3 24,0-2-26,0 0 46,0 2-31,0-3 37,0 3-39,0-3-1,0 3 5,0-1 7,0-2-10,0 3 12,0-3-10,0 3 19,0-2-14,0 0 14,0 2-17,0-3 18,0 1-12,0-1 13,2 1-1,-2 2-11,0-2 12,0-1-15,0 0 26,0 2-16,3-2 18,-3 0 13,0 1-27,0 2 30,3-2-36,-3-1 49,0 1-35,2-1 39,-2 3-46,0-2 9,0 0-5,2-1 9,-2 0-26,0 3 18,3-1-18,-3-2 22,2 3-23,-2-3 16,0 3-19,2-2 3,-2 2 12,3-2-16,-3 2 16,2 0-5,-2 0 2,0-3-4,3 3 6,-3 0-21,2 0 15,-2-2-13,2 2 16,-2 0-3,3 0 1,-3 0-1,3 0 0,-2-3 42,-1 3-30,3 0 47,-3 0-48,3-2 11,-1 2-12,0 0-9,-2 0 8,3-2-7,-3 2 10,2 0-26,1 0 22,-1 0-22,-2-3-18,2 3 29,1 0-36,-3 0 43,3 0-70,-2 0 49,-1 0-57,3 0 86,0-3-24,-1 3 22,0 0-27,-2 0 27,3 0-18,-1 0 19,1 0-23,-3 0-27,2 0 21,0 0-19,-2 0 32,3 0-4,-3 0 4,3 0-3,-2 3-44,2-3 32,-3 0-37,3 0-10,-1 0 31,-2 0-42,2 0 51,-2 0 21,3 0-12,-1 0 11,-2 0-22,3 0 61,-3 0-44,0 0 51,2 3-60,-2-3 51,0 0-37,2 0 44,-2 0-77,0 0 33,0 0-27,0 0 63,3 0-19,-3 0 36,0 0-29,-3-3 5,3 3-7,-2-3-3,2 3 9,0-1-3,-2-2 13,2 3-51,0-3-2,0 3-10,-3-2-33,3 0 29,0-1-16,0 1 15,0-1 3,0 1 23,0 0-27,0-1 41,3 0-18,-3 2 19,2-2-19,-2 0 34,2 1-25,-2-3 27,3 3-15,0-1-10,-2 1 17,-1 0-13,3-1 28,0 0-15,-3 2 14,2-2-19,0-2-1,-2 3 2,3-1-1,-1 1-8,-2-1 3,3 1-4,-1 0-13,0-1 14,1 1-16,-3 2 18,3-5-31,-2 5 22,-1-3-25,3 1 29,0 2 5,-1-2-8,-2 2 7,2-3-10,1 3 40,-1-2-29,1 2 29,-1-2-34,0-1 17,-2 3-10,3-2 21,-1 2-19,0-3 4,1 1-4,-3 0 57,3 2 20,1-3 0,-4 0-7,5 2-19,-2-2 18,-1 0-2,0 1 1,1 2-27,-1-2 1,0-1 4,4 1-54,-4-1 29,3 3-26,-3-2-71,3 2 30,-3-2-105,3 2 99,0 0-237,-2-3 94,1 3-180,1 0 124,-3 0-573,3 0 174,0 3-153,-3-3 420,4 2 381,-2 0 0,1 3 0</inkml:trace>
  <inkml:trace contextRef="#ctx0" brushRef="#br0" timeOffset="257">10600 1460 9271,'0'0'-175,"0"-3"187,0 3 49,0 0 18,0 0 28,0 0 135,0 0 931,0-1-640,0 2 631,0-1-1017,0 0-12,0 3 12,0-3-12,0 3-3,0-1 4,0 0-48,0 1 33,0-1-32,0 1 42,0-1-45,0 3-17,0-3 5,-1 3 3,1 0-35,0-3 12,0 3-74,-3 0 60,3 0-71,0-1 39,0-1-84,-3 1 20,3-1-29,0 2 59,0-3-53,0 3 58,0-2-28,0 1 22,0-1-51,-2 0 30,2-2-95,0 2 88,2 0-75,-2-1 99,0 0-68,0-2 70,0 3 10,3-3-7,-3 0 8,0 2-79,0-2-26,3 0 0,-3 0 12,0 0 60,0 0 0,0 0 0,0-2-40,1 2 24,-1-3-29,0-1 36,0 1 58,0-1-39,0 1 34,0-2-59,0 0 46,0-2-33,0 2 44,0 1-45,0-2 32,0-1-26,0 2 40,0 1 18,0-1-22,0 0 31,0 2 17,0-1-51,0 1 56,0 1-68,0 0 31,0-1-20,0 3 24,0-2-20,0 2-6,0 0 14,0-3-12,0 3 18,0 0-66,0 0 48,0 0-49,0 0 315,0 0-171,0 0 190,0 0-145,0 0-31,0 3 106,0-1-97,0 1 85,0-1-40,0 0 26,0 3 25,0-3-68,0 4 11,0-2-17,0-1-75,0 1 1,0 1-11,0 0 28,0 0-95,0-1 38,0 4-127,0-6 107,0 3-95,-1 0 70,1-3-101,0 4-189,0-5 73,-3 2-158,3 0-374,0-3 164,0 2-296,0-2 497,0 0 214,0 2 205,-3-2 0,3 0 0</inkml:trace>
  <inkml:trace contextRef="#ctx0" brushRef="#br0" timeOffset="258">10830 1465 9502,'2'-2'-991,"1"2"1023,-3 0 104,0 0-5,3-3-87,-3 3 22,0 0-33,1 0 25,-1 0 8,0 0 2,3 0 1,-3 0-1,0-3 682,0 3-505,0 3 629,0-3-687,0 0 110,0 0-99,0 0 33,0 3-57,0-3 3,0 0-17,0 2-31,0-2-6,0 2-37,0-2 34,-3 3-34,3-3 60,0 2-71,0 1-5,0-3-27,0 2 22,0 0-8,0 1 7,0-1-35,0 0-27,0 1 55,0 0-26,0-1 115,0 0-37,0 1 44,0-1-63,0 3-30,0-3 17,0 1-12,0 1 37,0-1-36,0 0 31,0 1-38,0-1 30,0-1-47,0 3-21,0-3 4,0 1-67,0 1 37,0-1-16,0 0-16,0-2 30,0 5 12,0-4-16,0 0-17,0 1 34,3-1-38,-3 1 47,0-1-15,3-2-1,-3 2-8,0 1-11,2 0 29,-2-2-27,0-1 29,0 3-34,0-1 23,0 1-29,0-1-8,0 0 22,0 1-25,0 1 36,0-1-19,0 0 12,0 1-15,0-1 15,0-1 29,-2 1-23,2-1 24,0 0-29,0 4 12,0-5-11,0 2 10,0 0 24,0-1-23,0-2 30,0 2-28,0 1-18,0-1 15,2 1-15,-2-1-48,0 0 49,0-2-53,0 3 63,0 0-15,0-3 9,0 1-15,0-1 13,0 3-28,0-3 21,0 0-38,0 3 149,0-6-39,0 3 123,0 0-110,0-3 77,0-1-77,0 1 92,0-1-84,0 1-8,0-2-38,0 1 6,0-2-66,0 2 1,0-1-20,0 0 30,0 0-17,0 1 18,0-2-76,0 5 23,0-5-3,0 2 9,0 1 22,0-2-36,0 1 55,0-1-66,0 0 62,0 3-25,0-3 22,0 3-12,0-4 11,0 2 35,0 1-25,0 1 32,0 0 21,0-3-39,0 2 44,0 1 3,0 2-42,0-5 50,0 5-58,0-4-14,0 4 14,0-3-14,0 0 28,0 1-79,0 0-11,0-1-10,0 1-43,0-1 66,0 1-25,0 0 28,0-1-9,0 1 34,0 2-50,0-2 72,0-1-37,0 3 35,0-3-33,0 3 60,0-2-46,0 2 49,0-2-49,0 2 43,0 0-18,0-3 22,0 3-29,0-2 33,0 2 22,0 0-6,0 0 44,0-2-32,0 2 10,0 0 24,0 0 89,0 0-81,0 0 86,0 0-151,0 0 10,0 2-9,0 0 13,0-2-7,0 3 11,0-1-8,0 0 6,-2 1-13,2 0 7,0-1-14,0 3 15,0-1-13,-3-1 10,3 2-9,0-1 54,0 2-34,0-2 36,-3 1-1,3 2-30,0-2 36,0 0-44,0 2-24,-1 0 21,1-2-21,0 2 29,0 0-11,0 1 6,0-1-8,0 0 13,0-2-60,0 2 44,0 0-51,0 0-16,0-1 45,0 1-49,0-5 59,0 5 8,0-4-58,1 1-7,-1-4-12,0 3-206,3-3 83,-3 0-137,0 0-494,3 0 214,-3-3-160,2 2 400,-2-2 366,2-4 0,1 2 0</inkml:trace>
  <inkml:trace contextRef="#ctx0" brushRef="#br0" timeOffset="259">11078 1482 9502,'3'0'-1237,"-3"0"1165,0 0 72,2 0 0,-2 0 0,0 0 0,0 0 0,0 0 0,3-3 0,-3 3 0,0 0 0,0 0 0,0 0 0,2-2 0,-2 2 158,0 0-30,0 0 102,0 0 36,0-2-74,0 2 69,2 0-70,-2 0 36,0 0-31,0-3 80,0 3-92,0 0 13,0 0-60,0 0 586,0 0-448,0 0 443,0 0-640,0 3 38,0-3-40,0 2 67,0 0-69,0 1-3,0 1-20,0-1-70,0 2 69,0 0-65,0-1 54,0 4-28,0-4-8,-2 2 13,2 1-37,0 0 40,0-2-16,-2-1 11,2 3-41,0-1-4,-3-2-16,3 1 5,0-2 21,0 1-16,0 2-1,0-5 15,0-1-31,0 3 41,-2-3-42,2 2-151,0-2 157,0 0-167,2-2 201,-2-1-26,0 2 12,0-2-29,3-2 19,-3 3-39,2-3 86,-2 2-10,2-1 32,-2-2 72,3 2-27,-3-1 60,0 0-12,3 0-120,-3 1 28,0-2-65,0 2-9,0 1-7,0-1-12,0-1 3,0 0-5,0 0 30,0 3-40,0-3 39,0 2 25,0-1-33,0 1 29,0-1 29,0 1-33,0 1 41,0-1-53,0 1 69,0 0-46,0 2 60,0-3-41,0 3-7,0 0-59,0 0 29,0 0 8,0 0 21,0 3 69,0-3-74,0 2 14,0 0-17,0 1 46,0-1-32,0 1 40,0 1-46,0 1 63,-3 0-45,3 0 54,0 0-61,-3-1 4,3 4-3,0-4-2,0 2-14,-2-2 15,2 3-15,0-2 22,0 0-44,0 0-7,0-2-7,0 1-62,0-1 23,0 1-17,0-4 23,0 3-196,0-3-122,0 2-361,0-2 89,0-2 187,0-1 238,0 1 234,0-3 0,-2 1 0</inkml:trace>
  <inkml:trace contextRef="#ctx0" brushRef="#br0" timeOffset="260">10550 1477 9502,'2'0'30,"-2"0"58,3 0-62,-3 0 41,0 0-74,0 0 80,0 0 99,0 2-24,2-2 68,-2 0 103,0 0-98,0 0 124,0 0-80,0 0-53,0 0 61,3 0 13,-3 0-35,0 3 59,0-3-112,0 0 36,0 0-56,2 0 1,-2 2-10,2-2 16,-2 0-1,3 2 12,0-2-66,-3 3-9,1-3-17,2 3-71,0-1 35,-1-2-104,0 2 103,3-2-113,-2 3 77,-1-1-109,0 0 59,4 1-47,-2-1 16,-1 1-41,-1-1 31,3 0-24,-3 1 56,3 0-41,0-2 12,-2 2 11,-2 0-18,2-1 7,0 0-3,-1 1-10,0-1 15,1 1-23,-3-3 41,0 2-49,2-2 56,-2 0-91,0 2 66,0-2-70,0 0 144,-2 0 14,2-2 1,-3 2 36,1-2-49,0-1 21,-1 1-17,0-1 18,2 1 4,-2-3 16,-2 2-17,3 2-9,-1-2-23,-2-2 32,3 3-25,-3-1-40,2 1-20,2-1-11,-5 1-57,4 0 86,0-1-47,-3 1 58,2 0 6,1-1-11,0 3 8,-1-3 3,0 3-4,3-2-1,-1 2-7,1 0 44,0-2 30,0 2 8,0 0-9,0 2-67,0-2 12,1 2-14,2 1 82,0 0-43,-1-1 42,3 0-55,-3 1 11,3-1-3,0 3 5,-1-3-7,-1 3 23,2-3-16,0 1 19,0 0-21,-3 1-103,3-4 27,-2 3-91,1-1-310,-1-2 101,-1 2-238,-2-2-426,2 0 686,1 0-442,-1 0 771,-2 0 0,5 0 0</inkml:trace>
  <inkml:trace contextRef="#ctx0" brushRef="#br0" timeOffset="261">11042 1482 8519,'-3'0'-181,"3"0"202,0 0-34,0 0 20,0 0 39,0 0-11,-1 0 43,1 0 578,0 0-456,0 0 585,0 0-633,0 2 122,0-2-109,0 0 73,0 0-102,0 0 60,0 2-28,0-2-14,0 0 11,0 0-34,1 3 43,-1-3-18,3 0 22,-3 3 8,3-3-5,1 2 0,-1 0-10,2-2-57,-3 3 12,3-1-11,-1 3-59,2-3 19,-4 1-65,3 1 89,0-1-142,-1 0 78,2-2-119,-2 5 37,1-4 29,0 0-20,0 1 13,-3-1-25,3 1 2,-2-1-27,-2 0 24,2 1-41,0-3 48,-3 3-19,0-3-47,2 0-85,-2 0 39,0 0-42,-2 0 227,2-3-59,-3 3 53,0-5-70,2 3 61,-2-1 11,0 1 11,1-1-11,0-1 2,-1 1-26,1-1 33,-3 1 12,3-2 7,-4 3 29,5-1-23,-2 1-6,-2-3-34,3 3 24,-1-1-60,1 1 30,-3 2-28,3-2 36,-1 2-41,3-3-12,-3 3-3,2 0 5,1-3 42,0 3 11,0 0-9,0 0 3,0 0-21,0 0-97,0 0 20,0 0-82,0 0-513,1 0 471,-1 0-404,0 0 609,0 0 0</inkml:trace>
  <inkml:trace contextRef="#ctx0" brushRef="#br0" timeOffset="262">10649 1499 10333,'-2'-3'759,"2"3"-540,0 0-55,0 0-20,0 0 0,-3 0 9,3 0-46,0 0 7,-2 0-14,2 0 28,-3 0-85,1 0 6,0 3-86,-4-3 89,2 2-118,-1 0 78,-2 1-89,2-1-9,-3 1 45,1-1-64,3 0 63,-4 1-45,4 0 67,-2-2-27,2 2-5,1 2 50,-1-5-60,1 2 63,3-2-59,-2 3-2,2-3-69,0 0 54,0 0-10,0 0 124,2 0 9,1 0 10,-1 0-20,0-3 31,1 1-21,0 2 89,-2-2-30,5-1 10,-4 0-30,0 2 3,3-2-77,-2 0 42,1 1-42,-1 0 59,0-1-94,1 1 9,-1-1-29,1 1-54,-1 0 38,2-1-22,-3 1 25,3 0-6,-2 2 52,-2-3-64,5 3 79,-6-3-27,4 3 23,-4 0-29,3-2 79,-3 2-56,0 0 60,0 0-62,0 0-16,0 2 20,0-2-16,-3 3 31,1 0-12,-3-1 12,2 0-12,-1 1 58,-1-1-43,0 3 41,0-3-53,3 3 71,-3-3 18,1 1 10,-2 0-52,4 1-32,-3-1-30,3-1 45,-1 0-233,1-2 59,0 3-155,2-3-87,0 0 125,-3 0-132,3 0 136,-3 0 138,3 0 23,0 0 92,-1 0 0,-2 0 0</inkml:trace>
  <inkml:trace contextRef="#ctx0" brushRef="#br0" timeOffset="263">11129 1501 8519,'0'-2'-75,"0"2"162,0 0-78,0-3 16,0 3-15,0 0 78,0 0 177,0 0-15,0 0 46,0 0-145,0 0 85,3 0-102,-3 0 187,0 0-161,0 0 347,0 0-304,0 0 229,0 0-420,-3 0-12,0 3-26,2-3-23,-2 2 33,0 0 4,-1 1-11,-1-1 51,0 1-5,0-3 11,1 4-37,-2-1-23,2 0 3,-1-2-13,0 2 7,0 0 17,1-1-22,-2 0 37,4 1-18,0-1 8,-1-2-85,1 3 71,-1-3-51,3 2 98,0-2 27,0 0-14,0 0 7,0 0-49,3-2 37,-3 2-21,2-3 25,1 3-23,-1-2 67,-2 2-40,2-3 48,1 3-40,0-2-21,-3 2 28,1-2-52,2 2 27,0-3-24,-1 0 19,3 3-14,-3-1 6,1-2-11,-1 3 17,0-3 10,1 1-8,1 0 8,-1-1 30,2 3-30,-3-2 29,3-1-59,-2 1 15,-1 0-13,0 2 20,4-3-74,-5 3 53,2-2-52,0 2 69,-1 0-60,0 0 41,1-2-56,-1 2 64,-2 0-60,0 0 42,3 0-103,-3 0 91,0 0-36,-3 0 46,3 2 4,-2-2-9,-3 2 62,3 1-44,-4-1 51,2 0-64,1 1 49,-1-1 11,-1 1 9,-2-1-14,1 0-26,2 1-11,-3 0 21,-1 1-16,1-1 10,3-1-8,-4 0 29,1 1-22,2-1 24,0 1-28,-2-1 32,5 0-23,-3 1 27,3-3-33,2 3-41,0-3-7,-3 0-67,6 0 2,-3 0 30,2-3 10,0 0-185,3 1 44,-2 0-153,1-1-247,-1 1 171,-1 2-241,0-3 384,1 1 118,-3 2 159,2-2 0,1 2 0</inkml:trace>
  <inkml:trace contextRef="#ctx0" brushRef="#br0" timeOffset="264">10922 1506 9502,'0'-3'-970,"0"3"1165,2 0 120,-2 0-39,0-2-103,0 2 0,0 0-50,0 0 2,0 0 801,0-2-607,0 2 620,0 0-851,0 0 44,0 0-48,-2 2 44,2-2-64,-3 0-5,1 2-12,2-2-23,-2 3 37,-1-3-16,1 2 17,-1-2-15,1 3-14,0-3-13,-1 2-52,-2 0 14,3 1 10,-3 0-3,0-2 22,3 2-29,-3 0 7,0-1-7,1 0 14,-2 1-23,-1-1-1,2 3-34,1-3 18,-2 1 3,2 0 8,-1 1 11,0-1 13,0-1-20,1 0-11,-2 3 29,5-2-31,-5-1 31,4 0-43,0 1-8,-1 0-6,1-2 12,-1-1-49,3 3 17,0-3-79,-2 0 79,2 2-11,0-2 54,0 0-30,0 0-9,0 0 5,0 3-9,-2-3 34,2 0-4,0 0-5,0 0-3,-3 0 38,3 0 24,0 0 8,0 0-14,-3 0 3,3 0 10,0 0 141,0 0-50,0 0 79,0 0-110,0 0 50,3-3-65,-3 3 33,3-2-1,-1-1 2,0 2 19,1 1-19,2-3 9,-3 0-31,0 1 30,4 0-21,-5-3-36,5 2 24,-2 1-18,-1 0-37,2-1-7,-1 0-15,2 2 14,-5-2-3,5 0-6,-2 1-16,-1 0-46,2 2 72,-1-3-39,-1 1 42,1-1-53,-1 3-40,2-2 13,-3 2-15,3-2 18,-2-1 19,1 0-31,-1 2 88,1 1-18,-1-3 22,2 0-31,-3 1 52,1 2-39,-3-2 46,5 2 11,-5-3-41,2 3 50,-2-2-53,0 2 19,0 0-3,0 0 66,0-3-58,0 3 72,0 0-76,0 0 29,-2 0-33,2 3 40,-5-3-27,5 2 32,-3-2-17,1 3-11,0-3 11,-4 2-16,4 0-36,0-2 27,-1 3-28,1 0 36,-3-3-16,3 1 11,-1 2-10,-1 0 12,1-1-14,-1 0 9,-2 1-16,2-1-18,-1 1 20,0 1-23,0-1 8,-2 1 17,2 2-22,-2-2 26,2-1-1,0 2 1,-2-1 1,2 2-4,0-5 45,0 2-31,3 2 34,-3-3-44,2 0-1,-1 1 1,1 0 6,1-3 2,2 1 4,-2-1-2,-1 3-28,3-3-192,0 0 74,0 0-157,0 0-130,0 0 69,0-3-154,3 3 278,-3-1 109,2 1 113,0-3 0,1 0 0</inkml:trace>
  <inkml:trace contextRef="#ctx0" brushRef="#br0" timeOffset="265">10765 1513 8847,'-3'-2'-271,"3"2"494,0 0-92,0 0-54,0 0-53,-2 0 37,2 0 17,0 0 40,0 0-50,0 0 80,0 0-55,0 0 60,0-3 46,0 3-27,0 0 108,0 0-10,0 0-43,0 0 44,0 0-102,0-2 137,2 2-83,-2 0 137,0 0-143,3 0 26,-3 0-105,2 0 25,-2 0-32,3 0 1,-1 2 0,-2-2 1,2 0 8,1 3-7,0-3 8,-2 2 2,2-2-10,2 2 11,-3-2-14,3 3-66,-2 0 43,1-2-32,2 2 43,-5-3-37,5 5-37,-2-3 3,1 1 3,0-1 2,-3 1-43,4-1 16,-2 0-99,1 1 91,-3 0-101,3-2 29,-2 2-34,1 0 59,2-1-16,-5 0-4,5 1-1,-4-3-61,0 2 58,1 1-46,-1-1 58,1-2-28,-1 2 29,0 1-37,1 0-47,-1-3 21,0 1-53,-2 2 55,3-3-22,0 2 15,-3-2 43,2 0 4,0 3-4,-2-3-36,3 2 12,-3-2-15,2 2 29,1-2-40,-3 3 32,2 0-36,-2-3 38,2 1 10,-2 2-10,0-3 10,3 3 38,-3-3 9,0 0-5,0 2 46,0-2 74,0 0 14,0 0 68,-3 0-79,3-2 28,-2 2-28,0-3 62,-1 3-88,1-3 50,-1 2-80,1-2 9,-3-2-17,2 3-5,-1-1 24,1 1-44,-1-1-18,1 2-12,-2-2 14,1 0-3,-2 1-4,5 0-24,-7-1 20,3 1-12,0-1 35,1 1-34,-3 0 37,1-1-16,2 0 11,-1 2-12,-2-2 14,1 0-4,2 1 4,-1 0-1,0-1 0,0 3 1,1-2-1,-2-1-72,5 1 51,-2 0-57,-2-1 72,3 0-69,-1 2 50,3 1-57,-2-3 57,2 0-62,0 3-28,0 0-8,0 0 5,0 0 67,0 0-3,2 0 16,1 0-8,-3 0 29,2 0-25,0 3 26,1 0-27,1-3 53,-1 4 25,0-4-5,1 5 65,1-3-36,-2 1 16,1-1-20,2 1-10,-2-1 5,1 3 13,0-2 45,2-2-71,-2 5 36,2-4-37,-2 3 19,2-3-2,-2 3 8,3-3-17,-1 4-17,-3-5 13,4 2-12,-4-1 15,1 1-45,0-1-7,-2 0-6,1 1-230,-1-3 91,-1 3-162,-2-3-460,3 0 187,-3 0-149,2 0 375,-2-3 363,0 3 0,2-3 0</inkml:trace>
  <inkml:trace contextRef="#ctx0" brushRef="#br0" timeOffset="266">6602 1675 9281,'0'0'123,"-2"0"-58,2 0 241,0 0 225,0 0-137,0 0 92,0 2-357,0-2 32,0 0-21,0 2 35,0 1-40,0 0-31,0-2-25,0 5 0,0-2 11,0 4 6,0-1-22,0 3 1,0 1 1,0-1-33,0 2-12,0 0-13,0 1-69,0-4 74,0 1-77,2 0 26,-2-3 0,3 0 25,-3-2 17,2-1-76,1 2 31,-3-5-118,2-1 87,-2 3-53,0-3 14,2 0 23,-2 0-24,0-3 12,0 3-19,0-1-44,0-2 92,0 0-11,0-1 54,0 1-78,0-2 23,0 1-26,0-3 39,0 1 22,0-1-11,0 0 11,0-2-19,-2 1 46,2-2 10,0 3 5,-2-5 101,2 2-66,0 1 96,-3-1-98,3 1 95,0 1-73,0 1 108,0 0-12,0 2-6,0 3 20,0-1-50,0 3 55,0-2-36,0 4 58,0-2-46,0 3-65,-2-1-17,2 3-32,0-1 30,-3 2-92,3-2 40,0 4-114,-2-4 23,2 3 23,-2 3-43,2-3 93,0 3-17,0-2 57,0 1-38,0 1 84,0 0-11,0-1 27,0 1-20,0-3-70,2 0 15,0 0-9,-2 1 28,3-4-41,-1-1 53,1 0-37,-3-3-138,2 0 29,-2 0-125,2-3 13,-2 0 14,0-1-39,3-4 1,-3 1 50,0 0 2,2 0 24,-2-3 17,0 1 80,0 1-26,0-2 33,0 0-46,0 1 27,-2 2-26,2 0 49,-3-3-107,1 3 77,2 0-58,-2-1-73,2 4 7,-3-2-123,3 5 172,0-2 34,0 0 115,3 3 0,-3 0 0</inkml:trace>
  <inkml:trace contextRef="#ctx0" brushRef="#br0" timeOffset="267">6831 1889 9502,'-2'0'-92,"2"0"85,0 0 378,0 0-197,0-2 230,0 2-180,0 0-68,0-2 20,2-1-30,1 1-63,2-1-11,-3 1 0,3-3 26,2-2-64,-2 2 34,2-2-95,0 0-9,0 0 34,1-1-37,-1 1 14,0 0 3,-2 0 2,0-1 28,-1 3-27,-1 3-8,0-1-5,-1 1-65,-2 2 46,0 0-23,-2 0-48,-4 5 98,5-3-51,-5 5 71,-1-1-77,2 1-14,-2 0-21,3 0 80,-4 1 10,1 1 54,-3-2-67,6 3 46,-4 0 0,1-3 10,0 0-7,0 2 66,2-1-12,0-3 90,0-3-13,5 3 31,-2-5-57,4 0 26,-2 0-103,3-5 40,2 0-104,2 1 72,-3-2-74,4-1 75,1 0-13,-1 0 6,-1-1-8,0 1-6,0 0 43,1 0-43,-1-1 41,0 1 35,-2 3 19,-1-4 8,-1 4-22,0-2-58,-2 2-1,-1 1 25,0 3-76,0-2 4,-1 2-21,-2 2 22,-2-2-78,0 6 32,-2-2-123,2 3 110,-2-2-82,0 2 58,2 0-84,-2 3 41,2-2-265,0-4 84,2 3-56,-1 1 185,1-3 176,1 0 0,0 2 0</inkml:trace>
  <inkml:trace contextRef="#ctx0" brushRef="#br0" timeOffset="268">6295 1798 9469,'0'0'830,"3"2"-631,-3-2-17,0 0-9,0 0 0,0 0-70,0 0 29,3 0-24,-3 0 28,0 0-13,0 2-1,2-2 1,-2 0 12,2 3-56,-2-3-2,3 3-16,-1-2 12,1 5-33,-1-4-9,3 3-28,-2 0-37,1 2 90,1 0-38,0 0-17,0 1-3,-1-1-30,2 0 32,1 0-24,-3 1-5,1-4-26,0 2 29,0-2-29,-1-1 68,-1 1-69,0-4 62,1 3-2,-1-3-6,-3 0-17,2 0 17,-2 0-17,3 0 25,-3-3 14,0 3-9,0-2 9,0 2-13,0-2 20,0 2-14,0 0 15,-3-3-18,3 3 60,-2-3-40,-3 2 44,3 1-69,-4-3 8,2-2-2,-1 3-58,0-3 53,0 2-55,1-1 66,-2-2-71,2 2-21,1-1-2,-1 0 6,-1 0 28,2 1 12,-1-2-21,1 2 11,3-1 21,-3 3-28,3-1 24,-1 1 58,1-1-44,0 3 51,0 0-43,0 0-15,1 0 22,-1 0-16,3 3-53,0-1 44,-1 1-42,3 1 56,0 2-39,-3-2 28,6 1-33,-4 2 28,1-2 42,2 3-36,0-4 37,0 3 7,-1-2 15,1 0 5,0 0-56,-2-1-11,2 2-32,-2-4 53,0 0-357,-3-2 87,0 0-240,1 0 296,-3 0 103,0-2 109,2 0 0,-2-4 0</inkml:trace>
  <inkml:trace contextRef="#ctx0" brushRef="#br0" timeOffset="269">6583 1906 13789,'-2'3'397,"2"-3"-324,-3 0-55,3 2 68,-2-2-94,-1 0 50,3 3-95,-2-3-1,0 2 32,-1-2-80,0 2 60,2-2-4,-2 3 48,0-3 27,1 0-36,0 2-25,-1-2 1,1 2-7,-1-2 22,1 0 17,0 3-21,-1-3 30,0 3 4,2-3-5,-2 2 3,0-2-25,1 2 17,0-2-21,-1 3 24,1-3 13,-1 0-9,3 2 15,-2-2 5,0 2-14,-1-2 16,0 0-22,3 3 7,-1-3-2,1 2 2,-3-2-3,0 0-22,3 3 16,-2-3-16,0 2 18,2-2 2,-3 2-2,3-2 2,-2 0 7,2 3-6,-3-3 5,3 3-5,-2-3-3,2 1 4,-2-1-5,2 0-20,-3 3 15,3-3-14,0 3 22,-3-3-14,3 0 11,-1 2-12,1-2-9,0 2 11,-3-2-14,0 3 5,3-3 9,-2 2-9,2-2 8,0 3-2,-2-3 1,2 2-3,-3-2 5,1 2-4,2-2 3,-3 3-2,3 0 3,-2-3 25,0 1-18,2-1 20,-3 3-14,1 0-7,2-3 8,-2 2-8,-1 0 13,3-2-7,-3 3 10,1-3-12,2 2-1,0-2 3,-2 3-3,-1-3-21,3 2 15,-2 0-18,2-2 25,0 3-22,-3-3 14,3 3-17,0-3 17,-2 1-2,2-1 0,0 3 3,-2 0-1,2-1 0,0-2-1,-3 2 17,3 1-12,0-1 16,0 1-20,-2-1 0,2-2 0,0 2 1,0 1 20,-2 0-12,2-2 12,0-1-16,-3 3 56,3 0-39,0-1 42,0 0-53,0 1 5,-3-1 3,3-2 4,0 3 29,0-1-21,-2 0 20,2 1-21,0 0 10,-2-2-2,2 2 6,0 0-11,-3-1-24,3 0 16,0 1-14,-2-1 28,2 1-7,0-1 6,-2 0 31,2-2-30,0 3 36,0 0-44,-3-2 23,3 2-17,0 0 16,0-1-17,0-2 12,0 2-5,0 1 7,0-3-3,0 2-4,0 1 7,0-3 0,0 2-37,0 0 25,0 1-30,0-1-22,0-2 37,0 2-35,0 1 42,0 0-16,0-3 5,3 2-12,-3 0 14,0 1-17,0-3 8,0 2-10,0 0 34,2 1-11,-2-3 12,0 2-17,0 1 54,2-3-39,-2 2 44,3 0-44,-3-2-3,0 3 15,2 0-13,-2-3-58,2 1 38,1 2-47,-3-3 62,3 3-61,-3-1 43,2-2-50,0 2 59,-2-2-32,3 3 22,-1-3-30,-2 2 22,2-2-7,-2 3 3,3-3-5,-3 2 0,2-2 1,1 2-1,-3-2-22,2 0 23,-2 3-24,2 0 30,1-3-6,-3 1 3,3-1-5,-1 3 5,0-3-1,1 3 0,-3-1-2,2-2 8,0 2-8,1 1 8,-1-1-4,1-2-1,-1 3 2,0-1-2,1 0-37,-3-2 26,3 3-28,-2 0 36,-1-2-2,3 2 1,-3-3-3,3 3 18,-3-1-14,2-2 12,0 2-15,-2 1 58,3-3-40,-3 2 45,2 1-55,-2-3 21,3 2-13,-3 0 26,2-2-19,0 3 6,-2 0-3,3-3 0,-3 1-29,3 2 22,-3-3-23,1 3 14,-1-1 6,3 0-8,-3-2 25,3 3-14,-3-1 12,2 1-17,-2-3-14,2 2 11,-2 0-10,0-2 15,3 3-9,-3 0 6,2-2-7,-2-1 11,3 3-3,-3 0 3,2-1-4,0-2-14,1 2 11,-3 1-13,3-1 5,-2-2 4,2 3-6,-3-3 8,3 2-7,-1-2 5,0 2-5,-2-2 7,3 3-7,-1-3 5,1 3-5,-1-3 4,-2 0 2,5 1-3,-5-1 1,3 0 2,-2 0-1,2 3 2,0-3 7,-1 0-7,0 0 8,1 0-9,-1 3-4,3-3 4,-3 0-2,1 0 2,0 0-54,-2 2 39,2-2-40,2 0 49,-3 0-17,1 0 10,-1 0-16,1 0 20,-1 0 2,0 0-3,1 0-1,-1 0 24,0 0-23,1 0 25,0 0-26,-1 0 0,0 0 3,1 0-1,-1 0-3,0 0 3,1 0-2,-1 0 4,1 0-37,-1 0 25,0-2-33,1 2 62,0 0-21,-1-3 18,0 3-24,-2 0 17,3-3-14,-1 3 16,0 0 11,-2-1-18,3 1 24,-1 0-28,1-3 16,-3 3-10,2 0 14,0-3-14,1 3-16,0-2 11,-2 2-15,-1 0 19,3-2-35,0-1 25,-1 3-30,-2-2 50,2 2-14,1-3 12,-1 1-7,1 2-6,-1-2 5,0 2-7,1-3 23,-3 0-16,3 3 18,-2-1-18,2 1 5,-3-3 1,3 3 0,-1-3-55,0 3 34,-2-2-38,3 2 44,-1-2 4,1-1-6,-1 1 2,-2 2 21,2-3-17,1 1 16,0 0-21,-2 2 15,2-3-13,-3 0 12,3 2-13,-1-2 41,0 3-25,1-3 30,-3 1-14,2 0-18,1-1 22,-3 1-23,2 2 5,0-3-4,-2 1 4,3 0-40,0-1 28,-3 0-29,1 2 35,2-2-1,-3 0-2,3 1 0,-1 0-2,-2-1 5,2 1-6,-2-1 5,3 1 5,-3 0-6,2-1 6,1 0-33,-3 2 18,2-2-18,-2 0 24,2 1-48,-2-3 36,3 3-38,0-1 46,-3 1-34,1-3 21,-1 2-30,3-1 33,-3 1-18,3-1 15,-3 1-16,2-2 15,-2 3-20,0-3 15,2 3-16,-2-3 25,0 2-7,3 1 7,-3-3-5,0 3 0,0 0 2,0-1-2,0 1 19,0-3-14,0 3 11,0 2-16,0-3 21,0-1-14,0 1 21,0 0-17,0 1-1,0 0 2,0-1-3,0 1-2,0-1 3,0 1-5,0-3 1,0 2 0,0 2-1,0-2 5,0 0 16,0 1-14,0 0 12,0-1 15,0 1-21,0-1 25,-3 1-31,3 0 20,-2-1-11,2 3 13,0-3-13,-2 2-4,2-2 5,-3 0-3,3 3 8,0-2-6,-3 0 9,3-1-9,-1 3 10,1-2-9,0-1 6,-3 3 0,3-2-5,-3 2 6,3-2-7,-2 2-2,2-3 3,0 3-2,-2-3 0,2 3 1,-3-1-1,3 1 3,-2-3 18,2 3-14,-3-3 15,3 1-20,-2 2 13,2-2-8,-2-1 9,-1 3-11,3-2 1,-3 2 1,2-3 0,1 3-4,-3-2 2,3 0-2,-3 2-7,3-3 9,-2 3-9,2-3 10,-2 3-7,2-1 4,-3-2-4,3 3 2,-2-3-4,-1 3 2,3-2-3,-2 0 6,2 2 1,-2-3-1,-1 3 2,0-2 1,2-1-2,1 1 3,-3 2 12,0-2-12,1-1 12,0 0-14,-1 2 19,1 1-14,-1-3 15,1 0-17,0 1 49,-1 2-32,0-2 36,2-1-19,-2 1-20,0 2 24,1-3-28,0 1 9,-1 2-14,1-2 16,-1 2-14,1-3-1,0 3 6,-1-2-6,0 2-26,2 0 28,-2-2-34,0 2 37,-1 0-42,1-3 29,1 3-37,-1 0 42,1 0-19,-3-3 13,3 3-13,0 0 10,-1 0-1,0 0 0,-1 0 1,1 0 2,1 0-1,-1-2 0,1 2 43,0 0-31,-1 0 35,3 0-43,-2 0 67,0 0-48,-1-2 55,0 2-66,1 0 40,0 0-28,-1 0 38,1 0-41,0 0-9,-1 0 6,1 0-7,-1 0-42,1-3 46,0 3-47,-1 0 54,0 0-28,2 0 11,-2 0-15,0 0-12,1 0 26,0 0-32,-1 0 34,-2 0 27,3 0-19,0 0 22,-1 0-32,0 0 8,2 0-4,-2 0 10,-2 0-17,3 0 10,-1 3-7,1-3-21,-1 0 22,1 2-25,0-2 28,-1 0-7,0 2 3,-1-2-5,1 0-2,1 3 34,0-3-28,-1 3 28,1-3-31,-1 2 49,1 0 12,0-2 3,-1 3-3,0-1-46,2 0 15,-2 1-51,0-1 40,1 1-41,0-1 45,2 0-37,-3-2 26,1 6-29,-1-5 29,1 2 0,0 0-6,-1-1 4,3 0-15,-3 3 27,2-2-26,1-1 25,-3 0-13,0 1 1,3 0 5,-2-2-17,2 2 10,-2 2-10,-1-3 13,3 1 4,-2-1-3,-1 1 2,3-1-4,-2 3 4,2-2-4,-2-2 5,-1 2-6,3 2 12,-2-3-9,2 1 10,-2 2-6,-1-3-2,3 0 4,-3 4-22,3-5 12,-2 2-13,2 2 19,-2-3-15,2 3 9,-3-2-12,3 1 13,-2-1-10,2 0 8,0 1-9,-3-1 21,3 1-11,-2-1 10,2 2-13,0-3-1,0 0 2,-2 4-1,2-5 3,0 5 14,0-4-8,0 0 10,0 1 10,0 2-17,0-3 21,0 0-26,0 1 13,0-1-8,0 3 11,0-2-2,0-1-4,0 0 3,0 3-6,0-3-1,0 1 3,0-1-1,2 3-7,-2-3 4,0 1-5,0 0 7,0 1-16,0-1 11,0 1-13,0-1-4,0-1 12,0 1-12,0-1 16,0 0 17,0 4-15,0-5 13,2 2 17,-2 0-21,0-1 24,3 0-31,-3 1 2,0-1-2,2 3 6,1-3 2,-3 1 16,2 0-7,0-2 6,-2 2-47,3 0 21,0-1-21,-3 0 29,2 1-3,-2-1 0,2 1-7,1-1-21,-3 0 18,2 1-20,-2 0 25,2-2 16,1 2-14,-1 0 14,1-3-18,-1 2 33,3 0-23,-2-2 24,-2 3-27,2-3 59,2 2-33,-3 1 38,1-3-80,2 2 16,-3-2-18,0 2-21,1 1 41,0-3-42,-2 3 50,5-2-50,-4 2 31,0 0-33,1-3 32,2 2-54,-3 0 30,3 1-38,-2-1 45,1 1-3,-1-3 1,1 2-7,1 0 5,-2-2 3,1 3-5,2-3 5,-5 3-53,5-3 35,-2 0-36,1 1 70,-2-1-13,1 0 12,-1 0-19,1 0 29,2 0-19,-4 0 24,3 0-31,-3 0 12,3 0-7,-3 0 11,3 0-32,-3-1 18,1 1-17,0 0 28,1-3-28,-1 3 21,-1 0-23,0-3-54,3 3 54,-2 0-63,-1 0 77,0-2-8,4 2 5,-4 0-7,0-2 3,1 2 36,-1 0-26,0-3 30,1 3 6,-1-2-32,3 2 35,-3-3 5,1 1-35,0 2 42,1-2-49,-1-1 45,-1 0-31,0 2 45,1 1-46,2-3 2,-3 0-4,0 1 0,1 0 6,0-1-27,-2 1 17,2-1-22,2 1 26,-3 0-5,1-1 2,-1 0-7,1 2 9,-1-2-4,0 0 1,1 1-2,1-3 1,-1 3-2,0-1 4,-1-1-8,3 1 7,-3-1-7,1 1 9,-1-2 4,0 3-3,1-1 2,0-2-5,1 3-2,-4 0 0,3-1-30,-1-1 23,0 1-22,-2 0 28,3-1-17,-1 1 12,1 1-14,-3-3 16,2 0-2,0 2-2,1-1 1,-3-1-5,3 0 17,-2 3-14,2-3 14,0 0-15,-3 1 2,2-2-4,0 2 0,1-1 2,-3 3 0,0-3 8,2 2-36,-2-1 24,0 1-26,0 0 28,3-1-15,-3 1 9,0-1-13,0 1-10,0-2 15,0 3-18,0-3 42,0 1-11,0 1 15,0-2-26,0 3 39,0-3-29,0 0 35,0 0-37,0 2 48,0-1-35,-3 1 38,3-1-45,0-1 36,-2 2-24,2-1 29,0 1-25,-3-1 1,3 1 1,-2 0-2,2 1-31,-2-3 24,2 3-24,-3-1-10,0 1 27,3 0-33,-1-1 39,-2 0-12,0 2 6,3-2-10,-2 0 9,0 1 37,-1 0-26,3-1 28,-2 1 3,-1-1 11,1 1 2,2 0 43,-2 2-73,-1-3 43,0 0-48,2 2 9,-2-2-5,0 0 10,1 1-6,0 0 18,-1-1-12,1 1 10,-3-1-10,3 1-5,-4 0 1,5-1-4,-5 1 6,2 0-3,-1 2 3,0-3-2,0 0-29,1 1 20,-2 0-21,4 2 20,-5-3 7,4 3-8,-1-2 7,-2 2 9,2 0-9,1 0 9,-1 0-12,-1 0 11,0 0-11,0 0 11,1 0 9,1 0-13,-2 0 18,0 0-22,0 0-4,1 2 4,1-2-3,-1 0 72,-2 3-44,2-3 47,-1 2-63,0-2 16,0 2-9,1-2 12,-2 3-12,2 0 1,-1-3 5,0 2 1,0 0-31,3-2 20,-3 3-23,1-1 28,1-2-1,-2 2 3,0 1-4,0-3 37,3 2-30,-3-2 26,1 3-38,1-1-3,-2-2 3,3 2-2,-3 1 9,2 0-47,1-3 36,-3 1-33,2 2 12,2 0 24,-2-1-26,0 0 29,1-2-6,0 3-7,-1-1 1,1 1-73,-1-3-10,1 2-27,0 0 28,-1 1-20,0 0 3,2-2-17,-2-1 21,0 3 103,1 0-32,0 1 34,-1-1-8,1-1 9,-1 1 7,1-1 16,0 3-52,-1-2 27,1-2-27,0 5 46,-1-4-33,0 3 38,1-3-39,2 3 30,-2-3-23,-1 4 21,1-5-24,2 5 20,-3-4-15,3 3 18,-2-3-29,2 3 9,-2-3-10,2 4-12,0-5 16,-3 5-16,3-2 22,0-1-13,0 2 8,0-1-12,-2-1 14,2 1-22,0 2 15,0-2-19,0-1 21,0 2-14,0-1 10,-2 1-11,2-3 10,0 4-1,0-4 1,0 3 1,0-3 0,0 3 0,0-3 0,0 3 14,0-3-11,0 4 12,0-5-14,0 5 0,0-4 1,0 3-1,0 0 2,2-3-4,-2 3 3,2-1-2,-2 2-2,3-2 4,-3 1-4,2 0 45,0 0 11,-2-1 3,3 2-9,-3-2 14,2 1-35,1 0 38,-3 0-43,2-1 59,0 2-35,1-4 40,0 3-47,-1 0-6,0-3 17,1 3-11,1-1-57,1-1-24,2 2-4,-1 0-401,3-3 143,-2 3-266,3 0 245,0-2-1048,-1 1 984,1-1-851,0-1 1240,2 0 0,-1 3 0</inkml:trace>
  <inkml:trace contextRef="#ctx0" brushRef="#br0" timeOffset="270">6744 1947 14471,'0'0'-5,"-4"-2"-54,1-1 74,1 1-38,0 0 38</inkml:trace>
  <inkml:trace contextRef="#ctx0" brushRef="#br0" timeOffset="271">6801 2008 14690,'0'-3'1,"-3"3"-27,0-2 20,1-1-21,0 1 28</inkml:trace>
  <inkml:trace contextRef="#ctx0" brushRef="#br0" timeOffset="272">7031 2121 9502,'3'0'0,"0"-2"26,-1 2 21,0 0 51,1 0-7,-3-3 103,2 3 15,1 0 16,-3 0-28,2 0-27,-2 0-33,2 0 19,-2-2-25,0 2-28,0 0-20,0 0 10,0 0-3,0 0 16,-2 0 18,-3 0 12,0-2-105,1 2 34,-6 0-126,3-3-21,-3 3 37,1 0-61,-4 0 111,4-3-50,-4 3 49,1 0-23,1 0 19,-2 0-14,4 0 39,-1 0-48,0 0 48,3 0-31,0 0 26,5 0-20,-4 0 20,6 3-3,-2-3 2,2 0 3,2 3-37,-2-3 29,6 0-30,-4 2 4,3-2 21,2 0-29,-2 2 33,-1-2 18,3 3-13,1-3 16,-1 0-24,3 0 43,-3 0 12,3 0 2,-1 0 19,1 0 14,2 0-33,-2 0 40,0-3-50,-1 1 1,1 2 7,-3-2 16,0-1-30,-4 0 33,2 2-17,-5 1-121,2-3 31,-2 3-120,-2-3 113,-1 3-53,-2 0 29,1 0-2,-6 0-124,3 0 92,-1 0-98,-2 0 45,3 0-2,-2 0 38,2 3-18,-3-3 96,3 0-45,-1 3 39,1-3-48,3 0 115,-4 1-30,6-1 99,-3 3-94,2-3 191,3 0-82,0 0 133,3 0-94,2 3-141,-1-3 57,3 0-94,3 2-288,0 0 60,-1 1-237,1-1-292,2 3 538,-2 0-339,2-1 579,-2 4 0,2 1 0</inkml:trace>
  <inkml:trace contextRef="#ctx0" brushRef="#br0" timeOffset="273">6346 2116 9502,'-2'0'-911,"0"-2"1088,2 2 35,0 0 306,-3 0-142,3 0-90,-2 0 10,2 0-86,-3 0-15,3 0-41,-2 0-3,0 0 5,-4 0-12,2-2-13,-1 2-1,-2 0 1,0 0-57,0 0 43,-3-3-42,2 3-43,-3 0 24,1 0-89,0 0 109,1 0-143,-1 0 87,0 3-130,3-3 69,-1 2-46,4-2 23,-1 0-53,0 0 13,3 0 17,2 2-16,-3-2 44,6 0-29,-3 0 13,2 0-2,3 0-2,2 0 39,-2 0-2,5 3-1,-3-3 36,2 2-33,4 1 31,-4-1-33,4-2 76,-2 2-57,1 1 59,1-3 2,-4 2 20,4-2 17,-4 2 45,1-2-54,-3 0 11,0 0-14,-4 0-4,-1 0 28,0-2-10,1 2 11,-6 0-11,1-2 34,0-1-16,-4 1-5,-1 2-45,-2-2 13,2-1-1,-3 1-45,0-1-28,1 3-4,-1-2-38,0 2 42,1-2-6,2 2 6,-1-3-11,-2 3 29,6 0-37,-1 0 35,0 0-135,2 0 13,1 0-82,0 0 59,2 0-146,2 0 177,0 3-120,4-3 234,1 2 0,2 0 0</inkml:trace>
  <inkml:trace contextRef="#ctx0" brushRef="#br0" timeOffset="274">6472 2278 15496,'3'2'1,"-3"-2"-2</inkml:trace>
  <inkml:trace contextRef="#ctx0" brushRef="#br0" timeOffset="275">6482 2283 15495,'0'3'0,"4"-2"-2</inkml:trace>
  <inkml:trace contextRef="#ctx0" brushRef="#br0" timeOffset="276">6491 2290 15467,'0'0'-7,"5"3"-3,-3-3 5</inkml:trace>
  <inkml:trace contextRef="#ctx0" brushRef="#br0" timeOffset="277">6714 2295 15977,'1'-2'-3,"2"-1"-45,0 3 37</inkml:trace>
  <inkml:trace contextRef="#ctx0" brushRef="#br0" timeOffset="278">6714 2290 15307,'1'0'0</inkml:trace>
  <inkml:trace contextRef="#ctx0" brushRef="#br0" timeOffset="279">6501 2295 15419,'0'0'-5,"7"5"4,-2-3-4,0 1 3,2-1-5,-2 0 20,-1 1-15,2 0 16,-4-3-10,3 1-6,0-1 8,-3 0-11,3 3 2,-1-3 0,-1 0 2,2 0-1,0 0 7,-3 0-5,3 0 5,0 0-23,-1 0 13,-1 0-15,2 0-29,0 0 34,0 0-40,-3 3 46,3-3-29,-1 0 22,2 0-25,-2 0 27,-1 0 21,1 0-16,1 0 17,-2 0-13,1 0-9,-1 0 9,2 0 5,-3 0 21,3 0-8,-3-3 10,3 3 11,-2-3-30,1 2 34,-1-2-41,1 0 18,2 1-12,-4 0 18,3-1-12,0 1-4,-3-1 6,0 1-11</inkml:trace>
  <inkml:trace contextRef="#ctx0" brushRef="#br0" timeOffset="280">6527 2295 16750,'3'2'-9,"0"-2"19,-2 3-17,2-3 17,0 2-21,-3-2 0,2 0 1,0 3 1,1-3 20,-1 2-13,1-2 16,-3 0-19,2 0-30,0 0 22,1 2-23,-3-2 30,3 0-38,-3 0 27,1 0-31,-1 0 37,3 3-5,0-3 3,-3 0-8,2 0 34,-2 0-24,2 0 23,1 3-16,-1-3-10,-2 0 11,3 0-7,-1 0-42,0 0 36,-2 1-36,3-1 45,0 0-37,-2 0 25,2 3-26,-3-3 47,3 0-13,-1 0 7,0 3-15,1-3 17,-1 0-11,1 0 14,-3 2 16,2-2-25,0 0 27,1 0-29,-1 0 12,-2 0 0,2 0 3,1 0-2,0 0 5,-1 0-2,0 0 4,1 0-2,-1 0-6,0-2 7,1 2-14,-1 0 6,1-3-8,-1 3 8,0 0-56,1-3 40,2 3-43,-3 0 52,1 0 0,-1-1-3,0 1 1,1 0-5,-1 0-1,1 0-3,1-3 1,-1 3-3,0 0 24,-2-3-20,2 3 20,0 0 6,-1-2-16,0 2 24,1-2-32,-1-1 8,1 3-4,-1-2 4,0 2 4,1-3-4,0 1 3</inkml:trace>
  <inkml:trace contextRef="#ctx0" brushRef="#br0" timeOffset="281">6400 2322 9502,'4'-3'-268,"-4"3"247,3 0 27,-1-3 42,-2 3 1,2 0 155,-2-1-19,3 1 99,-3-3-97,3 3 40,-3 0-49,0-3 1,2 3-10,-2 0 75,0 0-141,0 0 70,-2 0-97,-1 3-87,0 0 86,1-2-112,-3 2-18,1 2 8,-1 2-38,-2-2 64,0 2-33,-1 3 30,-2-3-41,3 3 41,-3 0-44,1-3 64,-1 2-33,0 1 42,3-3-8,0 0-9,-1-2-6,4-2 65,1-1-42,1-2 181,2 0-82,0 0 132,0 0-132,5-2-25,-2-1-51,1-2 0,1 1 18,2 1-22,-2-1 14,3-2-14,-1 2 28,-3 1-44,4-4-22,-1 5-1,-3-4-29,2 2 63,-2-1-24,4 0-39,-6 0 53,3 1-63,-2-1 66,1 0-73,-4 0-5,3 0-8,-1 3 17,-2 0-40,0 2 23,0 0-97,0-3 94,-2 6 12,-1-3 41,0 2-8,-1 0-55,1 3 16,-1 0-20,-1 0 79,-2 2-24,1 0 18,-1 0-32,3 0 57,-4 1 25,4-1 15,-2 0-21,-1 0 67,3 1-34,-1-1 118,2-2-115,-1-3 115,4 1-77,-3 0 104,3-3-24,0 0-64,3-3 1,1 0-118,1-1 60,5-4-49,-3-2 85,0 1-127,3 2 32,-1-3-104,-1 0 82,2 3-59,-6 0 45,3 0-62,-1-1 32,-2 4-298,-1 1 62,-1 1-73,-2 2 178,0 2 197,0 1 0,0-1 0</inkml:trace>
  <inkml:trace contextRef="#ctx0" brushRef="#br0" timeOffset="282">6815 2322 9502,'0'-3'158,"0"3"-12,-3 0 47,3 0 61,0 0 812,0-3-610,3 6 533,-3-3-840,0 0 7,2 5-18,1-3 33,1 1-68,1 2 36,2-1-40,-2 1 33,2 3-54,1-4 3,1 3-15,-2 1 26,3-1-137,-3 0 39,0 0-123,-2-2-40,0 2 64,0-1-65,-2-2 50,-2-1 33,2 1-16,-3-4 0,3 3-177,-3-3 127,0 0-146,-3 0 194,3-3-3,0 1 33,-3 0 63,3-1 32,-1-1 6,-2-2-24,0 2 6,1-1-52,0-2 69,-1 1-69,-2-1-16,1 0 8,1 2-31,-1-2 37,-2 0 2,2 2 13,1-2-8,-1 2-2,-1 0-21,0 1 18,3 1 22,-4-1-12,4 4 15,0-3-31,-1 0 86,3 3-19,-2 0 306,2 0-118,0 0 139,0 0-165,0 0-55,2 3-24,-2 0-20,3-2-50,1 5 38,-1-2-42,0 1 96,1 0-104,1 0 9,0 2-27,0-2 12,-3 2 111,3-2-57,0 2 45,0-2-107,-3-1 39,0 4-39,3-3-97,-5-3 29,3 3-118,-1-3 135,-2 1-179,0-3 104,0 0-127,0 0 69,0 0-379,-2 0 361,2-5-295,-3 0 493,1 0 0,-1-2 0</inkml:trace>
  <inkml:trace contextRef="#ctx0" brushRef="#br0" timeOffset="283">6610 2399 9502,'0'-3'-576,"0"1"427,2 2 313,-2-3-18,0 3 216,0 0 123,0-2-239,0 4 150,2-2-196,-4 3 4,2-1 10,0 3 14,0-3-45,-2 4 0,-1 1 76,1 0-34,-1-2 11,3 5-33,-2-3-79,0 2 5,2-2 10,0 6-4,-3-4-81,3 1 8,0-3-80,0 3 91,0-3-126,0-2 55,3-1-85,-3 2-129,2-4 98,-2-2-133,2 2-44,-2-2 69,0-2-75,3 2 98,-3-2 49,2-4-20,-2 2 21,0-1 14,0-2 49,0 0-3,3 0 18,-3-1 41,0-2 25,0 3 8,0-3 88,0 3-79,0-2 97,0 2-79,0-1 110,0 1-59,0 0 85,0 1-65,0-1 50,0 5-30,0 0 98,0 2-54,0 0-21,-3 2-15,3 3-65,0-1 33,-2 4-25,-1 2 29,3-3 29,-2 5-25,2-2 26,-2 0-60,2-1 5,-3 1-7,3 0 10,-3-1-160,3-2 37,0 0-104,0-1 80,0-2-432,0-1 114,0-1-161,0 0 300,3-2 247,0-2 0,-1 0 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2-12-14T13:23:40.599"/>
    </inkml:context>
    <inkml:brush xml:id="br0">
      <inkml:brushProperty name="width" value="0.0375" units="cm"/>
      <inkml:brushProperty name="height" value="0.0375" units="cm"/>
      <inkml:brushProperty name="color" value="#333333"/>
    </inkml:brush>
    <inkml:brush xml:id="br1">
      <inkml:brushProperty name="width" value="0.0375" units="cm"/>
      <inkml:brushProperty name="height" value="0.0375" units="cm"/>
      <inkml:brushProperty name="color" value="#849398"/>
    </inkml:brush>
    <inkml:brush xml:id="br2">
      <inkml:brushProperty name="width" value="0.01875" units="cm"/>
      <inkml:brushProperty name="height" value="0.01875" units="cm"/>
      <inkml:brushProperty name="color" value="#333333"/>
    </inkml:brush>
  </inkml:definitions>
  <inkml:trace contextRef="#ctx0" brushRef="#br0">5263 17 14349,'-1'-1'-2989,"1"1"2485,0 0 356,0 0 169,0-1 61,0 1-261,-1 0 207,1 0-189,0 0 226,0 0-5,0 0 6,-1 0-56,1 0 3,0 0 101,0 0-61,0 0 105,0 0-96,-1 0 19,1-1 60,0 1 286,0 0 713,-1 0-105,1 0 624,0 0-563,0 0 247,-1 0-30,1 0 310,0 0-390,0 0-459,-1-1-58,1 1-651,-1 0 903,1 0-466,-1 0 511,0 0-732,1 0 473,0 0-597,-1 0 410,0 0-98,1 0-160,-1 0 44,0 0-297,0-1 81,0 1-47,1 0 166,-1 0-113,1 0-56,-1 0-58,0 0-69,1 0 62,-1 0 122,0 0-189,1 0 125,-1 0-239,0 0 240,1 0-180,-1 0 238,0 0-255,0 0 144,1 0 6,-1 0 7,0 0 169,0 0-170,0 0 166,1 0-155,-1 0 147,0 0-159,1 0 84,-1 0-113,0 0 23,0 0-29,1 0 26,-1 0-19,0 0 21,1 0-22,-1 0-2,1 0 6,-1 0-4,1 0-14,-1 0 9,0 0-8,0 0 15,1 0-30,-1 0 21,0 0-26,1 0 13,-1 0 11,0 0-41,1 0-28,-1 0-43,0 0-75,0 0-24,1 0-427,-1 0-532,1 0-695,-1 0-447,1 0-156,-1 0 62,1 0 59,-1 0-2,0 0 445,1 0 501,-1 0 735,0 0 407,1 0 243,-1 0-54,1 0 66,0 0-12,-1 0 9,1 0-20,0 0-17,-1 0 10,1 0-13,0 0 24,-1 0 3,1 0-6,-1 0 3,1 0 20,0 0-14,0 0 20,0 0-22,-1 0 43,1 0-32,0 0 35,0 0-21,-1 0-10,1 0-37,0 0-51,0 0 5,-1 0 2,1 0 80,0 0-10,0 0 14,0 0-34,-1 0 14,1 0-11,0 0-10,0 0-21,0 0 5,-1 0-129,1 0 77,0 0-106,0 0-185,0 0 256,0 0-174,-1 0 320,1 0 0,0 0 0,0 1 0,0-1 86,0 0 123,0 0 332,0 1 561,0-1-327,0 0 242,0 0-605,0-1 8,0 0-84,0 1-94,0-1-248,0 1-36,0-1-100,0 1 80,0-1 8,0 1 43,0-1 2,0 1 52,0-1-52,0 1-23,1-1-218,-1 1-50,0-1-143,0 1 44,0-1-26,0 1-42,0 0 40,0-1 37,1 1 172,-1 0 100,0 0 85,0-1 21,0 1-2,0 0 3,0 0 2,1-1-60,-1 1 44,0 0-45,0 0-73,0 0 49,0-1-192,0 1 13,0 0 90,0 0-1,1 0 184,-1 0 0,0 0 0,1 0 0,-1 0 0,1 0 0,-1 0 0,1 1 0,-1-1 0,1 0 0,-1 0 0,1 0 0,-1 0 0,1 0 0,-1 0 0,0 0 0,1 0-20,-1 0 16,0 0 55,0 0 37,0 0 4,1 0-12,-1 0-7,0 0 15,0 0 15,0 0 31,1 0-27,-1 0-3,0 0 9,1 0-41,-1 0 12,0 0-5,1 0 6,0 0 19,-1 0 1,1 0 5,0 0-71,0 0 20,-1 0-30,1 0 42,0 0-50,0 0-23,0 0-2,-1 0-47,1 0 35,0 1-1,-1-1 3,1 0 11,0 0 15,0 0-24,-1 0-41,1 0 61,-1 0-70,1 0 76,-1 0-58,1 0 41,0 0-43,-1 0 48,1 0-29,0 0 21,-1 0-22,1 0 0,-1 0 14,1 0-16,0 0 20,-1 1 3,1-1-4,-1 0 3,1 0 1,0 0-2,0 0 1,-1 0-3,1 0-16,0 0 13,0 0-13,-1 0 16,1 0-9,0 0 7,-1 0-6,1 0 4,0 0 2,-1 0-1,1 0 0,0 0 9,-1 0 74,0 0 98,1 0 129,0 0 181,-1 0 137,1 0 190,0 0 161,0 0 162,-1 0 89,1 0 82,-1 0-6,1 0-20,-1 0-69,1 0-77,-1 0-171,1 0-139,-1 0-202,1 0-127,0 0-196,-1 0-101,0 0-139,1 0-8,-1 0-41,0 0 34,1 0-27,-1 0 0,0 0 2,1 0 241,-1 0-96,0 0 339,0 0-345,0 0 53,0 0-277,1 0-35,-1 0-50,0 0 1,0-1 0</inkml:trace>
  <inkml:trace contextRef="#ctx0" brushRef="#br0" timeOffset="1">5260 3 26659,'1'-1'1382,"0"1"-691,0 0 0</inkml:trace>
  <inkml:trace contextRef="#ctx0" brushRef="#br0" timeOffset="2">5263 2 20308</inkml:trace>
  <inkml:trace contextRef="#ctx0" brushRef="#br0" timeOffset="3">5264 1 26114,'-1'0'-2763,"1"0"517,-1 0 303,1 0 240,0 1 507,0-1-267,0 0 29,0 0-138,0 0 332,0 0 718,-1 0 360,1 1 268,0-1 1,0 0-25,1 0-34,-1 0 17,0 0-16,0 0-46,0 0 49,1 0-55,-1 0 67,1 0-44,-1 0 30,0 1-27,1-1 35,-1 0-52,1 0-17,-1 0-14,0 0-11,1 0 57,-1 0-14,0 0 14,1 0-44,-1 0 24,1 0-29,-1 0-1,1 1 37,-1-1-43,0 0 47,1 0-34,-1 0 25,1 0-27,0 1 29,-1-1 25,1 0-18,-1 0 19,1 0-20,-1 0-6,1 0 6,0 0-5,-1 0-5,0 0 7,1 0-5,-1 1-16,1-1 15,-1 0-17,1 0 23,-1 0-40,0 0 28,1 0-32,-1 1 38,0-1-10,0 0 6,1 0-13,-1 0 43,0 0-30,0 0 30,1 1-32,-1-1 9,0 0-5,0 0 8,0 0-7,1 0 2,-1 0 1,0 0-2,0 0-4,0 1 4,1-1-6,-1 0 8,0 0-48,0 0 34,0 0-37,0 1 40,1-1-20,-1 0 8,0 0-10,0 0 31,0 1-7,0-1 8,1 0-13,-1 0-3,0 0 3,0 1-1,0-1 0,0 0 0,0 1 1,0-1 5,1 0-16,-1 0 14,0 0-14,0 1-22,0-1 25,0 0-29,1 0 35,-1 0-4,0 0 2,0 1-6,1-1 23,-1 0-18,0 0 20,0 0-21,0 0-50,0 0 35,0 0-37,1 0 48,-1 0-90,0 0 67,0 1-186,0-1 118,1 0-255,-1 0 148,0 0-26,0 0 152,0 0 92,0 1 0,0-1 0,0 0 0,0 0 0,0 0 216,0 0-135,0 1 171,0-1-192,-1 0-7,1 0-54,0 1 30,0-1-34,0 1 47,0-1-50,-1 1-15,1-1-15,0 1 17,0 0-51,0-1 26,0 1-88,-1 0 21,1-1 6,0 1-12,0-1 35,0 1 34,-1-1 22,1 0 64,0 0-25,0 1 40,0-1 0,0 0-14,0 0 86,-1 0-80,1 0 43,0 0-60,0 0 54,-1-1 14,1 1 14,-1 0 35,1 0-80,-1 0 41,0-1-55,0 0 8,-1 1-47,1-1-11,-1 0 2,0 0-48,1 1 29,-1-1-11,0 0-32,0 0 70,0 0-28,0 0 17,0 0-53,0 0-10,1 0-48,-1 0-76,1 1 39,0-1-62,0 0 71,0 1 74,1 0 15,0 0 52,0 0 0,0-1 0</inkml:trace>
  <inkml:trace contextRef="#ctx0" brushRef="#br0" timeOffset="4">5264 2 28009,'-1'0'-1312,"1"0"1373,0 0 406,0 0-187,-1 0-66,1 0 62,0 0-284,0 0-2,0 0-660,0 1-148,0-1-501,-1 1-128,1-1-229,0 1-375,0 0 353,0 0-161,0-1 486,0 1 54,0 0 175,0-1 421,-1 1 264,1-1 316,0 1 0,0-1 0</inkml:trace>
  <inkml:trace contextRef="#ctx0" brushRef="#br1" timeOffset="5">5254 9 9502,'1'-1'-26,"-1"0"-56,0 1 77,0 0-145,1-1 65,-1 1 62,0 0 16,0 0 68,-1 0 3,1 0-3,-1 0 0,0 0-8,-1 0-37,1 0 27,-2 0-29,1 0-19,0 0-12,-1 0-28,0 0-25,0 0 17,0 0 18,0 0 6,1 0-26,0 0 8,-1 0-80,1 0 76,1 0-58,0 0 34,0 0-21,1 0 20,0 0 20,1 0 21,-1 0-24,2 0 44,0 0-30,0 0 28,1 0 18,-1 0-28,1 0 40,-1 0-47,1 0 62,-1 1-44,0-1 49,0 0-58,-1 0 68,0 0-47,1 0 55,-2 0-63,1 0 83,-1 0-56,-1 0 65,1 0-71,-1 0 0,-1 0-3,-1 0-2,1 0 8,0 0-3,-1 0 15,1 0-12,-1 0 9,1 0-10,0 0 0,0 0-1,-1 0-5,2 0 4,0 1-7,-1-1 7,1 0-3,0 0-39,1 0-11,-1 1-53,1-1 43,0 0 0,0 0 28,1 0 14,-1 0-25,1-1 25,0 1 10,0 0-6,0-1 6,-1 1-16,1 0 51,0-1-36,0 1 45,-1 0 47,1-1-17,-1 1 89,1 0-34,-1-1 7,1 1 11,-1 0-46,0 0 10,-1 0-44,0 0-38,0 0-8,0 0-20,0 0 22,-1 0-59,0 1 17,1-1-88,-1 1-8,0-1 29,1 0-52,-1 1 79,1-1-8,1 0 49,-1 1-12,1-1-34,0 0 16,0 0-22,0 0 35,1 0-35,0 0 25,0 0-27,1 0 36,0 0 59,-1 0-40,0 0 42,0 0 9,0 0-45,0 0 46,0 0-14,-1 0 31,0 0-2,0-1 4,0 1-41,-1 0 26,0 0-10,0 0 14,0 0-26,0 0 22,0 0-14,0 0 16,0 0 32,1 0 12,-1 0 12,1 0-87,-1 0-159,2 0 55,-1 0-58,0 0 154,1-1 0,0 1 0</inkml:trace>
  <inkml:trace contextRef="#ctx0" brushRef="#br0" timeOffset="6">5273 15 12785,'1'0'-3123,"-1"0"2708,0 0 190,1 0 81,-1 0 44,0 0-167,1 0 181,-1 0-132,1 1 218,-1-1 0,0 0 0,1 0 0,-1 0 0,0 0 0,1 0 0,-1 0 0,1 0 0,-1 0 0,0 0 0,0 0 0,1 0 0,-1 0 0,0 0 0,0 1 0,1-1 0,-1 0 0,0 0 0,1 0 0,-1 0 0,0 0 0,0 0 0,0 0 0,1 0 0,-1 0 0,0 0 0,1 0 0,-1 0 0,0 0 0,0 0 0,0 0 0,1 0 0,-1 0 0,0 0 0,0 0 0,0 0 167,0 0-60,0 0 65,0 0-92,0 0-73,-1 0 41,0 0-89,1 0-5,-1 0-18,1 0 26,-1 0-18,1 0 17,0 0-79,-1 0 58,1 0-17,0 0 55,0 0-13,0 0 35,0-1 0,0 1 64,0 0-39,0 0 49,0 0-10,0-1 16,0 1 53,0 0 0,0 0-32,0 0-25,-1-1-23,1 1-10,0 0 18,-1 0-58,0 0-6,0 0-11,1 0 13,-1 0-11,0 0 31,0-1-35,0 1 34,1 0-60,-1 0 28,1 0-36,-1 0 2,1-1-1,0 1-18,0 0-33,0 0 69,0 0-34,0-1 48,0 1-6,1 0 7,-1 0-3,1-1-2,-1 1 69,0 0-52,1 0 52,-1 0 9,0 0-56,0-1 67,0 1-22,0 0 36,-1 0-9,1 0 32,-1 0-80,0 0 40,1 0-38,-1 0-37,0 0 24,1-1-32,-1 1-11,1 0-87,-1 0 42,1 0-45,0 0 119,0-1 0,0 0 0</inkml:trace>
  <inkml:trace contextRef="#ctx0" brushRef="#br1" timeOffset="7">5249 8 9502,'-1'0'-26,"0"0"8,1 0 87,-1 0-148,0 0 75,0 0-135,0 0-33,-1 1 52,1-1-82,-1 0 134,0 0 10,0 0 66,0 0-8,0 0 0,0 1 0</inkml:trace>
  <inkml:trace contextRef="#ctx0" brushRef="#br1" timeOffset="8">5243 10 9502,'-1'0'0,"0"0"-12,0 0 12,0 0 48,0 0-89,0 0 75,0 0-103,0 0 96,-1 0-144,1 0 75,0 0-140,-1 0 24,0 0 40,1 0 14,-1 0 62,0 0 42,1 0 0,-1 1 0</inkml:trace>
  <inkml:trace contextRef="#ctx0" brushRef="#br1" timeOffset="9">5283 17 9502,'0'-1'-106,"0"1"28,0 0 100,0-1-53,0 1 38,0 0-4,0-1-83,0 1 79,-1 0-89,1-1 81,-1 1-81,0-1 61,0 1-84,0 0 85,0 0-40,0-1 41,0 1-17,0 0-3,0 0-8,1 0 4,-1 0-11,1 0 42,-1 0-5,1 0 11,0 1 39,0-1 20,1 1 4,-1 0-7,1-1 20,0 0 25,-1 1 11,1-1-21,0 1-49,-1-1-14,1 0 30,-1 0-21,1 0-18,-1 1 9,0-1-16,1 0-16,-1 0 10,0 0-29,0 0 17,-1 0 23,0 0 7,0 0-3,0 0 8,0 0 16,0-1-17,0 1 19,0 0 19,0 0 12,1 0 7,-1 0-13,0 0-25,1 0 3,0 0 0,0 0 5,2 0 33,-2 0-32,2 0 34,-1 0-45,0 0-26,0 0 20,0 1-21,0-1-4,0 0 20,0 0-17,0 0 25,-1 1-80,1-1 13,-1 0-153,0 0 123,0 0-58,0 0 110,-1 0-18,0 0 60,0 0 0,0-1 14,1 1 30,-1 0-33,0-1 8,1 1 0,-1 0-25,1-1-3,0 1 14,-1-1-20,1 1 7,0 0-175,0 0 105,0 0-189,0 0 159,1 0-153,-1 0 60,0 0 7,1 0 80,-1 0 89,1 0 0,0 1 0</inkml:trace>
  <inkml:trace contextRef="#ctx0" brushRef="#br1" timeOffset="10">5284 16 9502,'1'-1'-931,"-1"0"1086,0 1-60,0 0 139,0 0-120,-1 0-160,1 0 25,-1 0-5,0 0 9,0 0-9,1 0-13,-1 0-6,0 0-34,0 0 42,0 0-5,1-1-19,-1 1-47,0 0 57,1 0-56,-1-1 107,1 1 0,-1 0 0</inkml:trace>
  <inkml:trace contextRef="#ctx0" brushRef="#br0" timeOffset="11">5285 17 9502,'0'-1'-510,"0"1"109,0 0 237,0-1 92,0 1 72,0-1 53,1 1 37,-1 0 54,0-1-32,0 1 25,0 0-44,0-1 646,0 1-472,0 0 452,0 1-625,0-1 10,0 1-5,0 0-24,0 0 17,0-1-27,0 1 33,0 0-39,0 0-16,0 0-61,0 0 39,0 1-4,0-1 49,0 1-28,0-1-28,0 1 11,0-1-13,0 1 9,0-1-23,0 1 12,0-1-6,-1 1 24,1-1-2,0 1-7,0-1-7,0 1 25,-1-1-26,1 1 29,0-1-13,0 0 7,0 0-7,0 0-21,-1 0 15,1 1-16,0-1 25,0 0-55,0 1 40,0-2-42,0 2 52,0-1-52,-1 0 36,1 0-48,0 0 26,0 0 6,0 1-10,0-2 45,0 2-15,0-1 16,0 0-25,0 0 55,-1 0-39,1 0 44,0 1-54,0-1 21,0 0-14,0 0 22,0 0-20,0 0-7,0 0 4,0 0-7,0 0-5,0 0 16,0-1-17,0 1-1,0 0-3,0 0-11,0 0 11,0 0 31,0 0-12,0 0 11,-1 0-18,1 1 14,0-1-10,0 0 16,0 0-18,0 0-6,0 0 4,0 0-5,0 0-17,0 0 22,0 0-22,0 0 27,-1 0-31,1 0 19,0 0-20,0 0 5,0-1 15,0 1-21,0 0 21,0 0-26,0 0 16,0 0-15,0 0 15,0 0-15,0 0 11,0 0-8,0 0 14,0-1 4,0 1-5,0 0 9,0 0-6,0 0 7,0 0-10,0-1 3,0 1-3,0 0 4,0 0-1,0 0 14,0-1-9,0 1 9,0 0-10,0 0 8,0-1-2,0 1 3,0 0-3,0-1-5,0 1 5,0 0-4,0 0 1,0 0 0,0-1 1,0 1-14,0-1 10,0 1-9,0 0 10,0-1-18,0 1 12,0-1-13,0 1 16,0 0-22,0-1 13,0 1-16,0 0 24,0-1-2,0 1 0,1-1 39,-1 1-32,0-1 32,0 1-40,0-1 34,0 1-22,0 0 26,0-1-26,1 1-3,-1-1 7,0 1-4,0-1 6,0 1-21,0-1 17,0 1-17,0-1-6,0 1 13,0-1-17,0 1 23,0-1-6,0 1 3,0-1-9,0 0 19,0 1-13,0-1 14,0 0-12,0 0 4,0 1-2,0-1 5,0 0-5,0 0-6,0 0 4,0 1-4,0-1-1,0 0 6,0 1-7,0-1 7,0 0 0,0 0-2,0 0 1,0 1 3,0-1-3,0 0 2,0 1-29,0-1 18,0 0-21,0 0-55,0 0 17,0 1-77,0-1 7,0 0 14,0 0-21,0 1-80,0-1 39,0 0-79,0 1 77,0-1-107,0 0 51,0 0 20,0 1 104,0-1 122,-1 1 0,1 0 0</inkml:trace>
  <inkml:trace contextRef="#ctx0" brushRef="#br1" timeOffset="12">5283 19 9502,'0'-1'-319,"1"0"317,-1 1 44,0 0-5,0 0-10,0-1-15,0 1-1,0 0-58,0-1 40,-1 1-14,1 0 13,-1 0-67,1-1 28,-1 1-113,0 0 119,1 0-131,-2 0 86,2-1-60,-1 1 80,0 0 66,0 0 0,1-1 0</inkml:trace>
  <inkml:trace contextRef="#ctx0" brushRef="#br1" timeOffset="13">5276 16 9056,'0'1'92,"0"-1"-43,0 0-11,0 0 72,0 1 16,0-1 5,0 0-8,0 0-96,0 1 32,0-1-40,0 0-159,0 0 57,0 0-118,-1 0 144,1 0-23,0 0 0,-1 0-36,0-1 8,1 1 69,-1-1-8,0 1 22,0-1-11,0 0 46,0 1 25,0-1 0,1 1 39,-1-1-41,1 1 4,0 0 34,-1 0-68,2 0 35,-1 0-25,1 0 4,-1 0-17,1 1 11,1-1-20,-1 0 17,0 1-65,0-1 41,-1 0-46,1 1 2,-1-1-11,1 0-4,-1 0 5,1 0 59,-1 0-13,0 0-11,0 1-2,0-1 43,0 0-24,0 0 45,-1 0-44,1 0 50,-1 0 29,1 0-8,0 0 50,-1 1-47,1-1 16,0 0-21,0 0-33,0 0-20,-1 0 17,1 0-7,0 1 32,0-1-17,0 0-5,0 0-7,0 0-20,0 1 22,1-1 19,-1 0-14,0 0 18,0 0-24,0 0 46,0 0-31,1 0 37,-1 1-38,0-1 0,0 0 18,0 0 80,0 0-63,0 0 54,0 0-67,0 0-22,0 0 25,-1 0-29,1 0-10,0 0 17,0 0-89,-1 0-1,2 0-84,-1-1 1,1 1 0</inkml:trace>
  <inkml:trace contextRef="#ctx0" brushRef="#br0" timeOffset="14">5264 17 9502,'-2'0'-911,"2"0"747,-1 0 92,1 0 72,-1 0 0,1-1 0,0 1 0,-1 0 0,1 0 0,-1 0 0,0-1 0</inkml:trace>
  <inkml:trace contextRef="#ctx0" brushRef="#br0" timeOffset="15">5260 15 9502</inkml:trace>
  <inkml:trace contextRef="#ctx0" brushRef="#br0" timeOffset="16">5260 14 9502,'0'2'-1075,"0"-2"1003,0 0 72,0 1 0,0-1 0</inkml:trace>
  <inkml:trace contextRef="#ctx0" brushRef="#br0" timeOffset="17">5260 15 9502,'1'0'-1147,"0"1"1147,-1-1 0,0 0 0,1 0 0,-1 1 0</inkml:trace>
  <inkml:trace contextRef="#ctx0" brushRef="#br0" timeOffset="18">5268 18 9502,'-1'-1'-169,"1"1"132,0 0 18,0 0-107,0 0 130,-1 0-3,1 0 124,0 0 48,0 0-41,0 0 41,0 0-113,-1 0 20,1 0-20,0 1-4,0-1-20,0 0 21,0 1-24,0-1 20,0 1-1,0 0-7,0-1 7,0 1-13,0 0 7,0-1-9,0 1 12,0 0-65,0 0 44,0 1-42,0-1 48,0 0-39,0 0 19,0 0-30,-1 0 44,1 0 8,0 1-9,0-1 45,0 0-37,0 0 33,0 0-43,0 0 3,0 1 1,0-1 0,0 0 8,0 0-38,0 0 31,0 1-27,0-1 38,0 0-54,0 0-14,0 1-7,0-1-62,0 0 91,0 1-52,0-1 35,0 0 22,0 0-22,0 0 15,0 1-3,0-1-3,0 0 1,0 0 7,0 0-3,0 0 3,0 0-1,0 0 1,0 0 7,0 0-5,-1 0 6,1 0 0,0 0-4,0 0 4,0 0-1,0 0-3,0 0 5,0 0-7,0 0 1,0 0-1,0 0 2,0 0 0,0 1-27,0-1 19,0 0-22,0 0 27,0 0 5,0 0-3,0 0 7,-1 0-10,1 0 3,0 0-4,0 0 16,0 0-10,0 0 12,0 0-17,0 0 12,0 0-8,0 0 11,-1 0-11,1 0 6,0 0-5,0 0 5,0 0-3,0 0-3,0 0 2,0 0-2,-1 0-2,1 0 3,0 0-4,0 0-7,0 0 9,0 0-11,0 0 12,0-1-17,0 1 13,0 0-14,0 0 16,0 0 3,0 0-3,0 0 4,0-1 2,0 1-5,0 0 6,0-1-8,0 1 1,0 0 1,0-1 1,0 1-7,0 0 7,0 0-7,0-1 9,0 1-43,0-1 29,0 1-31,0 0 34,0-1-8,0 1 1,0 0-4,0-1 14,0 1-2,0 0 3,0-1-6,0 0 21,0 1-14,0-1 17,0 1-33,0-1 10,0 1-9,0-1 14,0 1-24,0-1 20,0 1-19,0-1 23,0 1-41,0-1 23,0 1-26,0-1 39,0 1-1,0-1 0,0 1 17,0-1-22,0 1 22,0-1-25,0 1 34,0-1-20,0 1 22,0-1-24,0 1 35,0-1-21,0 0 26,0 1-30,0-1 15,0 1-11,0-1 13,0 0-17,0 1 12,0-1-3,0 1 10,0-1-44,0 1 26,0-1-29,0 1-5,0-1 25,0 1-32,0-1 38,0 0-43,0 1-8,0-1-10,0 1 12,0-1-18,0 1-5,0-1-14,0 1 18,-1 0-4,1-1-4,0 1-21,0 0 37,0-1 29,0 1 31,-1-1 0,1 1 0</inkml:trace>
  <inkml:trace contextRef="#ctx0" brushRef="#br0" timeOffset="19">5210 22 8523,'-1'0'21,"1"-1"95,0 1-70,0 0 5,0 0 9,0 0-8,-1 0 438,1 0-343,0 0 340,0 0-450,0 0 14,0 1-17,0-1 11,0 1-8,1-1 12,-1 1-11,0-1 17,0 1-12,0 0 9,0 0-7,0-1-15,1 1 11,-1-1-61,0 1 46,0 0-39,0-1 47,0 1-50,0 0 33,0-1-40,0 1 50,0 0 14,0 0-11,0 0 11,0 0 14,0-1-26,0 1 25,0 0-30,0 0 0,0 0 2,0 0 0,1 0-7,-1-1 6,0 1-2,0 0 9,0 0-26,0 0 19,0-1-23,0 1 25,0 0-41,0 0 30,0 0-36,0-1 33,0 1-2,0 0-3,0 0-10,0 0 14,0 0-14,0-1 16,0 1-2,0 0 0,0 0-2,0-1 3,0 1-1,0 0 1,0 0 0,0 0-2,0 0 34,0-1-23,0 1 25,0 0-31,0 0-23,0 0 16,0 0-16,0-1-2,0 1 18,0 0-19,0 0 12,0 0 7,0-1-9,0 2 10,0-1 5,0 0-5,0 0 4,0-1-7,0 1 3,0 0-1,0 0 2,0 0-1,0 0 25,0 0-15,0 0 17,0 0-44,-1 0 15,1 0-15,0 1 13,0-1 3,0 0-6,0 0 6,0 0-9,-1 0 6,1 0-7,0 0 7,0 0-6,0 0 4,0 0-4,0 0 3,-1 0-9,1 0 3,0 0-4,0 1 35,0-1-17,0 0 20,0 0-9,0 0-12,-1 0 13,1 0-14,0 1-3,0-1 4,0 0-3,0 1 4,0-1-11,0 0 12,-1 0-12,1 0 16,0 0-30,0 0 20,0 1-21,0-1 4,0 0 13,-1 0-17,1 0 13,0 0-1,0 0-1,0 0 4,0-1 0,0 2-1,0-2 1,0 2-1,0-1 1,0-1 0,0 1 0,0 0 0,-1 0 1,1 0-1,0 0 0,0 0-4,0 0 3,0 0-3,0 0 2,0-1 1,0 1-1,0 0 2,-1-1-1,1 1 0,0 0 0,0-1 0,0 0-8,0 0 6,0 1-6,0-1 7,0 0-9,-1 0 6,1 1-7,0-1 12,0 0-4,0 0 4,0 1 2,0-1-3,0 0 2,0 1-4,0 0 16,-1 0-11,1-1 12,0 1-15,0-1 18,0 1-13,0 0 15,-1-1-11,1 1-1,0-1 2,-1 1 38,1 0-31,0 0 33,0-1-42,0 1 34,0 0-23,0-1 29,0 1-35,0-1 25,0 1-18,0-1 21,0 1-22,0-1-41,0 1-12,0-1-2,0 0-164,0 0 79,0 1-114,0-1-221,0 0 121,-1 1-189,1-1 197,0 1-92,0-1 253,0 1-111,0 0 278,-1 1 0,1 0 0</inkml:trace>
  <inkml:trace contextRef="#ctx0" brushRef="#br0" timeOffset="20">5423 163 9502,'-1'0'-657,"1"0"1071,0 0-106,0 0-38,-1 0-53,1 0-74,0 0-87,0 0-8,0 0 15,0 0 46,-1 0 4,1 0-7,0 0 13,0 0-7,0 0 5,-1 0 12,1 0-18,-1 0 21,1 0-26,-1 1-30,0-1 22,1 0-15,-1 0 26,0 0-48,1 0 30,-1 0-46,0 0 57,-1 1-46,1-1-21,0 0-3,-1 0-36,1 0 31,-1 0 3,1 0-11,-1 0 49,0 0-22,0 1 18,1-1-54,-1 0-3,0 0-4,0 0 9,1 0-33,-1 0 50,0 1-63,1-1 73,-1 0-43,1 0 31,-1 0-47,1 0 31,-1 0-5,1 0 4,-1 0 1,1 0 5,0 0-6,-1 0 4,1 0 24,-1 0-15,1 0 18,0 0-20,0 0 27,-1 0-19,1 0 18,0 0-23,0 1-35,0-1 27,0 0-27,0 0-2,0 0 25,0 0-27,0 0 9,0 0 14,0 0-17,0 0 17,0 0 4,0 0-7,0 0 6,1 0-11,-1 1-7,-1-1 2,1 0-3,1 0 2,-1 0 8,0 0-7,0 0 9,0 0-10,0 0 7,0 0-6,0 0 14,0 0-5,1 0 6,-1 0-9,0 1 18,0-1-14,0 0 14,0 0-15,1 0 25,-1 0-15,0 0 17,1 0-20,-1 0 3,0 0 2,1 0 1,-1 0 12,0 0-13,0 0 17,1 0-14,-1 0 1,0 0-1,0 0-2,0 0-31,0 0 25,0 0-28,1 0 32,-1 0-31,0 0 19,0 0-19,0 0 24,0 1-21,0-1 15,0 0-22,0 0 13,0 0 1,1 0-3,-1 0 21,0 1-8,0-1 7,1 0-12,-1 0 25,0 0-16,1 0 20,-1 0-24,0 0 6,0 0-5,1 0 8,-1 0-7,0 0 7,0 0-5,1 0-1,-1 0 0,0 0-3,0 0 6,1 0 4,-1 0-4,0 0 1,0 0-4,0 0-12,1 1 10,-1-1-9,1 0 11,-1 0-14,0 0 10,0 0-12,1 0 15,-1 0-13,0 0 9,1 0-9,-1 0 25,0 0-12,1 0 12,-1 0-16,0 0 1,0 0 0,1 0 0,-1 0-5,0 0 4,0 0-3,0 0 5,0 0-7,1 0 4,-1 0-4,0 0 7,0 0-8,0 0 6,0 0-8,0 0 8,0 0-2,0 0 1,1 0-1,-1 0-1,0 0 1,0 0 1,0 0-2,1 0 2,-2 0-1,2 0 1,-1 0-2,0 0 1,0 0 0,0 0 0,0 0-1,0 1 1,0-1-1,1 0 0,-1 0 1,-1 0 0,2 0-8,-1 0 6,0 0-6,0 0 8,0 1-1,0-1 0,0 0 1,0 0-2,0 0 29,1 0-20,-1 0 22,0 0-26,0 0-3,0 0 3,0 1-2,0-1-2,0 0 3,0 0-3,0 0-5,0 0 7,0 0-7,0 0 8,0 0-18,0 0 11,0 0-13,0 0 14,0 0 2,0 0-4,0 0 2,0 0 0,0 0 6,1 0-5,-1 0 11,0 0-10,0 0 5,0 0-6,0 0-3,1 0 3,-1 0-1,0 0 2,0 0 1,1 0 1,-1 0-1,0 0-1,0 0 3,0 0-2,0 1 2,0-1-1,0 0-2,0 0 2,0 0 2,0 0-3,0 0 3,0 0-3,0 1 2,0-1-1,0 0 3,0 0-3,0 1 1,1-1-1,-1 0 1,0 0-1,0 0 0,0 0 0,0 0 0,0 1 0,0-1 0,0 0 0,0 0 0,0 0 0,0 1 0,0-1 1,0 0-2,1 0 1,-2 0 0,2 0 1,-1 0-2,0 0 1,0 0 0,0 1 0,0-1-4,0 0 3,0 0-3,0 1-6,0-1 6,0 0-6,0 0 5,0 0 2,0 1-3,-1-1 4,1 0-11,0 0 8,0 1-9,-1-1 9,2 0-5,-2 0 2,1 0-2,0 0 4,0 1-10,0-1 7,0 0-7,1 0 20,-1 0-7,0 0 8,0 0 15,1 0-20,-1 0 21,0 0-25,0 0 25,1 0-17,-1 0 19,0 0-20,1 0-2,-1 0 4,0 0-3,0 0 7,1 0-13,-2 0 12,2 0-11,-1 0-20,0 0 20,0 0-24,0 0 24,0 0 1,0 0-2,0 0 0,0 0 9,0 0-7,0 0 6,0 0-8,0 0 45,0 0-32,0 0 35,0 0-41,0 0 0,1 0 4,-1 0-3,0 0-1,1 0 1,-1 0 1,0 0-12,0 0 13,1 0-12,-1 0 13,0 0-11,1 0 7,-1 0-8,0 0 7,0 0 25,1 0-20,-1 0 19,1 0-25,-1 0 4,0 0 0,0 0 1,0 0 25,1 0-19,-1 0 21,0 0-7,1 0-8,-1 0 12,0 0-16,1 0-13,-1 0 9,0 0-10,0 0 15,1 0-17,-1 0 12,0 0-12,0-1 12,0 1-8,0 0 6,1 0-9,-1 0 7,0 0-1,0 0-2,0 0 0,1 0 4,-2 0-5,1 0 4,0 0 1,0 0-1,-1 0 2,2 0-1,-1 0-17,0 0 11,0 0-13,-1 0 16,1 0-10,0 0 7,1 0-8,-1 0 10,0 0-8,0 0 5,0 0-7,0 0 7,0 0-3,1 0 3,-1 0-4,0 0 0,1 0 0,-1 0-1,0 0 6,1 0-2,-1 0 3,1 0-3,-1 0 1,0 0 0,1 0 1,-1 0-1,1 0-10,-1 1 7,0-1-7,1 0-15,-1 0 17,0 0-17,1 0 12,-1 0 7,0 0-10,0 0 8,1 0-17,-1 0 12,1 0-14,-1 0 18,1 0-37,-1 0 24,0 0-25,1 0 22,-1 0 8,0 1-8,1-1 7,-1 0-22,1 0 15,-1 0-15,1 0-21,-1 0 27,1 0-32,-1 0 38,1 1-4,-1-1 1,1 0 1,-1 0-1,1 0 11,-1 0-11,1 0 10,0 0 47,-1 0-40,1 0 44,-1 1-58,1-1 22,0 0-15,0 0 21,-1 0-7,1 0-2,0 0 2,-1 1-3,1-1-12,0 0 4,-1 0-2,1 0-214,0 0 129,0 0-132,0 0 121,0 0 81,0 0-47,0 0 10,1 0-15,-1 1-8,0-1 13,1 0-263,-1 0 73,0 0-210,0 0 276,0 0 89,1 1 117,-1-1 0,1 0 0</inkml:trace>
  <inkml:trace contextRef="#ctx0" brushRef="#br0" timeOffset="21">5436 164 8519,'-1'0'-164,"0"0"164,1 0 0,0 1 0,0-1 0,0 0 0,-1 0 0,1 0 0,0 0 0,0 0 0,0 0 0,-1 1 0,1-1 10,0 0-2,0 0 101,-1 0-72,1 0 234,0 0-111,0 0 110,0 0-31,0 0-77,0 1 28,0-1-79,0 0-10,0 0-29,0 0-53,1 0 49,-1 1-47,1-1 62,-1 0-57,0 0 37,1 0-39,-1 0 7,0 0-17,1 1-6,-1-1 7,1 0-9,-1 1-4,1-1-13,-1 0 12,0 0-8,1 1 31,0-1-39,-1 1-11,0-1 32,1 0-35,0 1 47,-1-1-40,1 1 24,-1-1-29,0 1 36,1-1-40,-1 0 23,1 1-27,-1-1-37,1 1-13,-1-1-16,1 0 23,-1 1-207,0-1 66,0 0-90,0 0 163,1 1 146,-1-1 0,0 0 0</inkml:trace>
  <inkml:trace contextRef="#ctx0" brushRef="#br0" timeOffset="22">5429 165 8847,'-1'0'-411,"1"0"450,-1 0 53,1 0-39,0 0-13,0 0 21,0 0-6,-1 0-8,1 0 9,0 0-3,0 0-7,0 1 12,0-1-12,-1 0 31,1 0-24,0 0 28,0 0-32,0 1 60,0-1-46,0 0 43,-1 0-25,1 1-4,0-1 13,0 0-7,0 0-15,0 1 5,0 0-1,0-1-6,0 1 12,0-1-9,0 1 7,0-1-41,0 1 24,0 0-26,0 0 37,0 0-29,0 0 19,0 0-22,0 0 16,0 0-58,0 0 45,0 1-48,0-1-8,0 0 46,0 0-62,0 1 3,0-2 43,0 2-48,0-1 57,0 0-49,0 0 26,0 0-31,0 0 43,0 0-34,0 0 20,0-1-24,0 1 29,0 0-41,0 0 24,0 0-27,0-1 33,0 2-29,0-2 14,0 1-18,0 0 26,0 0 5,0-1-6,0 1 4,0 0 17,0-1-12,0 1 13,0-1 48,0 1-48,0-1 53,0 0-60,0 1 10,0-1 1,0 0 3,0 1 1,0-1-16,0 0 16,0 0-13,0 1-25,0-1 22,0 1-26,0-1 5,0 1 18,0-1-21,0 1 23,0 0-15,0-1 8,0 1-13,0 0 16,0-1-60,0 1 42,0-1-44,0 1 55,0-1-76,0 0 39,0 1-62,0-1 56,0 0 0,1-1 1</inkml:trace>
  <inkml:trace contextRef="#ctx0" brushRef="#br0" timeOffset="23">5440 170 9502,'-2'0'-401,"2"0"92,-1 0 144,1 0 49,-1 1 61,1-1 8,-1 1 64,1 0-38,-1 0 27,1 1-31,-1 0 22,1-1 9,0 1-10,-1 0 12,0 0 0,1 0-1,0-1 0,0 1-4,-1-1 1,2-1-4,-1 1 0,1-1 0</inkml:trace>
  <inkml:trace contextRef="#ctx0" brushRef="#br0" timeOffset="24">5448 177 8976,'0'-1'-57,"0"1"71,0 0 108,0 0-77,-1 0 2,1 0 26,0 0-18,0 1 18,0-1-33,0 1 38,0 0-20,0-1 25,0 1-23,0-1-9,0 1 5,0 0-5,0 0-22,0-1 16,0 1-15,0 0 22,-1 0-70,1 0 50,0 0-54,0-1 26,0 1 26,0 0-33,0 0 30,0 0-53,0-1 35,0 1-45,0 0 58,0 0-52,0 0 38,0-1-53,0 1 55,0 0-17,0-1 18,0 1-7,0-1 5,0 1-6,0 0 5,0-1 4,0 1-3,0 0 5,0-1-9,0 1-3,0-1 4,0 1-1,0-1 6,0 1-1,0-1 1,0 0-10,0 1 7,0-1-7,0 1 8,0-1-44,0 1 31,0-1-35,0 1 44,0-1-66,0 0 47,0 0-52,0 1 62,0-1 0,-1 1-2,1-1-2,0 0 21,0 1-23,0-1 23,0 0 21,0 1 9,0-1 6,0 1-13,0-1-16,0 1-15,0-1 25,0 0-25,0 1 16,0-1-11,0 0 13,0 1-9,0-1-50,0 1 37,0-1-42,0 0 0,0 0 36,0 1-42,0-1 46,0 0-10,0 1 5,0-1-14,0 1 22,0-1-11,0 1 5,0-1-9,0 0 21,0 1-15,0-1 20,0 1-17,0-1-6,0 1 9,0-1-9,0 0 12,0 1-29,0-1 20,0 0-21,0 1 23,0-1-2,0 0-1,0 1 12,0-1-9,0 0 8,0 1-11,0-1 7,0 0-5,0 1 8,0-1-8,0 0 1,0 1 2,0-1 0,0 0 3,0 1-3,0-1 3,0 0-2,0 0 5,0 1-4,0-1 3,0 1-2,0-1 6,0 0-3,0 0 41,0 0-35,0 1 45,0-1-24,0 0 2,0 0-10,0 0-9,1 0-6,-1 0-174,0 0 118,0 0-144,0 0 159,1 0 0,-1 0 0</inkml:trace>
  <inkml:trace contextRef="#ctx0" brushRef="#br0" timeOffset="25">5438 177 8199,'-1'-1'0,"1"1"0,0 0 0,0 0 0,0 0 0,0 0 0,-1 0 0,1 0 0,0 1 0,0-1 0,0 0 0,0 1 0,0-1 0,-1 1 0</inkml:trace>
  <inkml:trace contextRef="#ctx0" brushRef="#br0" timeOffset="26">5439 179 9502,'0'2'-379,"0"-2"333,-1 1-60,1 0 25,0 1-100,-1-1 51,1 0 71,0 0 2,-1 0 74,0 1-70,1-1-15,-1 0-9,0 1 5,1-1 69,0 0-8,0 0 11,0 0 0,0-1 0,0 1 0</inkml:trace>
  <inkml:trace contextRef="#ctx0" brushRef="#br0" timeOffset="27">5435 180 9502,'-1'0'-602,"1"0"471,-1 0 62,1 0 46,0 0 18,0 0 22,-1 1 13,1-1-16,-1 0 22,1 1-34,0 0 25,0-1-28,-1 1-29,1 0 42,0 0-42,-1 0 54,1 0-55,-1 1-24,1-1 0,0 1-76,0 0 72,0-1-75,0 0 79,0 1 12,0-1 43,0 0 0,0 0 0,0 0 0,0-1 0,1 0 0,0 0 0,0 0 0,1 0 0,-2 0 0,1-1 0,0 0 0,0 1 0,-1-1 68,1 0-10,-1 1 62,0-1-55,0 1 57,1 0-71,-1 0 44,-1 0-46,1 1-82,-1-1 68,0 2-68,1-1-5,-1 0-26,0 0-11,0 1-20,0-1 37,0 0-43,1 1 8,-1-2 32,1 2 36,0-2 25,0 1 0,0-1 0,0 0 0,1 0 0,0 1 0,1-2 0,-1 1 0,0 0 0,0-1 0,-1 1 0,1-1 0,0 1 64,-1-1 26,0 1-4,1 0 135,-1 0-168,0 0 111,-1 0-124,1 0-30,-1 1 26,0 0-20,1-1-26,-1 1-12,1 0-6,-1 0-62,1 0 28,-1-1-12,1 1 18,0 0 16,0 0-5,-1-1-20,1 1 17,0-1-16,0 1 39,0-1-42,0 0 43,1 0 49,-1 0-34,1 0 39,-1 0-54,1 0 44,-1 0 14,1 0 80,0-1 9,-1 1-25,0-1-23,1 1-6,-1 0 5,0 0 125,1 0-129,-1 0 29,-1 0-109,1 1-55,0-1 76,-1 1-41,1 0-11,-1 0-10,1-1-17,0 1 19,0-1-9,-1 1-6,1-1-23,0 1 22,0-1 16,0 0 27,0 0-28,0 1 73,0-1-46,0 0 46,0 0 3,0 1-33,0-1 42,0 0-53,0 0 36,0 0-20,0 0 25,0 1-29,0-1 52,0 0-38,0 0 52,0 0-49,0 0 29,0 1-19,0-1 15,0 0 1,0 0-14,0 1 20,1-1-11,-1 0-9,0 0 9,0 0-11,0 0-40,0 1-10,0-1-2,1 0 8,-1 0-37,0 0 13,0 0-67,0 0 69,0 1 10,1-1 35,0 0 0,-1 1 0</inkml:trace>
  <inkml:trace contextRef="#ctx0" brushRef="#br0" timeOffset="28">5441 180 9502,'-1'1'-1139,"0"0"1048,0 0 19,0-1 72,1 0 0,-1 1 0,1-1 18,0 0-13,0 0 15,0 0-22,0 0 3,1-1-3,-1 1 4,0 0 1,0 0-1,0 0-1,0-1 10,0 1-7,0 0 7,0 0-12,0 0-33,0-1 27,0 1-29,0 0 37,0 1-4,-1-1 2,1 0 2,0 1 0,-1-1 3,1 0-3,0 1 3,-1-1-3,1 1-1,0-1 13,0 0 55,0 0-34,-1 0 78,1 0-91,0-1 36,1 1-43,-1-1-6,0 1 5,0-1 1,0 0-32,0 1 33,0 0-34,0 0 24,0 0 6,0-1-61,0 1 46,-1 0-44,1 0 52,-1 1-64,1-1-11,-1 1-2,1 0 16,-1 0 57,1 0 0,0 0 0,-1-1 0,1 0 0,1 1 0,-1 0 0,0-1 0</inkml:trace>
  <inkml:trace contextRef="#ctx0" brushRef="#br0" timeOffset="29">5399 183 9390,'0'1'201,"0"0"-176,0-1 32,0 1-15,0-1 9,0 1-15,0 0-15,0 0 6,0 0-8,-1 0-30,1 0-10,0 0-6,0 0 16,0 0-79,0 0 31,0 0-123,0 0 121,0 0-192,0-1 104,0 0-71,0 0 115,1 0 105,-1 1 0,0-1 0</inkml:trace>
  <inkml:trace contextRef="#ctx0" brushRef="#br0" timeOffset="30">5378 186 9528,'0'0'273,"1"0"-222,-1 0 80,0 0-131,0 0 33,0 0-121,0-1 109,0 1-210,0 0 106,0 0-291,0 0 255,0-1-50,0 1 169,0 0 0,0-1 0</inkml:trace>
  <inkml:trace contextRef="#ctx0" brushRef="#br0" timeOffset="31">5317 189 9856,'1'-1'-139,"-1"1"137,0 0-56,1 0 23,-1 0 36,0 0-44,0 0 42,1 0-10,-1 0 3,0 0-56,0 0 41,1 0-40,-1 0 57,0 0-14,0 0 8,0 0-11,1 0 8,-1 0 37,0 0-27,0 0 24,0 0 16,1 0-35,-1 0 39,0 0-32,0 0-7,1 0 16,-1 0-14,0 0 13,0 1-21,0-1 27,0 0-5,0 0 8,1 0 36,-1 0-11,0 1 4,0-1 0,0 0-6,0 0-10,0 0 22,0 0-20,0 1-4,0-1 12,0 0-8,0 0-47,0 0 32,0 1-83,0-1 68,0 0-26,0 0 27,0 0-20,0 0 9,-1 1-12,1-1 14,0 0-3,0 1-1,0-1 1,0 1 23,-1-1-12,1 1 16,0-1-22,0 1 9,-1-1-5,1 1 7,0-1-5,0 1-2,0-1 3,0 0-2,0 1 1,-1 0-1,1-1 0,0 0 0,0 1 7,0 0-5,0-1 3,0 0-18,0 1 6,0-1-7,0 0 13,0 1-6,0-1 4,0 0-5,0 1-32,0-1 28,0 0-30,0 0 36,0 0-7,0 1 4,0-1-6,0 0 4,0 0 21,0 0-18,0 1 76,0-1-59,0 0 45,0 0-23,0 0-14,0 0 19,0 0 26,1 0-28,-1 0 26,0 0-41,0 0-4,0 0-31,0 0 26,1 0-21,-1 0 23,0 0-17,0 0 9,1 0-12,-1 0-6,0 0 17,0 0-20,0 0 21,1 0-26,-1 0 18,0 0-23,0 0 23,0 0-2,0 0 2,1 0-10,-1 0 9,0 0-9,0 0 11,0 0-7,0 0 5,1 0-7,-1 0 1,0-1 1,0 1-2,0 0 3,0 0 11,0-1-7,1 1 7,-1 0-10,0-1 17,0 1-11,1-1 13,-1 1 11,0-1-19,1 1 22,-1-1-8,0 0-18,0 0 18,1 0-19,-1 1-5,0-1 10,1 0-8,-1 0 11,0 0-58,0 1 39,0-2-44,0 2 52,0-1-46,0 1 28,1-1-32,-1 0-15,0 0 44,0 0-51,0 1-5,0-1-24,0 1 2,0-1 6,0 1-126,0-1 31,0 1-124,0-1 82,0 1 127,-1 0 12,1 0 88,0 0 0,-1 0 0</inkml:trace>
  <inkml:trace contextRef="#ctx0" brushRef="#br0" timeOffset="32">5441 186 9502,'0'2'-179,"0"-1"50,0 0-107,0 1 106,0-1 100,-1 0 9,0 1-2,1-1 31,-1 1-40,0-1 48,0 0-69,1 1-17,-1-1-7,0 0 16,1 0 8,-1 0 39,1 0-43,0-1 49,0 0 0,0 0-3,1 0 0,0-1 1</inkml:trace>
  <inkml:trace contextRef="#ctx0" brushRef="#br0" timeOffset="33">5374 186 9738,'0'1'117,"0"-1"-213,0 0 0,1-1 1</inkml:trace>
  <inkml:trace contextRef="#ctx0" brushRef="#br0" timeOffset="34">5402 189 9477,'1'0'482,"-1"0"-57,-1-1-389,1 1-40,-1 0 2,0 0-98,1 0 106,-1 0-222,0 0 102,1 0-157,-1 0 155,1 0 71,-1 0 45,1 0 0,-1 0 0</inkml:trace>
  <inkml:trace contextRef="#ctx0" brushRef="#br0" timeOffset="35">5411 189 9493,'1'0'-25,"-1"0"72,0 1-37,0-1 37,0 0-39,0 0-63,0 0 35,-1 0-7,1 0 21,0 0 1,0 1-10,-1-1-43,1 0-20,0 0 59,-1 0-17,1 0 48,0 1-34,-1-1 24,1 0-24,0 0 20,0 1 2,0-1-5,0 0 2,0 1 55,0 0-38,0-1 41,0 0-47,0 1 53,0-1-34,0 0 39,0 1-46,0-1 41,1 0 26,-1 1-6,1-1 46,-1 0-40,0 1 15,0-1-54,1 0 52,-1 0-131,0 0 123,0 0-93,0 0-64,-1 0 22,0 0-59,0 0 57,0 0 45,-1 0 0,1 0 0</inkml:trace>
  <inkml:trace contextRef="#ctx0" brushRef="#br0" timeOffset="36">5356 194 8932,'0'-1'-107,"-1"1"297,1 0-40,0-1-75,0 1-127,0 1 55,0-1-31,0 0 37,0 1-35,0 0 21,0-1-24,0 1 7,-1-1 23,1 0-31,0 1 31,0-1-13,0 1 10,0-1-9,0 1 7,0-1 21,0 0-15,0 1 16,0-1-10,0 0-8,0 1 10,1-1-11,-1 0 62,0 0-42,0 0 44,0 1-43,1-1-10,-1 0 15,0 0-14,0 0 12,1 0-4,-1 0 4,0 0 0,1 0-35,-1 0 25,0 0-25,0 0 2,0 0 18,0 0-22,1 0 25,-1-1-25,0 1 16,0 0-20,1-1 11,-1 1 6,0-1-6,0 1 7,0 0-19,0-1 12,0 1-15,0 0 19,0-1-43,0 1 29,0-1-31,0 1 24,0 0 6,0-1-11,0 1 12,0 0 14,0 0-16,0 0 41,0-1-43,0 1-28,0 0 22,0 0-45,0 0 67,0 1 14,0-1-16,0 1 18,0 0-21,0-1 19,0 1-12,0-1 14,0 1-14,0-1 19,0 0-8,0 1 11,0-1 8,1 0-21,-1 1 21,0-1-25,0 0 69,1 0-48,-1 0 55,0 1-83,0-1 18,1 0-16,-1 0 21,0-1-9,1 1 7,-1 0-7,0 0 7,0-1-10,1 1 5,-1-1-7,1 1 33,-1-1-20,0 0 19,1 1-30,-1-1 16,0 0-10,0 0 12,0 0-170,0 1 35,0-1-107,0 1 129,0-1 46,0 1 43,0-1 0,0 1 0</inkml:trace>
  <inkml:trace contextRef="#ctx0" brushRef="#br0" timeOffset="37">5389 192 8802,'1'0'277,"-1"0"-237,0 0-1,0 1-39,0-1 28,0 1-30,0-1 38,0 1 10,0-1-8,0 1 12,0-1-14,0 1-5,0-1 1,0 1-48,0-1 33,0 0-92,0 0 14,0 0 2,0 0-66,1-1 114,-1 1-67,0-1 74,0 0-32,0 1 22,0-1-31,0 0 60,0 0-35,0 1 35,0 0 13,0-1-31,0 1 31,0 0 385,0-1-296,0 1 184,0 0-367,1 1-130,-1-1 137,1 0-99,-1 0 93,0 0-126,1 0 121,-1 0-5,1-1 75,-1 1 0,0 0 0</inkml:trace>
  <inkml:trace contextRef="#ctx0" brushRef="#br0" timeOffset="38">5284 193 8376,'0'-1'-161,"0"1"161,0-1 0,0 1 0,0 0 0,0 0 46,0 0 142,0 0-87,0 0 86,0 0-151,1 0-12,-1 0 22,0 1-21,0-1-1,0 0 0,0 0-3,0 1 0,0-1 9,0 1-9,0-1-14,-1 1 13,1 0-20,0-1 23,0 1-40,0 0 29,0 0-31,0-1 36,0 1-39,-1 0 27,1 0-29,0 0 34,0 0-26,0-1 19,0 1-25,0 0-38,0 0-19,0-1-8,0 1 19,0-1 11,0 1 41,0-1-33,0 1 49,0-1 0,1 0 0</inkml:trace>
  <inkml:trace contextRef="#ctx0" brushRef="#br0" timeOffset="39">5375 192 9061,'0'0'157,"0"0"-99,0 0-40,1 0 38,-1 0-70,0 0 54,0 0-21,0 0 0,0 0-29,1 0 29,-1 0-33,0 0 43,0 0-29,0 0 19,0 0-23,0 0 22,1 0-18,-1 0 10,0 0-18,0 0 28,1 0-6,-1 0 4,0 0-30,0 0 17,1 0-20,-1 0 27,0 0-22,0 0 17,1 0-16,-1 0 19,0 0 10,0 0-8,0 0 7,0 0-11,0 1 14,0-1-9,0 0 9,0 0-16,0 0 1,0 1-1,0-1 7,0 0-15,0 1 14,0-1-13,0 0-28,0 1-12,0-1-5,0 1 11,-1-1 16,1 0 15,0 1-22,0-1 21,-1 0 33,1 1-24,0-1 24,0 0 29,0 0-48,0 1 52,0-1-59,-1 0 28,1 1-12,0-1 16,0 0 11,0 0-12,0 1 18,0-1-52,1 0 12,-1 0-25,0 0 33,0 0-67,1 0-19,-1 0-11,1 0-194,-1 0 98,0 0-67,1 0 124,-1 0 117,0 0 0,1 0 0</inkml:trace>
  <inkml:trace contextRef="#ctx0" brushRef="#br0" timeOffset="40">5254 194 8678,'-1'0'172,"1"-1"-47,0 1-144,1 0 28,-1 0-46,0 0 50,0 0-12,1 0-5,-1 0 7,0 0-26,0 0 21,0 0-7,0 1 9,1-1 18,-1 0-12,0 0 13,0 0-14,0 0-4,1 0 4,-1 1-5,0-1 38,0 0-24,0 0 27,0 0-30,0 0 2,0 1-1,0-1 0,0 0 21,1 0-13,-1 1 15,0-1-17,0 0-18,0 0 13,0 1-13,0-1 16,0 0-10,0 1 7,0-1-9,0 0 9,0 0-30,0 1 21,0-1-23,0 0 6,0 1 13,0-1-13,0 0 3,0 1 12,0-1-15,0 1 16,0-1-1,0 1 0,0-1 0,0 1-1,0-1-3,0 1 3,0-1-1,0 0-19,0 0 14,0 1-14,0-1 19,0 1-2,0-1 0,-1 0 0,1 0 8,0 1-6,0-1 6,0 1-8,0-1 19,0 0-13,0 0 15,0 0-19,0 0 2,0 1-1,0-1 4,0 0-19,0 1 14,0-1-13,0 0 16,0 0-4,0 0 2,0 1 1,0-1-1,0 0 2,0 0-4,0 0 59,1 0-39,-1 0 42,0 0-48,0 1-9,0-1 12,0 0-8,0 0-1,0 0 1,0 1 8,0-1 0,0 0 27,0 0-25,0 0 11,0 0-17,0 0 29,0 0-15,-1 0 19,1 0-23,0 0-3,-1 0 9,1 0-8,-1 0-201,1 0 39,0 0-80,-1 0 122,1 0 100,-1-1 0,1 1 0</inkml:trace>
  <inkml:trace contextRef="#ctx0" brushRef="#br0" timeOffset="41">5344 196 8847,'1'0'-370,"-1"0"499,0 0-43,0-1 4,0 1-36,1 0-1,-1 0 24,0 0 10,0 0-30,0 0 31,0 0-33,1 0-2,-1 0 4,0 1-13,0-1 6,0 0-4,0 1 6,0-1 7,0 0-9,0 1 6,0-1-7,0 1-64,0-1 46,0 0-45,0 1 14,0-1 32,0 1-41,0-1 45,0 0-122,0 0 78,0 0-98,0 0 107,0 0-29,0-1 22,0 0-24,0 1-15,0 0 27,0 0-30,0-1 40,0 1-11,0-1 6,-1 1-7,1 0 16,0-1-6,0 1 3,0 0-8,0 0 73,0-1-58,0 1 109,0 0-37,0 0-6,0 0 21,0 0-82,0 0 17,0-1-15,1 1 0,-1 0 7,0 0-9,0 0 14,1 0-108,-1 0 23,0 0-101,1 0 104,-1 0-212,0 0 220,1 0-165,-1 0 220,0 0 0,1 0 0</inkml:trace>
  <inkml:trace contextRef="#ctx0" brushRef="#br0" timeOffset="42">5340 198 9281,'0'-1'-333,"0"1"277,0 0 124,0 0 1,0 0-28,0-1 45,0 1-33,0 0-4,0 0 49,0 0-34,0 0-4,0 0-10,0-1-53,-1 1 11,1 0 20,0 0-22,0 0 27,-1 1-52,1-1 31,0 0-36,0 0 43,0 0-35,-1 1 19,1-1-24,0 0-5,0 1 31,-1-1-35,1 1 21,0-1 8,0 0-11,0 0 14,-1 1-6,1-1 3,0 0-5,0 1 7,0-1-2,0 0-1,0 0 0,0 1-1,0-1 5,0 0-3,0 1 4,0-1 32,0 0-25,0 0 27,0 1-33,0-1 44,0 0 10,1 0 7,-1 0 35,0 1-71,1-1 39,-1 0-45,0 0-21,0 0 16,1 0-12,-1 0 22,0 0-22,0 0 14,1 0-21,-1 0-12,1 0 24,-1 0-28,0 0 52,1-1-14,-1 1 10,0 0-17,1-1 9,-1 1-5,0-1 9,0 1-12,1-1-29,-1 1 22,0-1-17,0 1-32,0-1 45,1 1-47,-1 0 54,0-1-145,0 1 22,-1 0-92,1-1-146,0 1 101,-1 0-44,1 0 151,-1 0 142,0 0 0,1 0 0</inkml:trace>
  <inkml:trace contextRef="#ctx0" brushRef="#br0" timeOffset="43">5377 198 9502,'1'0'-554,"-1"-1"424,1 1 181,-1 0-42,0 0 112,0 0-72,1 0 267,-1 0-195,0-1 136,0 1-278,-1 0-4,0 0 14,1 0-13,-1 1-20,1-1-24,-1 0 25,1 0 15,0 0 36,-1 1-46,1-1 26,0 0-11,-1 1 5,1-1-3,0 0 59,0 0-43,0 1 45,0-1-19,0 0-16,0 1 22,0-1-25,0 0-18,0 1 14,0-1-15,1 0 23,-1 0-118,1 0 26,-1 0-111,1 0 120,-1 0 12,1 0 65,0-1 0,0 1 0</inkml:trace>
  <inkml:trace contextRef="#ctx0" brushRef="#br0" timeOffset="44">5253 198 9079,'0'-1'-147,"0"1"241,0 0-84,-1 0 9,1 0-61,0 0 51,0 1-38,0-1 45,0 0-32,0 0 16,0 1-19,-1-1 20,1 0-14,0 0 5,0 1-9,0-1-19,0 1 27,0-1-31,0 1 36,-1-1 1,1 1 0,0-1 2,0 1 51,0-1-42,0 0 44,0 1-54,0-1 65,0 1-42,0-1 47,0 0-56,0 0-9,0 0 14,0 1-11,0-1-10,0 0 12,0 1-8,0-1 16,0 0-29,0 0 19,0 1-28,0-1 10,0 0 13,0 1-16,0-1 15,0 0 11,0 0-13,0 1 11,1-1-10,-1 0 5,0 0-2,0 0 4,0 1-3,0-1 37,0 0-24,0 0 27,0 0-51,0 0 11,1 0-9,-1 0-98,0 1 83,0-1-87,0 0 108,0 0-1,0 0 0,0 1 0</inkml:trace>
  <inkml:trace contextRef="#ctx0" brushRef="#br0" timeOffset="45">5194 198 9763,'0'1'234,"0"-1"-191,-1 1 30,1-1 7,0 1-7,0 0-66,0 0 38,0 0-50,0 0 63,0 0-50,0 0-14,0 0-4,0 0 8,0 0-17,0 0-14,0 0-13,0-1 18,0 1-34,0 0 22,0-1-92,0 1-425,0-1 314,0 0-284,0 0 460,0-1 67,0 0 0,0 0 0</inkml:trace>
  <inkml:trace contextRef="#ctx0" brushRef="#br0" timeOffset="46">5441 199 8858,'0'0'-438,"0"0"676,0-1-82,0 1-3,0 0-73,-1 1-24,1-1-12,-1 1-38,1 0 44,-1 1-46,0 0 7,1-1-19,-1 1-5,0-1 13,1 0 1,-1 1-21,1-1 3,-1 0-7,1 0-33,0-1-28,0 1-15,0-1-36,0 0 43,1-1 9,0 1-8,0-1 58,0 0-6,0 0 44,0 0 13,0 0 4,0 1-24,-1-1 21,1 0 5,-1 1 17,1-1 118,-1 1-131,0 0 153,0 1-156,-1-1 53,1 1-52,-1 0-2,1 0 2,-1 0-28,0 0 24,1 0-15,-1 0 23,1 0-47,-1 0 34,1-1-41,0 1 45,0-1-157,0 1 90,0-1-105,0 0 121,1 0 18,-1 0 20,1 0-14,-1 0 15,0 0-23,0 0 48,0 0-36,1 0 104,-1 1-95,0 0 58,0 0-64,-1 0-78,1-1 14,0 1-31,0 0 53,-1 0 42,1 0 0,0 0 0</inkml:trace>
  <inkml:trace contextRef="#ctx0" brushRef="#br0" timeOffset="47">5043 199 9920,'1'0'1010,"-1"0"-508,0 0-437,0 0-8,0 1-16,0 0-33,0-1 4,0 1 14,-1 0-8,1 0 6,0 0-26,0 0 12,-1 0-6,1 1 11,0-1 13,0 0-29,-1 0-9,1 0 0,0 1-24,0-1-41,-1 0 70,1 0-35,0 0 48,0 0-25,0 0 13,0 0-17,0 0 22,0-1-10,0 1 3,0 0-7,0-1 14,0 1-42,0-1 31,0 1-31,0 0 23,0-1 9,0 0-11,0 1 9,0-1-4,0 0 0,0 1-2,0-1 21,0 1-9,0-1 10,1 0-15,-1 0-6,0 1 4,0-1-3,1 0 5,-1 1-22,0-1 17,0 0-16,0 1 18,0-1 2,1 1-3,-1-1-10,0 0 10,0 1-13,0-1 13,0 1-11,0-1 8,0 1-9,0-1 9,0 1 32,0-1-23,0 1 26,0-1-4,0 1-19,0-1 22,0 1-23,0-1 15,0 1-9,0-1 11,0 1-26,0-1 8,0 1-4,0-1 7,0 1-52,-1-1 38,1 0-44,0 1 55,0-1-52,0 1-10,0-1-14,-1 1-51,1-1 15,0 0 6,0 1 0,0-1-32,0 0 0,-1 1-96,1-1-9,0 0 25,0 1-34,0-1 98,0 0-71,0 1 159,0-1-52,0 0 125,0 0 0,0 1 0,0-1 0,0 0 0,0 0 0,0 1 0,0-1 0,0 0 0,0 0 0,0 0 0,0 1 155,0-1-48,0 0 122,0 0-66,0 0-23,0 0-25,1 0-18,-1 0-6,0 0 24,0 0-8,1 0 3,-1 0-7,0 0 31,1 0-12,0-1 12,-1 1-30,1 0 0,0 0 7,0-1 13,0 1-25,0-1 22,1 1-25,-1-1-43,0 1-9,1-1 10,-1 1-76,0-1 28,1 1-24,-1-1 20,1 1-2,-1-1-15,0 1-19,0-1 20,1 1 6,-1-1 0,0 1-21,1 0-1,-1 0 28,0-1 3,1 1-4,-1 0 3,0 0-3,0 0 3,0-1-10,0 1 16,1 0-15,-1 0 18,0 0 42,0 0-30,0-1 31,1 1-3,-1 0-28,0 0 30,0 0-34,0-1-3,0 1 6,0 0-3,0 0-5,0 0 5,0 0-2,0 0 9,0 0-39,0 0 28,0 0-35,1-1 41,-1 1-53,0 0 38,0 0-48,0 0 35,0 0 3,0 0-7,0 0 25,1 0 37,-1 0-25,0 0 22,0 0 3,1 0-33,-1 0 39,0 0-47,0 0 54,0 0-37,1 0 46,-1 0-52,0 0-11,0 0 14,1 0-16,-1 0-26,0 0 32,1 0-37,-1 0 49,0 0-50,0 0 34,0 0-46,1 0 41,-1 0-4,0 0 2,1 0-2,-1 0 42,0 0-33,1 0 32,-1 0-35,1-1 32,-1 1-19,0 0 22,0 0-22,1 0-29,-1 0 25,0-1-23,0 1-1,1 0 17,-1 0-20,0 0 1,1 0 16,-1 0-18,0 0 17,0 0 6,0-1-10,1 1 8,-1 0-10,1 0 15,-1 0-10,0 0 9,0 0-7,0 0-5,0-1 5,0 1-4,0 0-3,0 0 5,1 0-5,-2 0 7,2 0-19,-1 0 13,0-1-15,0 1-3,0 0 13,0 0-15,0 0 17,0 0 2,0 0-2,0 0 0,0 0-1,0 0 6,1 0-5,-1 0 3,0 0 19,0-1-17,0 1 20,0 0-11,1 0-4,-1 0 9,0 0-11,0 0 0,0 0-1,0-1 1,0 1 0,0 0-31,0 0 22,0 0-25,0 0 31,1 0-3,-1 0 1,0 0-5,0 0-7,0 0 3,0 0-5,1 0 17,-1 0-4,0 0 3,0 0-6,0 0 34,0 0-23,1 0 26,-1 0-34,0 0 36,0 0-25,0 0 31,1 0-35,-1-1-1,0 1 0,1 0 1,-1 0-20,0 0 20,1 0-20,-2 0 23,2 0-12,-1 0 7,0 0-9,0 0-19,1 0 21,-1 0-28,0 0 31,0 0-8,0 0 6,1 0-6,-1 0 4,0 0 9,0 0-6,0 0 8,0 0 29,1 0-27,-2 0 30,1 0-36,0 0 6,0 0-3,0 0 8,0 0-13,0 0 7,0 0-4,0 0 5,0-1-49,0 1 35,0 0-40,0 0 47,0 0-5,0 0-1,0 0-1,0 0-4,0 0 13,0 0-13,0 0 22,0 0-17,0 0 12,0 0-11,0 0 5,0 0-1,0 0 3,0 0 1,1 0 0,-1 0 2,0 0-2,0 0-2,0 0-28,0 0 19,0 0-19,0-1 20,0 1 4,0 0-6,0 0 13,1 0-8,-1 0 6,0 0-8,0 0 9,0 0-6,0 0 7,0 0-9,1 0 5,-1 0-2,0 0 3,0 0 5,0 0-7,0 0 9,0 0-8,0 0 3,0 0-4,0 0 3,0 0-30,0 0 20,1 0-21,-1 0 26,0 0-28,0 0 18,0 0-21,0 0 24,1 0 13,-1 0-11,0 0 10,0 0-13,0 0 6,0 0-8,0 0 6,0-1-6,1 1 25,-1 0-16,0 0 19,0 0-22,0 0 2,0-1 1,0 1-2,0 0 1,0 0-3,1 0 4,-2 0-19,2 0 13,-1 0-13,0 0 16,0 0-39,0 0 29,0 0-33,0 0 26,0 0 5,0 0-7,0 0-11,0 0 17,0 0-20,0 0 22,0 0-19,0 0 14,0 0-17,0 0 17,0 0 24,0 0-16,-1 0 22,1 0-28,0 0-14,0 0 11,0 0-9,-1 0-13,1 0 20,-1 0-21,1 0 9,-1 0 12,1 0-14,0 0 17,0 0 9,-1 0-7,1 0 1,-1 0-7,1 0 36,-1 0-24,1 0 30,-1 0-39,1 0 49,-1 0-34,0 0 42,1 0-29,0-1-6,-1 1 10,1 0-12,-1 0 15,1 0-9,-1 0 12,1 0-21,0 0 5,-1 0-5,1 0 5,-1 0-8,1 0 5,0 0-4,-1 0 4,1 0 2,-1 0-1,1 0 0,-1 0 0,1 0 9,-1 0-7,1 0 3,-1 0-6,0 0-3,1-1 5,-1 1 3,1 0-2,0 0 2,-1 0-2,1 0-4,-1 0 3,0 0-3,1 0 2,-1 0 7,1 0-5,-1 0 5,1 0 0,-1 0-4,1 0 4,-1-1-1,1 1-2,-1 0 3,1 0-4,-1 0-16,1 0 12,-1 0-14,0 0 17,1 0-19,0 0 14,-1 0-14,0 0 15,1 0-24,-1 0 14,1 0-15,-1 0 13,1 0 7,-1 0-10,0 0 23,1 0-13,-1 0 15,0 0-16,1 0 4,-1 0-4,0 0 5,0 0-3,1 0 21,-1 0-15,0 0 17,1 0-20,-1 0 8,0 0-5,0 0 2,1 0-5,-1 0-1,0 0 4,1 0 3,-1 0-3,0 0 3,0 0-3,1 0-11,-1 0 8,0 0-10,0 0 11,0 0-11,0 0 9,1 0-10,-1 0 22,0 0-8,0 0 9,0 0-6,0 0-4,1 0 6,-1 0-7,0 0 0,0 0 6,0 0-4,0 0 6,1 0 4,-1 0-8,0 0 11,0 0-8,0 0 0,0 0-137,1 0-39,-1 0-141,0 0 0,0 0 0</inkml:trace>
  <inkml:trace contextRef="#ctx0" brushRef="#br0" timeOffset="48">5291 199 8753,'1'0'71,"-1"0"7,0 0 117,0 0-219,-1 0 37,1 0-46,-1 0 54,1 0-55,-1 0 39,1 0-44,-1 0 31,1 1 3,-1-1-7,1 0-5,-1 1 18,1-1-18,-1 0 18,1 1-7,0-1 6,-1 0-8,1 1 6,0-1-12,0 0 9,0 0-6,0 0 9,0 0 3,1 0 20,-1 0-17,0 0 18,1 0-23,-1 0 21,0 0-14,0 0 18,1 0-21,-1 0 8,0 0-3,0 0 4,1 0-16,-1 0 8,0 0-10,1 0 13,-1 0-8,0 0 7,1 0-9,-1 0 7,0 0 34,1 0-24,-1 0 23,0 0 31,1 0-43,-1 0 46,0 0-52,0 0 14,1 0-3,-1 0 6,0 1 4,0-1-16,0 0 18,0 1-14,0-1-28,0 1 20,0-1-24,0 0-20,0 1 33,0-1-34,0 1 38,0-1-41,0 0 24,0 0-29,0 1-21,0-1 2,0 0-57,0 1 14,0-1 0,0 0 0</inkml:trace>
  <inkml:trace contextRef="#ctx0" brushRef="#br0" timeOffset="49">5295 201 8208,'1'0'267,"-1"0"-121,0 0 76,0 0-99,0 0-51,0 0 78,1 0-106,-1 0 39,0 0-49,1 0 4,-1 0-46,0 0 32,0 0-31,0 0 8,1 0 28,-1 0-31,1 0 32,-1 0-47,0 0-10,0 0-13,1 0 18,-1 0-36,0 0 54,0 0-63,0 0 49,0 0 3,1 0-16,-1 0 32,0 0-19,0 0 64,0-1-49,0 1 42,-1 0-43,1 0 25,0 0-13,-1 0 17,1 0-14,-1 0 20,0 0-10,1 0 14,-1 1-16,0-1 8,1 1-3,-1-1 4,1 1-8,0-1 39,-1 1 15,1 0-1,0 0 63,0-1-91,0 1 59,0-1-113,0 1 38,0-1-36,1 1 49,0-1-87,-1 1 23,1-1-52,0 0 49,1 0 25,-1 0 0,0-1 0</inkml:trace>
  <inkml:trace contextRef="#ctx0" brushRef="#br0" timeOffset="50">5274 200 8928,'0'1'120,"0"-1"-73,0 1-19,0-1 19,0 0-22,0 1-38,0-1 27,0 0-30,0 1 27,0-1 7,0 1-9,0-1-1,0 1 9,0-1-12,0 0 13,0 1-50,0-1 35,0 1-39,0-1 47,0 0-45,0 1 31,0-1-38,0 1 45,0-1-24,0 0 18,0 0-22,0 0-3,0 0 9,0 0-48,0 0 48,1 0-27,-1 0 35,0 0 5,0 0-6,0-1 5,0 1-10,0 0 20,0-1-15,0 1 15,0 0-29,0 0 10,0-1-8,0 1 10,0-1-1,0 1 0,0 0 2,0 0 11,0-1-6,0 1 5,0 0-11,0-1 13,0 1-10,0-1 11,1 1 24,-1 0-27,0 0 31,0-1 10,1 1-28,-1 0 33,0-1-39,0 1 9,0 0-3,0 0 5,0 0-6,1 0-6,-1-1 6,0 1-5,0 0 7,0 0 4,1 0-3,-1 0 3,0 0-10,0 0 3,1 0-4,-1 1 53,0-1-36,0 0 37,0 0-46,1 0-2,-1 0 5,0 1-3,0-1 5,0 0-12,0 1 11,0-1-10,0 0 13,0 1-21,0-1 13,0 0-14,0 1 1,0-1 11,0 1-12,0-1-1,0 0-16,0 1 6,0-1-9,0 1 14,0-1 5,0 0-8,0 1 13,-1-1-7,1 1 5,0-1-7,0 0 6,0 0-35,0 1 26,0-1-27,0 0 33,0 0-257,0 0 173,0 0-191,0 0 234,1 0 2,-1 0 18,0-1 4,1 1 21,-1-1 0,1 1 0</inkml:trace>
  <inkml:trace contextRef="#ctx0" brushRef="#br0" timeOffset="51">5175 203 9502,'0'-1'227,"1"1"-147,-1 0-100,0 0-13,0-1-68,0 1-166,0 0 101,0 0-30,0 0 114,0 0 82,1 0 0,-1-1 0</inkml:trace>
  <inkml:trace contextRef="#ctx0" brushRef="#br0" timeOffset="52">5262 204 9502,'1'0'-699,"0"0"661,-1 0 53,0 0 25,0 0 51,0 0-43,0 0 25,0 0-60,0-1-10,1 1 45,-1 0-120,0 0 97,0 0-78,0 0 74,1 0-7,-1 0 9,0 0 17,0 0-26,0 0 29,1 0-23,-1 1-34,0-1 31,0 0-31,0 0 3,0 0 17,0 0-23,1 0 12,-1 0 16,0 0-20,0 0 5,0 0 2,1-1-12,-1 1 14,0 0 0,0 0-1,0 0 26,0 0-20,1 0 21,-1 0-1,0 0-15,0-1 17,0 1 1,-1 0-13,1 0 15,0 0-18,0-1 5,-1 1-1,1 0 2,0 0-3,0 0-1,-1 0 2,1 0 0,0 0 4,-1 0-3,1 0 2,0 0-30,0 1 19,-1-1-19,1 0 24,0 0-25,0 1 16,-1-1-19,1 0 22,0 0-17,0 1 12,0-1-16,0 1 12,-1-1 3,1 0-6,0 1 4,0-1-20,0 0 11,0 0-11,0 1 8,0-1 8,0 1-9,0-1 11,0 0 4,0 1-3,0-1 3,0 0-6,0 1 52,0-1 15,0 0 4,1 0 46,-1 0-86,0 0 41,0 0-52,1 1 0,-1-1 9,1 0-4,-1 0-53,1 0-23,-1 0 2,1-1 12,-1 1-87,1 0 28,-1 0-104,1 0 76,-1-1 72,0 1 13,1-1 44,-1 1 0,1-1 0</inkml:trace>
  <inkml:trace contextRef="#ctx0" brushRef="#br0" timeOffset="53">5226 204 10680,'0'0'-95,"0"0"6,0 0 55,0-1 23,0 1-39,0 0 120,0 0-61,0 0 108,0 0 106,0 0-122,0 0 167,-1 0-237,1 0 53,0 1-34,0-1 9,0 0-3,0 0-2,0 1-27,0-1 19,0 0-15,0 0-20,0 1 24,0-1-32,1 0 32,-1 0-29,0 0 24,0 0-26,1 0 31,-1 0-70,1 0 48,-1 0-52,0 0 65,1-1-79,-1 1 57,0 0-67,0 0 22,1-1-29,-1 1 7,0 0-2,-1 0 58,1-1-14,0 1 9,-1 0 30,1 0-22,0 0 26,-1 0-37,0 0 63,1 0 21,0 1 11,-1-1 39,1 0-33,0 1-5,0-1 8,-1 0-53,1 1 14,0-1-5,0 0 54,1 0-47,-1 1 52,0-1-61,1 0-5,-1 0 11,1 0-15,0 0 21,-1 0-71,1 0-15,-1 0-9,1 0-91,-1 0 77,0 0-101,1 0 103,-1 0-59,0-1 87,0 1-68,0 0 57,0 0-22,0 0 25,-1 0-29,1-1 71,-1 1-13,0 0 25,1 0-15,-1 0 61,1 0-13,-1 0 87,1 0 20,0 0-34,0 1 64,-1-1-37,1 0 30,0 0-53,0 0 5,0 0-14,0 1-18,0-1 24,1 0-23,-1 0 56,0 0-27,1 0 36,-1 0-55,1 0-143,-1-1 38,1 1-112,-1 0-598,1 0 518,-1 0-492,1-1 673,-1 1 0,0-1 0</inkml:trace>
  <inkml:trace contextRef="#ctx0" brushRef="#br0" timeOffset="54">5178 203 9376,'0'0'-217,"1"0"-113,-1 0 0</inkml:trace>
  <inkml:trace contextRef="#ctx0" brushRef="#br0" timeOffset="55">5195 206 9502,'1'0'-221,"-1"0"224,0 0 18,0 0 49,1 0 37,-1 0 20,0-1 10,0 1-26,0 0 71,0 0 50,0 0-46,0 0 38,0-1-115,0 1-81,-1 0-20,1 0 10,-1 0 6,1 0-82,-1 0 16,1 0-101,-1 0 68,1 0-189,-1 1 45,0-1-128,1 0 143,0 0-32,-1 0 21,1 0 27,0 0 67,-1 0 121,1 1 0,0-1 0</inkml:trace>
  <inkml:trace contextRef="#ctx0" brushRef="#br0" timeOffset="56">5207 205 8586,'1'0'665,"-1"0"-491,0 0 196,0 0-71,1 0-137,-2-1 42,1 1-209,0 0-63,-1 0 7,1 0-1,-1 0 15,1 0 21,0 0-24,-1 0 57,1 0-66,-1 0 59,1 0-14,-1 1 7,1-1-5,-1 0 20,1 0-12,0 0 13,-1 1-9,1-1 0,0 0 1,0 0 0,-1 0-8,1 0 5,0 1-5,0-1 8,0 0-52,0 0 37,0 1-41,0-1 4,0 0 31,0 0-35,0 0 39,0 0 17,0 1-19,1-1 17,-1 0-25,0 0 60,1 1 6,-1-1 9,0 0 19,1 0-33,-1 0 6,1 0 40,-1 0-56,1 0 31,-1 1-31,0-1 10,1 0 1,-1 0 1,0 0-9,1 1-15,-1-1 11,0 0-12,0 0 8,1 0 5,-1 1-5,0-1 8,0 0 64,0 1-49,0-1 51,0 1 1,0-1-47,0 1 61,0-1-71,0 0 39,0 0-29,0 1 27,0-1-42,0 0-13,0 0 10,0 1-54,0-1 54,0 0-41,-1 0-88,1 0 19,-1 0-118,1 0 100,-1 0-299,1-1 96,-1 1-79,0 0 180,0-1 200,0 1 0,0-1 0</inkml:trace>
  <inkml:trace contextRef="#ctx0" brushRef="#br0" timeOffset="57">5148 205 9168,'-1'0'-44,"1"0"60,0 0 42,0 0-97,-1 0 82,1 0-183,0 0 114,0 0-64,0 0 35,-1 0 46,1 0-15,0 0 13,0 0-2,0 0 7,0 0 8,0 0-5,0 1 10,0-1-12,0 0 25,0 0-16,0 1 17,0-1 9,-1 0-22,1 1 24,0-1-31,0 1 6,0-1-5,0 1 8,0-1-10,0 0 0,0 1-2,0-1 2,0 1-7,0-1 10,0 0-11,0 1 10,0-1 70,0 0-52,0 1 54,0 0-25,0-1-30,0 0 37,0 1-65,0-1 24,0 1-21,0-1 30,0 1-26,0-1 22,0 1-21,0-1 27,0 0-75,0 1 50,0-1-56,0 1 53,0-1 29,0 1-32,0-1 28,0 0 35,0 1-38,0-1 45,0 0-64,0 1 8,0-1-5,0 1 14,1-1-37,-1 1 28,0-1-27,0 0 36,0 1-19,0-1 15,0 0-16,0 1-4,0-1 12,0 1-23,0-1 13,0 0-25,0 0-195,0 1 146,0-1-133,0 0 211,0 0 0</inkml:trace>
  <inkml:trace contextRef="#ctx0" brushRef="#br0" timeOffset="58">5185 212 8816,'0'0'272,"0"0"-261,0 1 17,0-1-21,0 0-12,0 1 31,0-1-33,0 1 40,0-1-47,0 1-10,0-1-5,-1 0-30,1 1 65,0-1-58,0 0 51,0 0-23,0 0 85,0-1-44,0 0 47,0 0-58,0 0 53,0 0-34,0 1 37,0-1-1,0 0-35,0 0 42,0 0-46,0 1 8,0-1-6,0 1 12,0-1-6,0 1 141,0 0-109,0 0 103,1 0-130,-1 0 28,0 0-16,1 0 17,-1 1-75,0-1-9,1 0-7,-1 0 15,0 0-155,1 0 45,-1 0-134,1 0 153,-1 0 52,0 0 51,1 0 0,-1 0 0</inkml:trace>
  <inkml:trace contextRef="#ctx0" brushRef="#br0" timeOffset="59">5117 206 9282,'1'0'60,"-1"0"-23,0 0-71,1 0 49,-1 0-61,0 0 74,0 0-64,0 1 44,1-1-53,-1 0 42,0 0 1,0 0-4,0 0 2,1 1-6,-1-1-1,0 0-2,0 0 30,0 1-10,0-1 14,0 0-20,0 1 30,0-1-21,1 0 25,-1 0-30,0 0-1,0 1 1,0-1 1,0 0-14,0 1 15,0-1-15,1 0 18,-1 1-5,0-1 3,0 0-4,0 1-5,0-1 6,0 1-9,0-1 8,0 0-6,0 1 5,0-1-6,0 0 5,0 1-15,0-1 12,0 1-18,0-1 15,0 0-2,-1 1 3,1-1 2,0 0 0,0 1-1,0-1 0,0 0 11,0 1-10,0-1 9,0 0-11,0 0-18,0 1 14,0-1-14,0 0 20,0 1-66,0-1-18,0 0-3,0 0-155,0 0 170,0 0-130,0 1 149,0-1 0,0 0 1</inkml:trace>
  <inkml:trace contextRef="#ctx0" brushRef="#br0" timeOffset="60">5116 223 8742,'-1'0'105,"1"0"-65,0 0 16,-1 0-15,1 0-37,0 0 48,0 0-90,0 0 68,0 0-101,-1 0 32,1 0-15,0 0 16,0 0 30,0 0 4,0 0-5,0-1 16,0 0-13,0 1 12,0 0-6,0-1-6,0 1 7,0-1-6,1 1 4,-1-1-13,0 1 12,1-1-11,-1 1-6,0-1 11,1 1-14,-1-1 17,0 1 3,0 0-3,0-1 0,1 1-1,-1-1-29,0 1 20,0 0-22,0 0 45,1-1-16,-1 1 17,0 0-19,0 0 9,1-1-5,-1 1 7,0 0 10,0 0-14,1-1 16,-1 1-19,0 0 35,0 0-25,1 0 28,-1 0-30,0 0 3,0-1-1,0 1 1,0 0-2,0 0-4,1-1 4,-1 1-31,0 0 3,0 0-27,0 0 1,0 0 0</inkml:trace>
  <inkml:trace contextRef="#ctx0" brushRef="#br0" timeOffset="61">5176 208 9545,'1'0'-48,"-1"0"0,-1 0 48,1 1 0,0-1-7,0 0 5,-1 0-5,1 1-33,0-1 25,0 0-31,0 0 4,0 0 25,-1 0-41,1 0 37,0 0-16,0 0 33,0 0-4,0 1 16,0-1 6,0 0-19,-1 0 16,1 0-14,0 0 3,0 0 0,0 0-4,0 1 17,0-1-11,0 0 12,0 0-9,0 0 34,0 0-19,0 0 23,0 0-26,0 1-64,0-1 37,0 0-54,0 0 58,0 0-10,0 0 11,0 0-151,0 0 83,0 1-114,1-1 118,-1 0 1,0 0 0</inkml:trace>
  <inkml:trace contextRef="#ctx0" brushRef="#br0" timeOffset="62">5154 209 9380,'0'1'201,"0"-1"-160,0 0-50,0 1 37,0-1-44,0 0-11,0 1 46,0-1-52,0 1 63,0-1-66,0 0 45,0 1-53,1-1 62,-1 1-31,0-1 22,0 1-33,0-1 68,1 0-42,-1 1 43,0-1-43,0 0 20,0 0-10,1 1 12,-1-1-9,0 0-9,0 0 10,1 0-9,-1 0-16,0 0 15,0 0-18,1 0 1,-1 0 15,0 0-17,0 0 17,0-1-5,1 1-2,-1-1 0,0 1 0,0 0-34,0-1 22,0 1-24,1-1 32,-1 0-67,0 1 44,0 0-48,0-1 48,0 1 14,0 0-19,0-1 54,0 1-32,0 0 31,0-1 52,0 1-56,0 0 73,0 0-80,0 1 5,0-1-5,0 1-13,-1-1 8,1 1-11,0-1 1,0 0 10,0 1-9,0-1 10,0 1-6,0-1 4,0 0-5,0 1 5,0-1 6,0 0-5,0 0 5,0 1 14,0-1-15,0 1 17,0-1 29,0 1-36,0-1 40,0 0-49,1 0-4,-1 1 5,0-1-2,1 0 6,-1 0 3,1 0-3,-1 0 1,0 0-12,1 0 10,-1 0-10,0 0 10,1-1-26,-1 1 16,0 0-17,0 0-38,0-1 45,1 1-49,-1-1 58,0 1-14,0-1 10,0 1-11,0 0 10,0 0-10,0-1 8,0 1-14,0 0 31,0 0-22,0 0 8,0 0-62,0-1 30,0 1-26,0 1 52,1-1 13,-1 0-9,0 0 6,0 1-19,0-1-43,0 0 32,1 0-33,-1 0 0,0 0 28,1 0-36,-1-1 46,0 1-72,0 0 67,0-1-49,1 0 79,-1 0 0,1 0 0</inkml:trace>
  <inkml:trace contextRef="#ctx0" brushRef="#br0" timeOffset="63">5176 210 9304,'0'0'27,"1"0"-20,-1 0 8,0 0-10,0 0 7,0 0-3,0 0 2,0 0-1,1 0 1,-1 0 12,0 0-8,0 1 12,0-1-14,0 0 1,0 0-2,0 1 3,0-1-7,0 0 7,0 0-5,1 0 3,-1 1 2,0-1-4,0 0 2,0 1-1,0-1 1,0 0 0,0 1 0,0-1-12,0 0 9,0 0-9,0 1 8,0-1-8,0 0 3,0 0-23,0 0 22,0 1-13,0-1 17,0 0 0,0 0-51,0 0 36,0 1-234,0-1 126,0 0-95,1 0 143,-1 0 68,0 0 0,1 1 0</inkml:trace>
  <inkml:trace contextRef="#ctx0" brushRef="#br0" timeOffset="64">5149 212 9910,'-1'-1'270,"1"1"-248,0 0-6,-1 0 15,1 0-62,0 0 22,-1-1-108,1 1-147,-1 0 55,1 0-50,-1 0 137,0 0 122,1 0 0,-1 0 0</inkml:trace>
  <inkml:trace contextRef="#ctx0" brushRef="#br0" timeOffset="65">5067 210 8847,'-1'0'-290,"1"0"373,0 0 109,-1 0-126,1 0 56,0 0 6,0 0-9,0 0-91,0 1 12,0-1-48,-1 0 69,1 0-13,0 1 4,0-1-10,0 0-1,0 0-30,0 1 22,0-1-26,0 0 23,0 1 0,0-1-8,0 1 6,0-1-29,0 1 25,0-1-23,0 1-9,0-1 28,0 1-31,0 0 38,0-1-51,0 0 32,0 1-38,0 0 43,0-1 3,0 1-5,0-1 4,0 1-9,0-1-16,0 0 5,0 1-8,0-1-10,0 1 23,0-1-24,0 0-38,0 1 44,0-1-47,0 0 59,0 0-47,0 1 29,0-1-34,0 0 40,0 0-6,0 1 118,0-1-84,0 0 107,0-1-118,0 1 12,0-1-4,0 1 4,0-1-46,1 1-17,-1-1-3,0 1 11,0-1 19,0 1 19,0 0-32,0-1-3,0 1 7,0-1-13,0 1 13,0 0 25,0 0-25,1-1 23,-1 1 10,0 0-12,0 0 20,0-1-25,0 1 35,0 0-24,0 0 29,1 0-11,-1 0-12,0 0 14,0-1-19,0 1 9,1 0-2,-1 0 6,0 0 34,0 0-28,0 0 64,0 0-62,0 0 31,1 0-17,-1 0-10,0 0 15,0 0-23,0 0 37,0 0-26,0 1 44,1-1-44,-1 0 15,0 0-16,0 0 2,0 0-14,0 1 14,0-1-14,1 0-2,-1 0 9,0 1-12,0-1 18,0 0-43,0 0 26,0 0-30,0 0 38,0 1-28,0-1 21,0 0-29,0 0 56,0 1-24,0-1 24,0 0-32,0 0 5,0 0-4,0 0 5,0 1-13,0-1 11,0 0-11,0 1 16,0-1-18,0 0 13,0 1-15,0-1 15,0 0-36,0 0 22,-1 1-25,1-1-25,0 1 43,-1-1-49,1 0 40,0 1 8,0-1-12,0 0 12,0 1 16,-1-1-16,1 0 15,0 1-20,0-1 74,0 0-54,0 1 58,0-1-65,0 0 46,0 0 19,0 0-2,0 1 53,0-1-86,0 0 54,0 1-85,0-1 33,0 0-30,0 1 35,0-1-61,0 0-11,0 0-6,0 1 11,0-1 7,0 0-36,0 0-171,0 0 131,0 0-76,1 0 184,-1 0 0,1 0 0</inkml:trace>
  <inkml:trace contextRef="#ctx0" brushRef="#br0" timeOffset="66">5053 212 9260,'0'0'22,"0"0"65,0-1 7,-1 1-13,1 0-39,0 0-11,0 0 4,0 0-57,0 0 26,-1 0-12,1 0 9,0 0 11,0 0 15,0 0-26,-1 0-19,1 0-3,-1 0-19,1 0 20,0 0-4,-1 0-1,1 0-14,0 0 13,-1 0-15,1 0 38,-1 0-42,1 0 47,0 1-64,-1-1 47,1 0-49,0 0 30,0 0 15,-1 0-21,1 1 21,0-1-2,0 0 0,-1 0-4,1 0 27,0 1-21,0-1 22,0 0-20,0 0 0,0 1 0,0-1 5,-1 0 17,1 0-10,1 0 35,-1 1-35,0-1 19,0 0-2,0 0-11,1 0 13,-1 0-16,0 0 11,0 0-6,1 1 8,-1-1 3,0 0-10,1 0 12,-1 0-13,0 0 6,0 0-5,1 0 3,-1 1-14,0-1 9,1 0-9,-1 0 10,0 0-6,0 0 3,0 0-3,1 0 4,-1 0-2,0 1 2,0-1-2,0 0-1,1 0 2,-1 0-2,0 0 2,0 0-1,0 0 0,1 0-21,-1 0 16,0 0-16,0 0 21,0 0-1,0 0-1,0 1 5,0-1-6,1 0 6,-1 0-2,0 0-3,0 0 3,0 1-4,0-1 58,0 0-41,0 0 46,0 0-30,0 0-14,0 1 18,0-1-19,0 0-6,0 1 7,0-1-7,0 0 9,0 0 13,0 0-8,0 1 11,0-1-23,0 0 5,0 1-2,0-1 1,0 0 3,0 1 3,0-1-4,0 0 5,0 0 60,0 1-45,0-1 49,0 0-6,-1 1-42,1-1 50,0 0-57,0 0 57,0 1-41,0-1 47,0 0-67,0 0 17,0 0-11,0 0 31,0 0-11,0 0 13,0 1-71,-1-1 33,1 0-39,0 0-56,-1 0 25,1 0-97,0 0 99,-1-1-1,1 1 50,-1 0-8,1 0 0,-1-1 0</inkml:trace>
  <inkml:trace contextRef="#ctx0" brushRef="#br0" timeOffset="67">5177 212 9238,'0'0'-435,"1"0"307,-1 0-79,0 0 0</inkml:trace>
  <inkml:trace contextRef="#ctx0" brushRef="#br0" timeOffset="68">5129 213 8607,'0'0'776,"0"0"-722,0 0 155,0 0-167,0 0-29,0 1 21,0-1-20,0 1-18,0-1-2,0 1-15,0-1 14,0 1-36,0-1 54,0 1-61,0 0 70,0-1-51,0 0 34,0 1-42,0-1 30,0 1 2,1-1-4,-1 0 11,0 1 36,0-1-27,1 0 27,-1 1-33,0-1 32,0 0-22,1 0 28,-1 0 6,0 0-21,0 0 26,0 0-21,0 0 1,1 0 4,-1 0-42,0 0 18,0 0-29,1 0 37,-1 0-57,0 0 41,0-1-50,0 1 59,0 0-45,0-1 30,0 1-36,0 0 37,0 0-7,0-1 4,1 1-8,-1 0 36,0-1-27,0 1 27,0 0-4,0 0-17,0 0 22,0 0-24,1-1 4,-1 1-1,0 0 4,0-1-3,0 1-39,0 0 27,0-1-30,0 1-4,0 0-13,0-1-2,0 1 4,0 0-10,0 0-29,0-1 5,0 1-182,0 0 100,0 0-56,0-1 115,0 1 109,0 0 0,0 0 0</inkml:trace>
  <inkml:trace contextRef="#ctx0" brushRef="#br0" timeOffset="69">5178 213 9196,'0'0'107,"1"0"97,-2 0-11,1 0-204,0 0-11,-1 0 13,1 0 3,-1 0-7,1 0-20,0 0 18,-1 0-24,1 1 44,0-1-48,-1 1 53,1-1-16,0 0 11,0 1 10,0-1-7,0 0 12,-1 1-16,1-1-2,1 1 1,-1-1 1,0 0 2,0 1-66,1-1-17,0 0-6,-1 0 17,1 0 63,-1 0 2,1 0 1,-1 0 0,1 0 0</inkml:trace>
  <inkml:trace contextRef="#ctx0" brushRef="#br0" timeOffset="70">5086 218 8204,'0'-1'373,"0"1"145,0-1-227,0 2-7,0-1-268,0 0-47,0 1 55,0-1-29,0 1 22,0-1-34,0 0 34,0 1-42,0 0 32,0-1-30,0 0-8,0 1 28,0 0-30,0-1 39,0 0-8,0 1 4,0-1-6,0 1-7,0-1 6,0 0-8,0 1 1,0-1 6,1 0-3,-1 0 3,0 0 1,0 0 0,0 0-1,1 0 1,-1 0 9,0 0-6,0 0 8,0 0 14,1 0-16,-1 0 17,0 0-23,0 0 53,0 0 16,1 0 2,-1 0-3,0 0-38,1-1 1,-1 1 4,0 0-37,0-1 16,0 1-16,1-1 2,-1 1 1,0 0-7,0 0 7,0 0-16,0-1 21,0 1-26,0 0 23,0-1-16,0 1 5,1 0-9,-1 0 15,0 0 3,0 0-2,0-1 1,0 1-5,0 0 4,0 0-4,0-1-8,0 1 8,0 0-9,0 0 12,0 0-19,0 0 12,1-1-13,-1 1 17,0 0-14,0 0 9,0-1-10,0 1 10,0 0-5,0 0 2,0-1 4,0 1 0,0 0 7,0 0-7,0 0 0,0 0 2,0-1-6,0 1 24,0 0 4,0 0 68,0 0-39,0 0 26,0 0-67,0 0 5,-1 1-8,1-1 11,0 0-17,0 1 12,0-1-16,0 1 17,0-1-11,0 1 8,-1-1-10,1 1 35,0-1-20,0 1 21,0-1-10,0 1-10,0 0 13,0-1-16,0 0 0,0 1 0,0 0 2,0-1 0,0 1-29,0-1 20,0 0-22,0 0 31,1 1-115,-1-1 25,0 0-112,1 0-68,-1 0 38,1 0-57,-1 0 155,0-1 62,1 1 65,-1 0 0,1-1 0</inkml:trace>
  <inkml:trace contextRef="#ctx0" brushRef="#br0" timeOffset="71">5123 216 9502,'-1'-1'4,"0"1"0,1 0 26,0 0-21,-1 0 35,1 0-59,0 0 53,-1 0-19,1 0 25,0 0-83,0 0 27,-1 0-120,1 0 127,0 0-92,0 0 86,0 0-76,-1 0 51,1 0 21,0 1 0,0-1 0</inkml:trace>
  <inkml:trace contextRef="#ctx0" brushRef="#br0" timeOffset="72">5099 220 8886,'0'-1'408,"0"1"-210,0 0-69,0 0-59,1 0-57,-1 0 60,0 0-111,0 0 40,1 0-29,-1 0 14,0 0-28,0-1 50,0 1-57,0 0 35,1 0 9,-1 0-15,0 0 25,1 0 2,-1 0-3,0 0-1,0 0 12,0 0-9,1 0 12,-1 0-14,0 0 22,0 0-8,1 0 2,-1 0-3,0 0-29,0 0 24,0-1-2,0 1 1,0 0 7,0 0 28,0 0-30,0 0 33,0 0-37,-1-1-17,1 1 17,0 0-16,0 0 3,-1 0 7,1 0-8,0 1 1,-1-1 16,1 0-16,-1 0 15,1 0 11,0 0-16,-1 1 17,1-1-22,0 0 8,-1 1-5,1-1 4,0 0 1,-1 0-7,1 1 9,0-1-7,0 0-17,0 1 14,-1-1-16,1 1 23,0-1-12,0 1 7,0-1-12,0 0 86,0 1-57,1-1 60,-1 0-74,0 1 58,1-1 17,-1 1 2,1-1-4,0 0-47,-1 0 7,1 0-1,0 1 13,0-1-111,0 0 37,-1 0-89,1 0-234,-1-1 85,1 1-89,0 0 190,-1 0 156,0-1 0,1 0 0</inkml:trace>
  <inkml:trace contextRef="#ctx0" brushRef="#br0" timeOffset="73">5075 218 9064,'1'0'42,"-1"0"-29,1 0-30,-1 0 41,0 0-63,1 0 41,-1 0-45,0 0 47,0 0-41,0 0 22,1 0-27,-1 0 31,0 0 9,0 0-12,1 0 40,-1 0-30,0 0 29,0 0-12,0 0-8,1 0 48,-1 0-26,0 0 22,0 1 24,0-1-38,1 0 8,-1 0-29,0 0-13,0 0-13,0 0 26,0 0-28,0 0 27,0 1-17,0-1 11,0 0-12,0 0-8,0 1 16,-1-1-22,1 0 24,0 0-17,0 1 12,0-1-14,0 0-2,-1 1 9,1-1-9,0 0 14,0 0 0,0 1 0,0-1-1,0 0 0,0 1 3,0-1-4,0 0 3,0 0-3,0 1 6,0-1-3,0 0 5,0 0-128,0 1 92,0-1-90,0 0 122,0 1 0,0-1 0</inkml:trace>
  <inkml:trace contextRef="#ctx0" brushRef="#br0" timeOffset="74">5060 220 9706,'-1'-1'445,"1"1"-371,0 0-50,0 0-56,0 0 70,-1 0-95,1 0 96,0 0-86,0 0 63,0 0-113,-1 0 104,1 0-84,0 0 59,0 0-34,-1 1-30,1-1 67,0 0-22,0 1 25,-1-1 19,1 1-23,0-1 21,0 1 21,0-1-14,0 1 17,0 0-25,0-1 62,0 1 17,0-1 9,0 1-8,0-1 0,0 1 29,1-1-8,-1 1-59,1-1-73,-1 0 11,0 0-320,1 1 130,-1-1-223,1 0 252,-1 0 98,0 0 79,1 0 0,-1 0 0</inkml:trace>
  <inkml:trace contextRef="#ctx0" brushRef="#br0" timeOffset="75">5079 222 9743,'0'-1'-7,"0"1"-5,-1 0 28,1 0-80,0 0 67,0 0-83,-1 0 19,1 0-30,0 0 42,-1 1-8,1-1 52,0 0-7,0 1-4,0-1-15,-1 0 56,1 0-45,0 1 45,0-1 8,0 1 16,0-1 4,0 0-11,0 1-2,0-1-25,0 0 33,1 0-71,-1 0 36,0 0-35,1 1 48,-1-1-118,0 0 29,1 0-104,-1 0 96,0 0 18,0 0 48,1 0 5,-1 0 0,1-1 0</inkml:trace>
  <inkml:trace contextRef="#ctx0" brushRef="#br0" timeOffset="76">5358 240 9502,'5'-1'-887,"-2"1"655,-1-1 147,0 0 15,0 1 74,0-1-4,-1 0 44,-1 1 12,1-1-16,-1 1 7,1 0-48,-1-1-12,0 1 25,-1 0-29,1 0 27,-1 0-35,0 1 26,0-1-27,0 1 12,0 0 13,0-1-17,0 1 16,0-1 3,1 1-13,-1-1 9,1 1 5,-1-1-2,1 0 14,0 0-16,0 0 5,0 0-4,1 0 4,0 0-3,0 0 4,1 0-3,0-1 0,0 1-1,0-1 0,0 0-1,1 1 1,-1-1-1,-1 0 2,1 1-2,-1-1 1,1 1-1,-1 0 4,-1-1-2,1 1 3,-1 0 22,1 0-20,-2 0 21,1 0-25,0 0-53,-1 0 40,1 0-43,-1 0 32,1 1 13,0-1-15,-1 1 15,1-1 7,0 1-2,0-1 6,0 1-2,1-1 0,-1 1 0</inkml:trace>
  <inkml:trace contextRef="#ctx0" brushRef="#br0" timeOffset="77">5423 236 9502,'0'-1'-297,"0"0"283,0 1-91,0-1 42,0 1-121,0 0 78,0 0 57,0-1 19,0 1 61,-1 0-59,1 0 39,-2 0-46,1 0 54,-1 0-45,0 1 31,0-1-33,0 1 42,0-1-53,0 1-30,0 0 4,0-1-43,1 1 96,-1 0-32,1-1 44,0 1 0,0-1 0,1 0 0,0 0 0,0 1 0,0-1 0</inkml:trace>
  <inkml:trace contextRef="#ctx0" brushRef="#br0" timeOffset="78">5407 236 9502,'1'-1'-224,"-1"0"229,1 1-69,0 0 20,-1-1-69,0 1 100,0 0 41,-1 0 26,0 0-53,0 1 42,-1-1-44,0 1 54,0-1-58,0 1-13,0-1-5,0 0-23,0 1 16,-1-1 11,1 1-75,0-1 36,0 0-16,1 0 20,-1 0-6,1 0-8,0 0-22,0 0 21,0 0-11,1 0 37,0 0-34,1 0 44,0 0 3,1 0 17,-1 0 23,1 0-16,0 0 15,0 0-5,0 0-24,0 0 29,0 0-29,-1-1 66,1 1 23,-1 0-3,0-1-8,0 1-12,0 0 27,-1 0-2,0-1 13,0 1-1,0 0-24,0 0 4,-2 0-26,0 0-33,0 0 39,0 0-76,-1 0 53,1 0-56,-1 0 66,0 0-35,0 0 18,0 0-23,0 0 18,0 1-30,1-1-26,0 1 9,0-1-12,0 0-6,1 1-35,0-1 13,1 0-56,0 0 46,0 0-18,1 0 73,0 0 5,1 0 48,0 0-40,0-1 43,0 1-28,-1 0 25,1-1-52,-1 1 53,0 0-35,0-1 40,-1 1 10,1 0 21,-1 0 15,1-1 28,-1 1-36,-1 0 8,1 0-13,-1 0-25,0 0-11,-1 0 9,0 0-40,0 0 31,0 0-31,-1 0 33,1 0-23,0 0 14,0 0-16,-1 0 14,1 0-37,0 0-23,0 0-3,1 0-32,0 1 23,0-1 8,0 1-57,1-1 79,-1 0-53,2 0 60,-1 1 24,1-1-15,0 0 17,0 0-27,1 0 50,-1 0-35,1 0 43,-1 0-54,0-1 52,0 1-36,0 0 79,0-1-37,-1 1 13,1 0-14,-1-1 28,1 1 7,-1-1 16,0 1-19,-1 0-57,1 0 5,-1 0-6,-1 0 15,1 0-52,-1 0 36,0 0-41,0 0 54,0 1-78,0-1-19,0 1-13,0-1-27,0 1 88,0-1-26,1 1-34,0-1 55,0 0-70,1 1 76,-1-1-3,2 0 34,-1 0-15,0 0 14,1-1-19,0 1 35,0 0 19,-1 0-1,1-1 32,-1 1-18,0 0-5,0 0 36,1 0-68,-2 0 38,1-1-39,0 1 9,-1 0-6,0 0-30,0 0 21,0 0-26,0 0-16,0 0-13,0 1-8,-1-1 15,1 0-29,0 0-14,-1 1-19,2-1 29,-1 0 57,0 1 14,0-1 0,1 0 0,0 0 22,-1 0-12,1 0 9,0 0 53,0-1-58,1 1 66,-1 0-71,0-1 10,0 1-4,-1 0 3,1 0-13,0 0 13,-1 0-13,1 0 18,-1 0-36,0 0 25,1 0-28,-1 0 10,0 0 2,0 0-12,0 0 11,0 0-48,0 1 43,0-1-47,0 1 56,1-1-3,-1 0 4,0 0 0,1 1 0,-1-1 0,1 0 0,0 0 0,-1 0 0,1 0 0,0 0 0,-1 0 0,1 0 0,0 0 0,-1 0 0,1 0-33,0 0 22,-1 0-17,1 0 73,-1 0 24,1 0 1,-1 0-9,1 0 1,-1 0-36,1 0 40,-1 0-40,0 0 25,0 0-16,0 0 21,0 0-24,0 0-22,1 0 19,-1 0-19,-1 0-51,1 0 12,0 0-72,0 0-40,0 0 33,1 0-7,-1 0 63,1 0 52,0 0 0,0-1 0,0 1 0,0 0 0,0 0 0,0-1 0,0 1-38,0 0 235,0-1-167,0 1 192,0 0-185,0 0-31,-1 0-5,0 0 1,0 1-28,1-1 47,-1 1-29,0-1 30,0 1-68,0-1 51,0 1-58,1-1 66,-1 0-56,0 1-6,1-1-12,-1 0 4,1 0 10,-1 0 22,1 0 158,0 0-74,0 0 130,0 0-155,0 0 9,1 0 1,-1 0 1,0 0-2,-1 0-63,1 0 30,0 0-33,-1 0 39,0 0-45,0 0 27,1 0-30,-1 0 36,1 0-41,-1 0-190,1 0 131,0 0-126,0 0 264,0 0 2,0 0 22,0 0-18,-1 0 41,1 0-60,0 0 57,-1 0-71,1 0 10,0 0-4,0 0-219,0 0 149,-1 0-175,1 1 200,0-1 1,0 1 0</inkml:trace>
  <inkml:trace contextRef="#ctx0" brushRef="#br0" timeOffset="79">5417 234 8858,'-1'-1'-236,"1"1"600,-1 0-293,1 0-16,-1 0-191,1 0 71,-1 0 46,0 0 29,0 0 38,0 0-46,-1 0-17,1 1-6,-1-1 11,1 1-35,-1-1 15,0 1-69,0-1 70,0 1-83,1-1 47,0 1-95,-1-1 93,1 0 6,0 1 61,1-1 0,-1 0 0,1 1 0,0-1 0,0 1 0</inkml:trace>
  <inkml:trace contextRef="#ctx0" brushRef="#br0" timeOffset="80">5443 236 9502,'-1'-1'-807,"1"1"1145,0 0-230,-1 0 7,1-1-160,0 1 72,0 0-49,-1 0 81,1 0-51,0 0 60,-1 0-63,1 0 39,0 0-42,-1 0 58,0 0-9,1 0 7,-1 0-10,1 0-4,-1 0 3,0 0 3,0 0-1,0 0 8,0 0-9,0 0 0,0 0 5,0 0 3,0 0-1,0 0 0,-1 0-48,1 1 30,0-1-30,0 0 45,-1 0-46,1 0-5,0 0-15,-1 0-45,1 0 73,0 1-38,0-1 45,0 0 8,0 0-17,0 0 10,0 0 4,0 0-2,0 0 3,0 0-9,0 0-9,0 0 7,0 1-2,1-1 4,-1 0-10,0 0 8,0 0-7,0 0-28,1 0 32,-1 0-32,0 0 18,1 0 11,-1 0-17,1 0 18,-1 0-11,0 0 7,1 0-9,-1 0 7,0 0 45,1 0-31,-1 0 36,1 0-45,-1 0 17,0 0-12,0 0 16,0 0-43,0 0 26,0 0-25,0 0 43,0 0-14,1 0 11,-2 0-14,1 0 21,0 0-15,0 0 12,0 0-19,0 0-6,-1 0 4,1 0-1,0 0 5,0 0 4,-1 0 2,1 0-3,0 0 15,0 0-9,0 0 10,0 0-10,0 0-11,0 0 4,0 0-9,0 0-12,0 0 13,0 0-14,0 0 20,0 0 4,0 0-5,0 0 5,0 0-10,0 0-22,0 0 12,-1 0-15,1 0 23,0 0 0,0 0-2,0 0 0,0 1 23,0-1-13,0 0 14,0 0-28,0 0 5,0 0-5,0 0 8,0 0-13,0 0 9,0 0-9,0 0 14,0 0 6,1 0-4,-1 0 4,0 0-9,0 0-12,0 0 7,1 1-8,-1-1-5,0 0 12,0 0-15,0 0-8,0 0 17,1 0-19,-1 0 23,0 1-2,0-1 0,1 0-2,-1 0 1,0 0 37,1 0-29,-1 1 28,1-1-34,-1 0 19,0 0-13,1 0 17,0 0-22,-1 0 6,1 0-2,-1 0-7,1 0 9,-1 0-8,1 0 9,-1 0-14,0 0 11,1 0-13,-1 1 14,0-1-12,0 0 7,1 0-12,-1 0 2,0 0 4,0 0-5,1 0 10,-1 1 1,0-1-2,0 0 2,1 0 0,-1 0-1,1 1 2,-2-1-2,2 0 5,-1 0-4,0 1 5,1-1-6,-1 0 14,0 0-10,1 0 12,-1 0-13,0 0-1,1 0 1,-1 0 0,0 0-13,1 0 11,-1 0-11,0 0-5,1 0 12,-1 0-14,1 0 18,-1 0-16,1 0 11,-1 0-15,1 0 16,-1 1 3,0-1-1,1 0 1,-1 0-4,1 0 9,-1 0-7,1 0 10,-1 0-3,1 0-4,-1 0 7,1 0 1,-1 0-7,1 0 10,-1 0-12,1 0 6,-1 0-4,1 0 2,-1 0-2,1 0-2,0 0 2,-1 0-1,1 0 1,0 0-10,-1 0 7,1 0-7,0 0-55,0 0 47,-1 0-51,1 0-116,0 0 96,-1 0-142,1 0 142,0 0 0,0 0 1</inkml:trace>
  <inkml:trace contextRef="#ctx0" brushRef="#br0" timeOffset="81">5350 238 9502,'1'-2'-93,"0"2"50,-1-1-147,1 1 69,-1-1-136,0 1 151,0 0-72,0 1 142,0-1-7,-1 0 10,0 1-26,1-1 43,-1 1-47,0 0 58,1-1-16,-1 0 14,0 1-11,1-1 18,0 0 0,-1 1 0,1-1 0,0 0 0,-1 1 0</inkml:trace>
  <inkml:trace contextRef="#ctx0" brushRef="#br0" timeOffset="82">5416 235 9502,'3'0'-812,"-2"1"672,1-1 140,-1 1 0,0 0 0</inkml:trace>
  <inkml:trace contextRef="#ctx0" brushRef="#br0" timeOffset="83">5291 246 9502,'3'0'-495,"-1"-1"107,0 1 159,0 0 137,0 0 20,0-1 68,-1 1 3,0-1 44,0 1-31,0-1 35,0 1-43,-1 0 69,1 0 117,-1-1-64,-1 1 76,1 0-161,-1 0 11,0 0-1,0 0-50,0 1 1,0-1-8,0 0 12,0 1-11,0-1 26,0 0-36,0 1 30,0-1-70,1 0 5,-1 0-96,1 0 57,-1 1-165,1-1 171,0 0-93,0 0 164,1 0 10,0 0-9,1 0 11,0 0 26,-1 0-33,1 0 20,0 0-30,1-1 37,-1 1 18,0-1 78,-1 1-28,1-1 57,-1 1-87,0 0 53,0-1-82,0 1 51,-1 0-50,0-1-9,1 1 6,-1 0-5,0 0 16,0-1-57,0 1 37,-1 0-52,1 0 63,-1 0-45,0 0-10,0 0-11,0 0-48,0 0 66,0 0-32,0 1-22,1-1 57,-1 0-64,1 1 72,-1-1-32,1 1 22,0-1-35,0 0 7,0 0 6,0 0-10,1 0 27,0 0 14,0 0-9,1 0 13,0 0-18,0 0 3,0 0-1,0-1 36,0 0-26,1 0 27,-1 1-34,0-1 1,-1 0 0,0 1 3,0-1 3,0 1 25,0 0-19,-1 0 30,0 0-25,0 0 6,-1 0 20,0 0-25,0 1 17,0 0-22,0-1 16,-1 1-9,1-1 11,0 1-10,0-1 16,0 0-7,1 1 10,-1-1-13,1 0-16,0 0-46,0 0 29,0 0-29,1 0 52,1 1 0,0-1 0</inkml:trace>
  <inkml:trace contextRef="#ctx0" brushRef="#br0" timeOffset="84">5275 246 8847,'1'-1'-398,"-1"1"447,0 0-15,0-1 18,1 1-23,-1 0 62,0 0-38,0-1 45,0 1-54,0 0 26,1 0-22,-1-1 25,0 1-25,0 0-69,0 0 53,0 0-51,0-1 18,0 1-12,0 0-11,0 0 0,0 0 44,0 0-66,0 0-6,-1 0-17,1 0 20,-1 0-16,0 1-7,0-1-17,1 1 18,-1 0 11,1 0 32,-1-1-35,1 0-24,0 1 52,0-1-7,0 0 34,1 0 21,0 0 9,0 0-41,0 0 50,0 0-59,1-1 79,0 1 13,-1-1 15,0 1-9,0-1-4,0 1-28,0-1 30,0 1-47,-1 0-33,1 0-43,-1 0 24,0 0-87,0 0 100,0 1-45,0-1 42,-1 1-30,1 0 23,-1-1-19,1 1 47,-1-1 0,0 0 0,1 1 0</inkml:trace>
  <inkml:trace contextRef="#ctx0" brushRef="#br0" timeOffset="85">5260 254 9502,'0'-1'-1161,"0"1"1217,0-1-41,0 1 62,-1 0-89,1-1 32,0 1-36,-1 0 43,1 0-66,0-1 43,0 1-48,0-1 26,0 1 22,0 0-24,0 0 18,0-1 7,0 1-11,0-1 11,0 1 22,0 0-15,0-1 18,0 1-25,0-1 34,0 1-24,0 0 38,1-1-39,-1 1 14,0-1-15,1 1 10,-1 0-26,0-1 21,0 1-30,0 0 27,0 0-3,0 1 3,0 0 1,0 0-7,0 0 6,0 0-2,0 0 6,0 0-8,0 1-8,-1-1 5,1 1-45,-1-1-5,1 0-3,0 1 11,0-1-19,-1-1-13,1 1-32,0-1 28,0 0 20,0-1 80,1 0-50,-1 0 48,1 0 22,0 0 21,-1-1 9,1 1-19,-1 0-4,1-1-46,-1 2 66,1-1-69,-1 0 68,0 0-48,0 1 42,1 0-45,-2 0 5,1 0-72,-1 0 56,1 1-60,-1 0 12,0 0-21,0 1-2,0-1 10,0 1-5,1-1 31,-1 1-41,0-1 36,0 1-35,1-1-34,0 0 10,0-1 15,0 1 57,0-1 13,0 1 0,1-1 0,-1 0 0,2-1 0,-1 0 0,0 1 0,0-2 0,0 1 0,1 0 0,-1-1 0,-1 1 0,1 0 0,0 0 22,-1 0 33,0 0-21,1 0 32,-1 0 18,0 0 1,0 1 114,0 0-96,0 0 27,0 0-130,-1 1 28,1 0-29,-2 0-11,2 1-13,-2 0-6,1 0 2,0 0-17,-1 0 3,1 1-63,0-1 48,0 1-39,-1-1 55,2 0-24,-1 1 28,1-2-28,-1 1 28,1-1-17,0-1 55,1 1 0,0-1 0,0-1 0,0 1 0,1-2 0,-1 1 0,1-1 0,-1 0 0,0 0 0,1 0 0,-2 1 0,1-1 0,-1 1 0,1 0 81,-1-1 11,0 2 78,0-1-9,0 1-18,0-1-60,0 1-9,0 1-40,-1 0 16,0 0-39,1 1-22,-1 0 6,0-1 6,0 1-44,0 0 13,0 1-103,0-1 24,0 0 1,0 0-11,0 0 14,1 1 42,-1-1-12,0 0 50,1-1-48,0 0 50,0 0-25,0 0 48,0 0 0,0-1 0,1 0 0,0 0 0,0 0 0,0-1 0,0 0 0,0 0 0,0 0 0,0 0 0,0 0 61,-1 0 21,1 0 4,-1 1-19,1 0 27,-1-1-26,0 1 134,0 0-105,0 0 44,0 0-90,0 1-38,0 0-22,-1 1 5,0-1 16,0 1-43,0 0 20,1 0-97,-2 1-30,1-1 14,1 1-73,-1-1 75,0 1 8,1-1 53,0-1 32,0 1 18,0-1 11,0 0 0,1-1 0,0 0 0,0 0 0,0 0 0,0 0 23,0-1-30,0 0 22,0-1 29,0 2 32,-1-2-5,1 1 7,-1 0-31,1 0 33,-1 1-14,0-1 16,0 1 79,0 0-60,1 0 40,-1 0-76,-1 1-52,1 0-6,0 0-23,-1 1-4,1-1-56,-1 1 26,1 0-1,-1 1 3,0-1 8,1 0-33,-1 0 6,1 0-9,-1 0 22,1 0-34,0 0 14,0-1-10,0 0 21,0 0 8,0 0-13,0-1 24,1 0 25,-1 0 1,1 0 22,-1 0-2,1 0 3,0-1-5,-1 1 30,1-1 10,-1 0-12,1 1-1,-1-1 9,1 1 28,-1 0-4,0 0 9,0 0-33,0 0 5,0 0 3,0 1-5,0 0-12,0 0 8,0 1 4,0 0-68,0 0 50,-1 0-54,1 1 10,-1-1-15,1 1-13,-1-1 16,1 0-38,0 0-13,0 0-16,0 0 22,0-1 66,0 0 10,0-1 4,0 1 0,0-1 0,0-1 0,1 1 0,0-1 0,0 0 0,-1 0 0,1 0 0,-1 1 0,0-1 0,1 0 0,-1 1 65,0-1 6,1 1 79,-1 0 6,0 0-50,0 0 9,0 0-129,0 1 54,0 0-52,0 0 7,0 0 33,0 0-28,0 0 42,-1 1-81,0 0 9,1 0-89,-1-1 88,1 1-108,-1 0 73,1-1-114,-1 0 106,1 1 4,0-1 64,0-1 6,0 1 0,0-1 0,0 0 0,0 0 0,1 0 0,-1 0 0,1 0 0,-1 0 0,0 0 0,0 0 0,1-1 0,-1 1 46,0 0 129,0 0-31,0 0 59,0 0-149,1 1-14,-1-1-21,0 1 20,0 0-32,-1 0-14,1 1-3,0-1-64,-1 0 13,1 1-4,-1 0-3,1-1 30,-1 1 12,1-1-21,-1 1 20,1-1-23,0 0-37,0 0 16,0 0-12,0 0 99,0-1-49,0 1 50,0-1 16,0 1-45,0-1 54,0 0-19,1 0 20,-1 0 0,1 0 3,-1 0-25,0 0 0,0 0 24,1 0-12,-1 0 1,0 0-6,0 0-4,0 1 9,0 0-5,0 0 6,-1-1-39,1 1 16,-1 1-18,1-1-33,-1 0 40,1 1-43,-1 0 53,0-1-41,1 1-14,-1-1 0,1 0 1,0 0 12,-1 0 8,1 0-14,0 0 10,0-1-32,0 1 14,1-1-20,-1 0 57,0 0-11,1 0 15,0 0 30,0 0 16,-1 0 2,1-1-9,-1 1 16,1-1 19,-1 1 15,1 0-21,-1 0 21,0 0-45,0 0 47,1 0-45,-1 0-17,0 1 24,0 0-79,-1 0 57,1 1-59,-1-1 21,1 1-12,-1 0-13,0 0 16,1 0-26,-1 0-5,1-1-19,-1 1 19,1-1-19,0 0 48,0 0-55,0 0 61,0-1 4,0 1-2,0-1 2,1 0 1,0 0-13,-1-1 12,1 0 15,0 1-17,0-2 24,0 2-29,0-2 59,-1 1 10,1 1 11,-1 0-15,1-1 0,-1 1 17,0 0-1,0 0 72,0 1-101,0-1 65,0 1-90,0 1 28,0 0-24,-1 0-28,0 0 30,0 1-37,0-1 53,0 1-58,1-1-13,-1 1-16,0-1 18,0 0-25,1 0 12,-1-1-65,1 0 44,0-1-70,0 1 87,0-2-44,0 1 92,0-1 9,1 0 0,0-1 0,-1 1 0,1 0 0,-1 0 45,1 0-45,-1 1 39,1-1 10,-1 1 7,0 0 61,0 0-61,0 1 47,0 0-78,0 0 15,0 1-22,-1 0-23,1 0 40,-1 0-60,0 1 41,1-1-41,-1 1 43,0 0-18,1-1 0,-1 1-8,1-1 3,-1 0-59,1 0 34,0-1-40,0 0 53,0 0-51,0 0 29,0-1-43,0 0 58,0 0-3,1 0 54,-1-1-39,0 1 38,0-1-47,1 1 71,-1-1 20,0 1 6,0 0 39,0 0-85,0 0 62,0 0-44,0 1 5,0 0-52,0 0 17,0 0-23,0 1-21,0 0 39,-1 0-41,1 0 44,-1 0-34,1 1-23,0-1 3,0 0-3,0 0 17,0-1 6,0 0-10,0 0 10,0 0-28,0-1-25,0 0 1,0 0 30,1-1 14,-1 0 27,1-1 15,-1 1 12,1-1 0,0 1-8,-1-1 20,1 0 17,-1 1 12,1-1-17,-1 2 8,0-1 6,0 1 53,1-1-41,-1 1-39,0 1-18,0 0-16,-1 0 26,1 1-61,-1 0-19,0 0-9,0 0 18,0 1-18,0 0-16,0-1-22,1 1 25,-1-1 7,0 0 42,1 0-50,-1-1 50,1 1-55,0-2 16,0 1-19,0-1 39,0-1 27,1 1 14,-1-2 0,1 1 0,0-1 0,0 0 44,-1 0 4,1 1 3,0-1-25,-1 1 33,1 0 14,-1 0 19,0 0-21,1 1 13,-1-1-49,0 1 60,0 0-62,0 0-26,0 1 20,0 1-25,-1-1 33,1 1-70,-1 0-16,0 0-16,1 0 8,-1 1 0,0-1-29,0 0 13,1 1-37,-1-1 46,0 0-12,1-1 21,0 1 37,0-1 20,0 0 0,0-1 0,0 0 0,0 0 0,1 0 0,0-1 0,0 0 0,0 0 0,0-1 0,1 0 0,-2 1 0,1-1 0,0 0 0,0 1 90,-1 0-11,1 0 99,-1 0-46,0 1-11,0 0-42,1 0-17,-1 0-24,-1 1 19,1 1-57,-1 0 48,0 0-46,0 1 62,0-1-95,0 1 22,0 0-82,-1 0 49,2-1-54,-2 0 27,2 1-50,-1-2 1,0 1-4,1-1 17,0 0 35,0-1 47,0 0 23,0 0 0,1-2 0,0 1 0,0 0 0,0-1 0,0 0 0,0 1 0,0-1 0,0 1 0,-1 0 24,1 0 44,-1 0 39,1 1 50,-1-1 1,0 1-46,0 0-20,0 1-45,0 0-46,0 0 2,-1 1-6,1-1 8,-1 2-51,0-1 13,0 0-96,0 0 49,0 0-25,0 0 56,0 0-56,1 0 37,-1-1-1,1 0 14,0 0 55,0 0 0,0-1 0,0 0 0,0 0 0,1 0 0,0-1 0,0 0 0,0 0 0,0 0 0,0-1 0,0 0 0,-1 1 63,0 0 8,1 0 77,-1 0-32,0 1-11,1-1-32,-1 1-18,0 0-8,0 1-71,0 0 45,-1 0-43,0 1 64,1 0-72,-2 0 6,1 0-80,0 1 79,0 0-125,0-1 54,0 0-42,0 1 62,0-1 76,0 0 0,1 0 0,1-1 0,-1 0 0,1 0 0</inkml:trace>
  <inkml:trace contextRef="#ctx0" brushRef="#br0" timeOffset="86">5165 247 9502,'0'-1'-386,"1"1"429,-1-1 16,0 1-65,0 0-52,0 0 10,0 0-86,0-1 89,-1 1-40,0 1 52,0-1-8,0 0-74,-1 1 66,0-1-75,1 1 78,-1 0-36,0-1 28,1 1-1,0 0 10,0-1 45,0 1 0,1-1 0,-1 0 0,1 1 0,0-1 0,1 0 0,-1 0 0,1 0 0,0-1 2,0 1-6,0-1 11,0 0-12,0 1 95,0-1-26,0 0 82,0 0-56,-1 1-22,0-1-22,1 1-16,-1 0 5,0 0 7,0-1-4,0 1 13,-1 0-59,0 0 50,0 0-50,0 1 4,-1-1-18,1 0-5,0 1 15,-1 0-37,0-1-15,1 1-32,0-1-27,0 1 35,0-1 12,0 0-3,1 0 68,-1 0-7,2 0 18,-1 0 0,1 0 0,-1 0 0,1 0 0,0 0 0,-1-1 18,1 1 28,-1-1-15,1 1 6,-1-1 5,0 1 12,1 0 15,-1 0 47,0-1-72,0 1 41,-1 0-58,1 0-6,-1 0 6,0 0-6,0 0-22,-1 0 30,1 1-31,-1-1-13,1 1-17,-1-1-13,1 1 15,-1 0-29,1-1-10,1 1-16,-1-1 20,0 1-20,1-1 66,0 0-56,0 0 75,0 0 0,1 0 0,-1 0 0,1 0 0,-1-1 0,0 0 0,1 1 0,-1 0 0,0-1 3,1 1 65,-1-1-33,0 1 37,0-1 8,0 1 1,0 0 20,0 0-16,0-1-7,-1 1-34,1 0 39,-1 0-94,1 0 51,-1-1-45,0 1 7,0 0 33,0 1-40,-1-1 44,1 0-106,0 1 27,0 0-103,0-1 101,0 1-123,0 0 80,0-1-129,1 0 133,0 1 1,-1-1 80,1 0 40,0 0-44,1-1 36,-1 1 11,0-1-27,1 0 39,-1 1-22,0 0 40,0-1 24,0 1 40,0 0-35,0 0 9,-1 0-33,1 0-3,-1 0-7,0 0-62,1 0 55,-1 0-102,-1 0 36,1 1-12,0-1 2,0 1-9,0 0-24,0-1 3,0 1 0,1-1 17,-1 1 13,0-1-21,1 1-191,0-1 151,0 0-115,0 0 161,1-1 51,-1 1-58,1 0 62,-1-1 10,0 0 8,0 1-8,0 0 92,0 0-47,0 0 89,0 0-108,0 0 0,-1-1-21,0 2 21,0-1-80,0 0 37,0 0-46,0 1 62,0 0-69,-1 0-17,1-1-13,0 1 17,-1 0-7,1-1-17,0 1-15,0-1 16,0 1-4,0-1 48,0 0-63,0 0 76,1 0-37,-1 0 31,1 0 39,-1 0-34,1 0 44,-1-1-58,1 1 38,0-1 13,-1 0 10,1 1-11,-1-1 9,1 1-33,-1-1 39,0 1-41,1-1 19,-1 1-13,0-1 15,0 1-5,1 0-2,-1 0 4,0 0-9,1-1 14,-1 1-10,0 0 10,0 0-21,1 0 6,-1 0-5,1 0 6,-1 0 12,1 0-9,-1 0 11,0 0-12,1 0 14,0 0 33,0 0-20,-1 0-28,1 0-51,0 0-6,1 0 11,-1 0 40,0-1 43,0 1-38,0 0 37,-1 0-35,1 0 1,-1 0 4,0 0 31,1 0-20,-1 0 23,0 0-17,1 0-45,-1 0 31,1 0-30,-1 0-10,1 0 29,0 1-37,0-1 24,-1 0-35,1 0 17,0 0-16,1 0 29,-1 0 7,1 0-8,1 0 7,-1 0-10,2 0 4,0-1-5,0 1-9,0 0 14,1 0-16,-1 0 63,1 0-34,0 0 37,-1 0-44,1 0-48,-1 0 34,-1 0-36,1 0 48,-1 1-64,0-1 46,0 1-49,-1 0 69,0 0 2,0-1 7,0 1 0,-1 0 0,1 0 0</inkml:trace>
  <inkml:trace contextRef="#ctx0" brushRef="#br0" timeOffset="87">5246 248 9502,'0'0'-963,"0"-1"933,0 1 125,0 0-29,0 0-26,0-1 36,0 1-40,0 0-12,0 0 6,0 0-11,0-1 34,0 1 36,0 0 20,1 0-15,-1 0-16,0 0-46,0 1 28,0-1-23,0 1 15,0 0-22,0-1 47,0 1-33,0 0 39,0 0-34,0 0-7,0 0 9,1-1-4,-1 2-32,0-1 27,0 0-28,0 0-11,0 0 27,0 0-24,0 0 35,0 0-41,1 0-16,-1 1-11,0-1 13,0 0-1,0 0 28,0 0-35,0 1 47,0-1-17,0 1 15,0-1-17,0 1 26,0-1-19,0 1 19,0-1 5,0 1-18,0 0 26,0-1-29,0 1 54,0 0-39,0-1 41,0 1-47,1 0 51,-1-1-34,0 0 35,1 1-88,-1-1 31,0 0-34,0 1 51,0-1-68,0 0 49,0 0-55,1 0 11,-1 0 32,0 0-34,0 0 38,0 0-11,0 0-1,0 0-5,0 0-1,0 1 48,0-1-39,0 0 38,0 1-38,0-1-3,0 1 8,0-1-7,0 1 27,0 0-14,0-1 14,0 1-2,1 0 5,-1-1 0,0 1-1,0-1 13,0 1-17,0-1 20,0 0-25,0 1-17,0-2 14,0 2-13,0-1 23,0 0-49,0 0 39,0 0-41,0 0 6,0 0 23,0 0-34,0 1 24,0-1 5,0 0-8,0 1 9,0-1-1,0 1-4,0-1 2,0 0 1,0 1 2,0 0-1,0-1 2,0 1 0,0-1 13,0 1-8,0 0 10,0-1 18,0 1-20,0 0 20,0-1-28,0 0 1,0 1 0,0-1 2,0 1-15,0-1 10,0 0-10,0 1 15,0-1-17,0 0 12,0 1-14,0-1 15,0 0-13,0 0 9,0 0-14,0 0 15,0 0-6,0 1 4,0-1-4,0 0 7,0 1-3,-1-1 4,1 0 3,0 1-5,0-1 6,0 0-7,0 1 22,0-1-15,0 0 16,0 0-20,0 1 26,0-1-18,0 0 16,0 1-29,0-1 3,0 1-1,0-1 9,0 1-10,0-1 9,-1 1-9,1-1-9,0 1 12,0-1-14,0 0 17,0 1-16,0-1 12,0 0-15,0 0 15,0 1 11,0-1-8,0 1 12,0-1 1,-1 0-10,1 0 12,0 1 10,0-1-19,-1 1 20,1-1-23,0 0-1,0 1 1,0-1 2,0 0 3,0 1 1,0-1 1,0 0-3,0 1-22,0-1 16,0 0-19,0 1 4,0-1 10,0 1-13,0 0 18,0-1 6,0 1-7,0 0 6,0 0-9,0 0 50,0 1-36,0-1 38,0-1-46,0 2 34,0-1-22,0-1 26,0 1-26,0 0-2,0-1 8,0 1-5,0-1-39,0 1 26,0-1-28,0 0-27,0 0 47,0 0-51,-1 0 54,1 0-19,0 0 6,0 0-11,0 1 13,0-1 7,0 1-11,0 0 9,0 0 2,0-1-3,0 2 6,0-1 29,0 0-25,0 0 27,0 0-31,0 0 14,-1 0-7,1 0 10,0 0-12,0-1 20,0 1-13,0-1 16,0 0-21,0-1 27,0 1-19,0-1 18,0 1-20,0-1-12,0 1 9,0 0-8,0-1 9,0 1 3,0 0-2,0 0-50,0 0 36,0 0-43,0 1 53,0 0-51,0-1-8,1 1-11,-1 0 15,0 0 71,0 0-21,0 0 21,0 1-33,0-1 53,0 0-37,0 0 46,0 0-43,0 0-3,0 0 6,0-1-4,0 1-5,0 0 9,0-1-6,0 1-12,0-1 10,0 0-9,0 0 14,0 1-23,0-1 15,0 0-25,0 1 15,0-1 3,0 1-5,0 0 6,0-1-16,0 1 10,0 1-12,0-1 17,0 0-3,0 1 2,0-1-3,0 1 23,0 0-15,0 0 15,1 0-19,-1-1 47,1 2-33,-1-2 36,0 0-45,1 1 16,-1-1-10,0 0 15,0 0-56,0-1 34,0 0-31,0 0 24,0 0 11,0-1-13,0 1 14,0 0-29,0 0 16,0-1-20,-1 1 17,1 0 11,0-1-14,0 1 13,-1 0-4,1 1 1,0-1 4,0 0 4,0 0-5,0 1 6,0 0-7,0-1 3,0 1-2,0-1 3,0 1-3,0 0 0,0 0 0,0-1 1,0 1-2,0-1 27,0 1-19,0-1 20,0 0-33,0 1 6,0-1-6,0 0 2,-1-1 6,1 1-7,0 0 8,0-1-5,0 1 3,0 0-4,0 0 3,0 0 13,-1-1-11,1 1 10,0 0-14,0 0 3,0 1-1,0-1 1,0 1 1,0-1-1,0 0 1,-1 1-4,1 0 5,0-1-5,0 1 5,0 0 14,0-1-10,0 1 10,0 0-14,0-1-6,-1 1 4,1 0-3,0-1 4,0 1 0,0-1 0,-1 0 1,1 1 1,0-1-3,0 0 1,0 0-1,0 0-5,0 0 5,-1 0-4,1 0-1,0 0 5,0 0-7,-1 0 7,1 0-3,0-1 2,0 2 0,0-1 0,0 0-12,-1 0 8,1 0-9,0 0 12,0 0 0,0 0 0,0 0 1,0 1-1,0-1-1,0 0 2,0 1 26,0-1-19,0 0 21,0 1-27,0-1 1,0 0-1,0 0 2,0 1 0,0-1-4,0 0 3,0 0-1,0 0 2,0 0-5,0 0 3,0 0-6,0 0 13,0 0-6,0-1 6,0 1-9,0 0 27,0 0-20,0-1 21,-1 1-15,1 0-6,0 0 8,0-1-8,0 1 9,0 0-7,0 0 10,0 0-10,0-1-12,0 1 8,0 0 2,0 0 5,0-1 10,0 1-12,0 0-8,0 0 3,0 1-6,0-1 9,0 0-14,0 0 10,0 0-10,0 0 12,0 0-10,0 0 6,0 0-7,0 0 1,-1 0 7,1-1-8,0 1 7,0 0 6,0-1-4,0 1 6,0-1 27,0 1-23,0 0 25,0-1-34,0 1-6,0-1 7,0 1-6,0 0 11,0 0-23,0 0 18,0 0-16,0 0 3,0 0 11,0 0-12,0 0 3,0 0 7,0 1-7,0-1 6,0 0 58,1 0-43,-1 0 43,0 0-57,0 0 15,0 0-8,0 0 11,0 0-8,1 0 4,-1-1 3,0 1-1,0 0-17,0 0 7,1 0-9,-1-1-28,0 1-9,0-1-5,0 0-259,0 0-26,0 0-269,0 0-1,0 1 1</inkml:trace>
  <inkml:trace contextRef="#ctx0" brushRef="#br0" timeOffset="88">5169 254 8847,'0'-1'-492,"0"1"492,0-1 0,1 1 0,-1-1 0,0 1 0,1 0 0,-1-1 0,0 1 0,0-1 0,1 1 0,-1 0 0,0-1 0,1 1 0,-1 0-12,0-1 72,0 1-47,1 0 56,-1 0-54,0-1-3,0 1-8,0 0 32,0 0-21,0 0-3,0 0 0,-1 0-29,1 0 29,-1 0-50,0 0 36,0 0-36,0 1-25,-1-1-20,1 1-2,0-1 16,0 1 67,0-1 2,1 1 0,-2 0 0</inkml:trace>
  <inkml:trace contextRef="#ctx0" brushRef="#br0" timeOffset="89">5160 252 9502,'1'-2'-866,"-1"2"831,0-1 40,0 1 5,0-1-4,0 1 4,0 0-16,0 0 8,0 0-9,-1 0 11,0 0-8,0 0 6,0 0-7,0 1 8,-1-1-50,0 2-14,0-1-2,1 0-34,-1 1 84,0-1-33,1 0 46,0 0 0,0 0 0,0 0 0</inkml:trace>
  <inkml:trace contextRef="#ctx0" brushRef="#br0" timeOffset="90">5274 248 8658,'-1'1'174,"1"-1"-84,0 0-12,0 0-16,0 1-21,0-1 25,0 0-16,0 0 19,0 0-44,0 1 19,0-1-13,0 0 21,0 0-18,0 1 9,0-1-14,0 1 3,0-1 13,0 1-13,0 0 14,0 0-24,0 0 13,0 0-17,0 1 24,0-1-17,0 0 13,0 1-13,0 0 10,0 0 24,0-1-18,0 1 19,0 0-34,0-1 6,0 1-7,0-1-18,0 1 21,0-1-21,0 0 27,0 1-29,0-1 20,0 1-21,0-1 27,0 0-30,0 0 20,0 1-28,0-1 31,0 0 23,0 0-17,0 0 18,0 1-28,0-1 0,0 0 1,1 0 7,-1 0-3,0 0 6,0 1-6,0-1 7,0 0-6,0 0 9,1 0-17,-1 0 2,0 0-5,0-1 3,0 1-21,0 0 20,0 0-24,0 0 9,0 0 10,0 0-12,0 0 18,0 0-19,0 0 12,0 0-15,0 0 12,0 0-16,0 0 9,0 0-10,0 1 43,0-1-17,0 0 17,0 0-26,0 0 35,0 1-23,-1-1 26,1 0-16,0 0-11,0 0 12,0 0-10,0 0-35,0-1 28,0 1-27,0 0 34,0 0 0,0-1-1,0 0 2,0 1-26,0-1 0,0 1-10,0-1 11,0 0-15,0 1 23,0-1-29,0 1 19,-1-1 1,1 1-4,0-1 9,0 1-10,0-1 8,0 1-9,0-1 9,0 1 0,0 0-2,-1-1 0,1 1 2,0-1 11,0 1-8,0 0 9,0-1-12,0 1 31,0-1-20,-1 1 22,1-1 21,0 0-37,0 1 41,0-1-43,0 0 0,0 0 5,0 1-6,0-1-2,0 0 5,0 0-5,0 1 6,0-1-30,0 0 20,0 1-25,0-1 9,0 0 13,0 1-15,0-1 14,0 1-38,0-1 20,0 0-23,0 1 4,0-1 26,0 1-27,0-1 30,0 1 9,-1-1-7,1 1 5,0-1-11,0 1 40,0-1-27,0 1 31,0-1-12,0 0-16,0 1 18,0-1-19,0 1 5,0-1 1,0 0 3,0 1-13,0-1 2,0 1-1,0-1 5,0 1-14,0-1 10,0 1-15,0-1 18,0 1-16,0 0 11,-1-1-14,1 1 24,0-1-2,0 1 3,0-1-4,0 0 19,0 1-19,0-1 20,0 0-7,0 1-11,0-1 16,0 0-18,0 1-10,0-1 8,0 0-6,0 0-1,0 1-1,0-1-3,0 0 4,0 1-11,0-1 14,0 1-17,0-1 18,0 1 11,0-1-10,0 1 9,0-1-10,0 1-2,0 0 5,0-1-4,0 1 32,0-1-20,0 1 22,0-1-25,0 0-8,0 1 8,0-1-6,0 1 17,0-1-10,0 1 11,0-1-13,0 0 5,0 1-4,0-1 3,0 0 45,0 0-33,0 1 34,0-1-44,0 1-11,0-1 13,0 0-11,0 0 18,0 1-29,0-1 22,1 1-24,-1-1 28,0 0-12,0 1 8,0-1-24,0 1 16,1 0-8,-1-1 9,0 1-3,0-1-2,1 1-2,-1-1 5,0 1-6,1 0 6,-1 0-6,0-1 7,0 1-4,0 0 3,1 0-2,-1-1-9,0 1 9,0 0-12,0 0 34,0-1-13,0 1 15,1 0-17,-1 0-13,0 0 6,0 0-5,0-1 7,0 1 0,0 0 0,0 0 0,0 0 1,0 0-2,0 0 1,0 0 1,0 1 20,0-1-15,0 0 15,0 0-24,1 0 21,-1 1-12,0-1 15,0 0-17,0 0-1,0 0 2,0 0 0,0 0-27,0 0 19,0 0-21,0 0 28,0 0-39,0 0-10,0-1-8,-1 1-3,1 0 36,0 0-4,0-1 4,0 2 7,0-2-11,0 1 8,-1 0 35,1 0-24,0 0 30,0-1-39,0 1 24,0 0-17,0 0 24,-1 0-26,1 0 6,0 0-5,0 0 8,0-1-15,0 1 11,0 1-12,0-2 15,0 1-4,0 0 3,0 0-4,0 0 4,0 0-2,0 0 1,0 0-4,0 0-6,0 0 5,0-1-3,0 1-1,0 0 4,0 0-5,0 0 7,0-1-8,0 1 6,0 0-7,0 0 4,0-1 1,0 1-1,0 0-1,0 0 2,0 0-3,0 0 2,0 0 1,0 0-16,0 0 12,0 0-11,0 0 2,0 0 11,-1 0-13,1 0 14,0 0 5,0 0-4,0 1 5,0-1 19,0 1-20,0-1 22,0 0-28,0 1 6,0-1-2,0 0 4,0 0-2,0 1-27,0-1 23,0 0-24,0 0-1,0 0 19,0 0-24,0 0 28,0 1-11,0-1 8,0 0-12,0 0 12,0 0-8,0 0 5,-1 0-7,1 0 22,0 0-14,0 1 15,0-1-16,0 0 16,0 0-9,0 1 10,0-1-11,0 0 3,0 1-1,0-1 4,0 1 25,0-1-22,0 1 24,0-1-30,0 0 3,0 1-1,0-1 2,0 1-44,0-1 30,0 0-32,0 0 42,0 0-75,0 0 53,0 0-61,0 1 63,0-1 1,0 0-6,0 0 2,0 1 9,0-1-13,-1 0 12,1 1 27,0 0-24,0-1 27,0 1-36,-1 0 42,1-1-28,0 1 36,0 0-41,0 0 33,0-1-24,0 1 28,0-1-24,0 1 2,0-1-1,0 1 0,0-1-4,0 0 4,0 0-2,0 0-1,0 0 1,0 0-2,0 0 2,0 0-1,0 0 1,0 0 0,0 0-1,0-1 0,0 1 0,0 0 0,0 0 1,0 1 0,0-1 1,0 0 52,-1 1-39,1-1 43,0 0-54,0 1 6,0-1-1,0 0 3,0 0-3,0 0-2,0 0 1,0 0 4,0 0 2,0-1-26,0 1 20,0 0-24,0 0 27,0-1-43,0 1-14,0 0-1,0 0-34,0 0 69,0 0-37,0 0 39,0 0 11,-1-1-9,1 2 9,0-1-14,0 0-5,0 0 2,0 0-1,0 0 8,0 1-1,0-1 4,0 0 2,0 1 26,0 0-15,0-1 17,0 1-7,0 0-17,0-1 19,0 1-23,0-1 22,1 1-15,-1 0 18,0 0-27,1-1 9,-1 1-7,0-1 10,1 1-33,-1 0 25,0-1-26,0 1 29,0 0-40,0-1 24,0 0-28,0 1 41,0-1-3,0 1 1,0-1-6,0 0 14,0 1-9,0-1 11,0 1-6,0-1-7,0 1 8,0-1-5,0 0-15,0 1 16,0-1-14,0 1 19,0-1-14,0 1 9,0-1-12,0 1-38,0-1 29,0 2-33,0-2 28,0 1 12,0 0-16,0 0 18,0 0 14,0 0-11,0 0 10,-1 0-15,1 0 32,0 0-22,0 0 28,0-1-34,0 1 43,0-1-31,0 0 42,0 0 9,0 0-26,0 1 32,1-1-62,-1-1 7,0 1-6,0 1 13,0-1-21,0 0 14,0-1-17,1 1 23,-1 1-39,0-2 26,0 2-33,0-2 38,1 1-26,-1 0 17,0 0-23,0-1 33,0 1-11,0 0 9,0 0 2,0 0 2,0-1 2,0 1-2,0 0 7,0 0-11,0 0 13,0 0-15,0 1 29,0-1-20,0 0 22,0 0 9,0 0-21,0 1 24,0-1-30,0 0-22,0 0 17,0 0-14,0 1 11,0-1 6,0 0-7,0 0 7,0 0-1,0 0 0,0 0-3,0 0 0,0 0-5,0 0 0,0-1-1,0 1 7,0 0-1,0 0 4,0 0-11,0 0 6,0 0-6,0 0 9,0 0-30,0 0 21,0 0-22,-1 0 26,1 0 8,0 1-9,0-1 7,-1 0-10,1 1 25,0-1-19,0 0 19,0 0 20,0 0 11,0 0 5,0 0-23,0 1-26,0-1-9,0 0 18,0-1-27,0 1 23,0 0-23,0 0 26,0-1-31,0 1 22,1 0-23,-1 0 26,0-1-12,1 1 3,-1 0-5,0 0 0,0 0-9,0 0-2,1-1-1,-1 2 11,0-1 5,0-1-2,0 2 4,0-1-4,0 0 3,0 0-3,0-1-51,0 1-15,0 0 0,0-1 9,0 1-454,0 0 382,0-1-378,0 1 509,1-1 0,-1 0 0</inkml:trace>
  <inkml:trace contextRef="#ctx0" brushRef="#br0" timeOffset="91">5170 251 8747,'1'-1'389,"-2"1"-778,1 0 406,-1 0-21,1 0-31,-1 1 39,0-1-42,0 1 52,0-1-78,0 1 9,0 0-72,0 0 71,0 0 11,0-1 44,0 1 1,0 0 0,0 0 0</inkml:trace>
  <inkml:trace contextRef="#ctx0" brushRef="#br0" timeOffset="92">5037 253 9502,'0'0'-173,"0"-1"235,0 1 133,0 0-88,0 0-59,0 0 52,0 0-55,1 0 67,-1 0-53,0 0 28,1 0-31,-1 0-12,1 1-21,0-1 3,0 1-8,-1 0 7,1 0-27,0 0-1,-1 0-14,1 0 39,0 0-22,0 0 0,0 0 0</inkml:trace>
  <inkml:trace contextRef="#ctx0" brushRef="#br0" timeOffset="93">5124 255 9502,'1'0'-888,"0"0"658,0 0 171,0 0 1,1 0 94,-1 0-26,1 0-23,1 0 15,-1-1-16,0 1 13,1 0 4,0 0-4,-1-1-12,1 1 11,-1 0-12,-1 0 14,1-1 0,-1 1 0</inkml:trace>
  <inkml:trace contextRef="#ctx0" brushRef="#br0" timeOffset="94">5151 252 9502,'-2'0'-235,"2"0"68,-1 0 82,1 0 44,-1 0 36,1 0-22,-1 0 73,1 0-27,-1 1 33,1-1-57,-1 0-14,0 1-2,0 0 9,0-1-46,1 1 17,-2-1-88,2 0 92,-1 1-94,0-1 67,1 1-106,-1-1 99,1 0 7,0 0 59,-1 0 5,1 0 0,0 0 9,0 0-20,-1 0 5,1 0 76,0 0-19,0 0 108,0 0-70,-1 0 34,1 0-55,-1 0 4,1 0-11,0 0-90,-1-1 73,0 1-72,1 0 31,-1 0 21,1 0-37,-1 0-27,0 0 35,0 0-43,0 0 45,1 0-31,-1 1-31,0-1 14,1 1-9,-1-1 15,0 0-26,0 1 11,0-1-4,1 0 45,-1 1-14,1-1 43,-1 0-32,0 0 33,1 0-37,0 0 49,-1 0-36,0 0 38,1 0-40,0 0 21,-1 0-5,1 0 9,-1 0-6,1 0 22,0 0-10,-1-1 14,1 1 8,-1 0-29,1 0 31,-1 0-36,0-1 3,1 1-3,0 0 2,-1 0-37,0 0 29,0 0-30,1 0 38,-1 0-43,0 0-12,0 0-2,0 0 2,1 0 46,-1 0-3,0 0 6,0 1 0,1-1 0,-1 0 0,0 0 0,1 0 0,-1 0 0,0-1 0,0 1 0,1 0 0,-1 0 0,0 0 0,0 0 39,0 0-30,0-1 30,-1 1-30,1 0 16,0 0-7,0 0 14,0 0-37,-1 0 18,1 0-15,0 0-35,0 0-14,0 0-5,0 0 10,0 0 48,0 0-2,1 0 0,-1 0 0</inkml:trace>
  <inkml:trace contextRef="#ctx0" brushRef="#br0" timeOffset="95">5073 253 9502,'-3'0'-916,"1"0"987,1 0 190,-1 0-159,1 0-42,0 0-62,0 0 17,-1 1 43,0-1 13,1 0-14,0 1 16,0-1-104,-1 0 22,1 0-67,0 1 52,0-1 24,-1 0 0,1 1 0</inkml:trace>
  <inkml:trace contextRef="#ctx0" brushRef="#br0" timeOffset="96">5184 257 9502,'-1'0'-1075,"0"0"1003,1 0 72,0 1 0,0-1 0,-1 0 0,2 0 0,-1 0 0,0 0 0,0-1 0,1 1 0,-1 0 0,1 0 0,-1 0 0,0-1 0,1 1 0,-1 0 0,0 0 0,0 0 0,1 0 0,-1 0 0,0 0 0,0 0 0,0 0 0,1 0 0,-1-1 0,0 1 0,0 0 0,0 0 0,0 0-69,1 0 52,-1 0-15,0 0 42,0 0 31,1 0 26,-1-1-34,0 1 40,0 0 71,0 0 282,0 0-176,0 0 149,0-1-354,-1 1-19,1 0 42,-1 0-25,1 0 25,0 0-29,-1 0-10,1 0 9,-1 0-4,1 1 10,-1-1-21,1 0 13,-1 0-18,0 0-16,0 1 31,1-1-32,-1 0 36,0 0-65,0 0 42,0 1-53,0-1 58,-1 0-52,1 0 30,0 0-30,-1 1 29,1-1 13,-1 0-16,1 0 31,0 1-17,0-1 17,-1 0-18,1 0-6,-1 0 8,1 0-7,0 0 11,0 0-21,0 0 14,0 1-13,0-1 18,0 0-4,1 0 3,-1 0-4,0 0 13,0 0-8,0 0 8,0 0-11,0 0 4,0 0-3,0 0 4,0 0-6,1 0 5,-2 0-5,1 0 7,0 0-14,0 0 11,1 0-10,-1 0 10,0 0-21,-1 0 13,1 0-16,0 0 4,1 0 11,-2 0-12,1 0 14,0 0-22,0 0 15,0 0-18,1 0 22,-1 1-4,0-1 3,0 0-3,0 0 33,0 0-24,1 0 24,-1 0-29,0 0 1,0 0 1,0 0 1,1 0 1,-1 0-4,0 0 6,0 0-2,0 0-2,0 0 4,1 0-5,-1 0 32,0 0-19,0 0 20,0 0-28,1 0 11,-1 0-8,0 0 9,0 0-10,1 0-10,-1 0 9,0 0-7,0 0 10,0 0-9,1 0 8,-1 0-8,0 0-12,0 0 14,0 0-17,1 0 13,-1 0 12,0 0-16,1 0 15,-1 0 24,0 0-22,0 0 28,1 0-34,-1 0-2,0 0 2,0 0-1,0 0-20,1 0 20,-1 1-20,0-1 25,0 0-20,0 0 13,1 0-13,-1 0-24,0 0 27,1 0-33,-1 0 39,0 0-22,0 0 15,0 0-18,1 0 19,-1 0 12,0 0-8,0 0 12,1 0 15,-1 0-23,0 1 26,0-1-29,1 0 6,-1 0-1,0 0 3,0 0-2,0 0-1,0 0 2,0 0 2,1 0-52,-1 0 37,0 0-40,1 0 44,-1 0 1,1 0-4,-1 0 3,1 0 25,-1 0-19,1 0 21,-1 0-29,1 0 18,-1 0-10,1 0 13,0 0-16,0 1 6,-1-1-4,1 0 12,0 0-31,-1 0 23,1 0-23,0 0 22,-1 0-23,1 0 14,0 0-17,-1 0 19,1 1 0,-1-1-4,1 0 3,-1 0-30,1 0 23,0 0-21,-1 0-49,1 0-20,0 0-66,-1 0 1,1 0 8,0 0 0</inkml:trace>
  <inkml:trace contextRef="#ctx0" brushRef="#br0" timeOffset="97">5186 260 9502,'0'-1'-1147,"0"1"1147,0-1 0,0 1-19,0 0 68,0-1-46,1 1 62,-1 0-24,0-1-13,0 1 16,0 0-44,0 0 17,0 0-43,0 0 4,0-1 8,1 1-1,-1 0-1,0 0 23,0 0-45,1 0 75,-1 0-39,0 0 37,0 1-26,0-1-6,0 0 10,0 0-7,1 0 50,-1 1-37,0-1 41,0 0-49,0 1 63,0-1-46,0 0 51,1 0-18,-1 1 21,0-1-3,0 0 4,0 0 17,0 1-30,0-1 37,0 0-54,0 0-6,0 0 16,0 0-8,0 1-15,0-1 6,0 0-20,0 0 25,1 0-52,-1 1 36,0-1-43,0 0 21,0 0 14,0 0-13,0 0 12,0 1-17,0-1 4,0 0-13,0 1-7,0-1 28,0 1-27,0-1 32,0 0-37,0 1 25,0-1-31,0 0 36,0 1-9,0-1 7,0 1-6,0-1 24,0 1-14,0-1 16,0 0-5,0 1-11,0 0 11,0-1-16,0 1 31,0 0-19,0-1 24,0 1-28,0 0 31,0-1-24,0 1 28,0-1-23,0 1-1,0 0 4,0-1-7,0 1-59,0-1 43,0 1-43,0-1 2,0 1 37,0 0-42,0-1 47,0 1-19,0 0 7,0-1-11,0 1 5,0 0-17,0 0 5,0-1-10,0 1 63,0 0-27,1-1 29,-1 1-39,0 0 40,0 0-27,0-1 36,0 1-53,0 0 14,0 0-11,0-1 15,0 1-18,0-1 19,0 1-18,0-1 22,0 1-41,0 0 27,0-1-31,0 1 29,0-1 2,0 1-10,0 0 6,0 0 14,0 0-9,0-1 15,0 1 8,0 0-16,0 0 19,0 0-23,0 0 8,0 0-2,-1 0 4,1 0-3,0 0-10,0 0 8,0 0-7,0 0-9,0 0 10,0 0-13,0 0 16,0 0-27,0 0 20,0 0-21,0 0 2,0 0 15,0 0-16,0 0 17,0 0-11,-1 0 6,1 1-9,0-1 12,0 0-7,0 0 6,-1 1-6,1 0 5,0-1-2,0 0 2,0 1-2,0-1 29,0 0-20,0 1 20,0-1-3,0 0-15,0 0 18,0 0-21,0 0 37,0 0-26,0 0 31,0 0-38,0 1-6,0-2 5,0 1-3,0 0-16,0 0 21,0 0-22,0 0 23,0 0 1,0-1-2,0 1 3,0 0-26,0 0 16,0 0-18,0 0 21,0 0-11,0 0 7,0 0-9,0 1 9,0-1 16,0 1-11,0-1 14,1 1 43,-1 0-41,0-1 43,0 1-55,0-1-9,0 1 10,0 0-9,0-1 1,0 0 6,0 0-4,0 1 8,0-2-35,0 1 24,0 0-28,0 0 37,0 0-47,0 0 33,0 0-42,0 0 40,0 0-2,0 0-5,0 0 8,0 0 19,0 0-13,0 0 17,0 0-9,0 1-7,0-1 8,0 0-8,0 0 48,0 1-30,0 0 34,0-1-38,0 0-17,0 0 16,0 1-12,0-1 13,0 0-30,0 0 21,0 0-23,0 0 0,0 0 18,0 0-22,0 0 26,0 0-19,0-1 12,0 1-16,0 0 14,0-1-4,0 1 2,0 0-1,0 0 12,0 0-8,0 0 8,0 0-8,0 0-2,0 0 2,0 1-1,0-1-1,0 0 2,-1 1-2,1-1 3,0 1 35,0-1-26,0 1 28,0-1-34,0 0 56,0 1-41,0-1 47,0 0-65,0 0 14,0 0-11,0 0 18,0 0-40,0 0 31,0 0-30,0 0-5,0 0 24,0 0-29,0 1-4,0-1 28,-1 0-30,1 0 30,0 0-5,0 1 0,0-1-5,0 0 8,0 0 5,0 0-3,0 1 6,0-1 4,0 0-7,0 1 8,0-1-9,0 0 25,0 1-16,0-1 17,0 0-22,0 0 0,0 1 1,0-1 0,0 1-8,0-1 6,0 0-6,0 0 7,0 1-8,0-1 5,0 0-7,0 0 4,0 1 1,0-1-3,0 0 3,0 1 0,0-1 0,0 1 1,0 0-1,-1-1 1,1 1 0,0-1 0,0 1 4,0 0-3,0 0 4,0 0-5,0 0 13,0 0-8,0 0 9,0 0-7,0 0-3,0 0 4,1 0-5,-1 0 22,0-1-15,0 1 16,0-1-24,0 0 3,0 0-2,1 0 6,-1 0-68,0 0 50,0 0-55,0 0 66,0 0-44,0 0-15,0-1-1,0 1-56,0 0 86,-1 0-55,1 0 61,0 0-6,0 0 3,0 1-6,0-1 58,0 0-45,0 1 47,0 0-57,0-1 29,0 1-15,0 0 21,0 0-16,0 0 31,0-1 1,0 2 108,0-2 104,0 1 171,0 0 205,0-1 167,0 1 182,0-1 202,0 1 177,0-1 101,0 0-16,0 0-51,0 0-159,0 0 45,0 0-241,-1 0-25,1 0-352,0 1-224,0-2-187,-1 2-138,1-1 1,0 1 0</inkml:trace>
  <inkml:trace contextRef="#ctx0" brushRef="#br0" timeOffset="98">5186 262 8355,'0'-1'0,"0"1"0,0 0 0,0 0 0,-1-1 0</inkml:trace>
  <inkml:trace contextRef="#ctx0" brushRef="#br2" timeOffset="99">5243 266 8355,'-1'0'113,"1"0"-69,0 0 138,0 0-96,0 0-51,0 0 29,-1 0-60,1-1 24,0 1-14,0 0-12,-1 0 14,1 0-18,0 0 5,0 0 6,0 0-7,0 0 10,-1 0-1,1 0-2,-1 0 0,1 0 1,-1 0-8,1 0 5,0 0-6,-1 0-5,1 0 10,-1 0-11,1 0 15,-1 0-6,0 0 4,1 0-5,0 0 8,-1 0-4,0 0 5,1 0-7,-1 0 0,1 0 0,-1 0-1,0 1 2,1-1 17,-1 0-12,1 0 13,-1 0-8,1 0-6,0 0 7,-1 0-6,1 0 7,-1 0-5,1 0 4,0 0-20,0 0 10,-1 0-8,1 0 12,0 0-18,-1 0 12,1 0-15,0 0 19,-1 0-19,1 0 13,0 0-17,-1 0 26,1 1-8,-1-1 7,1 0-9,0 0 9,-1 0-8,1 0 8,-1 0 16,1 0-17,0 0 21,0 0-25,-1 0 10,1 0-7,-1 0 8,1 0-7,-1 0-2,1 0 1,-1 0-1,1 0-8,0 0 9,0 0-9,-1 0 9,1 0-6,0 0 3,-1 0-3,1 1-4,0-1 7,-1 0-9,1 0 9,0 0-10,-1 0 7,1 0-8,-1 0 9,1 0-9,0 0 6,-1 0-7,1 0 3,0 0 3,-1 0-4,1 0 4,0 0-1,0 0-1,-1 0 0,1 0 3,0 0 0,0 0-1,-1 0 1,1 0 1,0 0-1,-1 0 2,1 0-2,0 0 1,-1 0 0,1 0 0,0 0-1,0 0 5,0 0-3,-1 0 2,1 0-3,0 0 22,0 0-15,-1 0 16,1 0 1,0 0-16,-1 0 19,1 0-23,0 0 3,0 0-2,0 0 5,-1 0-8,1 0 8,0 0-7,0 0 0,-1 0 3,1 0-4,0 0 5,0 0-39,0 0 27,-1 0-31,1 0 39,0 0-41,-1 0-9,1 0-8,0 0-71,0 0 50,0 0-71,-1 0 64,1 0-34,0 0 3,0 0 27,0 0 4,-1 0 72,1 0 0,0 0 0</inkml:trace>
  <inkml:trace contextRef="#ctx0" brushRef="#br2" timeOffset="100">5242 270 9502,'-2'-1'-900,"2"1"770,0 0 82,-1 0 97,1 0-66,-1-1 32,0 1-40,1 0 47,0 0 45,-1 0-31,0 0 35,1 0-44,-1 0 56,1 0-39,-1 0 46,1 0-56,-1 0 41,0 0-30,1 0 34,-1 0-70,1 0 33,-1 0-31,0 0 5,0 0 18,1 0-21,-1 0 34,1 0-74,-1 0 53,1 0-66,-1 0 72,1 0-60,0 0 45,-1 0-53,0 0 57,1 0-8,0 0 4,-1 1-4,1-1 3,-1 0-6,1 0 6,-1 0 7,1 0-7,0 0 9,-1 0-8,1 1-10,-1-1 8,1 0-7,-1 0 8,1 0-19,-1 1 15,1-1-17,-1 0 21,1 0-33,-1 0 21,1 0-26,-1 0 42,1 0-10,-1 0 10,1 1-14,0-1 24,-1 0-18,1 0 19,-1 0-27,1 0 6,-1 0-5,1 0 7,-1 0-12,1 0 12,-1 0-11,1 0 15,0 0-30,-1 0 20,1 0-21,-1 0 4,1 0 15,0 0-19,-1 0 20,1 0 30,-1 0-22,1 0 26,0 0-32,-1 0 1,1 0 0,0 0 1,-1 0-16,0 0 14,1 0-13,0 0 16,-1 0-11,1 0 9,-1 0-9,1 0-61,-1 0 50,1 0-57,-1 0-57,1 0 22,0 0-110,-1 0 126,1 0 18,0 0 70,0-1 0,-1 1 0</inkml:trace>
  <inkml:trace contextRef="#ctx0" brushRef="#br0" timeOffset="101">5272 271 9502,'0'2'-1140,"0"-2"1191,0 1 1,-1 0 200,1 0-191,0 0-30,0 0-74,-1 0 20,1-1 4,0 1 39,-1 1-44,1-1-18,-1 0-17,1 1-9,-1 0 16,0-1-10,1 1 50,0 0-56,-1-1 68,1 1 0,-1 0 0</inkml:trace>
  <inkml:trace contextRef="#ctx0" brushRef="#br0" timeOffset="102">5270 297 9195,'1'1'-111,"-1"0"241,0-1-11,0 1-66,0 0 2,0-1 2,0 2 6,0-1-82,0 0-14,0 1-16,0-1 17,-1 1 13,1 0-11,-1-1-116,0 2 35,0-2-50,0 1 99,0 0-134,1-1 78,-1 0-49,1 0 85,0 0 82,0 0 0,-1 0 0</inkml:trace>
  <inkml:trace contextRef="#ctx0" brushRef="#br0" timeOffset="103">5269 321 9502,'0'1'-728,"-1"-1"1064,1 1-71,0-1-160,0 0-25,0 0-50,0 1-56,0-1 31,0 1-4,0 0 8,0-1-12,0 1-19,-1 0-3,1 0 13,0 0 17,-1 1-20,1 0-6,-1 0-131,1-1 85,-1 2-109,1-2 71,0 1-36,0 0 28,-1-1-69,1 1 69,0-1 34,1-1 6,-1 1 50,0-1 37,1 0 5,-1 0 20,1 0 17,0 0-28,-1 0 0,0 0 16,1 0-6,-1 0 53,1 0-22,-1 0 89,0 0-113,0 0 39,0 0-48,0 1-30,-1 0-21,1 0 30,-1 1-40,1-1 3,-1 0-21,1 0 2,-1 1 2,0-1-27,1 0-26,0 0 1,0 0 5,-1 0 2,1 0 33,0-1-44,0 1 72,0-1 11,1 0 12,-1 0 0,0 0 0,1 0 0,-1 0 0,1 0-9,-1 0-5,0 0 2,0 0 0,1 0 50,-1 1 15,0-1-8,0 1 6,0 0-12,0-1 31,0 2-10,0-1 4,0 0-22,-1 0-5,1 0-26,0 0 11,0 0-33,0 0 41,0 0-46,0 0-8,0 0-7,0 0 7,0 0-23,0-1-18,0 1-15,0 0 21,0 0-25,0-1 59,0 1-52,0-1 71,0 1 6,0-1 0,0 1 0,0 0 0,0 0 0</inkml:trace>
  <inkml:trace contextRef="#ctx0" brushRef="#br2" timeOffset="104">5245 325 8985,'-1'0'-496,"1"0"450,0 0 95,0 0-15,0 0 29,0 0 1,0 0-16,-1 0 79,1 0-78,0 0 50,0 0-65,-1 0 27,1 0 8,0 0 2,0 0-26,0 0-8,-1 0-12,1 0 20,0 0-40,0 0 27,-1 0-35,1 0 26,0 0 6,0 0-8,0 0-36,-1 0 35,1 0-44,0 0 50,-1 0-30,1 0 22,-1 0-21,1 0 22,-1 0-21,1 0 14,-1 0-17,0 0 21,1 0-27,-1 0 20,1 0-23,-1 0 4,0-1 12,1 1-15,-1 0 13,0 0 6,0 0-8,1 0 8,-1 0-8,1 0 6,-1 0-10,1 0 10,-1 0 6,0 0-5,1 0 8,-1 0 0,0 0-5,1 0 6,-1 0-8,1 0 18,-1 0-12,0 0 13,1 0-1,0 0-12,-1 0 13,0 0-14,1 0 0,0 0-1,-1 0 4,1 0-1,-1 0-7,1 0 5,-1 0-8,1 0-1,0 0-1,-1 0-3,1 0 4,0 0-2,-1 0 6,1 0-8,0 0-4,-1 0 7,1 0-9,-1 0 12,1 0-15,0 0 10,-1 0-11,1 0 13,-1 0-1,1 0-1,-1 0-1,1 0 1,-1 0-9,1 0 4,0 0-6,-1 0 11,1 0 0,-1 0 0,1 0 12,0 0-10,-1 0 11,1 0-13,-1 0 3,1 0-2,-1 0 3,1 0-2,0 0-1,-1 0 1,1 0 0,-1 0 1,1 0-18,0 0 13,0 0-13,0 0 1,-1 0 11,1 0-15,0 0 20,0 0-5,-1 0 4,1 0-5,0 0 8,0 0-8,-1 0 7,1 0-6,0 0 8,-1 0-5,1 0 6,0 1-8,0-1 2,0 0-151,0 0-35,0 0-150,-1 0 0</inkml:trace>
  <inkml:trace contextRef="#ctx0" brushRef="#br2" timeOffset="105">5245 328 9502,'-1'-1'-1140,"0"1"1200,0 0-3,0 0 218,1 0-103,-1 0-24,1-1-51,-1 1-21,0 0-60,0 0 51,1 0-51,-1 0 34,1 0 12,-1 0-22,0 0 28,1-1-70,-1 1 48,1 0-54,-1 0 67,0 0-66,1 0 45,-1 0-49,0 0 17,0 0 24,1 0-29,-1 0 24,0 0-23,0 0 17,0 0-20,1 0 14,-1 0 10,0 0-15,0 0 17,0 1 6,0-1-4,0 0 3,0 0-7,1 0-17,-2 0 12,2 0-11,-1 0-19,0 0 25,0 1-28,0-1 33,0 0-37,1 0 26,-1 0-31,0 0 12,0 0 13,1 0-16,-1 0 18,1 0 22,0 0-19,-1 0 18,1 0-23,0 0 10,-1 0-7,1 0 7,0 0-4,-1 0-6,1 0 7,-1 0-7,1 0-5,0 0 7,-1 0-8,1 0-35,-1 0 34,1 0-36,-1 0 42,1 1-47,0-1-16,-1 0 0,1 0 2,-1 0-114,1 0 22,0 0-97,-1 0 135,1 0 59,-1 0 56,1 0 0,0 0 0</inkml:trace>
  <inkml:trace contextRef="#ctx0" brushRef="#br0" timeOffset="106">5269 495 9061,'-1'0'-486,"1"0"450,0 0 45,-1 0-11,1 0 15,0 0-12,0 0-4,-1 1 5,1-1-6,0 1 8,-1 0-4,1-1 5,-1 1-7,1-1-50,0 1 36,-1 0-37,1-1 49,0 1-78,0-1 57,0 0-63,0-1 71,0 0 21,1 0-24,-1-1 32,1 0-23,0-1 60,0 1 21,0 0-11,-1 0 3,1 0-18,0 0 35,-1 1-11,0-1 18,0 1-23,0 1 38,0-1-58,0 1 33,0 0-81,-1 0 50,0 0-79,0 1 55,0 0-58,0 0 64,0 0-31,-1 0 13,1 1-15,0-1 13,1 0-47,-1 1 23,0-1-31,1 0 34,-1-1-41,1 1 2,0-1-13,0 0 30,0-1 41,1 0-14,-1-1 13,2-1-18,-2 0 26,2 0-19,-1 0 19,0-1-22,-1 1 11,1-1-4,0 1 7,-1 0-3,0 0-50,0 1 38,0 0-39,0 0 34,0 2 6,0-1-9,-1 1 26,0 0-14,1 1 10,-1-1-14,0 1 41,0 0 11,1 1 4,-1-1-10,1 1 19,0-1 15,-1 0 14,1-1-18,0 1-33,0 0-14,0-1 13,0 0-73,0-1-15,0-1-6,0 1 15,1-2 1,-1 1-12,1 0-21,0-1-2,-1 0 57,1 0-9,-1 0 37,1 1-18,-1-1 5,0 1-15,1 0 59,-1 1 23,0 0 8,0 0-17,0 0-6,0 1 11,0-1 18,0 1-18,0 0-3,-1 0-29,1 0 35,0 0-81,0 0 45,-1 0-46,1 0-6,-1 0-16,1 0-6,0 0 15,-1 0 2,1-1 33,-1 1-47,1 0 50,0-1-71,-1 1 50,1-1-58,0 0 63,0 0 1,-1 0-7,1 0 11,0 0-22,0-1 62,0 1-41,0 0 46,0-1-47,0 1 56,0 0-32,0 0 59,0 0-26,0-1-13,0 2 14,0-1-21,0 0-4,0 1 9,0-1-10,0 1 12,0 0-3,0-1 6,0 1-8,0 0-26,-1-1 21,1 1-20,0 0-23,0 0-14,0 0-3,0-1 9,0 1-12,-1-1 2,1 1-24,0-1 9,0 1 35,0-1-5,0 0 3,0 1 32,0-1-32,0 0 29,0 0-38,0 0 99,0 0-23,1 0 85,-1 0-70,1 0 37,-1 0-6,1-1-26,-1 1-54,1 0-30,-1 0-37,1-1 57,0 0 0,-1 1 0</inkml:trace>
  <inkml:trace contextRef="#ctx0" brushRef="#br2" timeOffset="107">5246 385 8692,'0'0'172,"-1"-1"-63,1 1-30,0 0-8,0 0-21,-1 0 12,1 0-2,0 0 5,0 0-1,0 0-5,-1 0 0,1 0-1,-1 0-35,1 0 23,0 0-23,-1 1-10,0-1 27,1 0-30,0 0 39,-1 0-38,0 0 25,0 0-29,1 0 25,-1 0-61,0 0 40,0 0-70,0 0 77,1 0-16,-1 0 12,0 0 7,0 1-36,0-1 26,0 0-29,0 0 24,0 0 0,1 0-1,-1 0 5,0 0-21,0 0 16,0 0-18,1 0 21,-1 0-9,0 0 6,0 0-11,1 0-12,-1 0 12,1 0-13,-1 0 21,1 0-14,0 0 9,-1 1-11,1-1 12,-1 0 1,1 0-3,-1 0 1,1 0 12,0 0-8,-1 0 10,1 0-10,0 0-1,-1 0 2,1 0-1,-1 0-1,1 0 2,-1 0 0,1 0-14,-1 0 9,1 1-10,0-1 13,-1 0-24,1 0 18,-1 0-21,1 0 24,0 0-19,-1 0 13,1 0-15,0 0 29,0 0-10,-1 0 9,1 0-13,0 0 34,0 0-24,-1 0 26,1 0-18,0 0-9,0 0 13,-1 0-15,1 0 23,-1 0-16,1 0 21,0 0-23,-1 1 0,1-1 0,0 0-1,-1 0-7,1 0 9,-1 0-10,1 0 11,0 0-11,0 0 8,-1 0-10,1 0 2,0 0 3,0 0-4,-1 0 5,1 0-33,0 0 20,0 0-46,0 0 47,0 0-50,-1 0 44,1 0-26,0 0-19,0 0-10,-1 1-9,1-1 12,0 0 39,0 0 6,0 0-13,-1 0-84,1 0 3,0 0-6,-1 0 54,1 0 73,0 0 0,0 0 0</inkml:trace>
  <inkml:trace contextRef="#ctx0" brushRef="#br2" timeOffset="108">5247 390 9502,'-1'0'-176,"0"0"171,1 0-49,0 0 102,-1 0-26,1 0 63,0 0-21,-1 0 33,1 0-72,-1 0 51,1 0-60,-1 0 66,1 0-5,-1 0 11,1 0-8,-1 0 5,0 0-7,0 0-16,1 0-21,-1 0 22,0 0-18,0 0 38,0 0-68,0 1 39,0-1-42,-1 0 60,1 0-52,-1 0 38,1 1-43,-1-1-10,1 0-13,-1 0-10,1 1-18,-1-1 67,1 0-31,0 0 33,-1 1-30,1-1 24,0 0-24,0 1 25,0-1-41,-1 0 28,1 0-27,1 0 36,-1 1-18,0-1 13,0 0-13,0 0 3,0 0 8,1 0-9,-1 0-17,0 1 19,1-1-24,0 0 27,-1 0-39,1 0 29,0 0-521,0 0 293,0 0-292,0 0 411,-1 0 106,1 0 0,-1 1 0</inkml:trace>
  <inkml:trace contextRef="#ctx0" brushRef="#br0" timeOffset="109">5270 413 9502,'1'0'-656,"0"1"442,-1-1 94,0 1 26,1-1-5,-1 0 31,0 1 14,0-1 54,0 1-5,0-1 8,0 1 18,0 0-17,0 0 18,0-1 40,0 1-49,0 0 45,0-1-64,-1 1 68,1 0 22,0 0 20,0-1-23,0 0-37,0 0-5,0 1-51,0-1 39,0 0-52,1 0 11,-1 1-11,0-1-11,0 0-24,0 1 54,0-1-20,0 1 18,0 0 7,0 0-14,0 0 11,0 0-8,0 1 17,0-1-11,0 1 12,-1-1-10,1 1-30,0-1 21,0 0-21,-1 1-5,1-2 25,0 1-28,0 0 49,0-1-14,0 1 12,0-1-19,0 0 24,1 1-19,-1-1 21,0 0-23,0 0 24,0 1-16,0-1 18,0 1-16,0-1 58,0 1-34,0-1 39,0 1-53,0 0-5,0 0 8,0 0-56,0-1 43,0 1-44,0 0 53,0 0-64,-1 0-18,1 0-3,0 0 5,0-1 68,0 1-4,0 0 8,0 0-1,0-1 1,0 1 0,0 0 19,0 0-24,0-1 14,0 1-21,0 0 40,0-1-20,0 1 23,0-1-26,0 1-17,0-1 21,0 1-16,0 0 17,0 0-13,0-1 9,0 1-11,0 0 6,0 0 8,0-1-7,0 1 5,-1 0 64,1 0 18,0 0 4,0 0 51,0 1-51,0-2 18,0 1-22,0 1-69,0-2 8,0 1-3,0 0 18,0 0-42,0 0-25,0 0 2,0 0 9,0 0-36,0-1 17,0 1-90,0-1 31,0 1 21,0-1 18,0 1-31,0-1 59,0 1-71,0-1 72,0 0 22,0 1-14,0 0 25,0-1-36,0 1 60,0-1 20,0 1 9,0 0-16,0 0-13,0-1 7,0 1 20,0 0-67,0-1-36,0 1-13,0 0 23,0 0-14,0-1-10,0 1-8,0 0 13,0 0 51,-1 0 0,1 0 0</inkml:trace>
  <inkml:trace contextRef="#ctx0" brushRef="#br0" timeOffset="110">5269 519 9502,'-1'1'-375,"1"0"90,-1 0 133,1 0 81,0 0 42,-1 0 36,1 0 33,0 0-17,-1 0 9,1 0-15,0 1 18,-1-1-60,1 0 42,0 0-45,0 0-12,0 0-16,0 0-6,0 0 9,0-1 61,0 1-8,1 0 0,-1 0 0</inkml:trace>
  <inkml:trace contextRef="#ctx0" brushRef="#br0" timeOffset="111">5270 545 9502,'0'2'-48,"0"-2"3,0 1 122,0 0-194,0 0 85,0 0-133,0 0 92,0 0-2,0 0-5,0 1 23,0-1-112,0 0 151,0 1-98,-1-1 116,1 1 0,-1 0 0</inkml:trace>
  <inkml:trace contextRef="#ctx0" brushRef="#br0" timeOffset="112">5270 571 9502,'0'1'-7,"0"0"0,0 0 98,0 0-173,1 0 71,-1-1-151,0 1 149,0 0-110,0 0 99,0-1-117,0 1 104,0 0-110,0 0 77,0 0-110,-1 0 111,1-1 14,0 1 55,0 0 0,-1 1 0</inkml:trace>
  <inkml:trace contextRef="#ctx0" brushRef="#br0" timeOffset="113">5267 588 9502,'-2'0'-829,"1"1"952,1 0 238,-1 0-102,0 1-288,1-1 27,-1 1-173,1-1 94,-1 1-4,1 0 20,-1 0-43,1-1 1,-1 1-9,1-1 31,0 0-54,0 1 123,-1-1-54,1-1 70,0 1 0,1 0 0,-1 0 0,1-1 0,0 0 0,0 0 0,0 1 0,0-1 0</inkml:trace>
  <inkml:trace contextRef="#ctx0" brushRef="#br0" timeOffset="114">5271 594 9502,'0'1'-881,"-1"0"1051,1-1-93,0 1-12,0-1-67,0 1 74,0-1-75,0 1-16,0 0-12,0-1 20,0 1-2,0 0-10,0-1-11,0 2 12,0-2-25,0 1-17,0 0-8,0 0 13,0 0 65,-1 0-6,1 0 0,0 0 0</inkml:trace>
  <inkml:trace contextRef="#ctx0" brushRef="#br0" timeOffset="115">5187 611 20841,'0'4'1284,"0"-2"-778,0 0 260,0 0-340,0 0-178,0-1 7,0 1-139,0 1 55,0-1-122,0 0 14,0 0-50,0 1 16,0-2-28,0 1 7,0 0-58,0 0 6,0 0-55,0-1 25,0 0-64,0 1 9,0-1-45,0 0 5,0 0 27,0 0-15,0 1 48,0-1 10,-1 0 86,1 0 94,0 0 79,0 1 65,0 0-23,0-1-33,-1 1-3,1 0-117,0 0-7,0 0-241,0-1 88,0 1-234,0 0 121,0 0-69,0 0 19,0 0 136,0-1-51,0 1 183,0-1-96,0 0 219,0 0-110,-1 1 187,1-1-112,0 0 56,0 0 17,0 0 28,0 0 77,-1 0 28,1-1 81,0 1-147,0 0 165,-1 0-176,1 0 13,0 0-57,0 0-176,-1-1-73,1 1-108,0 1 49,0-1-192,0 0 87,0 0-177,0 1-44,-1-1 75,1 1-99,0-1 127,0 1-73,0 0 199,0-1-81,0 1 234,0 0-99,0 0 166,0 0-36,0-1 66,0 1 33,0 0 8,0 0 71,0 0 16,0 0 40,0 0 39,0 1 12,0-1 25,0-1-42,0 2-79,0-1-112,0-1-136,0 1-86,0 0-80,0 0-35,0-1-44,0 1-35,1 0 19,-1-1-43,0 0 66,0 1 44,0-1 63,0 0 106,0 1 54,0-1 98,0 1 51,0-1 111,0 1 15,0-1 5,0 1-12,0 0-69,0-1 131,0 1 36,0 0 201,0-1 1,-1 1 3,1 0-152,0-1-116,0 1-213,0 0-195,0-1-170,0 1-238,0-1-35,0 1-50,0-1 139,0 1 112,0-1 169,0 1 51,0-1 76,0 1 32,0-1 43,0 0-47,0 0 61,0 1-104,0-1 106,0 0-21,0 0 52,0 0 6,0 1-3,0-2 63,0 2-33,0-1 114,0 0-106,0 0 41,0 0 16,0 0 58,0-1 205,0 1-19,0 0 277,-1-1-230,1 1 308,0-1-199,0 0-36,0 1 49,0-1-494,0 0 131,0 1-518,0-1 260,0 0-332,0 1 226,0-1-101,0 1-73,0-1 263,0 1-101,0 0 231,0-1-14,0 1 13,0 0-83,0 0 13,0-1-74,0 1-83,0-1-221,0 1 389,0-1-50,1 0 560,-1-1 0,1 0 1</inkml:trace>
  <inkml:trace contextRef="#ctx0" brushRef="#br0" timeOffset="116">5262 615 9502,'-2'2'-204,"2"-1"72,-1 0 106,1 0-92,-1 1 42,1 0-125,0-1 84,-1 1 55,1 0 24,0 0-20,0-1 5,0 1-27,0-1 34,0 1 44,0-1 2,0 0 0,0 0 0,1-1 0,0 0 0,0 1 0,0-1 0</inkml:trace>
  <inkml:trace contextRef="#ctx0" brushRef="#br0" timeOffset="117">5270 616 9502,'-1'2'-190,"1"-1"125,0 0 29,0-1-34,0 1 91,0 0-60,0 0 98,0 0-49,0 0 59,0 0-89,0-1 11,0 1-84,0 0-17,0 0 32,0 0-48,0-1 91,0 1-62,0 0 28,0 0-40,1 0 1,-1-1 53,0 1 4,0-1 9,0 1 78,0-1-62,0 1 59,1-1-69,-1 0 77,0 0-48,0 0 55,0 1-55,0-1 41,0 0 38,0 1-15,0-1 71,0 1-106,0 0 64,0 0-48,0-1-2,0 2 7,0-1-10,0 0-41,0 0 30,0 0-27,0 0 31,0 0-48,0 0 29,0 0-35,0 0 22,1 0 15,-1 0-16,1 0 12,-1-1-37,1 1-22,-1-1 6,1 1-24,-1-1 63,0 0-27,0 0 36,1 0-15,-1 0 13,0 0 28,0 0 13,0 1 4,0-1-10,0 1 11,0-1 10,0 1 35,-1 0-30,1 0-10,0 0-32,-1 0 44,1 0-31,0 1 36,0-1-39,-1 1-45,1-1 32,0 1-35,0-1 49,0 1-53,0-1-18,0 0-10,0 1 17,0-1-2,0 0-9,0 1-15,0-2-26,0 1 54,0 0-17,0 0-9,0 0 35,0-1-39,-1 1 40,1 0-4,0-1 0,0 0 2,0 1 31,0-1-24,0 0 29,0 1-33,0-1 21,0 1 11,0-1-2,0 1 46,0-1-16,0 1 11,0 0-13,0 0-14,0 0-15,0 1 23,0-1-28,0 1 18,0 0-7,0 0 6,0 0 3,0-1-5,0 2 5,0-1-4,0 0-13,0 0-8,0 0 0,0 0-20,0-1 27,0 1-17,0-1 18,0 0-16,0 0 9,0 0-11,0 0 15,-1-1-10,1 0 5,0 1-58,0-1 42,0 0-75,0 1 71,0-1-26,0 0 40,0 1-2,0-1-1,0 1 58,0 0-49,0 0 52,0 0-60,0 0 53,0 1-36,0 0 40,0 0-44,0 0 16,0 1-1,0-1 6,0 1 16,0 0-20,0-1 25,0 1-26,0-1-16,0 0 7,0 1-8,0-1-35,0 0-11,-1 1-5,1-1 7,0 0 3,0 0-19,0 0 1,0-1-2,0 1 56,0-1-21,0 1 16,0-1 28,0 1 16,0-1 1,1 1 47,-1-1-24,1 1 4,-1 0-4,0 0-21,0 0-23,0 1 24,0 0-38,0 0 0,-1 0 0</inkml:trace>
  <inkml:trace contextRef="#ctx0" brushRef="#br2" timeOffset="118">5242 625 8262,'-1'0'485,"1"0"-329,0 0 306,0 1-406,-1-1-50,1 0-24,0 0 25,0 0-58,0 0 23,0 0 28,0 0-43,-1 0 52,1 0-12,0 0 9,0 0 57,-1 0-40,1 0 47,0 0-60,0 0 21,-1 0-14,1 0 21,0 0-36,0-1 19,-1 1-16,1 0-35,0 0 37,-1 0-43,1 0 53,-1 0-65,1 0 46,-1 0-59,1 0 68,-1 0-68,1 0 47,-1 0-55,1 0 61,-1 0-24,0-1 17,1 1-15,-1 0 21,1 0-7,-1 0 4,1 0 11,-1 0-13,1 0 15,0 0-15,-1 0 34,1 0-23,-1 0 26,1 0-27,0 0 14,-1 0-7,1 0 9,-1 0-5,1 0-8,-1 0 9,1 0-10,0 0 2,-1 0-2,1 0 2,-1 0-11,1 0 9,0 0-9,0 0 10,-1 0-17,1 0 10,0 0-11,0 0 14,-1 0 0,1 0-1,0 0-1,0 0 10,0 0-6,-1 0 5,1 0-7,0 0 7,-1 0-5,1 0 6,0 0 1,-1 0-5,1 0 6,0 0-6,-1 0-24,1 0 18,0 0-19,0 0 23,-1 0 0,1 0-2,0 0 2,0 0 4,-1 0-4,1 0 4,0 0-6,0 0 33,-1 0-23,1 0 25,0 0 6,0 0-25,-1 0 28,1 0-32,-1 1-9,1-1 11,0 0-5,-1 0 6,1 0-27,-1 0 17,1 0-21,0 0 29,-1 0-19,1 0 13,-1 0-18,1 0 1,0 0 5,-1 0-7,1 0 13,-1 0 2,1 0-3,-1 0 1,1 0 7,0 0-5,-1 0 6,1 0-7,0 0 7,-1 0-5,1 0 8,0 0-4,-1 0-1,1 0 1,0 0-2,0 0 6,-1 0-4,1 0 5,0 0-9,0 0 1,-1 0 0,1 0 1,0 0-21,-1 0 14,1 0-16,0 0 5,0 0 9,0 0-9,0 0 10,-1 0-76,1 0 119,0 0-100,0 0 160,0 0-80,0 1 30,1-1-17,-1 0-22,0 0 17,0 0-25,0 0 14,0 1-18,0-1 9,0 0-12,0 0 25,0 0-4,0 0 3,0 1-2,0-1-8,0 1 6,0-1-4,0 0-7,0 0 7,0 1-6,0-1 9,-1 1-12,1-1 11,0 1-10,0-1-11,0 1 14,0 0-19,0-1 15,0 1 6,0-1-6,0 1 6,0 0 22,0-1-19,0 1 20,0-1-24,0 1 3,0 0-2,0-1 4,-1 1-2,1-1-12,0 1 10,0-1-9,0 1 24,0 0-8,0-1 8,0 1-13,0-1 0,0 0 0,0 1 0,0-1 5,0 1-4,0-1 6,0 0-6,0 1-14,0-1 11,0 1-11,0-1 14,0 1-33,0-1 24,0 1-27,0-1 24,0 0 2,0 0-4,0 1 3,0-1 3,0 0-5,0 1 4,0-1-1,0 0 1,0 1 1,0-1-2,0 0-30,0 0 22,0 0-21,0 1 28,0-1-20,0 0 13,0 1-17,0-1 25,0 0-7,0 1 7,0-1-26,0 0 13,0 1-15,0-1 18,0 0-24,0 0 18,0 0-20,-1 1 24,1-1 1,0 0-2,0 0-4,0 0 31,0 0-29,0 1 53,0-1-51,0 0 30,0 0-23,0 0 10,0 0-17,0 1 10,0-1-21,0 0 18,0 0-15,0 0 29,0 0-22,0 1 62,0-1-45,0 0 79,0 0-61,0 0 30,0 1-47,0-1 1,0 0 9,0 0 19,0 1-3,0-1 53,0 0-12,0 0 9,0 0-11,0 0-76,0 0 32,1 0-32,-1 0-9,0 0 27,0 0-30,1 0 38,-1 0-20,0 1 12,1-1-20,-1 0 21,1 0 5,-1 0-3,1 0 2,0-1-7,-1 1-7,1 0 6,0 0 0,0 0-4,-1 0 8,1 0-7,0 0-9,0 0 10,-1 0-11,1 0 15,0 0-27,-1 0 19,1 0-24,0 0 28,-1 0-12,1 0 8,0 0-10,-1 0 10,1 0-3,0 0 3,-1 0-2,1 0 2,-1 0-2,0 0 3,1 0 2,-1 0-2,1 0 3,-1 0-4,1 0 21,0 0-16,-1 0 17,0 0-20,1 0 18,-1 0-12,1 0 15,-1 0-18,1 0 10,-1 0-6,1 0 9,-1 0-24,1 0 12,-1 0-11,0 0 13,1 0-10,-1 0 8,1 0-10,-1 0-48,0 0 38,1 0-42,-1 0 49,0 0-61,1 0 38,-1 0-43,0 0 65,0 0-1,1 0-2,-1 0-7,1 0 29,-1 0-20,0 0 23,1 0 6,-1 0-25,1 0 26,-1 0-27,1 0 7,-1 0 2,0 0 2,1 0 3,-1 0-4,0 0 7,1 0-6,-1 0 3,0 0-7,1 0 4,-1 0-4,1 0-2,-1 0 2,0 0-2,1 0-2,-1 0 4,0 0-3,1 0 2,-1 0-15,0 0 12,0 0-13,1 0 16,-1 0-17,0 0 10,0 0-11,1 0 13,-1 0 6,0 0-8,0 0-7,1 0 4,-1 0-31,0 0 27,0 0-16,0 0-1,0 0 15,0 0-15,1 0 19,-1 0 19,0 0-15,0 0 20,0 0-22,1 0 3,-1 0 26,0 0-24,0 0 29,0 0-31,0 0 10,1 0-5,-1 0 0,0 0 0,0 0-1,1 0 1,-1 0 1,0 0 16,0 0-13,0 0 13,0 0-12,0 0-3,1 0 4,-1 0-1,0 0-2,0 0 5,1 0-4,-1 0-21,0 0 15,0 0-33,0 0 32,0 0-10,0 0 12,0 1 52,1-1-38,-1 0 39,0 0-51,0 0 18,0 0-12,0 0 23,0 1-15,0-1 8,0 0 0,0 0 190,0 0-141,0 0 146,0 0-192,0-1-22,0 1 10,0 0-16,0-1 12,0 1-17,0-1 8,0 1-10,0-1 17,0 0 5,0 1-5,0-1-3,0 1 2,0-1-2,0 1 6,0-1-9,0 1 7,0-1-6,0 1 6,0-1-6,0 1 2,0-1-4,0 0-8,0 1 12,0 0-12,0-1 4,0 0 5,0 1-7,0-1 7,0 1-3,0-1 3,0 1-3,0-1 3,0 0-1,0 1 0,0 0 0,0-1 1,0 1 0,0-1 0,0 1 0,0-1 0,0 1 0,0 0 0,0-1 0,0 1-8,-1-1 5,1 1-5,0-1-18,0 1 18,0-1-20,0 1 25,0-1 4,0 1-4,0 0 1,0-1-2,0 1 6,0 0-4,0-1 5,0 1 2,0 0-8,0-1 9,0 1-10,0-1 5,0 1-1,-1-1 2,1 1 1,0 0-27,0-1 21,0 1-22,0-1 15,0 1 5,0-1-9,0 1 10,0-1 5,0 1-3,0-1 3,0 1 4,0 0-9,0-1 9,0 1-10,0 0 4,0-1-2,0 1 3,0-1-16,0 1 9,0 0-6,0 0 11,0-1-51,-1 1 36,1 0-52,0 0 63,0 0-7,0-1 13,0 1 0,0 0 0</inkml:trace>
  <inkml:trace contextRef="#ctx0" brushRef="#br0" timeOffset="119">5263 634 9502,'-2'2'-203,"2"0"214,-1-1-144,1 0 48,0 1-117,-1 0 102,1-1 13,-1 1-8,1-1 31,0 1 16,0-1 15,0 0 31,0 0-93,0 0 79,0-1-43,0 0 53,0 0-35,0 0 29,1 0-25,0 0 37,-1 0 0,1-1 0,-1 0 0,1 1 0,-1-1 0,1 1 0,-1 0 0,0 0 76,0-1-50,1 2 53,-1-1-7,0 1-50,-1 0 56,1 0-64,0 0 29,-1 1-19,1-1 23,-1 1-22,1-1-15,-1 2 9,1-2-11,0 1 20,0-1-23,0 1 16,0-1-26,0 0-33,0 1-20,0-2-2,0 1-119,0-1 135,0 0-94,0 0 102,0-1 46,0 1-41,0-1 49,0 0 22,0 1-34,0-1 41,0 1 131,0 0-116,0 0 169,0 0-179,0 1 2,0 0-6,0 0-81,-1 1 61,1-1-58,-1 0-11,1 1 51,-1-1-64,1 1 26,0-1-21,0 0 4,-1 0-4,1 0-5,0 0-31,0-1-55,-1 0 49,1 0 20,0 0 76,1 0-19,-1-1 25,0 0 38,1 0-43,-1 0 50,0 0 27,1 0-16,-1 0 91,1 1-80,-1-1 52,0 1-77,1-1 38,-1 1-23,0 0-29,0 0 38,0 0-78,0 1 44,0 0-37,0 1-21,0-1-22,0 1-8,-1 0-56,0-1 49,0 1-22,0 0 22,0 0-9,1 0-3,-1-1-17,0 1 19,1-1-24,0-1-3,-1 1-19,1-1 37,1 0 49,-1 0 22,0-1 0,1 1 0,0-2 0,1 1 0,-1-1 0,1 1 10,-1-1-21,0 0 17,0 1 44,0 0 26,0 0 10,0 0-27,-1 1 1,0 0 21,1-1-3,-1 2 32,0-1-79,0 1 32,0 0-31,-1 0-4,0 1 0,0 0-4,1 0-57,-1 0 49,0-1-55,0 1 3,0 1 44,0-2-53,0 1 63,0-1-48,0 1-5,0-1-15,1 0 15,-1 0 20,1-1 4,0 1-70,0-1 8,0-1-53,1 0 4,0 0 61,0 0-5,0-1 66,0 1 23,0-1-32,1 1 29,-1 0-34,0-1 79,-1 2-17,1-1 69,0 0-22,-1 1 25,0 0-20,1 0-20,-1 0-8,0 1-39,0 0 34,0-1-59,-1 2 32,0 0-28,0 0-25,0 0-14,0 0-6,-1 0-2,1 0-24,0 0 1,0-1-65,-1 1 55,1 0-56,0-1 35,1 0-3,0 0 38,-1-1 54,2 0 0,-1-1 0,1 0 0,1 0 0</inkml:trace>
  <inkml:trace contextRef="#ctx0" brushRef="#br0" timeOffset="120">5266 711 9502,'-1'2'-113,"0"-1"-42,1 0 53,0-1-98,-1 2 105,0-1 20,1 0-3,-1 0 30,0 0 16,1 1 9,-1-1 26,0 1-30,0-1 33,1 0-41,-1 0 29,1 0-30,-1 0-28,1-1-16,0 1-2,0-1 17,0 0 65,2-1 0,-1 0 0,1 0 0</inkml:trace>
  <inkml:trace contextRef="#ctx0" brushRef="#br0" timeOffset="121">5267 719 9502,'-1'2'12,"1"-1"52,0 1-183,-1-1 89,1 0-125,-1 0 92,1 0-31,-1 1 22,0-1-66,1 0 101,-1 1-43,0-1 36,0 0-8,0 0-58,0 0 97,1 0-52,-1 0-10,0-1 57,1 1-56,-1-1 74,1 0 0,0 0 0,1 0 0,0 0 0,0 0 0</inkml:trace>
  <inkml:trace contextRef="#ctx0" brushRef="#br0" timeOffset="122">5262 770 9502,'0'1'-150,"0"0"137,1-1-131,-1 1 88,0 0-6,0 0-9,-1 0 25,1 0 19,0 0 8,-1 0-11,0 0-9,1 1-28,-2-1 35,1 1-2,1-1-75,-1 0 16,0 0-19,0 0 22,1-1 75,-1 1 8,1-1 7,0 0 0,1 0 0,0-1 0,-1 1 14,2-1-22,-1 0 8,0 1 29,0-1 12,0 0 17,0 1-3,0 0-12,0-1-20,-1 1 34,1 0-42,-1 0 44,0 0-24,1 0 18,-1 0-10,0 0-65,0 1 45,0 0-44,0-1-7,0 1 40,-1 1-54,0-1 16,1 0 22,-1 1-24,0 0 31,0-1-61,0 1 38,0 0-45,0-1 58,0 1-24,0-1 10,0 0-14,1 0 17,-1 0-65,1 0 41,0-1-37,0 0 66,0 1 13,0-1 0,1-1 0,0 1 0,0 0 29,-1 0-28,1 0 19,-1-1-30,1 1 54,0 0 25,-1 0-2,0 0 3,0 0-45,0 0 10,0 1-1,0-1 8,0 1-47,0-1 38,0 2-38,0-1-13,-1 0 31,0 0-35,0 0 0,0 0-15,0 1-2,0-1-3,0 0-10,0 1-31,0-2 7,1 2 11,-1-2 62,1 1 3,-1 0 0,1-1 0,0 0 0,0 0 0,0 0 0,1 0 0,0 0 0,-1 0 0,0 0 0,1 0 0,0 0 0,-1 1 100,0-1-20,1 0 99,-1 0-100,0 0-7,0 1-51,0-1 10,0 1 1,0-1-13,0 1 7,0 0-4,0 0-33,-1-1 1,1 1-16,-1 0-60,0 0 22,0 0-21,0-1 25,0 1-23,0-1 66,1 1-59,-1-1 76,1 0 0,0 0 0,0-1 0,1 0 0,0 1 0,0-2 0,0 0 0,0 0 0,0 0 0,0 0 9,0 0 32,0 0 33,1 0-20,-2 0 49,1 0-80,-1 1 50,0-1-46,0 1-35,0-1 26,0 1-31,-1 0 45,1 0-60,-1 0 39,0 0-50,1 0 17,-1 0 22,1 0-28,-1 1 2,1-1 25,0 0-27,0 1 31,0-1-39,0 0 28,1-1-33,-1 1 37,1 0-21,1-1 12,-1 1-11,0-1 11,1-1 8,-1 1-6,1 0 3,0-1 16,-1 1-15,0 0 16,0 0-8,0 1-5,-1-1 6,0 1-5,0 1 14,0 0-8,0-1 10,-1 1-11,0 0 35,0 0-23,0 1 26,0-1-31,0 1 7,0-1-3,0 1-9,0 0 3,0-1-13,0 1 16,0 0-41,0-1 29,1 0-29,-1 1 35,1-1-16,-1 0 3,1 0-21,0 0 13,0 0 1,0-1 2,0-1-8,1 1 5,0 0-6,-1-1 34,1 0-14,0 1 15,0-1 9,-1 0 5,1 0 5,-1 1-5,0 0 30,1-1-36,-1 2 40,0-1-49,0 0 22,0 0-6,0 1 10,0 0-6,-1-1-1,1 1 6,-1 0-4,1 0-49,0 0 27,0 0-32,-1 0-13,1 0 37,0 0-42,0-1 50,0 0-68,0 0-20,1-1-12,-1 0 20,0-1 62,1 1 6,0-2 2,0 0 0,1 0 0</inkml:trace>
  <inkml:trace contextRef="#ctx0" brushRef="#br0" timeOffset="123">5261 739 9502,'-3'2'-904,"2"-2"887,1 1 76,-1 0 217,1 1-110,-1-1-184,1 0-34,-1 0-124,0 0 82,1 0-35,0 0 29,-1 0-61,1 0 99,-1 0 12,1 0 50,0-1 0,0 1 0,1-1 0,-1 1 0</inkml:trace>
  <inkml:trace contextRef="#ctx0" brushRef="#br0" timeOffset="124">5257 755 9502,'-1'0'-222,"1"0"152,-1 0 30,1 0-85,0 1 112,-1-1-94,1 1 71,-1 0-100,1 0 93,-1 0-63,0 0 29,1 0-10,-1 1 19,1-1 67,-1 0 1,1 0 0,0 0 0,0 0 0,0 0 0,1 0 0</inkml:trace>
  <inkml:trace contextRef="#ctx0" brushRef="#br0" timeOffset="125">5258 766 9502,'-2'1'-292,"2"0"62,-1-1 95,1 1 28,0 0 42,0 0-1,-1 0 46,1-1 17,0 1-9,-1 0 12,1 0-17,0-1 2,0 1-3,0 0-63,-1 0 47,1-1-51,-1 1 64,1-1 10,0 1 1,0-1 10,0 0 0,0 1 0,1-1 0,0 0 0,0-1 0,0 1 0</inkml:trace>
  <inkml:trace contextRef="#ctx0" brushRef="#br0" timeOffset="126">4833 889 9502,'-1'1'-36,"0"0"48,1 0 60,0-1 0,0 0 169,0 1-95,0-1 139,0 0-154,1-1 37,0-1-48,1 0-8,0 0-2,0 0-9,1-1-19,0 0 14,0 0-9,1 0 35,0 0-60,0 1 39,1-1-31,0 0-43,0 1 29,0-1-95,1 1 80,0 1-63,-1-1 37,1 0-28,-1 1 28,0 0-21,0 0 49,-1 0-54,1 0 35,-1 1 3,0-1-7,-1 0 12,1 1-22,-1-1 18,1 0-19,-1 1 9,1-1 11,-1 0-15,1 0 17,0 0-27,0 0 19,-1 0-25,2 1 29,0-1-68,-1 1 48,1-1-52,0 1 17,1 0-18,-1 0 1,0-1 1,0 1-3,-1 0 27,-1 0-33,1 0-13,-2 0-13,0 0-11,-1 0 17,0 0-53,-1 0 75,0 0-80,-1 0 75,-1 0 13,-1 0-33,0 1-2,-1-1 10,-1 1-19,0 0 34,-1 0 30,0-1-28,0 1 31,0-1-72,0 0 29,-1 0-22,1 1 36,-1-1-20,1 1 17,-1-1-18,1 1 14,-1 0 34,1-1-27,0 1 20,1 0 15,-1 1 5,1-1 11,1 0-11,1 0 26,0 0 6,1 0 20,1-1 18,1 1-30,-1-1 12,2 0 67,0 0-38,1 0 65,0-1-65,1 1 58,-1-2-44,1 1 61,0-1-26,0 0 3,-1 1-20,2-1-18,-1 0 16,0 1-16,0-1 19,1 1-49,-1-1 7,2 1-22,-1 0 36,0 0-59,1 0-17,0 1-10,-1-1 10,2 0 10,-1 1-15,1-1-7,0 1-21,0 0 47,0 0-10,0 0 4,0 0-12,1 0 6,-1 0-9,1 0-21,-1 0 33,2 0-36,-2 0 43,1 0-27,0 1 19,0-1-21,0 0 25,0 0-30,0 0 21,-1 1-26,0-1-2,1 0 16,-1 0-19,-1 0 26,0 0-18,0 0 10,0 0-11,-1 1 14,1-1-57,-1 0 38,1 0-44,-2 0 27,2 0 22,0 0-27,-1 0 31,1 0 14,-1 0-13,1 0 12,-1 0 22,0 0-30,0 0 34,0 0-37,-1 0-3,0 0 7,0 0-4,0 0 8,-1 0-22,0 0 21,0 0-21,1 0-31,-2 0-18,1 1-5,0-1 14,0 1 5,0-1 18,1 0-26,-1 1 19,0-1 5,0 0-8,0 1 4,0-1 68,1 0-40,-1 1 46,0-1-15,0 0-28,1 0 31,-1 1-32,0-1 31,0 0-11,1 0 18,-1 1-18,1-1-68,-1 0 49,1 0-51,0 0 62,-1 0-64,2 0 44,-1 0-50,0 0 2,0 0 38,0 0-49,1 0 54,-1 0 27,0 0-20,1 0 17,-1 0 14,1 0 5,-1 0 11,1 0-4,-2 0-8,2 0-17,-2 0 21,1 0-19,0 0 39,-1 1 31,0 0-11,-1-1 32,0 1-76,0 0 37,-1 0-36,1 0 2,-1 0-3,0-1-1,0 1-8,-1-1 12,0 1-13,-1 0 12,0 0 40,0-1-29,-1 0 30,0 1-41,1-1 31,-2 0-24,1 0 30,-1 0-32,0 0 65,0 0 13,-1 0 55,0-1-47,-1 1-6,1 0-53,-2-1-9,0 0 5,-1 0-8,0 0 16,0 0-33,-1 1 23,-1-1-31,0 0 38,0 1-22,-1-1 14,1 0-18,0 1 18,0 0-36,0 0 26,-1 0-28,2 0 32,-1 0 0,2 0-1,-1 0-15,0 0 10,0 0-14,2 0 16,-1 0-42,1 0 31,-1 0-34,2 0 40,-2 0-3,2 0 0,0 0 0,0-1 22,0 1-17,0-1 18,-1 1-32,2 0 7,-1 0-7,0 0 10,1 0 8,-1 0-6,0 0 9,1 0-10,-1 0-7,1 1 5,-1 0-6,0-1-22,1 1 22,-1 0-25,1 0-17,0 0 35,0-1-40,1 1 48,0 0-29,-1 0 20,2 0-22,1-1 18,-1 1-71,1 0 44,1-1-47,0 1 58,0-1-31,1 0-23,0 0 7,1 0 0,0 0 47,1 0-9,0 0 7,1 0-8,1 0 57,0 0-41,-1 0 40,1 0-49,1 0 23,-1 0-11,1 0 18,-1 0-21,1 0 56,-1 0 26,0 0-3,1 0 5,-1-1-19,0 1-13,0-1 23,1 1-33,-1-1-11,0 0 8,1 1-38,-1-1 28,2 1-27,-1-1 32,0 1-16,2-1 9,-1 1-12,2 0 9,0 0-10,0-1 1,1 1-3,2 0 3,-1 0-9,1 0 7,1-1-8,-1 1 21,0 0-5,1 0 5,-2 1 46,0-1-37,-2 0 41,1 1-52,-2-1 52,0 0 14,0 1 2,-1-1-1,0 0-6,0 0 19,0 0 8,1 0-16,0 0-28,0 0-5,0 0 16,2 0-25,-1 0 21,1 0-26,0 1-39,0-1-12,0 1-11,1 0 20,-1 0-137,1 0 41,-1 0-129,1-1 94,-1 0-254,0 1 84,-1-1-71,0 0 201,0 0 179,-1-1 0,0 1 0</inkml:trace>
  <inkml:trace contextRef="#ctx0" brushRef="#br0" timeOffset="127">867 2076 10443,'2'-1'-2,"2"0"5,-1 0-6,0 0 3,1 0-4,-1 0 5,0 0 15,1 0-11,-1-1 12,0 1-4,0 1-7,-1-1 9,1 0-9,0 1 2,-1-1 0,1 1 2,-1-1-13,1 1 7,-1-1-7,0 1 9,0 0-11,0 0 9,0 0-10,1 0 11,-1 0-3,0 0 2,1 0-4,-1 0 41,0 0-30,1 0 31,-1 0-38,0 0 7,1 0-2,-1 0 4,0 0-11,0 0 5,0 0-4,0 0 6,-1 0-14,2 1 9,-2-1-11,1 0 16,-1 1-19,1-1 13,-1 0-18,1 0 9,0 1 5,-1-1-8,1 0 7,0 1 11,0-1-9,0 0 11,0 0-8,1 1-1,-1-1 2,0 0-2,0 1 30,1-1-20,0 0 21,-1 0-25,1 0 11,0 0-6,-1 0 10,1 0 17,0 0-22,1 0 25,-1 0-30,0 0 34,0 0-23,0 0 26,1 0-41,-1 0 9,1 0-10,-1 0 13,0 0 1,0 0-1,-1 0 0,1 0 0,0 0-42,-1 0 30,0 0-31,0 0 33,0 0-32,0 1 18,0 0-23,0 0-18,0 1 39,0-1-43,-1 0 50,1 0-43,1 0 31,-1 1-34,0-2 39,1 1-8,0 0 6,-1 0-6,1-1 3,0 1-4,0-1 3,-1 1 3,1-1-2,0 0 4,-1 0-4,1 0-32,0 0 22,0 1-23,-1-1 31,1 0 21,0 0-16,-1 0 15,2 0 1,-2 0-14,1 0 15,0 0-20,0 0 26,0 1-18,0-1 21,0 0-25,1 1 14,-1-1-10,1 0 19,-1 1-8,0-1 2,1 1-1,0-1 11,0 1-15,-1-1 14,1 0-17,-1 1 6,1-1-4,0 1 5,-1-1-5,1 0 1,-1 1-1,1-1 1,-1 0 1,1 1-12,-1-1 8,1 1-9,-1-1 11,1 1-6,-1-1 4,0 0-7,0 0-1,1 0 3,-2 0-4,1 0 0,0 0 6,0-1-6,1 0 6,-1 0-2,1-2 2,-1 1-2,0-1 2,0 0 17,1 0-12,-1 0 13,-1 0-17,1 0 0,-1 0 1,1 1 0,-1 0-1,0 0 1,0 0 0,0 1-4,-1 0 5,1 0-6,0 0 6,0 1 23,0-1-17,1 1 18,-1-1-23,1 1 10,0 0-8,-1-1 9,1 0-4,1 0-3,-1 0 5,0-1-20,1 0 13,-1 0-14,1 0 17,-1 0-10,0-1 7,0 1-8,-1-1 4,1 1-21,-1-1 12,0 1-14,-1 0-12,2 0 25,-2 0-28,1-1 32,0 2 7,-1-1-5,1 0 5,0 0 29,0-1-28,0 2 30,1-1-37,-1 0 26,0 0-16,1 0 19,0 0-21,-1 0-2,1-1 8,0 1-5,0-1 11,0 0-8,0 0 6,0-1-6,0 1-2,0-2 1,0 1-3,0-1-35,0 0 26,-1-1-27,1 1 33,-1-1-34,1 0 24,-1 0-29,0-1 36,0 1-18,1 0 12,-2 1-16,2-1 16,-2 2-6,1-1 5,-2 2-7,2 0 5,-1 1-5,0 0 5,-1 1 20,1 0-14,-1 0 17,1 1-21,0 0 18,-1 0-12,0 0 13,1 0-16,0 0 14,0 0-9,0-1 12,0 1-14,1-1 7,0 0-5,0-1 6,0 0-6,1-1 2,-1 0-1,1 0 0,0-1-2,1-1 1,-1 1 0,0-2 0,0 1 0,0 0-1,1 0 1,-2 0-1,1-1 1,-1 2 0,1-1 0,-1 0-29,1 1 21,-2 0-23,1 1-13,0 0 28,0 0-31,-1 1 37,1 1 0,-1 0-6,0 0-1,1 0 22,-1 1-18,1 0 22,0-1-26,-1 1 22,1 0-15,0 0 16,1-1-8,-1 1-15,1-1 17,-1 0-18,0-1 2,1 0 5,-1 0-8,0 0 11,0 0-12,0-1 7,0 0-11,0 1-9,0-1 12,-1 0-14,1 1 17,-1-1-64,0 1 42,1 0-47,-1 0 72,0 1-5,1 0 3,-1-1-11,1 2 50,0-1-37,0 1 38,0 0-47,0 0 48,0 1 13,1 0 10,-1 0 41,1 1-72,0-1 35,0 1-37,0 0-11,0-1 20,0 1-16,1-1 7,-1-1-30,1 1 17,0-1-14,-1 0-27,1 0-13,-1 0-10,1-1 15,0 1-4,-1-2-19,0 1 1,0 0 3,1-1 47,-1 0 1,0 0-12,0 1 51,-1-1-39,1 1 39,0 0-45,0 0 32,-1 1-24,1-1 36,0 1 3,0 0-12,0 0 19,-1 1-22,1 0 48,0 0-28,-1 1 33,1 0-38,0 0-14,-1-1 15,1 1-15,-1-1-11,1 0 8,0 0-7,0-1-37,-1 0 36,1 0-37,0 0 30,0 0 11,0 0-16,0 0 17,-1 0-13,1 0 8,0 0-13,-1-1 11,1 1-5,0-1 4,-1 1-2,0 0 16,0 0-12,1 0 12,0 0-12,-1 0 26,1 0-15,0 0 17,-1 0-21,1 0-3,-1 0 4,2 0-2,-1-1-1,0 1 2,0-1-1,1 0 3,0 0-13,0-1 10,-1 1-11,1-1 6,0 0 4,0 1-6,0-1 5,0 1-2,0-1 1,0 1 0,0 1 0,0-1 1,-1 1 0,2-1 0,-2 1 0,1 0 0,0 0 1,0 1-1,0 0 11,1 0-7,-1 1 8,1-1-11,-1 1 4,1-1-2,-1 1 2,1 0-5,0-1 1,0 0-1,-1 0 3,1 0-1,0 0 0,0 1 0,0-2-4,0 2 3,-1-2-3,1 2 3,0-1-9,1 0 6,-1 0-8,0 0 9,0 0-3,0 1 2,1-1-3,0 0 4,0 1 1,-1-1-1,1 0-1,0 1 29,0-1-19,0 0 20,-1 0-23,1-1-2,-1 1 5,0-1-4,1 1-19,-1-1 14,0 0-14,0-1-8,0 0 20,1 0-22,-1-1 25,0 0-47,-1-1 29,1 0-35,-1 1 37,1-1 15,-1 0-17,0 1 14,1-1 9,-2 1-11,1 1 15,0-1-21,0 0 25,0 1-17,-1 0 22,1 0-16,0 1 10,-1-1-4,0 0 6,1 0-14,-1 1 5,0-1-3,0 0 1,0 0-4,0 0 3,0 0-2,-1-1-10,0 1 8,0-1-10,1 0 13,-1-1-51,0 0 37,0 0-41,0 0 50,-1-1-19,1 0 12,0 0-16,0 0 20,-1 0-8,1 0 6,-1 0-7,1 0 6,0 1-5,-1 0 4,1 0 22,-1 1-17,0 0 21,0 1-25,1 0 39,-1 0-28,0 1 33,1-1-25,-1 1-5,1 0 8,0 0-11,0 1 1,-1-1 2,1 1 1,0-1-1,0 1-12,1-1 8,-1 0-9,1-1 11,-1 1-12,1-2 9,-1 0-12,2-1-7,-2-1 11,1 0-14,-1 0 16,1 0-22,-1 0 13,1-1-15,-1 2 13,-1-1 6,1 1-8,0-1 9,-1 2 10,1 0-6,0 1 8,-1 0-13,1 0 23,0 1-16,0 0 19,1 0-4,0 0-10,0 0 11,0 1-10,1 1 43,0 0 22,-1 0-3,1-1 0,1 1-20,-1 0-12,0-1 18,0 0-54,1 0 14,0 0-10,-1-1 20,1 1-44,-1-1-18,1 0-6,0-1-43,-1 1 81,1-1-41,-1-1 39,0 0 10,1 0-21,-1 1 15,0-1-7,-1 1 6,1-1-2,-1 1-2,1 0 26,-1 0-17,0 1 22,0 0-20,1 0 18,-1 0-7,1 0 9,-1 1 48,1 0-50,-1 0 53,1 1-64,0 0 21,0-1-15,-1 1 19,1-1-27,-1-1 13,0 1-12,1-1-44,-1 0 37,0-1-41,1 0 55,-1-1-42,0-1-10,-1-2-11,1 0 14,-1 0-29,0-1 46,-1 0-57,0-1 47,0 1-1,0-1-2,-1 0 6,1 1 37,-1-1-28,0 0 29,0 1-9,0 0-17,0-1 21,0 2-26,0 0 49,0-1-36,0 1 42,0 0-45,1 1 63,-1-1-46,1 1 52,0-1-40,-1 1-6,2-1 10,-1 2-11,0-2-9,0 2 8,0-1-7,1 0 5,0 1 8,-1 0-4,1 0 5,0 0 12,0 1-14,0 0 14,1 0-23,-1 0 40,0 1-25,1 0 28,-1 0-18,1 1-13,0 0 15,-1-1-14,1 1 10,0 0-8,-1 0 14,1 0-12,-1 0-42,1 0-16,0 0-6,-1-1 12,1 0 0,0 0-10,0-1-11,0-1-8,0 0 41,0 0-7,-1 0 4,1-1 16,0-1-17,-1 1 13,1-1 9,-1 0-9,0 0 11,1 0-14,-2 1 13,1 0-10,0 1 15,0-1-17,-1 2 23,0-1-15,1 1 17,0 0 1,-1 1-11,1-1 12,1 1-18,-1 0 32,0 1-22,2-1 23,-2 0 9,2 0-28,-2 0 33,3-1-38,-2 1-1,0-1 6,1 0-5,-1-1-36,0 1 28,1-2-33,-1 1 44,0-1-77,0-1 54,0 1-63,0-1 39,0 0 17,-1 1-22,1-2 22,-1 2 13,1-1-18,-1 0 14,0 0 18,1 0-16,-1 1 17,0 0-25,1-1 36,-1 1-24,0 0 33,0 0-39,0 1 31,0 0-21,0-1 25,0 1-21,0 0 2,-1 0 0,1 0-3,-1 0-29,1 0 21,0 0-21,-1 0 25,1 0-17,-1 0 11,1 0-13,0 1 6,-1-1 8,1 0-11,-1 1 10,1 0 11,0 1-8,-1 0 8,1 0 25,0 0-27,0 1 28,0 0-34,0 0 48,0 0-34,1 0 42,-1 0-34,1 0 2,-1 1 3,1 0-3,0-1-2,-1 1 0,1-1 1,0 1 1,-1-1-30,1 1 22,0-1-22,0 0 25,0 0-34,-1 1 22,1-1-24,0 0 26,0 0-32,0 0 17,0 0-21,-1 0 24,1 0 6,0 0-6,0 0 5,0 0 3,0 0-2,-1 1 2,1 0 4,0 0-6,0 1 7,0 0-6,0 1 57,0-1-38,0 1 42,0 0 1,0 0-40,0 0 45,0 1-54,0-2-15,0 1 12,0 1-10,0-2 0,0 1 0,1 0-5,-1-1 7,0 0-28,0 0 29,1-1-33,-1 1 33,1-1-26,-1 0 11,0 0-16,1 0 15,0-1-27,-1 0 14,1 1-18,-1-1 29,0 0 4,1 0-2,-1 0 1,1 0 24,-1 0-16,1 0 14,-1 1 50,1 0-53,0 1 59,-1 1-70,0 0 29,1-1-19,-1 2 28,0 0 21,1 0-22,-1 1 26,0 0-33,1-1-9,-1 1 10,0-1-8,1 0-12,-1 0-15,0 0 5,1-2 0,-1 0-35,0 0-12,1-1-12,-1 0 15,1-1-16,-1 1 47,1-1-58,-1 0 65,0 0-17,0 0 13,0-1-20,0 1 45,0 0-36,0-1 36,-1 1-35,1 0 47,0 0-28,-1 0 30,0 1-2,1 0-28,-1 0 36,1 1-36,-1-1 30,0 1-22,1 1 21,-1-1-12,0 0-6,1 0 7,-1 0-9,0 0-1,0 1 2,0-1-1,0-1 2,1 2-9,-1-1 7,0-1-7,1 1-1,-1 0 6,0-1-8,0 1 9,1-1-7,-1 1 3,1-1-5,-1 1 10,2 0-3,-2-1 4,1 1-4,0 0 2,0-1-1,0 0 2,0 0-2,0 0-2,1-1 2,-1 0-1,1 0-50,-1 0 37,0 0-40,1-1 47,0-1-26,-1 1 15,1-1-19,-1 0 37,0 0-7,1 1 5,-2 0-11,1 0 19,0 1-13,0-1 16,0 1 5,-1 0-17,1 0 18,0 1-17,0-1 5,-1 2 3,1-1 0,0 2 0,-1-1 12,1 0-8,0 0 9,0 0-10,0 0-6,0 0 8,0 0-7,0-1-28,0 0 20,0-1-21,1 0 27,-1 0-42,1 0-15,-1-1-1,1-1 2,-1-1 44,1 0-4,-1-1-4,1 1 8,-2-1-8,2-1 1,-2 1 33,0 0-31,1 0 32,-1 0-32,-1 0 21,1 0-10,-1 0 14,1 0-3,-2 1-12,2-1 13,-2 1-13,1-1 8,0 1-6,0 0 3,0-1-4,0 1 4,0 0-3,0 0 3,0-1 9,1 1-9,-1-1 9,0 1-10,1-1 1,0 0 1,-1 1-1,1-1-2,0 0 1,-1 1 0,1-1 1,0 1-4,-1 0 3,2 0-3,-2 0 4,1 0-4,0 1 2,0 0-2,0 0 1,0 0 0,0 1 0,1 0 1,-1-1 0,1 1 0,-1-1 0,2 1 0,-1 0 0,0 0 0,0-1 0,0 1 0,1-1 0,-1 2 0,1-2 0,-1 1 0,0 1 0,1-1 0,-1 0 0,1 0 0,-1 1 0,0 0 0,0 0 0,1-1 0,-1 1 0,1 0 0,-1 0 0,1 0 0,-1 0 0,0 0-23,1 0 16,-1 0-16,0 0 13,0 0 6,0 0-8,0 0 8,0 0-11,0 0 8,0 0-10,0 0 11,-1 0 12,1 0-9,0 0 10,0-1-13,-1 1 17,1 0-12,0-1 16,-1 1-14,1-1 0,0 1 1,0-1-1,0 1 25,-1-1-15,1 1 17,0 0-20,0 0-4,-1 0 6,1 1-6,0 0-11,-1 0 7,1 1-10,0 0 13,-1 1 24,1-1-18,0 2 18,-1-1-12,1-1-7,0 1 7,0 0-8,0-1-4,0 1 2,0-1 1,1-1-14,-1 1 15,2-2-15,-2 0 17,2 0-30,-1 0 20,0-1-23,1-1 23,-1 0-14,0-2 5,0 0-7,-1 0-33,1 0 36,-1-2-37,0 1 43,0 0-7,0-1 5,0 0-8,-1 0-1,1 0 1,-1 0-4,0 1 5,-1-1 19,1 0-15,0 1 16,-1 0-2,0 0-11,-1 1 14,1-1-16,0 1 26,0-1-18,0 0 20,-1-1-23,1 1 24,0-1-17,0-1 18,-1 1-11,1 0-4,-1 1 6,0-1-8,1 0 0,-1 0 1,0 1-1,0 0-27,0 0 19,-1 0-20,1 0 25,0 1-13,-1 0 7,1-1-10,0 2 9,-1-1 9,1 0-8,-1 1 7,1 0-1,-1-1-3,1 2 4,0-1-6,0 0 11,0 0-7,0 0 10,0 0-7,0 1 1,0-1 0,0 1 0,0-1 2,0 1-3,0 0 3,0 0-5,0 0 10,1 0-5,0 0 6,0 0 6,0 1-11,0-1 11,1 1-13,-1 0 3,0 0-2,1 0 3,-1 0-8,1 0 5,0 0-6,0 0 7,0-1-7,0 1 5,0 0-4,1 0 4,-1 0-5,0 0 1,1 0-3,-1 0 2,1 1 3,-1-1-4,0 1 3,1 0 1,-1-1-1,1 1 1,-1 0 0,0 0 0,1 0 1,-1 0-1,0 0 0,0 1 0,0 0 0,0 0 1,0 1-1,1-1 0,-1 1 0,0-1 0,0 1 0,0 0 0,0 0 0,0-1 0,0 2 0,0-2 0,-1 1 0,1 0 0,0 0 0,0 0 0,-1 0 0,1 1 0,-1-1 1,1 1-1,-1-1 14,1 1-10,-1 0 12,1 0-10,-1 0-2,1 0 2,0 0-2,0 0 17,-1-1-10,1 1 12,0-1-3,0 0-8,0 0 10,1 0-12,-1-1-1,0 0 0,0 0 0,0 1-19,0-1 15,0 0-17,0 0 19,1 0-15,-1 0 11,0 0-12,0 0 11,0 1-3,1-1 0,-1 1-5,0 0 17,1 1-9,-1-1 9,1 1-10,0 0 60,0 1-40,0-1 44,0 1-51,1 0 18,-1 0-8,1-1 12,0 0-42,-1 0 15,0 0-15,1-1 22,0-1-38,-1 1 27,1-1-30,-1-1-16,1 0-21,0 0 0,0 0-8,0 0 52,0-1-13,0-1 8,0 0-9,0 0 40,0 0-30,0 0 31,-1 0 1,1 1-18,-1-1 23,0 1-27,0 0 25,0 0-17,-1 0 24,1 0-20,-1 1 4,1-1-1,-1 1-2,1 0 11,-1 0-9,0 0 9,0 0-11,0 1 23,1 0-15,-1 1 17,0 1-4,0-1-14,1 1 16,-1 0-18,1 0 2,-1 0-2,1 0 5,-1 0-21,1-1 16,0 1-16,0-1 17,0-1-29,0 0 20,0-1-22,-1 1 24,1-2-48,0 0-20,-1-1 3,0-2-44,0 0 86,0-1-46,-1-1 50,0 0 6,0 0-5,1-1-1,-2 1 5,0 0-15,1 0 16,-1 1-11,0 0 38,0 1-27,0 1 34,0 0-21,0 1-3,0 0 7,0 1-11,-1 0 57,1 1 16,0 0 5,1-1-10,0 1-57,0 0 21,1 0-14,0 0 18,0 0-16,0 0-22,1 0 14,0 0-17,-1 0-32,1 0 41,-1 0-44,2-1 51,-2-1-22,1 1 8,0-1-13,0 0 5,0 0 13,-1 0-16,1 0 14,0 0 7,-1 1-4,1-2 7,0 1-11,0 1 32,0-2-22,0 2 27,-1-1 4,1 0-22,0 0 25,0 1-29,0-1 27,-1 1-16,0 0 20,1 0-33,0 0 2,-1 1 3,0-1 5,0 1-23,1 0 17,-1 0-22,0-1 7,1 1-1,-1 0-7,1 0 7,-1 0-16,0 0 21,1 0-24,0 0 26,-1 1-6,1-1 4,0 0-4,0 1 67,1 1-47,-1 0 49,0 0-60,0 1 44,1 0-28,0 0 32,0 1 15,0 0-39,-1 0 50,2 0-56,-2 1 15,1-1-11,0 1 15,0-1-10,0 1-44,0-1 32,0-1-37,0 1 46,0-1-40,0 0-10,0-1-11,-1 0-31,1-1 14,-1 0 5,0 0-3,1-1-14,-2 0 29,1 0-36,0-1 22,-1-1 23,1 1-30,-1-2 26,0 0 38,1 1-25,-1 0 28,0-1-36,0 1 47,0 0-32,0 1 38,0 0 27,0 0-48,-1 0 54,1 1-58,0 0 22,0 0-13,0 0 22,0 0-29,1 1 7,-2 0-4,1 1 5,1 0-1,-1 0 0,1 1-2,-1-1 1,1 1-17,0-1 11,0 1-13,0-1-4,0 0 14,0 0-16,0 0 19,0 0-13,1 0 9,0-1-10,0 1 5,0-1 2,-1 0-3,2 0 4,-1-1 3,0 0-5,1 0 5,-2 0-4,2 0 25,-1 0-17,0-2 18,0 1-45,-1-1 17,1-1-18,-1 0 24,0 0-23,1-1 16,-1 1-18,0-1-17,0 0 26,-1 0-29,1 0 33,-1-1 5,1 1-7,-1 0 6,1 0-10,-1 0-2,0 0 0,1 0-1,-1 1 5,0-1 1,0 1 1,1 0 22,-1 0-17,1 1 20,0-1-23,0 2 19,0-1-12,0 0 14,0 1-17,0 0 12,1 0-8,0 0 10,-1 0 12,2 0-15,-1 0 16,0 1-19,0-1 8,1 0-4,-1 0 5,1 0-8,-1 0-5,0-1 6,0 1-6,0 0-1,0-1 4,-1 0-5,1-1 8,-1 1-30,0 0 20,0-1-23,-1 0-35,0 1 43,1-1-47,-2-1 55,1 1-17,0 0 8,-1-1-12,0 1 25,0-1-5,0 0 1,0 0-4,0 0 22,0 0-17,-1 1 19,1-1-27,-1 1 33,0-1-19,1 1 23,-1 0-2,0 1-19,0 0 23,0 0-24,0 0 42,1 1-31,-1-1 30,1 1-37,0 0 62,-1 0-44,2 1 50,0-1-39,-1 1-7,1-1 11,1 1-9,-1 0 25,1-1-13,-1 1 17,1 0-16,0 0-57,0 0 44,-1-1-44,1 1-28,0 0 51,0 0-59,0 0 72,1-1-52,-1 1-10,0 0-13,0-1-8,0 1 49,0 0-10,0-1 8,0 0 19,1 1-21,-1-1 17,1 1-21,0-1 48,-1 0-33,1 0 36,0 0 6,0 1 10,0-1 11,0 0-14,-1 1 3,1 0-30,0-1 37,-1 1-41,1 0 13,-1 0-11,0 0 10,1 0-19,-1 0 13,0 0-12,1 0 16,-2 0-36,1 1 25,0-1-34,0 1 18,1 0 7,-2 0-11,2 1 14,-1-1-6,0 1 2,0-1 0,0 0 1,0 0 4,0 1-4,0-1 3,0 0 0,0 1 0,1-1 0,-1 1 0,-1 0 0,1-1 0,1 2 0,-1-2 4,0 2-2,0-1 3,0 0-5,0 0 26,0 1-18,0-1 19,1 0-18,-1 0-3,0 0 4,0-1-4,1-1-40,-1 1 28,1-1-30,-1 0-11,0 0 35,0 0-39,0 0 45,1-2-27,-2 1 14,1-1-19,0 0 19,0 0 14,0-1-16,0 1 13,0 0 15,-1-1-15,1 1 18,0 0-24,-1 0 31,1 0-22,-1 0 29,0 0-12,0 0-11,0 1 13,1-1-15,-1 2 5,-1-2-1,1 2 3,0-1-5,0 0-11,-1 1 7,1-1-8,0 1 10,0-1-23,0 1 17,1-1-20,-1 1 29,1-1-8,-1 1 7,1 0-9,0 0 21,0 0-15,0 0 17,0 0-19,0 0 56,0 0-36,0 0 40,0 1-32,0-1-15,1 1 20,-1 0-26,0 0 10,0 0-8,0 0 12,0 1-30,0-2 22,0 2-22,0-2 23,-1 1-35,1-1 21,0 0-26,0 0-12,0 0 33,-1 0-39,1 0 45,0 0-2,-1-1 2,1 0-1,0 0 16,-1-1-17,1 1 17,-1 0-18,0-1 7,0 1-4,0 0 7,0 0-2,0 1-2,0-1 5,0 0-6,0 1-15,-1 0 9,2 0-12,-2-1 16,1 1 2,0 0-4,0 0 3,0 1 9,-1-1-7,2 1 7,-2 0-10,2 0 38,-1 0-27,0 1 32,0-1-40,0 0 30,1 0-21,-1 1 29,1-2-41,-1 1 17,0 0-16,1-1 18,-1 1-27,1-1 20,-1 0-20,1 0-23,-1 0 31,1 0-36,-1 0 43,0 0-36,0 0 24,0 0-30,1 0 32,-2 0-5,2 0 3,-2 0-2,1-1 9,0 1-8,0 0 8,0 0 14,0 0-15,0 0 18,0 0-22,0 0 39,1 0-27,-1 0 33,1 0-26,-1 0 3,1 0 3,0 0-3,0 0 19,0 0-16,0 0 17,0-1-23,0 1-18,0-1 13,0 1-12,0 0 4,0 0 9,0 0-10,0 0 11,0 0-38,1 0 25,-1 0-27,0 0-2,0 0 26,0 1-31,1 0 36,-1-1-10,0 1 7,2 0-9,-2 0 7,1-1 7,1 1-4,-1-1 7,0 0 30,1 0-30,0 0 31,0 0-36,-1 0 12,1 0-5,0 0 7,0-1-3,-1 1-9,1-1 9,0 1-8,-1 0 6,0 0-2,1-1 0,-1 1 1,0 0-4,0 1 2,1-1-3,-2 1 4,2 1-8,-2-1 6,1 1-8,0 0 1,0 0 3,-1 0-3,1 1 6,0-1-4,0 0 4,-1 0-3,1 0-4,1 0 4,-1-1-5,0 1 6,0-1-4,0 0 3,0-1-2,0 1 1,1-1 0,-1 0 1,-1 0 0,2 0 0,-2 0 0,1 0 0,-1 0-8,0 0 6,0 0-5,0 0 6,0-1 0,-1 1 0,1 0 0,0 0-1,-1 0 2,1 0-1,0 1 1,-1-1 11,1 1-8,0 0 8,0 1-11,-1 0 15,1-1-10,0 1 13,0 0-19,0 0 4,0 0-4,0 1 7,0-1-10,1 0 8,-1 1-8,0-1 8,0 0-4,1 0 3,-1 1-4,0-1-4,0 1 6,0-1-7,0 0 7,0 1 2,-1 0-2,2-1 3,-2 0 1,1 0-4,0 0 4,0 0-4,0 0-2,0-1 2,0 0-1,1 1 2,-1-1 14,1-1-10,0 1 11,0 0 18,0 0-23,-1 0 26,1 0-32,0 1 49,1-1-31,-1 1 33,0 0-43,0 0-11,0 0 11,0 1-8,-1 0-18,2-1 21,-2 1-24,1 1 32,0-1-30,-1 0 20,1 1-28,0 0 30,-1 0-26,1-1 19,0 1-22,-1-1 20,1 1-4,0-1 2,0 0 1,0 0 0,0 0 0,0-1 0,0 1-30,1-1 22,-1 0-23,0 0 30,1 0 1,-1 0-2,1 0 0,0 0-1,-1 0 6,1 0-4,-1 0 4,1 0 2,0 0-6,0-1 7,-1 1-9,1-1-8,-1 0 8,1 0-7,-1 0-6,1-1 10,0 1-10,-1-1 13,0 1 5,1 0-3,-1-1 1,1 1 26,-2 0-23,2 1 23,-1 0-29,0 0 50,0 1-34,0 0 37,-1 1-42,1-1 46,0 2-32,0-1 42,-1 1-58,1 0 15,0-1-10,-1 1 16,1 0-42,0-1 30,-1-1-33,1 1 37,0-1-62,-1 0 39,1-1-44,-1 0 47,1 0-57,-1-1 35,1 0-42,-2 0 43,2 0 14,-1 0-18,0 0 16,0 0 40,0 1-30,0-1 34,-1 1-14,1-1-21,0 1 25,-1-1-25,0 1 34,0-1-15,1 1 20,-1-1-41,0 1 5,0-1-4,1 0 11,-1-1-57,0 0 40,0 1-48,0-1 52,1 0 1,-1 0-4,1 0-3,0 0 37,-1 0-30,1-1 30,0 1-1,0-1-23,0 1 26,0 0-32,0 0 20,-1 0-13,1 0 21,-1 0-23,1 0 8,-1 0-5,0 1 5,1 0-31,-1 1 21,0 1-25,1-1 31,0 0 12,0 1-10,0 1 5,0 0 28,1 0 7,0 0 5,0 1-6,0 0 20,1 1-36,1 0 41,0 0 3,0 1-41,1-1 52,0 0-56,1 1-37,-1-1 27,1 1-24,0-1 41,0 1-113,-1-1 18,1 1-112,-1 1-153,0 0 55,-2 1-30,1 1 151,-2-1 148,-1 0 0,0-3 0,-1 1 0,0 0 0</inkml:trace>
  <inkml:trace contextRef="#ctx0" brushRef="#br0" timeOffset="128">5226 852 9502,'3'0'-1150,"-1"0"1224,-1 0-38,0 0 61,0 0-110,0 0 36,1 0-41,-2 0 52,2-1-45,-1 1-7,0-1-11,1 1-45,-1 0 74,1-1-41,-1 1 51,0-1-30,1 1 20,-1-1-32,1 1 11,-1 0 5,0-1-10,1 1 16,-1-1-3,0 1 4,0-1-5,0 1-5,0 0 9,0-1-11,0 1 14,0 0 10,0 0-7,0 0 6,-1-1 31,1 1-31,0 0 32,0 0-38,0 0 75,0 0-13,0 0 67,0 0-66,0 0 64,-1 0-44,1 0 79,0 0-76,-1 0 48,0 0-77,1 0 199,-1 0-143,0 0 121,0 0-151,-2 0-5,1 0-5,-1 0-1,-1 0-1,0 0-24,0 0 17,-1 1-8,0-1 15,0 1-44,-1-1 28,1 1-38,-1-1 22,0 1 20,0-1-22,0 0-15,-1 1 26,1-1-38,-1 0 42,0 1-76,0-1 54,1 0-61,-1 1 72,1-1-55,0 0 40,1 0-41,0 0 48,0 0-35,1 0 23,-1 0-31,2 0 46,-1 0-13,1 0 13,0 0 0,0 0-11,-1 0 10,1-1-14,0 1 11,-1-1-6,1 1 10,-1-1-11,0 1 4,0-1-2,0 1 6,0 0-4,-1 0-20,1 0 12,0 0-19,0 0 24,-1 0-4,1 0 1,0 0-2,1 0 12,-1 0-7,0 0 9,1 0-4,0 0-6,0 0 7,0 0-8,0 0 31,0 0-20,0-1 24,1 1-24,-1 0-10,0-1 8,0 1-9,0-1-30,-1 1 29,1 0-31,0 0 39,0 0-55,0 0 37,0-1-42,-1 1 18,2 0 17,-1 0-21,0-1 23,0 1-6,1 0-2,0 0-1,-1-1 0,1 1 1,0-1-3,0 1 2,0 0 2,0-1 2,0 1 0,0-1 0,0 1 38,0-1-26,-1 1 29,1-1-20,0 0-10,-1 0 12,0 0-13,1 1-13,-1-1 12,0 0-11,0 1 15,0 0-1,0 0 1,0 0 0,0 0-5,-1 0 0,1 0-3,1 0 4,-2 0-1,2 0 1,-1 0-2,0 0-5,0 1 3,0 0-3,0-1 6,0 1-11,1 0 9,-1 0-9,1-1 11,-1 1-4,1 0 2,-1-1-2,1 0 2,-1 1 4,1-1-3,0 1 1,-1-1-10,0 1 4,0-1-3,1 1-2,-1-1 6,0 1-6,0 0 8,0-1-8,0 1 6,0 0-7,0 1 7,0-1 5,0 0-4,0 0 2,0 1-4,0-1-3,1 1 3,-1-1-2,0 0 1,0 0 2,1 0-1,-1 0-7,0 0 6,1 0-7,-1 0 9,1 0-42,-1-1 29,1 1-32,-1 0 40,1 0-4,-1-1 2,0 1-6,0-1 17,1 1-13,-1-1 12,0 1-13,0 0 15,-1-1-11,1 1 11,0 0-6,0 0-5,0 0 8,0 0-7,0 0 11,-1-1-6,2 1 6,-1 0-7,0 0 7,0 0-5,1 0 5,-1 0 2,1 0-7,-1-1 8,1 1-9,0-1 3,-1 1-2,1-1 3,0 1 8,-1-1-6,1 0 7,-1 0-9,1 0 57,0-1-38,-1 1 42,1-1-52,0 0 35,-1-1-22,1 0 27,-1 0-29,2 0-4,-1 0 9,0 0-51,1 1 36,-1-1-34,0 1 42,1 0-70,0 0 46,-1 0-52,1 1-58,0-1 82,1 1-100,-1 0 129,1 1-14,0-1 12,1 1-16,0-1 29,1 0-19,-1 0 24,1 0-25,1 0-2,0 0 6,0 0-4,1-1-22,0 1 16,0-1-16,1 1 24,-1 0-47,2-1 33,-1 1-39,0 0 47,0 0-16,0 0 5,0-1-7,-1 1 0,1 0 9,0 0-9,-1 0 7,1 0 40,0 0-28,-1 0 34,0 0-42,1 0 37,0 0-25,-1 0 28,1 0-33,0 0 19,-1 0-14,1 0 17,-1 0-1,0 0-3,0 0 6,-1 0-20,0 0 2,0 0-5,0 0 8,0 0-21,-1 0 15,0 0-17,0 0 20,0 0-43,0 0 32,0 0-37,0 0 44,0 0-5,0 0 4,1 0-6,0 0 4,0 0-8,0 0 6,1 0 12,0 0-7,1 0 11,-1 0-16,1 0 52,-1 0-38,0 0 44,1-1-52,-1 1 36,-1 0-26,1-1 31,-2 1-34,1-1 10,0 1-6,-1-1 7,0 0-11,-1 1 8,1 0-8,-1-1-14,1 1 13,-1 0-16,1-1 18,-1 1-57,1 0 36,1 0-40,-1-1 53,1 1 9,0-1-9,-1 1 7,1-1 42,0 1-35,0-1 40,0 0 19,-1 1-49,1 0 54,-1-1-63,0 0 29,0 1-15,-1 0 21,1 0-18,-1 0-9,0 0 15,0 0-13,1 0 13,-2 0-27,2 0 21,-2 0-21,1 0-20,0 0 25,0 0-34,0 0 42,0 0-34,0 0 23,1 0-27,-1 0 42,0 0-13,1 0 12,-1 0-14,1 0 34,-1 0-25,0 0 26,1-1-32,-1 1 14,0 0-5,1-1 7,-1 1 12,0-1-17,0 1 21,0 0-24,-1-1-23,1 1 17,0 0-19,-1 0 27,1 0-34,-1-1 23,1 1-29,-1 0 12,1 0 11,-1 0-14,1 0 15,-1 0 1,1 0-5,0 0-2,0 0 18,0 0-11,0 0 12,0 0-12,1 0 8,-1 0-3,1 0 5,-1 0-14,0 0 4,1 0-5,0 0 9,-1 0-30,1 0 22,-1 1-23,1 0 27,0-1-11,0 1 7,-1 0-11,1 0 11,-1 0-2,1 0 2,0 0-5,0 0 11,-1 0-9,0 0 9,1 0 28,-1-1-25,0 1 29,1 0-36,-2-1 4,1 1-2,0 1 5,-1-2-4,1 1-23,-1 0 17,0 1-19,1-1-8,-1 0 23,0 0-24,1 0 27,-1 0-7,1 1 1,0-1-4,-1 0 15,1 0-5,0 0 2,0 0-6,0 0 69,1 0-49,-1-1 56,0 1 3,0-1-47,0 1 53,0-1-60,0 1-6,-1-1 10,1 1-6,0-1 12,-1 1-43,0-1 34,1 1-35,-1-1 18,0 1 12,1-1-15,-1 1 11,0 0-26,0 0 10,1 0-14,-1-1 24,1 1-15,0 0 8,0 0-12,0 0 34,0-1-11,0 1 15,1 0-21,-1 0 44,1-1 9,-1 1 7,1 0-12,-1-1-36,1 1 0,-1 0 5,0 0-16,0-1 18,0 1-18,0 0 25,0 0-48,0 0 34,0 0-37,0 1 5,-1-1 24,1 0-33,0 0 37,0 1-25,0-1 17,0 1-20,0-1 38,0 0-17,0 1 18,0 0-18,1 0 11,-1-1-6,1 2 9,0-1-7,0-1-1,0 2 2,0-1-1,0 0-5,0 1 2,0-1-3,0 0 6,0 0 22,0 0-17,-1 0 17,1 1-22,-1-2-1,1 1 2,-1 0-3,0 0 60,0-1-46,0 1 46,0-1-101,0 1-9,0-1-1,0 0 11,1 1 42,-1-1-12,0-1 6,0 2-14,0-1-7,0 0 8,1 0-9,0 0-20,0 0 27,0 1-31,0 0 37,0 0-15,0-1 10,-1 2-13,1-2 11,-1 1 20,1 0-12,-1 0 15,0-1-19,0 0 27,0 0-19,0 0 22,0 0-20,-1 0-3,1-1 5,-1 1 6,1-1-9,-1 0 12,1 0-13,-1 0 8,1 0-6,-1 1 8,0-1-8,0 0-21,1 1 16,0-1-20,-1 1-6,1 0 20,0 0-22,0 0 24,-1 0-9,1 1 4,0-1-5,0 1 49,0 0-30,0-1 30,0 1-40,-1 0 39,1 0-26,0 0 30,0-1-33,0 1 6,-1 0-2,0-1 8,1 1-16,-1 0 12,0-1-8,1 1 7,-1-1-55,1 1 39,0-1-43,0 1 54,0-1-6,0 0 3,1 1-7,-1-1-12,0 0 4,1 0-7,0 1 7,-1 0-5,1-1 2,0 0-4,1 1 13,-2-1 0,1 0-3,1 1-1,-2-1 6,1-1-4,0 1 16,0 0 3,0 0-8,1 0 9,-1 0-19,-1-1 10,1 1-4,0 0 6,-1 0-7,0 0 14,1 0-8,-2 0 10,2 0-10,-1 0-8,0 0 9,0 0-6,0 0 10,0 0-5,0 0 2,0 0-3,0 0-18,0 0 13,0 0-15,0-1-4,0 2 13,1-2-15,-1 1 16,0 0 19,0 0-17,0 0 17,0 0-2,0 0-4,0 0 11,-1 0-10,1 0-3,0 0 1,-1 0-1,0 1-5,0-1 3,0 1 1,0 0 1,0 0-2,0-1 1,0 1-1,-1 0 2,1 0 2,0 0-2,-1-1-1,1 1-1,0-1-2,0 1 2,1-1 10,-1 1-8,2-1 8,-1 1-12,1-1 12,0 0-8,0 1 16,1-1-15,-1 1 16,2 0-12,-2-1 9,0 1-9,1 0-10,-1-1 7,0 1-9,0-1-4,-1 0 10,1 0-10,-1 0 8,1 0 4,-1 0-6,0 0 5,0-1-40,1 0 29,-1 1-33,0-1 39,1 0 31,-1 0-23,1 0 30,0 0-38,0-1-16,0 1 11,1 0-16,-1-1 29,0 0-7,0 1 7,0-1-8,0 1 5,0 0-3,-1 0 3,1-1-7,-1 1 5,0 1-4,0-1 5,0 1 10,0 0-10,0 0 6,0 1-6,-1 0-50,1 0 36,-1 0-37,0 1 64,1-1-14,-1 0 14,-1 0 32,2 1 14,-1-1 3,0 0-8,1 0-52,-1 0 8,0 1-4,1-1 14,0 0-5,-1 0 8,1 1-5,0-1 15,1 1-20,-1 0 19,1 0-21,0 0 35,0 1-18,0 0 16,1 0-22,0 1 66,0-1-50,0 2 54,1-1-49,0 2-6,-1-1 10,2 1-8,-1-1-37,0 1 37,1-1-34,-1 1 46,0-2-223,1 1 46,-1 0-139,1-1 153,-2 1 64,1-1 48,0 1 0,0 0 0</inkml:trace>
  <inkml:trace contextRef="#ctx0" brushRef="#br0" timeOffset="129">3974 1064 9502,'2'0'-292,"-1"0"74,0 0-183,0 0 267,1 0 79,-1 0 100,-1 0-5,2 0-8,-1 0 10,0 0-13,-1 0 16,2 0-8,-2 0 10,1 0-12,0 0-12,-1 0 7,1 0-5,-1 0 10,1 0 15,-1 0-9,1 0 100,-1 0-78,0 0 100,0 0-110,0 1 26,0-1-33,0 0 6,0 1 1,0 0 3,0 1-1,0-1 10,-1 0-11,0 0 19,0 1-18,0 0 1,-1-1-4,1 1-6,0-1-19,-1 0 21,1 1-21,0-2 25,-1 1 17,1 0-16,0 0 16,0-1-25,0 0 5,0 1-7,0-1 7,0 0-16,0 0 11,0 0-7,0 0 12,0 0-39,0 0 26,0 0-31,0 0-2,0-1 33,0 0-35,0-1 37,0 0-26,0 0 7,0-1-11,0 0-40,0 0 47,1-1-53,-1 1 61,0 0-58,1 0 41,-1 0-43,0 0 44,1 0-19,-1 1 7,0 0-7,0 0 9,1 0 6,-1 0-8,0 1 7,0 0-5,0 0 4,0 0-3,0 1 1,0-1 2,0 1-2,0 0 3,0-1-4,-1 1 3,2 0-3,-1 0 3,0 0 5,0 0-4,0 0 3,0 0 15,0 0-13,0 0 13,0 1-17,0-1-4,0 1 3,0 0-1,-1 0 3,2-1 1,-1 1-1,-1-1 1,1 1-5,0 0 4,0-1-3,0 1 3,0-1 10,0 1-8,-1-1 8,1 0-10,0 1 0,-1-1-1,0 1 2,1-1 11,-1 0-8,1 1 10,-1-1 0,1 0-8,0 1 8,-1-1-9,1 0-15,0 0 11,0 0-11,-1 1 18,1-1-2,0 0 2,-1 0-5,1 0 10,0 0-6,0 0 7,0 0 17,-1 0-19,1 0 19,0 0-25,0 0 13,0-1-8,0 1 11,0-1-13,-1 1 4,1-1-1,0 0 3,-1 0-17,1-1 10,-1 1-12,1 0 14,0 0-20,-1 0 14,0-1-16,1 0 12,-1 1 5,0-1-8,1 0 9,0 0-11,-1 0 8,0 0-9,0 0 8,1 0-4,-1-1 4,0 1-2,1 1 4,-1-1 0,0 0-1,1 0 0,-1 1-7,0-1 5,1 1-4,-1-1-8,1 1 10,-1 0-11,1 0 12,0 0-9,-1-1 6,1 1-8,-1 0 10,1 0-6,-1 0 5,1-1-5,0 1 39,0 0-25,-1 0 26,1 0-34,0 0 13,-1 0-9,0-1 10,1 2-15,-1-1 3,1 0 0,-1 0 7,1 0-30,-1 0 22,0 0-25,0 0 29,1 1-53,-1-1 35,1 0-39,-1 1 40,1-1 6,-1 0-10,0 1 11,1-1-7,-1 0 5,1 0-5,-1 1 16,0-1-12,1 0 13,-1 0-14,1 1 6,-1-1-2,1 1 4,0-1-2,0 0 4,-1 1 1,1-1-1,0 1-7,0-1 0,0 1-2,0-1-7,0 1 8,-1-1-7,1 1 8,0-1-4,0 0 2,0 1-3,-1-1 3,1 1-15,-1-1 11,1 1-12,0 0 14,-1-1-2,0 1 0,1-1-1,0 1-14,-1-1 12,0 1-14,1-1 25,-1 1 1,1-1 1,0 1-3,-1-1-7,0 1 13,1-1-9,-1 1 11,0 0-4,0-1-6,0 0 8,0 1-7,-1 0 9,1 0-6,0-1 9,0 1-11,0 0 9,-1 0-6,1 0 5,0 0-4,0 0-1,-1 1 1,1 0-1,0 0-1,0 0 2,-1 1-1,1 0-1,0 0 0,-1 1 1,1-1-1,0 1-4,0 0 3,-1-1-3,1 1 4,-1 1-28,1-1 20,0 1-22,-1-1 26,1 1-1,0-1 1,-1 1-29,1 0 21,-1-1-25,1 0 30,0 1-46,0-2 33,0 1-36,0-1 43,1 1 5,0-2-4,1 0 2,0 1 13,-1-1-16,1 0 16,0-1 9,1 0-20,-1 0 22,1 0-26,1 0 14,0 0-10,0 0 15,0 0-15,0 0 39,0-1-28,-1 0 33,1-1-38,0 0 67,0 0-48,0-1 50,0 1 9,0-1-46,0-1 51,0 0-70,0 1 4,1-1 0,-1 0 5,0 1-14,-1-1 11,1 0-6,0 1 15,0-1-31,0 1 20,0 0-29,-1 0 32,1 0-41,0 1 23,-1-1-29,1 0 0,0 1 29,0 0-32,0 0 36,-1 1-13,1-2 10,0 2-8,0 0 7,0 0-1,0 0 1,0 0-2,0 0 11,0 0-10,1 1 10,0-1-10,-1 1 3,1 0-1,-1 0 2,1 0-1,-1 0 26,1 1-16,-1-1 41,0 1-39,0 0 14,0 1-19,1-1-1,-2 0-7,1 1 5,0 0-5,-1 0-2,1-1 9,-1 1-9,0 0 11,1 0 7,-1 0-5,0 0 5,0 0-17,0 0 7,0 0-7,0-1 8,0 1 13,1 0-10,-1 0 11,0-1 19,1 0-21,-1 0 22,0 1-26,1-1 2,0 1-1,-1-2 2,1 2 1,0-1-9,-1 0 6,1 1-4,0-1 3,0 1 10,0-1-5,-1 1 4,1-1 0,0 1-7,0 0 4,-1 0 9,1 0-8,0-1 10,-1 1-13,1-1-1,0 0 0,0 1 3,0-1 0,-1 0-5,1 0 5,0 0-7,0 0 6,0 0-26,0 0 20,0 0-21,0 0 7,0 0 9,0 0-12,-1 0-24,2 1 31,-2-1-35,2 0 40,-2 1-32,1 0 22,0-1-26,1 1 30,-1-1-13,0 1 9,0-1-12,0 1 11,0-1-2,0 1 2,0-1 1,0 1 1,0-1-2,1 1 4,-1-1-3,0 0-1,0 1 3,1-2-3,-1 2 3,1-1-2,-1 0 2,0-1-2,1 1-18,-1-1 13,1 0-13,-1 0 18,0 0-2,1 0 1,-1 0 3,0 0-4,1 0 4,-1 0-5,0 0 3,0 0-3,0 1 3,0-1-2,0 0-44,0 1 31,-1-1-33,1 1 42,0-1-29,0 1 20,-1 0-23,1-1 13,0 1 9,-1 0-14,1-1 16,0 1-6,-1-1 6,1 1-7,0-1 34,0 1-22,-1 0 23,1-1-26,0 0 17,-1 1-8,1-1 9,0 1-11,-1-1 46,1 0-30,-1 1 35,1-1-35,-1 1-10,0-1 13,0 1-19,0 0 11,0 0-11,0-1 12,0 1-33,0 0 22,-1 0-24,1 0 27,-1-1-3,1 1 0,-1 0-2,1 0 0,-1 0 0,1-1-3,0 1 2,-1 0-1,1 0 13,0-1-9,0 1 9,0-1 0,0 1-6,0 0 8,1-1 24,-1 0-22,1 1 25,0-1-32,-1 0 10,1 0-8,-1 0 11,1 0-11,-1 0 1,1 0-1,-1 0 1,1 0 1,-1 0-4,0-1 3,0 1-4,0 0-8,0-1 9,0 0-11,0 0-4,0 1 13,-1-1-17,1 0 19,0 0-14,-1 0 9,1 0-10,0 0 11,-1 0-4,1-1 3,-1 1-3,1 0 6,-1 0 4,1 0-2,0-1 2,-1 1 3,1 0-7,0-1 8,-1 0 63,0 1-53,1-1 59,-1 0-72,1 0 54,0 1-36,-1-1 42,1 0-48,0 0 2,0-1-3,-1 1 6,1 0-39,-1 0 32,1 0-33,0 0 39,-1 0-46,0 1 30,1-1-38,-1 0 44,1 1-29,-1-1 21,1 0-20,-1 1 5,1 0 8,-1 0-12,0 0 10,1-1 7,-1 1-6,1 0 6,-1 0-1,1 0 0,-1 0 2,1 0-3,0 0 2,0 0-1,0 0 3,0 0-3,0 0 1,0 0 0,0 0-1,0-1 0,0 2 0,0-1 0,0-1 0,0 1 5,0 0-3,0 0 4,0 0-6,0 0 13,0 0-8,0 0 9,0 1-15,0-1 3,-1 0-1,2 1-3,-2-1 4,1 0-4,0 1 5,-1-1 10,1 1-7,0-1 7,-1 1-9,1-1 5,0 1-4,0 0 5,0-1-8,0 1 1,-1-1-1,1 1 2,0 0 5,0-1-3,0 1 5,0 0-7,0 0 2,0 0-2,0 0 2,-1-1 0,2 1 0,-1 0 1,0 0-2,0 0-9,1 0 6,-2 0-6,2 0 9,-1 0-5,1 0 4,-1 0-27,0 0 21,0 0-17,1 0 20,-1 0-7,0 0 4,1 0-7,-1 0 8,1 0 0,-1 0 0,1 0-2,-1 0 0,1 0 5,0 0-3,0 0 3,0 0-4,0 0 3,-1 0-3,2 0 5,-2 0-2,1 0 2,0 0-1,0-1 0,0 1-2,0 0 1,0-1-1,0 1 0,-1-1 1,1 1 0,0-1-1,0 1 8,-1-1-6,0 1 7,1 0-9,-1-1 0,0 1 1,1 0 0,-1 0-1,0 0 2,0 0-2,0-1-1,0 1 2,0 0-3,0 0 4,0 0-27,0 0 19,0 0-20,0 0 25,0 0-1,0 0 0,0 0-1,0 0 1,0-1-2,0 1 1,0 0 0,0 0 6,0 0-6,0 0 7,-1 0-3,1 0-2,0-1 2,0 1 1,0 0 5,0 0-2,0 0 3,0 0-8,0 0 17,0 0-10,-1 0 12,1 0-19,0 0 2,0 0-1,-1 0 3,1 0-7,0 0 4,-1 0-4,1 0 0,0 0 4,-1 1-4,1-1 4,-1 1-1,1 0-1,0-1 0,0 1-1,-1 0 10,1 0-8,0 0 8,0 0 25,0 0-23,0 0 26,0-1-32,0 1 26,0 0-18,1 0 22,-2 0-25,1 0-10,1 0 7,-2 0-6,1 0-9,0 0 16,0 0-17,-1 0 20,1 0-12,0-1 6,0 1-6,-1 0 3,1 0-10,-1 0 3,1 0-6,-1 0 4,1 0 7,0 0-5,-1 0 6,1 0 0,0 0 1,-1 1-2,1-1 34,0 0-24,0 0 25,0-1-32,-1 2 5,1-2-2,0 1 4,-1 0-8,1 0 6,0 0-6,-1 0 9,1 0-17,0 0 13,-1 0-13,1-1 1,-1 1 8,0 0-11,1-1 13,0 1-10,-1 0 7,1 0-11,-1-1 11,1 1-4,-1 0 2,1-1 1,0 1 2,-1 0-1,1-1 1,0 1-1,0 0-1,0-1 0,-1 1 0,1-1 0,0 1 0,0-1 0,0 1 0,0-1-29,0 1 21,0-1-22,0 0 28,0 0-8,0 0 6,0 0-8,0 0 8,0 0-3,0 0 2,0 0-2,0 0 8,0 0-8,-1 0 8,1 0-7,0 0 6,0 0-3,0 0 6,0 0-18,-1 0 10,1 0-9,0-1 11,0 1-16,-1-1 8,1 1-10,0-1 12,0 1-22,0-1 14,0 1-15,1-1 22,-1 0 1,0 0-3,0 1 8,1-1-8,-1 0 8,0 0-11,1 0 13,-1 0-7,1 0 9,-1 0-7,1 0 12,-1 0-6,0 1 8,1-1-10,-1 0 10,1 0-5,-1 1 6,0-1-6,1 1-4,-2-1 6,2 1-20,-1 0 10,0 0-10,0 0 13,0 0 2,0 0-1,-1 0 2,2 0-3,-2 0 6,1 0-7,-1 0 7,1 1-9,0 0 11,0 0-7,0 0 6,-1 0 0,1 0-6,0 0 7,0-1-3,0 1-1,0 0 2,0 0-2,0 0-6,0 0 5,0 0-6,0 0 6,1 0-1,-1 0 1,0 0-1,1 0 2,-1 0-2,0 0 2,1 0-2,-1 0 1,1 0 0,-1 1 1,1-1-1,0-1 1,0 1 0,0 0-1,-1 0 0,2-1 0,-1 1 1,0 0-1,0 0 0,0-1 0,0 1 0,0-1 0,1 1 0,-1-1 0,1 1 0,-1-1 0,0 0 0,1 0 0,-1 1-13,0-1 9,1 0-10,-1 0 13,0 0-30,1 0 21,-1 0-23,0 0 29,0 0-28,0 0 20,0 0-24,0 0 27,0 0-4,-1 0 1,1 0 1,0 0 0,-1 0-3,1 0 2,-1 0-28,0 0 20,1 0-21,-1 0 26,0 0-21,0 0 15,0 0-14,1-1 19,-1 0-7,0 0 4,0 0-8,0 0 41,1-1-28,-1 1 28,1 0-36,-1 0 25,1-1-19,-1 1 20,1-1 12,-1 1-22,1-1 30,-1 0-28,1 1-2,-1-1 7,1 0-9,-1 1 9,0-1 0,1 0 1,-1 1-1,0-1-7,0 0 1,0 1-3,0-1 2,-1 1 1,1 0-2,0 0 3,0 0-11,-1 0 8,1 0-8,-1 0 10,1 0-2,-1 1 1,1-1-1,0 0-1,0 1-17,0 0 10,0-1-11,0 1 8,0-1 7,0 0-10,0 1 10,0-1 4,0 0-2,1 0 5,-1 0 14,1 0-16,-1-1 18,1 1-22,-1 0 23,1 0-14,-1-1 15,1 1-18,-1 0 17,1-1-9,-1 1 10,1 0-3,-1-1-10,1 1 13,-1 0-15,1-1 5,0 1-4,-1-1 4,1 1-7,-1 0 6,1-1-6,-1 1 6,0 0 7,1 0-6,-1 0 6,0 0-7,0 0 4,0 0-4,1 0 5,-1 1-1,0-1-2,0 1 2,0-1-9,0 1 4,0 0-5,1-1 7,-1 0 10,1 1-7,-1 0 6,0-1-8,1 1 9,0 0-7,-1 0 8,1 0-16,-1-1 5,1 1-5,-1 0 1,1 0 4,-1 0-3,1-1 5,-1 1-11,1-1 8,-1 1-10,0-1 11,1 1-10,-1-1 7,0 0-10,1 0 12,-1 0-8,1 0 6,-1 0-5,0 0 5,1-1-1,-1 1 1,1 0-1,-1-1 0,0 0 0,1 0 0,-1 0 0,0 0 0,0 0 0,0 0 1,0 0-5,0-1 4,0 1-3,0-1 3,0 0-15,0 1 11,-1-1-11,1 0 15,0 1-1,-1-1 1,1 1 1,-1-1-2,1 0 2,-1 1-3,1 0 3,0-1-1,-1 1 2,1-1-3,-1 1 1,1 0 0,-1-1 1,1 1 1,-1 0-5,1 0 4,0 0-4,0 0 3,0 0-6,0 0 4,0 0-4,0 0 6,0 0-1,0 1 1,1 0 23,-1 0-17,1-1 18,-1 1-24,2 0 20,-2 1-13,1 0 15,-1-1-16,2 1 4,-2-1-1,1 1 4,-1 0 26,1 0-23,0-1 25,0 1-30,-1 0-15,1 0 12,-1 0-11,1 0 16,-1 0-25,1 0 17,0 0-22,-1-1 20,1 1 1,0 0-3,0 0 4,0-1 0,0 1-2,0 0 1,0 0-2,-1-1 13,2 1-12,-1 0 11,0 0-13,1 0 5,-1-1-3,0 1-1,0 0 2,0 0-3,0 0 4,0 0 3,0 0-1,-1 0 0,1 0-3,0 0 7,0 0-4,0 0 6,-1 0-7,1 0-11,0 0 8,0 0-8,-1 0 5,1 0 4,0 0-4,-1 0 6,1 1-13,0-1 8,-1 0-8,1 0 2,-1 0 6,1 1-8,0-1 8,0 0-33,0 0 23,0 0-24,1 1 30,-1-1 2,0 0-1,1 0 0,-1 0-7,1 1 1,-1-1-2,1 0 3,0 1 7,1-1-6,-1 0 5,0 0-2,0 1-1,1-1 2,-1 0-3,0 0 11,1 0-9,-1 1 12,0-1-13,0 0 28,-1 0-19,1 0 19,-1 0-7,0 0-12,0 0 14,0 0-13,0 0-5,-1 0 6,0 0-3,1 0-6,-2 0 8,2 0-10,-1 0 10,0 0-17,0 0 11,0 0-12,1 0 5,-1 0 7,1 0-9,0 0 5,-1 0 1,1 0-1,0 0 2,0 0 3,1 0-3,-1 0 4,0 0-4,0 0 6,0 0-3,0 0 3,-1 0-4,1 1 12,0 0-8,0-1 9,-1 1-12,1-1 0,-1 1 0,1-1 12,-1 0-7,0 1 7,1-1-9,-1 0 6,0 1-3,0-1 3,0 1-4,0-1-11,0 0 9,0 1-9,0-1 9,0 1-20,0 0 14,0 0-15,0 0 8,0-1 8,0 1-11,0 0-5,0 0 8,0 1-10,0-1 11,0 0 23,1 0-19,-1 0 18,0 0-19,0 0 28,0 0-18,0 0 21,0 0-25,0 0 1,1-1 2,-1 0 1,0 1-1,1-1 44,0 0-33,-1 0 17,1 0-28,0 0-12,1-1 18,-2 1 10,2-1-10,-1 0 9,0 0-10,0-1 25,0 1-17,0 0 21,0 0-25,0 0-61,0 0-18,-1 1-5,2-1 16,-1 0-433,0 1 109,0 0-176,1 0 297,-1 0 258,1 0 0,0 0 0</inkml:trace>
  <inkml:trace contextRef="#ctx0" brushRef="#br0" timeOffset="130">4295 1039 9502,'3'0'-109,"-2"0"7,1 0 121,-1 0-98,0 0 71,1 0-92,-1 0 133,0 0 19,-1 0 50,1 0-14,0 0 20,-1 0 16,1 0 15,-1 0 24,1 0-39,-1 0 416,0 0-323,0 0 285,1 0-414,-1 0 9,1 0-23,0 0 14,0 0-10,1 0-53,0 0 52,-1 0-55,2 0 52,-1 0-26,0 0 19,1 0-21,0 0 29,-1 0-76,0 0 46,1 0-52,-1 0 4,0 0-17,0 0-10,0 0 15,0 0 1,0 0-8,0 0-12,0 0-20,0 0 58,0 0-16,-1-1 5,1 1-40,0-1 17,0 0-24,0 0 37,0-1 14,0 1-13,0 0 11,0 0-19,1 0 16,-1 0-14,0 0 16,0 0-2,0 0 0,0 0 0,0 1-22,-1-1 16,1 1-16,-1-1 21,0 1-9,0 0 6,0-1-8,0 1 5,-1 0 20,1 0-17,-1 0 17,1 0 5,0 0-125,-1 0 99,0 0-105,0 1 55,0-1 36,0 1-45,-1 0 52,0 1-2,0-1 2,-1 1-12,0-1 45,0 0-42,-1 1 43,1 0-41,-1 0 62,1-1-41,-1 1 46,1 0-11,-1-1-31,1 1 44,-1-1-48,1 0-13,0 0 9,-1 0-12,1 0 12,0-1 7,0 1-8,0-1-9,1 0 12,-1 0-17,0 0 19,1 0 20,0 0-15,0 0 14,0 0-21,1 0 51,-1 0 18,1 0 70,-1 0-52,2 0-1,-1 0-48,1 0-1,1 0 8,0 0-7,1 0 31,-1 0-27,1 1 26,0-1-32,1 1 43,-1-1-33,1 0 30,-1 0-40,1 0 0,-1 0 2,1 0 9,-1 0-14,0 0 15,0 0-13,0 0 15,1 0-16,-1-1 11,-1 0-13,1 0-15,0-1 19,0 0-20,-1 1 18,0-1-25,1 0 13,-1 0-16,0 1 25,-1-1-33,1 0 23,0 0-27,-1 0 28,0 1 3,1-1-5,-1 0 3,0 1 6,0-1-5,0 0 5,0 0-7,1 0-11,-2 1 9,2-2-9,-1 1 0,0 0 8,0 0-9,0-1 14,0 1-26,1 0 18,-1 0-21,1-1 5,-1 1 12,0 0-15,0 0 17,1-1-10,-2 2 7,2-2-9,-1 2 9,0-1-2,0 1 1,1-1 0,-2 0 0,2 1 1,-1-1 0,0 1 0,0 0-17,1-1 12,-1 1-12,0-1 15,0 1-48,-1 0 32,2 0-35,-1 0 14,-1 0 23,1 0-27,0 0 33,0 0-9,0 0 9,0 0-11,0 0-4,0 0 2,0 0-2,0 1 3,1-1 2,-1 0-1,1 1 2,-1-1 3,1 0 15,-1 0-10,1 1 43,-1-1-39,0 1 24,0-1-31,0 1 17,0-1-13,0 1 17,0-1-18,-1 1-35,0 0 18,1 0-28,-1 1 35,0-1 4,0 1 4,-1 0 22,-1 1-17,0 0 14,-1 0-6,0 1-12,0 0 14,-1-1 1,0 1-12,-1 0 17,1 0-18,-1 0 1,0 1 2,-1-1 0,1 0 2,-1 1 5,0 0-4,0-1-2,1 1 1,-2 0-68,2 1 48,-1-1-57,1 1 67,1-1-8,-1 1 7,2-1-5,0 0 20,0-1-16,1 1 17,1-1 18,0 0-25,0-1 27,1-1-33,0 0-15,0-1 13,0 1-8,1-1 14,1 0 0,1-1 0,0 0-3,1-1 54,0-1 14,0 1 2,-1-1 61,1 0-99,0 0 52,0-1-59,0 1 60,-1-1 32,1 1-3,-1-1 12,0 1-31,1-1 44,-1 0-23,1 0 24,-1 0-136,0 1 71,0-1-71,-1 1 10,1-1-20,-1 2-8,0-1-30,0 0 37,0 1 0,-1 0-6,1 0 20,-1 1-1,1-1-5,0 1-5,0 0 7,-1 0-14,1 0 8,0 0 4,0 1 8,1-1-3,-1 0 4,0 0-5,1 0 5,0-1-5,-1 1 7,0 0 0,1 0 0,-1 0-2,0 0 3,0-1-2,0 1 2,0 0-3,0 0 2,0 0-1,-1-1 2,1 1-2,-1 0 2,1 0 0,-1 0 0,0 0 8,0 0-7,0 0 7,0 0-35,0 1 20,-1-1-20,1 1 26,0-1-35,-1 1 24,1-1-28,-1 1 33,0 0-41,0 0 23,1 0-32,-1-1 37,0 1-6,0 0 60,0 0-43,0-1 44,0 1-8,0-1 10,0 1 10,0-1-12,0-1 13,0 1-35,0-1 42,1 0-46,0 0 36,0-1-26,0 1 32,0 0-51,1-1 20,-1 0-20,1 1 15,0-1 2,-1 1-5,1-1 8,-1 1-29,1 0 21,0 0-24,0 0 25,-1 0-33,1 0 26,-1 0-28,1 0 32,0 0-9,0 0 5,0 0-6,-1 0 30,1 1-20,0-2 20,-1 1-26,1 1 2,-1-1 0,1 0 2,-1 0-8,1 1 7,-1-1-5,0 0 6,0 2-17,0-1 14,0 0-16,0 0 20,0 1-52,-1-1 36,1 1-41,0 0 13,-1 0 23,1 0-32,0 0 46,0 0-12,0 0 11,0 0-14,0 0 21,0 0-16,0 0 16,1 0-17,0 0 16,0 0-11,0 1 13,0-1-11,0 0 40,0 0-21,1 0 25,-1 0-30,0 0 18,1 0-11,-1 0 13,1 0 1,-1 0-18,0 0 23,1 0-44,0 0 19,-1 0-20,1 0 22,0 0 0,0 0 0,-1 0-1,2 0-3,-1 0 57,0 1-41,0-1 43,0 0-54,0 0 48,0 0-31,1 0 35,-1 0-27,0 0-13,0 0 24,-1 0-58,1 0 34,-1 0-34,2 0 39,-2 0-68,0 0 51,0 0-59,1 0 67,-1 0-57,1 0 33,-1 0-40,1 0 45,-1 0-34,0 0 28,2 0-36,-2 0 31,0 0-8,1 0 5,-1 0 40,0 0-24,1 0 30,-1 0-39,0 0 52,0 0-36,-1 0 43,1 1-52,-1-1 26,1 0-18,-1 0 24,0 0-24,0 0-2,0 0 1,1 1-1,-1-1-31,1 0 31,-1 0-33,0 0 6,1 0 20,0 0-29,0 1 32,0-1-20,0 0 14,0 0-14,1 1 15,-1-1-6,0 1 4,0 0-5,1-1 5,-1 1-2,0 0 1,1-1 0,-1 1 0,0-1 0,1 1 1,-1-1-11,0 1 8,1 0-7,-1-1 9,1 0-19,-1 1 14,1-1-15,0 0 17,-1 0 3,1 0-3,-1 0 2,1 0-3,-1 0 6,1 0-4,-1 0 6,1 0-13,-1 0 4,0 1-3,0-1-10,-1 0 11,1 1-11,0-1 15,0 1-34,-1-1 23,0 1-26,0-1 29,0 1-36,0 0 21,0-1-25,0 1 28,-1-1-35,1 0 21,-1 1 11,1-1 8,-1 0 28,0 1-36,0-1 45,0 0-30,0 0 36,0 0-43,0 1-37,0-1 32,0 0-31,0 0 63,-1 0-18,0 0 17,1 0-24,-2 0 27,0 0-22,0 0 23,0 0-25,0 0 6,-1-1-4,0 1 5,0-1 19,-1 0-15,0 0 24,1 0-26,-1 0 6,0 0-7,-1 0 1,1 0-7,-1 0 6,0 0-5,1-1 5,-1 1 7,1 0-5,-1 0 4,1 0-4,-1 0 39,1-1-28,1 1 31,-1 1-39,0-1 29,0 0-20,0 1 26,1-1-33,0 1 8,-1-1-6,1 1-8,0-1 9,-1 1-9,2 0 14,-1 0-18,0 0 12,-1 0-16,1 0 18,0 0-16,0 0 11,0 0-14,0 0 19,-1 0-7,0 0 6,1 0-6,-1 0 2,0 0-1,0 0 1,0 0-1,-1 0 0,1 1 1,0 0 0,-1 0 1,1-1-1,0 1 1,-1-1-7,1 1 4,0-1-5,0 1 6,-1-1 4,1 1-3,0 0 3,-1 0-4,0-1 0,1 1 1,-1 0-1,1 0 1,-1 0 0,1 0 0,0 1 2,0-1-30,0 0 23,0 0-24,0 1-2,1 0 22,1-1-28,-1 0 31,1 1-14,0-1 10,0 1-12,1-1 29,-1 1-16,1-1 15,0 1-19,0 0 13,-1 0-9,1 0 10,0-1-10,0 1 32,0 1-18,0-1 21,-1 0-21,1 0-12,-1 1 10,1-1-10,-1 0-45,0 1 37,0 0-40,0 0 51,0-1-76,-1 1-19,2 0-12,-1 0-355,0 0 141,0 0-245,1 0 321,-1 0 117,1 0 131,-1 0 0,1 1 0</inkml:trace>
  <inkml:trace contextRef="#ctx0" brushRef="#br0" timeOffset="131">5415 862 9502,'2'1'530,"-1"0"-420,0-1 58,0 2 7,0-2 83,0 1-64,1 0 14,-1 0-54,1 0 12,0 0-35,0 1-25,1-1 34,0 1-30,0-1 36,0 1-85,1 0-16,0 0-3,0 1 32,0-1-13,0 0-7,1 1-42,-1 0-26,1 0 80,0-1-24,0 1-22,-1 0-16,1-1-24,1 1 24,-1-1 52,0 1 7,0-1-2,1 1-6,0 0-68,0-1 49,0 1-45,0 0 59,0 0-31,1-1 19,0 1-29,0 0-27,0 0 41,-1-1-45,1 0 31,-1 1 18,0-1-29,-1 0 32,0 1-64,-1-1-17,0 0-1,0 1 1,0 0-34,-1 1 16,-1-1-97,1 0-105,-2 1 42,1-1-87,-1-1-197,0 1 114,-1-1-189,1 0 215,-1-1-113,0-1 260,0 1-129,0-2 264,-1 0 0,0-1 0</inkml:trace>
  <inkml:trace contextRef="#ctx0" brushRef="#br0" timeOffset="132">5364 879 9502,'2'-1'-141,"-2"1"11,1-1 189,-1 1-3,1-1 132,-1 1-74,0-1 46,0 1-32,1-1 16,-1 1-19,0-1 87,0 1-23,1-1 124,-1 1-119,1-1 65,1 1-116,0-1 53,0 1-46,2 0-15,0 0 16,2 0-108,0 0 23,2 2-76,1 0 101,0 1-129,2 0 78,0 1-130,1 0 94,-1 0-72,-1 0 57,1 0-82,-2 0 50,-1-1-223,0 0 58,-2-1-129,-1 0-312,-2-1 456,0 0-303,-1 0 496,-1-1 0,1 1 0</inkml:trace>
  <inkml:trace contextRef="#ctx0" brushRef="#br0" timeOffset="133">5560 936 9509,'0'0'230,"1"0"-56,0 0 26,-1 0-11,1 0 68,0 0-108,0 0 51,-1 0-69,1 0 66,0 0 2,0 0 11,1 0-27,-1 1-28,1-1-4,0 2 8,0 0-13,0-1-57,1 1 31,0 1-30,0 0 9,0-1 25,1 1-24,0 0-10,0 0-9,-1 0-18,2 0 33,-1-1-78,0 1 42,0 0-113,0-1 21,0 0-1,0 0-4,0 0 40,1 0-20,0 0 4,0 0 11,0 0-42,0 0 82,1 0-53,-1 0 54,1 0-71,0 0 48,0 0-56,0 0 61,-1-1-14,1 1 13,-1 0-5,0 0 1,0 0-32,0 0 24,0 0-25,-1-1-11,0 2-15,0-1-1,-1 0-125,1 1 67,-1-1-118,0 0 124,-1 0-99,1-1 89,-1 1-124,0-2 80,0 1-293,-1 0 89,0 0-171,0-1-101,0 0 178,-1 0-139,0 0 329,0 0 106,0-1 152,0-1 0,-1 0 0</inkml:trace>
  <inkml:trace contextRef="#ctx0" brushRef="#br0" timeOffset="134">2471 1620 8847,'1'-2'-245,"0"2"493,-1 0-67,1-1-108,-1 1-87,1-1-10,-1 1 10,1 0 80,-1-1-10,1 1 42,-1-1-30,1 1 39,-1-1-46,1 1 45,0-1-35,0 1 30,-1 0-37,1-1 8,-1 1-5,1-1 17,0 0-14,0 1-36,-1 0 24,1-1-69,0 1 68,1 0-28,-1 0 34,0 0-25,0-1 16,1 1-18,0 0 21,0 0-44,-1 0 29,2 0-39,-1 0 44,0 0-21,0 0 16,0-1-56,0 1 5,0 0-6,0-1 11,0 1-33,-1 0 48,1-1-54,-1 1 66,1-1-30,-1 0 21,1 0-30,-1 0 22,1 0-27,-1 0 10,0 0-10,1-1 12,0 0 30,-1 1-25,0-1 25,0 0 6,1 0-17,-1 0 24,0 1-24,0-1 0,0-1 3,-1 2-3,1-1 4,0-1-2,-1 1 4,1 0-3,0 0-3,-1 0 3,1-1-4,-1 0 3,0 1-6,1-1 1,-1 1-3,0-1-2,0 0 6,1 1-5,-1-1 6,0 0-8,0 1 6,0-1-7,0 1 4,0 0 1,1-1 0,-1 1 2,0 0-3,0 0 1,0 0-2,0-1 3,0 1-6,0 0 4,0 0-4,0 0 0,0 0-1,0 0-1,1 0 20,-1 0-10,0 0 16,0 0-20,0 1-8,1-1 7,-1 0-6,0 0 8,0 0-9,0 1 6,0-1-6,1 0 9,-1 1-10,0-1 8,0 0-8,0 1 9,0-1-5,1 0 2,-1 1-6,1-1 3,-1 0-3,0 1 3,1-1 1,-1 0 1,0 1 0,1-1 0,-1 1-28,0-1 21,0 1-22,0 0 27,1-1-20,-1 1 14,0 0-17,0 0 29,0 1-9,0-1 8,0 0-12,0 0 8,0 1-8,0-1 8,0 1 3,0-1-7,0 1 9,0-1-10,0 0-6,0 1 5,0 0-2,0-1 4,0 1 11,0-1-8,0 0 12,0 1-12,0-1 5,0 1-7,0-1 0,0 1 10,0-1-6,0 1 8,0-1-14,0 0 3,0 1-1,0 0 3,0-1-5,0 1 4,0 0-8,0 0 8,-1 0-4,1 0 10,0 0-5,-1 0 4,1 0-5,0 0 10,-1 0-7,1 1 9,0-1-11,0 1 1,-1 0 1,1-1 0,-1 1 0,1 0 18,-1 1-10,1 0 11,-1 0-14,0 1-6,0-1 5,1 1-3,-1 1 3,0 0 1,0 1-1,-1-1-8,1 2 5,0-1-6,0 1 8,0-1-33,0 2 23,0-1-25,0 0 30,0 0-12,1 1 5,-1 0-7,0-1 9,1 0 6,0 0-7,-1 1 15,1-1-14,0 0 10,0 0-10,-1 0 3,1 0-2,0-1 2,-1 1-1,1-1-9,-1 1 8,1-1-8,-1-1 11,1 0-5,-1 0 5,1-1-5,-1 0-29,1-1 22,0-1-27,0 0 33,-1 0-115,1-1 82,0 0-91,0-1 109,0 0 38,0 0-27,0 0 24,0-1-36,0 0 41,0 1-27,0 0 37,0-1-45,0 1 27,0-1-19,0 2 49,0-2-42,0 1 29,0 0-30,0 0 16,0 0-12,0-1 9,0 1-10,0-1 1,0 0 0,0 1 1,0-1 15,0-1-12,0 1 12,0-1-3,0 0-8,0 0 9,1 0-11,-1-1 8,1 0-6,0 0 7,0 0-7,0-1 7,0 1-5,0-1 6,-1 1-6,1-1-6,0 0 4,0 0-3,-1 0-2,1 0-1,-1 1-2,1-1-6,0 0 13,-1 0-7,1 1 7,0 0 22,0 0-17,-1 0 17,1 0-22,0 1 25,-1 0-18,2 0 20,-2 0-25,1 1 1,-1-1 4,1 1-2,-1 1-18,1-1 13,-1 0-15,0 1-17,0-1 29,0 0-30,0 1 34,0-1-16,0 0 8,0 1-10,0-1 9,0 0 11,0 1-12,0-1 12,0 0-13,0 1 22,0-1-16,0 1 17,0-1-19,1 1 14,-1-1-6,0 1 8,0 0 7,1 0-14,-1 0 18,0 0-23,1 1 7,-1-1-6,0 1 6,0-1 3,1 1-2,-1-1 2,0 0-6,0 1 24,1-1-16,0 0 16,-1 1-19,1-1 21,0 0-14,0 0 15,0 0 10,0 1-22,0-1 26,-1 0-47,1 1 17,0-1-16,0 1 23,0-1-42,0 1 31,0 0-32,-1-1 34,1 1-31,0 0 20,-1-1-27,1 1 32,0-1-22,0 1 13,0-1-4,0 0 7,1 0 7,-1 1-10,0-1 36,1-1-24,-1 1 29,0 0-36,0 0 9,1 0-6,0 0 9,-1 0-9,0 0-12,0 0 11,0 0-11,0 0-11,0 0 18,0 1-20,0-2 2,-1 2 16,1-2-19,0 1 22,0 0-8,0 0 5,-1-1-8,1 1 6,-1 0-3,1-1 3,0 0 0,0 1-2,0-1 5,0 0-3,0 0 3,0 0 27,0 0-21,0 1 23,0-1-30,0 0 0,0 1 1,-1-1 2,1 1-22,0-1 16,0 1-16,-1 0 22,1 0-58,-1 0 42,1 0-48,-1 0 58,0 0-20,1 0 14,-1 0-19,1 0 11,-1-1-2,0 2 0,1-2-2,-1 1 32,0 0-24,0 0 25,1-1-1,-1 2-18,1-2 21,-1 1-20,0 0 6,1 0-1,-1 0 3,0 1-5,1-1 8,0 0-4,-1 0 5,1 0-4,0 0-2,0 1 3,-1-1-3,2 1 0,-2-1-1,2 1 0,-1-1 0,1 0 0,-1 1 0,1-1 0,0 0 0,-1 1 0,1-1 0,1 0 0,-1 0 3,-1 0-2,1 1 3,1-2-3,-1 2 19,0-1-13,0 0 16,0 0-19,0 0 16,1-1-9,-1 1 22,0 0-22,1 0 7,-1-1-8,1 0 7,-1 1-4,1-1 4,0 0-6,-1 0-3,0 1 3,1-1-4,-1 0 4,1-1-3,-1 2 2,0-2-1,0 1-16,1-1 14,-1 1-15,0-1-1,0 1 12,0-1-14,0 1 17,1-1-13,-1 0 8,0 0-9,1 0 9,-1 1 6,0-1-5,0 0 3,0 1-3,0 0-4,-1 0 3,1 0-3,-1 0 7,0 0-3,1 0 4,-1 1-8,0-1 3,1 0-2,-2 0 3,2 1-3,-2-1 2,2 0-4,-1 0 4,0 0-3,0 1 2,0-1-2,0 0 3,1 0-2,-1 0 1,0 1-2,1-1 2,-1 1 0,0 0 0,0 0 0,0-1 0,0 2 0,0-1 0,0 0 0,-1 0 0,1 1 0,0 0 0,0-1 0,0 1 0,0 0 0,0 0 0,-1 0 0,1 0 1,0 0 24,0 0-17,0 0 19,0 0-25,0 0-3,0 0 3,0 0-2,0 0 4,-1 0-3,1 0 2,1 0-1,-2 0 4,1 0-10,0 0 7,0 0-8,1 0 21,-1 0-8,0 0 8,0 0-12,0 0 3,0 0-3,1 0 4,-1 0-5,1 0-4,-1 0 3,0 0-3,1 0 5,-1 0 1,1 0-1,-1 0 3,1-1 16,0 1-12,0 0 12,-1 0-17,1 0 0,0-1 0,-1 1 3,1 0-1,0 0 2,0 0-2,-1 0-3,1 0 5,0 0-4,0 0 4,0 0-2,0 0 0,0 0 0,0 0-2,0 0 18,0 0-13,0 0 13,-1 0-16,2 0 13,-1 0-6,-1 0 8,1 0 6,0 0-14,0 0 15,0 0-11,-1 0 0,1 0 2,0 0-3,0 0 24,-1 0-17,1 0 17,-1 0-21,0 1 11,1-1-8,-1 0 9,0 0-11,1 1-21,-1-1 21,-1 1-18,1-1 22,0 0-43,0 1 27,0-1-29,0 1 20,-1 0 9,1-1-12,-1 1 22,1 0-4,0 0 5,0-1-10,0 1-4,0 0 3,0 0-2,0-1 2,0 1 18,0-1-12,0 1 14,0 0-16,1-1 9,-1 1-7,1-1 16,-1 1-14,0 0 8,0-1-9,1 1-22,-1-1 15,0 1-13,1-1 18,-1 1-29,0-1 20,0 1-25,0 0 31,0-1-28,0 1 19,0 0-23,0-1 13,0 1 5,0-1-7,0 1 7,0 0 2,0 0-3,0-1 1,0 1-1,0 0 3,1-1-1,-1 0 1,1 1-8,-1-1 5,1 1-5,0-1 7,1 1-14,-1-1 10,0 0-10,1 1 3,-1-1 7,1 0-7,-1 1 10,0-1-3,1 0 2,0 0-4,-1 1 12,0-1-9,1 0 10,-1 1-11,0-1 10,-1 0-5,1 1 7,-1-1-8,1 1-15,0-1 14,-1 1-14,0 0-5,0 0 13,0 0-18,0 0 20,0 0 3,-1 1-3,1-1 2,0 1 10,0-1-11,0 1 11,0 0-13,0 0 14,0-1-10,1 1 12,-1-1-12,0 1 10,1 0-3,-1-1 6,0 1-4,1-1-6,-1 1 5,0-1 2,1 0-3,-1 0 4,0 1-7,0-1 0,1 0 0,-1 0 1,0 0-1,0 0-2,0 0 1,0 0-1,1-1 2,-1 1-1,0 0 2,0-1-2,0 1-2,0 0 3,1-1-3,-1 0 2,0 0-1,0 0-1,1 0 1,0 0 1,-1 0 0,0 0 1,1 0-1,0 1 0,-1-1 0,0 0 0,0 0 0,1 0 0,-1 0 0,1 1 0,-1-1 0,0 1 0,0-1 0,0 1-10,0 0 7,0 0-6,0-1 8,0 1-5,0 1 3,0-1-3,0 0 4,0 0 3,0 0-3,0 0 3,0 0-3,0 0 4,0 0-3,0 0 3,0 0-1,0 0-2,0 0 2,0 0 0,0 0 0,0 0 0,1 0 1,-1 0-50,0 0 35,0 0-37,1 1 46,-1-1-22,0 1 16,1-1-19,-1 1 19,0-1 4,0 0-3,0 1 0,1-1 21,-1 1-21,0-1 20,1 0-11,-1 0-8,1-1 11,-1 1-11,1-1 21,0 1-11,0-1 14,0 0-13,0 0 6,0 0-5,1 0 7,-1 0-10,0 0 15,0-1-9,1 1 8,-1 0-16,0 0 3,1-1-2,-1 1-2,0 0 4,0 0-4,0 0 5,0 0-4,0 0 3,-1 0-2,1 0 2,-1 0-11,1 0 6,-1 0-7,1 0 8,-1 1 1,0-1-2,0 1 4,1 0-2,-1-1 2,0 1-3,0-1 3,0 1-2,1-1 2,-1 1-1,0-1-3,1 1 2,-1-1-1,0 1 2,0-1 0,1 1 0,-1 0 1,0 0-47,0-1 33,0 1-36,0 0 44,0 0-8,0 0 5,0 0-9,0 0 23,0 0-13,0 0 13,0 0-16,0 0 18,0-1-13,0 1 14,0 0-16,0-1 5,1 1-2,-1-1 5,1 1 0,-1-1 1,0 0 0,1 0-10,-1 0 4,1 0-7,-1 0 9,1 0 3,0 0-2,-1 0 1,0 0-3,1 0 5,-1 0-3,0 0 4,1 0-5,-1 0-16,0 0 12,0 0-13,0 0 15,0 0-12,0 0 9,0 0-11,0 1 11,-1-1 0,1 1 0,-1-1 9,1 0-4,-1 1 4,1 0-8,0-1 15,0 1-10,-1 0 13,1-1-17,0 0 20,0 1-14,0-1 17,0 1-17,0-1 2,0 1 0,0 0 0,0-1-3,0 1 3,1-1-3,-1 1 2,0 0-2,0-1 1,0 1-1,0 0-2,0-1 3,0 1-4,0-1 4,0 1 4,0-1-3,1 1 4,-1-1-5,0 1 0,0-1 2,1 0-4,-1 1 1,0-1 0,0 0 2,1 0-2,-1 0 1,1 0-1,-1 0 2,1 0-4,-1 0 3,0 0-3,1 0 2,0 0-1,-1 0 0,0 0 0,0 0 0,1 0 1,-1 0 0,0 0-19,0 0-1,0 0-3,0 0 5,0 0 12,0 0 0,0 0-1,0-1 0,0 0 7,0 0-7,0-1 5,0 0-7,0 0 14,0 0-12,0-1 13,1 0 0,-2 0-8,2 0 11,-1 0 1,0 0-7,0 0 8,1 0-9,-1 0-1,0 0 1,0 0 0,1 0 0,-1 0 5,0 1-3,0-1 5,0 0-7,1 1-2,-1-1 3,0 1-2,0-1 2,0 1-1,1 0 0,-1-1 0,0 1 9,0 0-7,1 0 6,-1 0-7,0 0 1,1 0-1,-1 0 1,1 0-7,0 0 5,-1 0-5,1 0 6,-1 0-6,2 1 5,-2-1-6,1 0 7,-1 0-4,1 0 2,0 0-4,0 0 7,0 1-3,0-1 3,-1 0-5,1 0 1,0 0 0,-1 0 1,1-1-2,-1 1 1,0 1 0,1-1 1,-1 0-2,0 1 1,-1 0-1,1-1 1,0 1-3,0 0 2,-1 0-14,1 0 12,0 0-9,0 0 11,0 0-1,0 0 2,0 0-2,1 0 1,-1 0 30,1 0-22,-1-1 24,1 1-31,0 0 34,0 0-23,0 0 27,-1 0-30,2 0 2,-1 1 0,0-1-15,0 0 11,0 0-10,0 1 14,0-1-8,1 0 4,-1 0-5,0 1 8,0-1-7,0 0 4,0 1-9,-1-1 9,1 1-16,0-1 10,-1 0-9,1 1 5,-1 0 4,0-1-3,1 1 11,-1-1-5,0 1 6,1-1-8,-1 1 13,0 0-9,0 0 9,1 0-13,-1 0-1,0-1 1,0 1 0,1 0 3,-1 0-21,0 0 16,1-1-17,-1 1 2,1 0 12,0-1-15,0 1 18,-1-1-1,1 1 0,0-1-3,0 1 21,0-2-17,0 2 17,0-1-20,-1 1 17,1-1-11,0 1 13,0-1-13,-1 1-1,1-1 5,0 1-3,0 0 6,-1-1-7,1 1 5,0 0-5,-1 0 2,0 0 0,1 0 0,-1 0 6,1 0-5,-1 0 6,0 0-8,0 0 7,0 0-6,1 0 6,-1 0-6,0 0 2,0 0 0,1 0 0,-1 0 1,1 0-1,-1 0 1,0 0 1,0 0-12,1 0 9,-1 0-10,0 0 0,0 0 6,0 1-8,1-1 10,-1 0-3,0 0 2,0 0-2,0 0 1,0 1 25,1-1-19,-2 0 20,2 0-24,-1 0-2,0 1 2,0-1 2,0 0-4,0 0 6,-1 1-5,1-1-6,0 0 7,0 1-7,0-1 9,-1 0-5,1 1 3,0-1-5,0 1 5,0-1-7,-1 0 5,1 1-7,0-1 5,0 1 0,0-1 0,0 1 2,-1-1 0,2 1-2,-1 0 2,-1-1-3,1 1 2,0 0-1,0-1 2,0 1-11,0-1 7,0 1-7,-1 0 9,1-1-12,0 1 9,0-1-10,0 1 15,-1 0-3,1-1 4,0 1-6,0-1 7,0 1-6,0-1 7,-1 1-4,1 0-3,0-1 4,0 0-3,0 1 1,1-1 0,-2 0 1,1 1 1,0-1-8,0 1 6,0-1-8,1 0 8,-1 1 1,0-1-2,0 1 4,0-1-4,0 0 2,0 1-2,0-1 3,0 0-2,0 1 4,-1-1-4,1 1 1,0-1 0,0 1 0,0-1 1,-1 0-1,1 1 1,-1-1 0,1 0-1,-1 0 0,1 1 0,0-1 1,-1 0-7,1 0 5,0 0-5,0 0-30,0 0 24,-1 0-27,1 0 34,0 0-8,0 0 4,0 0-5,0 0 4,0 0 9,0 0-10,0-1 10,0 0-5,1 0 0,-1 0 1,-1 0-4,1 0-13,0 0 10,1 0-9,-1-1 20,0 1 1,0-1 0,0 0-1,0 0-1,-1 0-4,1 0 4,1-1-6,-2 1 1,1-1-1,0 0 2,-1 0-1,1-1-7,-1 1 7,1 0-3,0-1-3,-1 1 8,1-2-10,-1 2 17,1-1-8,0 1 8,-1-1-10,1 1 15,-1-1-10,1 1 10,-1 0-14,1 0 11,-1 0-7,1 0 10,0 1-7,-1-1-5,1 1 4,-1 0-5,0-1 2,1 0 4,-1 1-4,0 0-2,0-1 2,1 0-3,-1 1 4,0-1-1,0 1 1,0-1-2,1 1 1,-1-1 2,0 0-1,1 0 2,-1 0 3,0 1-4,1-1 5,-1 0-6,1 0 3,-1 0 0,1-1 0,-1 2 3,0-1-3,1 0 3,-1 1-4,1-2 2,-1 2-1,0 0 3,0 0-4,0 0 1,1 0 0,-1 0 1,0 0-2,0 0 0,1 0 0,-1 0-2,1 0 2,-1-1-2,0 1 3,1-1-1,0 1 0,-1-1 1,1 1-1,-1-1 2,1 0-1,-1 1 0,1 0-1,0 0 2,-1 0-2,0 0 3,1 1-2,0-1-18,-1 1 14,1-1-14,0 0 10,-1 0 5,1 1-7,-1-1 8,1 1-2,0-2 1,0 1-2,0 0 5,0 0-4,0 0 3,-1 0-5,2 0 35,-1 1-23,0-1 25,0 0-30,0 1 22,0 0-11,0 0 13,0 1-22,0-1-1,0 0 0,1 0 4,-1 0-13,0 1 10,0-1-11,1 0-3,-1 1 11,0-1-12,0 1 13,1-1-2,-1 0-2,0 0 0,1 1-1,-1-1 3,0 1-2,1 0 16,-1-1-12,1 1 12,-1-1-13,0 1 9,1 0-5,-1-1 5,0 1-6,1 0-4,-1 0 4,1 0-3,-1 0 12,0 0-6,0-1 7,1 1-9,-1 0-3,1 0 2,-1 0-2,0 0-3,0 0 4,1 0-4,-1 0 5,0 0-6,0 0 4,1 0-4,-1 0 5,1 0-5,-1 0 3,0 0-3,1 0 4,-1 0 10,1 0-8,-1 0 9,0 0-13,0 1 2,0-1-1,1 0 0,-1 1 1,0-1 0,0 1 1,0 0-3,0 0 2,0 0-3,0 0 4,0 0-4,0 0 2,0 0-3,0 0 2,0-1 0,0 1 0,0 1 0,0-1 1,0-1 3,0 2-3,0-1 4,1 0-4,-1 0 0,0 0 0,0 0 1,0 1-1,0-1 0,1 1 1,-1 0-2,0-1 2,0 1-2,0 0 2,0-1 8,0 1-5,0 0 6,0-1-10,0 1 1,0-1-1,0 1 2,0-1 2,0 0-2,0 0 3,0 0 2,0 0-2,0 0 3,0 0-5,0-1-4,0 1 3,0 0-3,0 0 3,0-1-5,0 1 3,0 0-2,0 0 0,-1 0 3,2-1-4,-1 1 4,-1 0-3,1 0 3,0-1-4,1 1-4,-2 0 4,1 0-4,0 0 6,0 0 1,0 0-1,0 0 1,0 0-1,0 0 1,0 0 0,0 0-1,0 0 1,0 0 0,1 0 1,-1 0-1,0 0 0,0 0 1,1 0-1,-1 0 12,0 0-8,1 0 9,-1 0-11,0 0-3,1-1 4,-1 2-4,0-1 2,0 0 0,1 0 0,-1-1-3,0 1 3,1 0-2,-1 0 2,0 1-3,0-1 3,0 0-4,0-1 4,0 1-3,0 0 2,0 0-1,0-1 1,0 1-13,0 0 9,0-1-9,0 0-8,0 1 13,0-1-14,0 0 20,0 0-1,1 0-1,-1 0-1,1 0 8,-1 0-5,1 0 4,-1 0-8,1 0-4,0 0 3,0 0-2,0 0 4,-1 0 10,1 0-7,-1 0 10,1 0-12,0 0 11,-1 0-9,1 0 7,-1 0-3,1 0-3,-1 0 3,1 0-6,-1 0 2,0 0-2,0 0 3,0 1-34,0-1 24,0 0-26,0 0 34,0 0-13,0 0 9,0 0-13,-1 0 17,1 0-6,0 0 5,-1-1-8,1 1 2,0 0-3,0-1 3,-1 1 17,1-1-12,0 1 13,0-1-15,-1 1 7,1-1-4,-1 1 8,1 0-9,-1 0 14,1 0-10,-1 0 8,1 0 6,0 0-12,-1 0 13,1 0-14,0 0 3,-1 0-3,1 0 4,0 0-5,-1 0 2,1 1-1,-1-1 1,1 1-2,0 0 1,0 0-1,-1 0 2,1 0-1,-1 0 0,1 0-1,0 1 0,0-1 1,0 0-1,0 0 1,0 0 0,0 1 0,0-1 0,0 0-8,1 1 6,-1-1-6,0 0 8,0 0-49,1 0 34,-1-1-37,1 1 44,-1-1-7,1 1 2,-1-1-5,1 0 5,0 0 31,-1 0-28,1 0 27,-1 0-34,1 0 42,0 0-29,-1 0 53,1 0-48,-1 0 16,0 0-15,0 0 1,0 1 4,1-1-3,-1 0 5,0 1-12,0-1 8,-1 0-8,1 1 5,0-1-6,0 1 3,-1-1-4,1 1 5,0-1-1,0 0 1,0 0-2,0 0 2,0 0 0,-1 0 0,1 0 0,1 0 0,-1 0 0,0 0 0,0 0 11,0 0-9,0 0 10,1 0-11,-1 0-1,0 0 1,0 0 0,0 0-1,0 0 1,1 0 0,-2 0-95,2 0 22,-1 0-89,0 0 92,0 0-434,0 0 145,0-1-152,1 0 270,-1-1 240,2-1 0,-1-1 0</inkml:trace>
  <inkml:trace contextRef="#ctx0" brushRef="#br0" timeOffset="135">3304 1369 9058,'0'-1'-201,"0"0"432,0 1-94,0-1 52,1 1-19,0-2 2,-1 1 46,1 0-51,-1 0 8,1-1 9,0 1-42,0-2 4,0 1-5,1-1-78,0-1 45,1 0-47,0-1 75,0 1-84,0-2-7,1 0-23,0 0 20,0 0 19,0 1-13,0 0-24,-1 0-39,1 0 0,0 0 20,-1 1-44,-1 1 59,1 0-24,0 1 21,-2-1-42,1 1 54,0 0-58,0 0 69,-1 0-41,0 0 30,1 1-28,-1-1 29,0 1-54,0-1 41,0 1-46,0-2 29,1 1 7,-1 0-13,1 0-15,0-1 30,-1 1-35,0 1 38,1-2 23,-1 2-17,1-1 20,-1 0-28,0 1-12,0 0 10,1 0-10,-1 0-9,0 0 14,1 0-14,-1 0 8,0 0 9,1 0-10,-1 0 12,1 0-2,0 0 2,0 0-4,1-1 2,-1 1 19,1 0-15,-1-1 15,0 1-21,1 0 71,-1 0-49,1-1 59,0 1-9,-1 0-35,1-1 47,-1 1-59,0 0 12,0 0-11,-1 1 16,1-1-57,-1 1 37,0-1-38,1 0 46,-2 1-36,1 0 23,0 0-22,0 0 22,-1-1-13,1 1-1,-1 0-7,1 0 1,0 0 15,-1 0-18,1 0 79,0 0-52,0 0 51,0 0-60,0 0 65,0 0-43,1 0 48,-1 0-53,0 1 4,0-1 4,1 0 4,-1 0-3,1 0-30,-1 1 25,1 0-27,-1-1-45,1 0 55,-1 1-61,1-1 40,-1 1 16,0 0-24,1-1 21,-1 0 4,0 1-10,1 0 7,-1-1-8,0 1 7,0 0-6,0-1 7,0 1-3,1-1-6,-1 1 6,0-1-7,0 1-2,0-1 10,0 1-9,1 0-28,-1 0 25,1-1-29,-1 1 34,0 0-35,0 0 23,1 0-30,-1-1 38,0 1-6,0 0 4,1 0-6,-1-1 3,0 1 6,0 0-4,0 0 6,0-1 2,1 1-7,-1 0 8,0 0-9,0 0 0,0-1 3,0 1-2,1-1-25,-1 1 17,0-1-21,0 1 28,0-1-28,0 1 20,0-1-25,1 0 28,-1 1 11,0-1-8,1 1 7,-1-1-11,0 0 15,1 0-10,-1 0 14,0 0-2,1 1-10,-1-1 13,0 0-13,1 0-33,-1 0 27,0 0-27,0 0 33,1 0-2,-1-1 0,0 1-2,0-1 9,0 0-6,1 0 4,-1-1 27,0 1-27,1-2 28,-1 2 11,0-2-31,1 1 36,-1 0-40,1 0 0,-1-1 8,1 1-7,-1-1 6,1 0-1,0 0 0,0 0 1,0 1 4,-1-2-10,1 1 7,0 0-6,0 0 4,0-1 0,0 1-3,0 0 70,-1-1-52,1 1 54,0-1-62,0 1-10,-1 0 12,1 0-9,0 0 13,-1 0-20,1 0 19,-1 1-17,0-1 23,1 1-53,-1-1 36,0 1-40,1-1-3,-1 1 34,1-1-42,-1 1 0,0 0 25,0-1-29,1 1 34,-1 0-7,0-1 1,1 0-4,-1 0 9,0 1 16,0-1-13,1 1 12,-1-1-16,0 0 12,0 1-9,0-1 9,0 1-10,0 0 19,0 0-11,0 0-25,-1 0 14,1 0-32,0 0 41,-1 1-59,0-1 42,1 1-45,-1-1 51,1 1-14,-1-1 3,0 0-12,1 1 41,-1-1-21,1 0 22,-1 1-25,0-1 8,1 1-7,-1-1 9,0 1 17,0-1-19,1 1 27,-1 0-30,0-1 14,0 1-11,0 0 12,1 0-9,-1 0-19,0 0 12,0 0-16,1 0 21,-1 0-52,0 0 37,1 0-43,-1-1 25,1 1 15,-1-1-17,0 0 5,1 1 14,-1-1-21,0 0 21,0 1 3,0-1-1,1 1 1,-1-1-6,0 1-9,0 0 7,1 0-3,-1 0 60,0 0-37,0 0 39,0 0-51,0 0 4,0 0-1,0 1 5,0-1-1,0 1 36,1-1-25,-1 0 27,0 1-19,0-1-12,0 1 169,0 0-146,0 0 142,0 0-163,0 2-5,0-1 21,-1 2-25,1-1 15,0 1 8,-1 1-13,0-1 9,1 1 22,-1 0-25,0 0 21,-1 0-30,2 1 30,-2 0-18,2-1 21,-2 1-9,1 1-7,-1 0 9,1-1-23,0 1 14,-1 1-14,1-1 16,-1 0-1,1 0-1,-1 1 0,1 0-3,-1-1 17,1 0-15,-1 1 14,1-1 17,-1 1-21,0-1 27,0 0-32,0-1-2,0 1 3,-1-1-2,1 1-32,-1-1 27,-1-1-27,1 1 36,0-1-41,-1 1 27,1-1-31,0 0 33,-1 0-22,0-1 10,0 0-13,0 1-7,0-1 22,0 0-26,0-1 27,-1 0-50,2 0 36,-2 0-38,1-1-6,0 0 33,0 0-43,-1 0 53,1 0-19,-1-1 14,0 0-17,1 0 13,-1 0-24,1 0 17,-1 0-16,0 0 22,1 0 14,0 0-13,1 0 14,0 0-18,0 0 27,1 0-17,1 0 22,0 0 66,1 0-56,0 0 65,1 0-51,1 0-24,1 0 34,0 0-33,0 0 39,0-1-29,1 1 30,-1 0-42,1-1 11,-1 1-10,0-1 9,1 1 1,-1 0 0,0-1 0,0 1 25,0-1-19,0 1 22,-1-1-27,1 0 24,0 0-17,0 1 19,0-1-23,0 0 73,1 0-51,-1 0 59,0 0-52,1 0-12,-1-1 13,1 1-15,-1-1-6,1 0 9,-1 0-10,0 1 10,0-1-20,0-1 16,0 1-14,0 0-21,0 0 26,-1-1-31,0 0 26,0 1 0,1-1-5,-1 0 2,0-1 2,0 1 6,1-1-5,-1 0 6,0-1 15,0 0-12,1 0 13,-1 0 21,1-1-27,0 0 29,-1 1-32,0-1-2,0 0 5,0 1-5,0-1 7,0 1-34,-1 0 28,1 1-28,-1-1-19,0 1-15,0-1-7,0 1 14,0 0-4,0-1-10,1 1-14,-1-1-27,0 0 60,0 1-23,-1-1 22,1 1 26,0-1-25,-1 1 23,1-1-22,-1 1 8,1 0-8,-1 0 8,0 1 9,0 0-8,0 0 17,0 0-19,0 1 10,0-1-7,0 1 8,0 0-31,1-1 21,-1 1-24,1 0 26,0 0-51,-1 0 34,0-1-35,1 1 32,-1 0 5,1 0-7,-1 0 4,1 0 12,-1 0-9,0 1 8,1 0 18,-1 0-17,0 0 21,0 1-27,0-1 61,0 1-39,0 0 52,0 1-46,0 1-2,-1 0 4,1 1-4,-1 0-3,-1-1 7,1 2-6,0-1 14,0 0-11,-1 1 8,1 0-11,0 0 21,-1-1-14,1 2 15,0-1-21,-1 0 31,1 1-22,0-1 29,-1 1-36,1 0 8,-1 1-6,0 0 8,0-1 34,0 1-23,0 0 25,0 0-40,1 0 2,-1-1-2,0 1 6,0 0-21,0-1 15,-1 0-15,2 0 20,-1 0-19,0 0 12,0 0-17,1 0 21,-1-1-17,0 0 10,0 1-11,1-2 18,-1 2-5,0-2 6,0 1-10,1-2 34,-1 1-23,1-1 26,-1 1-33,1-1 4,0-1-1,0 1 4,0-1-13,0 0 11,0 1-12,-1-1 14,2 0-22,-2 0 16,1-1-18,0 1 8,0 0 8,-1-1-12,1 1 13,0 0-6,-1-1 5,1 1-4,0-1 26,-1 0-18,1 1 20,-1-1-23,0 0 27,1 0-17,-1 1 19,0-1-21,0 0 42,1 1-26,-1-1 30,0 1-26,0-1-13,0 1 18,1 0-16,-2-1 20,2 1-16,-1 0 15,0 0-16,1-1-21,-1 1 14,1 0-16,-1 0 22,1 0-2,-1-1 1,1 1-2,0-1-11,0 1 8,-1 0-7,1-1 6,0 1 2,0-1-2,0 1 0,0-1-6,-1 1 3,0-1-5,1 0-9,0 1 14,-1-1-14,0 0 18,0 1 1,0-1-2,0 0 2,0 0-4,0 1 3,0-1-3,0 0 3,0 0-4,0 0 23,0 0-15,0 0 74,1 0-64,-1 0 48,0 0-58,0 0 20,-1 0-11,2 0 14,-1 0-14,0 0-18,0 0 11,0 0-12,0 0-33,0-1 38,0 1-40,0 0 47,0 0-50,-1 0 31,1 0-34,0 0 18,-1 0 21,1 0-29,-1 0 28,1 0-22,-1 0 16,1 0-18,0 0 18,0 0-6,-1 0 5,1 1-2,0 0 5,-1-1-3,1 1 3,0-1-3,0 1-2,0 0 2,0 0-1,-1-1 2,1 1 0,0 0 0,0 0 0,0 0-28,0 0 20,0 0-22,0 0 26,0 0-6,1 0 5,-1 1-7,1-1 2,0 0 2,1 0-2,-1-1 2,1 1-10,0-1 6,-1 1-7,1-1-24,0 0 25,1 0-26,-1 0 41,2 0-8,1 0 7,0-1-13,0 0 42,1 0-31,0-1 31,1 0 4,-1 0 11,1 0 9,0-1-13,-1 1 9,1 0-32,-1 0 42,1 0-62,-1 0 24,1-1-21,0 1 22,0 0-33,0 0 23,-1 1-24,1-1 28,0 1-22,-2 0 11,2 0-13,-1 1-30,0 0 35,0 0-41,0-1 47,-1 1-31,1 1 23,-1-1-26,1 0 40,-1 1-13,1 0 13,-2 1-15,2-1 12,-2 0-9,1 1 10,-1-1-11,0 1 6,0-1-2,0 1 3,0 0-26,-1 0 15,0-1-16,0 1 23,-1 0-47,1-1 31,-1 1-36,1 0-13,-1-1 42,0 0-44,0 1 49,0-1-35,0 0 21,0 0-30,0 1 38,-1-2 25,1 1-18,-1 0 18,1 0 24,0-1-39,-1 1 44,0-1-22,1 0-20,-1 1 22,1-1-25,-1 0 69,1 0-48,-1 0 59,0 0-68,0 0 60,1-1 8,-2 0 12,1 0-16,-1-1-4,0 0-31,0 0 39,0 0-52,0 1 19,-1-1-17,0 0 19,0 0-31,-1 1 27,0 0-27,0-1 9,0 1 10,0 0-18,-1 0 19,0 0-34,1 1 25,-1-1-31,0 1 32,0-1-16,0 1 13,1-1-11,-1 1 12,1 0-18,-1 0 13,1 0-14,0 0 6,1 0 5,-1 0-6,1 0 7,-1 0 7,1 0-5,0 0 4,0 0-1,-1 0-4,2 1 4,-2 0-4,1-1-4,-1 2 3,1-1-2,0 1 0,-1 0 2,1-1-3,0 1 4,0 1-48,1-1 35,-1 0-39,1 0 0,0 1 31,1-2-35,0 1 41,0 0-29,1-1 16,0 0-20,0 0 25,0-1-33,0 0 15,0 0-20,1 0 31,1 0 5,1 0-4,0 0-1,1-1 46,0-1-33,1 0 39,0 0 1,1-1-33,-1 0 38,1 1-46,0-1 56,0 0-35,0 1 42,0-1-45,-1 1 1,0 0 10,1 0-6,-1 0 7,0 0-11,1 1 7,-1 0-29,-1 0-2,1 0-4,-1 1 6,1 0-16,-1 0 23,0 0-27,0 0 29,-1 0 10,0 0-12,0 1 10,0 0-11,0 1 8,0-1-8,-1 1 7,1-1 1,-1 0-4,1 0 6,-1 1 5,0-1-6,0 0 10,1 0-12,-2 0 9,2-1-7,-2 1 5,0-1-6,1 1-30,-1-1 22,0 0-25,0 0 31,1 0 12,-1 0-11,-1-1 10,1 1-2,0-1-8,1 0 9,-1 0-10,1-1 4,-1-1-2,1 1 3,0-1 0,0 0-4,0-1 5,0 1-4,0-1 45,1 0 8,0-1 6,-1 0-11,0 0 42,1 0 15,0-1 16,-1 0-7,1 0-71,0 1 6,-1-1 4,0 1-67,0 0 2,0 1-17,0-1-29,-1 3 83,0-1-32,1 0 42,-2 1-72,1 0 47,0 1-72,0-1 77,0 1-71,-1-1 51,2 1-58,-2-1 67,2 0-17,-2 0 15,1 0 18,0 0-16,0 0 19,1 0-20,-1 0 17,0 0-11,0 0 13,0 0-18,0 0 13,0 0-7,0 0 8,0 0-5,0 0-9,0 0 10,0 0-10,1 0-32,-1-1 27,0 1-31,0 0 39,0-1-13,1 1 8,-1 0-13,0 0 15,1 0-2,-1 0 1,0 0-1,0 0 7,1 0-8,-1 0 10,0 0-11,1 0 5,-1 1-2,1-2 3,-1 2 0,1-2-25,-1 1 21,0 0-21,1 0-5,-1 0 18,0 0-23,0 0 28,0 1 1,0-1-2,0 1-1,-1-1 15,1 1-14,0 0 15,-1-1-18,1 1 16,-1 0-11,1 1 12,0-1-12,-1 0-8,0 1 11,1-1-9,-1 0 5,0 1 0,1-1-2,-1 0-22,1 1 18,-1-1-24,0 1 28,1-1 11,-1 1-8,0-1 10,1 1-16,0 0 20,-1-1-15,1 1 16,-1-1-9,1 1-4,0 0 4,0-1 8,0 1-11,0-1 14,0 1-14,1-1 22,-1 0-16,0 1 15,0-1-18,1 1 35,-1-1-26,0 1 29,0-1-34,0 1 8,0-1-5,0 1 8,1 0-23,-1 0 14,0 0-14,0 0 18,0 0-13,1 0 9,-1 0-11,0 0-15,0 0 19,1 0-25,-1 0 29,1 0-11,-1 0 7,0 0-10,1 0 9,-1 0 16,1 0-12,-1 0 16,1 0-18,-1 0 1,0 0 0,1 0 0,-1 0-3,0 1 3,1-1-1,-1 1-17,1-1 14,-1 1-15,0-1 19,0 1-23,0 0 17,1 0-20,-1-1 19,0 1 5,0 0-8,1-1 8,-1 1-9,0 0 24,1-1-16,-1 1 16,0 0 17,0-1-25,1 1 30,-1 0-36,0 0 12,1 0-9,-2 0 12,2 0-5,-1 0 1,0 0 1,0 0-1,0 1-17,0-1 12,0 1-12,0-1 13,1 1-17,-2-1 11,2 1-11,-1-1 2,0 1 8,0 0-11,1-1 7,-1 1 2,0-1-2,1 1 3,-1 0 16,1-1-13,0 1 13,0 0-15,-1-1 28,1 1-20,0-1 22,0 1-19,0 0-5,0-1 10,0 1-10,0 0-10,0-1 7,0 1-7,0-1 15,0 1-21,0-1 15,-1 0-18,2 0-8,-2 0 17,1-1-23,1 1 27,-1-1-19,0 0 14,1 0-13,-1 0 12,1 0 4,0 0-4,-1 0 2,1 0 7,-1 0-7,0 0 7,1-1-54,-1 1 33,0 0-34,0-1 44,0 1-46,0-1 33,1 1-39,-1-1 46,1 1-44,-1-1 31,1 1-37,-1-1 43,0 0-22,0 1 15,1-1-18,0 0 46,-1 1-28,0-1 28,1 0 23,-1 1-35,-1-1 44,2 1-54,-2 0 50,2 0-35,-2 0 39,1 0-45,-1 0 38,0 0-26,1 0 33,-1 0-35,0 1 37,0-1-27,0 2 27,0-1-35,0 0 5,0 1-4,-1-1 5,1 1-6,0-1 6,-1 1-6,0 0-4,1-1 6,-1 1-7,0-1 9,0 1-24,0 0 17,0-1-20,0 1 23,0-1-5,0 1 3,0-1 21,0 0-16,0 0 20,0 0-23,0 0-1,0 0 5,0 0-3,0 0 5,0-1 9,0 1-6,0-1 9,1 0-8,-1 1-41,1-1 30,0 0-32,0 0 5,0 0 22,0 0-27,1 0 32,-1-1-15,1 0 10,0 1-14,0-1-8,-1 0 12,1 0-14,0 0 16,-1 0 13,1 0-11,-1 1 10,1-1-10,-1 1 23,0-1-14,0 1 17,0-1-22,0 1 18,0 0-10,0 0 13,0 0-4,0 0-10,0 0 10,-1 0 6,1 0-11,0 0 13,0 0-15,-1 0 20,1 1-14,-1-1 15,1 1-19,-1 0 5,1 1-2,-1-1 2,1 0 0,-1 0 42,0 1-26,0-1 29,1 1-47,-1-1 2,0 0 1,1 0-7,-1 1 11,1-2-10,-1 1 9,0 0-32,1 0 23,-1-1-27,0 0 34,1 0-29,-1 1 20,1-1-25,0-1 23,0 1-4,1-1 1,-1-1-1,1 0 3,0-1-4,0-1 4,0 1 2,1-1-1,-1 0 3,1-1-4,1 1 26,-1-1-19,0 1 22,1-1-26,-1 0 10,0 1-7,1-1 9,-1 1-12,0 0 5,-1 0-4,1 0-2,-1 0 3,-1 1-2,0 0 5,0 1-20,0-1 14,0 1-17,-1 0 20,1 0-38,-1 1 27,0 0-33,0 0 38,0 0-29,0 1 20,0 0-20,0 0 11,1 0 10,-1 0-11,1 0 11,0-1 5,0 1-4,1-1 4,0 1-4,-1-1-17,1 1 9,0-1-11,0 0 29,0 0-9,1 0 10,-1 1-14,0-1 40,1 1-28,0-1 33,-1 1-39,1-1 47,-1 1-34,0 0 38,0 0-44,0 0 4,0 0-2,0-1 6,0 1-8,0 0 9,0 0-8,0 0 9,0-1-20,0 1 13,0-1-14,0 1-9,0-1 17,1 1-20,-1-1 23,0 1-13,0-1 10,0 1-12,0 0 8,0-1 0,0 1-1,0 0 3,0 0 7,0 0-6,-1 0 6,1 0-7,-1 0 5,0 0-4,1 0 4,-1 0 2,0 0-4,0 0 6,0 0-7,0 0-7,-1 0 6,2 0-5,-1 0 10,-1 0-1,1 0 2,0 0-5,0 0 37,0 0-27,0 0 29,0 0-36,0 0 1,0 0 1,0 0 3,-1 0-1,1 1-22,0-1 14,0 1-13,-1 0-12,1 0 25,-1-1-26,1 1-3,-1 0 23,1-1-28,-1 1 32,1-1 3,-1 1-3,0 0 0,1-1-4,-1 1 22,0-1-14,1 1 18,-1 0-15,1 0-4,-1-1 5,0 1 6,1 0-10,-1-1 12,1 1-12,-1 0 4,1-1-3,-1 1 3,1 0-2,-1-1-12,1 1 8,0 0-10,-1-1-29,1 1 29,-1 0-32,1 0 37,-1-1 4,0 0-5,0 1 3,1 0-23,-1-1 15,0 1-20,0-1 23,1 0-44,-1 0-28,0 1 42,0-1-42,0 0 133,0 0-71,0-1 44,0 0-45,0 0 43,0 0-31,0-1 34,0-1-10,0 1-16,0 0 22,0-1-18,0 1-2,-1 0 8,0 0-5,-1 0 1,0 0-4,0 0 0,-1 1 0,1-1 0,-1 1 0,-1 0 0,2 0 0,-2 0 0,1 1 0,-1-1 0,1 1 0,-1-1 6,2 0-4,-2 1 5,1 0 18,0-1-18,0 1 19,1 0-22,-1-1 15,1 1-9,-1 0 11,1 0-13,-1 0-11,0 1 12,1-1-11,-1 1-2,0 1 7,-1 0-9,1 0 13,0 0-20,-1 0 14,1 1-19,0-1-3,-1 1 14,0 0-17,1 0 19,-1 0 18,1 0-15,0 1 14,0-1-16,0 0 5,0 0-4,0 1 4,0-1-3,1 1 24,-1-1-15,0 1 17,0-1-13,1 0-5,0 0 7,0 0-53,0-1 33,0 0-35,1 0 46,0-1-71,0 0 50,1 0-59,-1-1 5,1 1 34,0-2-43,0 1 119,0-2-45,1 0 49,-1 0-64,2 0 73,0-2-50,0 1 62,1 0-73,0-1 49,0 0-34,0 0 42,1 0-43,0 0 70,0-1-50,-1 1 53,1 0-30,0 0-18,0 0 19,0 0-38,0 1 9,-1 0-5,1 0 10,-1 1-3,1 0 0,-1 0 1,0 1 1,0 0-27,0 1 19,0-1-23,-1 1-15,1 0 31,-1 0-33,1 1 35,-1 0-26,0 0 13,1 1-16,-1 0 14,0-1 10,-1 1-13,1 0 13,0-1-26,0 1 19,-1-1-23,0 0 21,1 0 16,-1 0-11,1 1 16,0-1 4,-1-1-15,0 1 18,1 0-21,0 0 0,-1 0 0,1-1 3,-1 1-2,1-1 7,0 1-4,-1-1 4,1 1 11,0-1-11,0 1 13,-1-1-17,1 1 41,0-1-31,0 0 32,-1 1-39,1-1 1,0 1 5,-1-1-3,1 1 9,-1 0-41,1 0 32,-1-1-31,0 1-7,0 1 29,0-1-36,0 0 41,0 1-39,0-1 27,-1 0-34,1 0 26,-1 0-3,1 1-1,0-2 3,-1 2 9,1-1-7,-1 0 6,0 0-4,0 0 13,1-1-10,0 1 10,-1 0-2,1 0-6,-1 0 8,2 0-34,-1 0 20,0 0-20,1 0 25,-1-1-25,1 1 16,0 0-17,0-1 20,1 1 5,-1-1-5,1 0 5,-1 0 66,1 0-51,0 0 54,-1 0-27,0 0 11,1 0 10,-1 0-14,0 0-18,0 0-12,0 0 22,-1 0-18,1 0-26,0 0 17,-1 0-22,1 0 32,-1 1-38,0-1 25,0 0-34,0 1 40,0-1-37,0 0 27,0 1-37,1-1 15,-1 0 2,0 0-6,1 0-1,0 0 17,-1 0-16,1 0 18,0 0-46,0 0 34,0 0-38,0-1 71,1 1-23,-1-1 22,0 0-28,0-1 24,0 1-16,0 0 16,0 0-1,-1 0-15,1 0 17,-1 0-19,0 1 8,1-1-6,-2 1 13,1-1-10,0 1-25,0 0 17,-1 0-19,1 0 25,-1 0 2,0 0-3,0 0-4,1 0 54,-1 0-40,0 0 41,0 0-11,1 1-27,-1 0 31,1 0-37,-1 0 46,1 1-25,-1-1 30,1 1-26,0 0-23,-1-1 22,1 1-20,-1 0-15,2 0 18,-2 0-21,2 1 29,-2-1-28,1 0 18,0 1-24,0-1 33,1-1-9,-1 2 8,0-1-11,2-1 31,-2 0-26,1 0 25,1 0-27,-1 0 37,1-1-21,0 1 26,1-1-25,0 0-65,0 0 51,1-1-52,-1 1-262,0-2 70,0 1-221,0 0 268,0 0 88,-1 0 99,1 0 0,1 0 0</inkml:trace>
  <inkml:trace contextRef="#ctx0" brushRef="#br0" timeOffset="136">5712 1012 9502,'0'-2'-14,"0"1"-4,0 0 59,0 0 18,0 1 67,0-1 4,0 1 97,0-1-71,1 1 90,-1 0-111,0 0 66,1 0 0,0 0-1,0 1-13,0 1 0,1-1-41,0 1 42,1 0-57,-1 0 2,1 0-1,0 1-48,-1-1 35,2 1-37,-1 0 49,0-1 0,0 1 0,1 0 14,-1-1-10,0 0-131,0 1 14,0-1-103,0 1 70,0-1-7,-1 0-17,0 0 23,0 0-34,1 0 36,-1 0 11,-1 0 1,1 0 4,0-1 22,-1 2-31,1-2-20,0 1 48,-1 0-53,1-1 59,-1 1-50,0-1 34,0 0-43,0 0-3,0-1-22,0 1 5,-1-1 7,0 0-99,0 0 94,0 0-110,0 0 190,0-1-39,-1-1 31,-1 0-50,0 0 49,0 0 25,0 0 11,-1-1 23,0 0-67,0 1 37,-1-1-38,0 0-14,0 0 13,0 1-21,0-1 3,-1 1 11,1-1-20,-1 0 20,0 1-5,0-1-5,0 0 2,-1 1-6,1-1 9,-1 0-9,2 1 8,-2-1 1,2 1 0,-1 0 2,0 0-2,0 0 3,1 0-2,-1 1 2,1-1-2,-1 1 0,1 0 0,-1 0 0,0 0-39,1-1 27,0 1-28,0 0 35,0 0-14,1 0 8,0 0-9,0 0-53,1-1 46,0 1-52,0 0 63,1 0-9,0 0-31,0 0 13,1 1-17,0-1 61,0 1-17,0 0 20,0-1 12,1 1-35,1 0 38,0 0-42,1 1 45,0-1-28,1 1 31,1 0-33,-1 0 28,2 1-12,-1 0 16,1 1 32,0-2 9,-1 1 14,1 0-11,0 0-21,-1 0-21,0 0 21,0 0-48,0-1 24,0 1-16,0 0 21,0 0-47,0 0 29,0-1-35,0 1 46,0 0-24,0 1 16,0-1-26,1 1 20,-1-1-9,0 1 7,-1 0 31,1-1-20,-1 1 25,0 0-33,-1 0 19,0-1-12,-1 0 18,1 1-19,-1-1 41,0-1-30,-1 1 33,1 0-46,-2 0-7,2-1 4,-1 1-5,0 0-10,0-1 20,0 1-19,0-1 18,0 1 4,0 0-9,1 0 7,-1 0-6,0-1 7,0 1-5,0-1 4,0 1-6,0-1 3,1 1-6,-1 0 50,1-1-34,0 1 37,0-1-41,0 1 64,0-1-43,0 1 49,0-1-78,0 0 12,1 1-10,-1-1 15,-1 1-12,1-1 15,0 0-14,0 1 23,0-1-44,0 1 28,0-1-32,-1 1 5,0-1 20,1 1-28,0-1 16,-1 1-14,1-1 4,-1 1-1,1 0-2,-1-1 12,1 1-15,-1-1 20,0 0-42,1 1 29,-1-1-32,1 0 37,0 0-2,0-1-4,0 2 2,0-1-23,1-1 19,-1 1-22,1 0 24,-1 0-11,1-1 7,0 1-8,0 0 1,0 0 4,0-1-4,-1 1 7,1 0 8,0-1-7,0 1 8,0-1-8,0 0 7,1 1-6,-1-1 5,0 0-7,1 0 10,-1 0-5,2 0 7,-2 0-8,1 0 15,0 0-10,0 0 11,-1 0-86,1 0-19,-1-1-6,0 1-160,0 0 104,0 0-114,-1 0 76,0 0-242,0 0 57,-1 0-198,0 0 217,0 0-295,-1 0 336,0 0-354,-1 0 432,-1 0 31,-1 0 115,0 0 96,-1 0 0,0 0 0,-1 0 0,0 0 0,1 0 0,-1 0 0,0 0 0,1 0 0,0 0 0,0 0 5,0 0 15,1 0 13,0 0-23,0-1 57,1 1-22,0 0 46,0-1-28,0 0-6,1 0-35,0 0 6,1 0-8,-1-1-5,1 1 10,0-1 60,0 1 14,1-1 1,-1 1-15,2 0 44,-1 0-22,1 0 98,0 0 3,0 1-12,0 0 33,0 0-8,0-1-69,0 1 32,0 1-81,0-1 105,1 0-77,-1 1 84,0 0-89,1 1-2,0-1 0,-1 1 4,0-1 7,1 2-36,0-2-28,0 1-10,-1 0-34,2 0 15,-1 0 1,0 0 5,0 0-17,0 0-17,-1 1-4,1-1-26,0 0 74,-1 0-19,1 1 3,-1 0-21,1-1 13,-2 1-17,1-1 27,0 1-27,0 0 10,-1-1-12,0 1-31,0-1 46,0 0-50,0 0 28,1 0 16,-2 0-19,1 0 27,0 0 17,0-1-16,0 1 13,1-1-23,-1 1 16,0 0-10,1-1 10,-1 1-10,1 0 38,-1 0-25,1 0 29,0 0-92,-1-1 39,1 1-39,-1 0 54,1 0-67,-1 0 47,0-1-55,0 1 30,0-1 22,1 0-27,-1 0 21,-1 0-5,1 0-1,0 0-3,0-1 3,0 1 29,1 0-24,-1-1 24,0 1-29,-1 0 7,1 0-3,0 0-19,0 0 19,0 1-20,-1-1 25,1 0-27,0 1 18,0 0-21,-1-1 24,1 1-55,0-1 37,0 1-47,0 0 57,1-1 0,-1 1 0,0-1-1,1 1 8,-1-1-12,1 0 11,-1 0-13,1 1 29,0-1-20,-1 0 21,1 0-5,-1 1-14,1-1 18,-1 0-19,1 1-8,-1-1 7,0 0-7,1 1 11,-1 0-43,0-1 30,0 1-35,0 0 24,1 0 8,-2-1-11,1 1-25,0 0 31,0 0-37,0 0 40,0-1-11,-1 2 8,1-2-9,0 1 9,-1-1 1,1 1 0,-1-1 3,1 1 16,-1-1-14,1 0 16,-1 1-28,0-1 6,0 0-4,0-1 7,0 1 20,0 0-15,0 1 16,0-1-19,0 0 35,0-1-24,0 1 27,0 0-33,0-1 28,0 1-19,0-1 20,0 1-76,0-1 38,0 0-143,0 1 119,0-1-52,0 0 71,-1 0 27,1-1-35,0 0 57,-1 0 13,1-1 6,0-1 69,-1-1-102,0 1 73,-1-2-80,1 1 17,-1-2-13,-1 0 9,0-1-5,-1 1-17,0-1 13,-1 0-17,-1-1-107,0 0 27,-1 1-115,-1-1 111,0 1-126,0 0 78,0 0-88,0 1-267,-1-1 345,2 1-238,0-1 391,0 1 0,0-1 0</inkml:trace>
  <inkml:trace contextRef="#ctx0" brushRef="#br0" timeOffset="137">759 1080 9066,'0'1'209,"0"-1"278,0 0-258,0 0 215,0 0-451,-1 0-21,1 0-17,-1 0-28,0 0 38,0 0 10,1 0-56,-1 0 87,0 0-53,0 0 57,1 0-22,-1 0 14,0 0-18,0 0 16,0 0 19,0 0-13,0-1 17,0 1-22,1 0 8,-2-1-5,2 1 7,-1 0-16,0 0 8,0 0-7,0 0-13,1 0 17,-1 0-18,0 0 20,1-1-5,-1 1 2,0 0-3,1 0 1,-1 0 3,1 0-6,-1 0 5,0 0-6,1 0 26,-1 0-18,0 0 19,1 0 3,-1 0-16,0 0 20,1 0-19,-1 0-2,1 0 3,-1 0-1,0 0-11,1 0 9,0 0-8,-1 0 9,0 0-13,0 0 10,1 0-11,-1 0 11,1 0 12,-1 0-10,1 0 10,-1 0 12,0 0-16,1 0 18,0 0-18,-1 0-3,1 0 4,-1 0-2,0 0 7,1 0-2,-1 0 2,1 0-3,-1 0-11,0 0 8,1 0-7,-1 0 9,1 0-26,-1 0 18,0 1-22,0-1 15,1 0 4,-1 0-4,0 0 2,0 0 5,1 0-6,-1 0 4,0 0 26,0 0-17,1 1 17,-1-1-25,0 0 59,1 0-42,-1 0 48,0 0-57,1 0 9,-1 0-5,1 0 9,-1 0-31,0 0 22,1 0-20,-1 0 6,1 0 12,-1 1-15,0-1 17,1 0-38,-1 0 27,1 0-33,0 0 39,-1 0-48,1 0 33,-1 0-39,0 0 44,1 1-12,0-1 10,-1 0-9,0 0 10,1 0-4,-1 0 3,1 0 2,-1 1-4,1-1 5,-1 0-5,0 0 3,0 0-2,1 0 2,-1 0 1,0 1-1,1-1 1,-1 0-1,1 0-1,-1 1 31,1-1-22,-1 0 23,0 0-9,1 1-15,-1-1 18,1 0-10,0 0-5,-1 0 6,1 0-5,-1 1-20,1-1 16,-1 0-15,1 0 18,0 1-11,-1-1 7,1 0-8,0 0 8,-1 1-18,0-1 7,1 0-10,-1 1 4,1-1 12,0 0-13,-1 1 11,1-1-4,-1 0 2,1 0 2,-1 1 36,1-1-27,-1 1 29,1-1-35,-1 0 1,1 0 2,-1 0 1,0 1-5,1-1 3,-1 0-1,1 0 2,-1 1-10,1-1 8,-1 0-10,0 1 1,0-1 7,0 0-10,1 0 11,-1 1 11,0-1-9,1 0 6,-1 0-9,0 1-4,1-1 3,-1 0 0,0 1 2,1-1 6,-1 0-4,1 0 4,0 0-7,-1 0 3,1 0-4,-1 0-3,1 1 3,0-1-5,0 0 7,-1 0-5,1 0 4,0 0-7,-1 0 7,1 0-5,0 1 4,-1-1-4,1 0 4,0 0 14,0 0-11,-1 1 12,1-1 0,-1 0-8,1 0 9,0 0-16,0 1 2,-1-1-2,1 0 4,0 0 8,0 0-6,-1 0 7,1 0-8,0 1 11,0-1-8,0 0 10,-1 0-11,1 0-8,0 0 4,0 1-5,-1-1-5,1 0 9,0 0-11,0 0 3,-1 1 6,1-1-7,0 0 9,0 0-3,0 0-1,0 0-1,-1 0-1,1 1 2,0-1-2,0 0 2,0 0 5,-1 1-3,1-1 3,0 0-4,0 1 32,0-1-23,-1 0 24,1 0-15,0 1-9,0-1 10,0 0-10,0 1-14,-1-1 11,1 0-10,0 0 13,0 1-14,0-1 11,0 0-11,0 1 5,0-1 5,0 0-8,0 0 8,0 0-5,0 0 3,0 1-4,0-1-2,0 0 2,0 1-2,0-1 3,0 0 0,0 1 0,0-1 0,0 0 2,0 0-4,0 0 3,0 1-3,0-1 3,0 0-11,0 1 8,0-1-8,0 0 8,0 1 0,0-1 0,0 0 1,0 0 1,0 1-1,0-1 0,0 0 2,0 0-3,0 1 4,0-1-4,0 1-23,0-1 16,0 0-17,0 1-20,0-1 30,0 0-32,0 0 39,1 1 12,-1-1-11,0 0 8,0 1-2,0-1-6,0 0 4,0 1-9,0-1 55,0 0-40,0 0 46,0 1-55,0-1 48,0 0-34,0 0 44,0 1-46,0-1 8,1 0-5,-1 1 7,0-1-23,0 0 17,0 0-17,0 1-12,0-1 20,0 0-22,0 0 28,0 1-22,0-1 15,0 0-22,0 0 23,0 1-10,1-1 8,-1 0-7,0 1 26,0-1-17,0 0 17,0 0-21,0 0 13,0 1-9,0-1 11,0 0-11,0 1 0,0-1 3,0 1 0,0-1-29,1 0 22,-1 0-23,0 1 26,0-1-6,0 0 2,0 1-3,0-1 1,0 0-17,0 1 9,0-1-12,0 0 30,0 0-8,0 1 8,0-1 29,0 0-30,0 1 31,0-1-37,0 0 18,0 1-9,1-1 12,-1 0-12,0 1-45,0-1 35,0 0-34,0 0 2,0 1 28,0-1-31,0 0 39,0 0-41,0 0 28,0 0-37,0 1 61,0-1-23,0 0 19,0 0-28,0 0 74,0 0-55,0 0 59,0 1-18,0-1-32,0 0 276,0 0-211,0 0 192,0 0-230,0 0-20,-1 0 14,1 0-16,0 0 25,-1 0-62,1 0 44,0 0-50,-1 0 0,0-1 44,1 1-50,-1 0 53,1 0-34,-1-1 14,0 1-20,1 0 15,-1 0 13,0-1-15,0 1 15,1 0 3,-1-1-2,0 1 4,0-1-7,0 1 14,0-1-9,0 1 12,0 0 23,0 0-26,0-1 29,0 1-33,0 0-6,0 0 7,1 0-7,-1 0-29,0-1 27,0 1-28,0 0 36,1 0-29,-1 0 20,0 0-24,1 0 24,-1 0-19,1 0 7,-1 0-8,1 0-11,-1 0 19,1 0-22,-1 0 25,1 0 9,0 0-6,-1 0 8,1 0 4,-1 0-12,1 0 13,0 0-13,-1 1 9,0-1-4,1 0 5,0 0-8,-1 0 3,1 0-1,-1 0 2,1 0 2,-1 0-4,1 0 4,0 0-4,-1 0 0,1 0 0,-1 0 0,1 0-9,-1 0 6,1 0-6,-1 0 7,0 0-9,1 0 7,-1 0-7,1 0 8,-1 0-10,1 0 6,-1 0-6,1 1 11,-1-1-1,1 0 0,-1 0-2,1 0-5,-1 0 3,0 0-3,0 1-15,1-1 12,-1 0-13,0 0 16,0 1 8,0-1-7,1 0 7,-1 0-8,0 1 8,1-1-5,-1 0 6,1 0 8,-1 0-11,1 0 12,-1 0-14,1 1 6,0-1-1,-1 0 3,1 0-45,-1 0 27,1 0-29,0 0 38,-1 0-18,1 0 13,0 0-17,0 0 18,-1 0 7,1 0-5,0 1 2,-1-1 5,1 0-11,0 0 8,0 0-9,-1 0 26,1 0-18,0 1 21,-1-1-12,1 0-9,0 0 15,-1 0-15,1 0 18,0 0-13,0 0 9,-1 1-10,1-1-5,0 0 3,0 0-2,-1 0-10,1 0 11,0 0-11,0 1 6,0-1 3,0 0-5,-1 0-72,1 0 83,0 0-81,1 0 95,-1 0-14,0 0-10,1 0 11,0 0-14,-1 0 52,1-1-36,0 1 45,0 0-11,0 0-20,0 0 25,1 0-29,-1 0-15,0 0 13,0 0-11,1 0 11,-1 0-17,1 0 13,0 0-14,-1 0 16,1 0 1,-1 0-1,1 0 0,-1 0 8,1 0-7,-1 0 4,1 0 41,-1 0-38,1 0 42,-1 0-48,0 0 12,0 0-9,1 0 15,-1 0-13,0 0 13,0 0-10,0 0 9,0 0-26,0 0 18,-1 1-18,1-1 19,0 0-19,0 1 10,0-1-11,0 0 27,0 0-10,-1 0 9,1 1-13,0-1-3,0 0 3,0 0-1,-1 0 2,1 1-26,0-1 18,0 0-20,0 0 4,-1 1 15,1-1-16,0 0 3,0 1 11,-1-1-14,1 0 18,0 0-33,0 1 23,-1-1-28,1 0 32,-1 0-22,1 1 12,0-1-14,0 0 18,-1 1 2,1-1-1,-1 0-2,1 0 20,0 1-16,-1-1 16,1 0-19,-1 0 11,1 0-8,-1 1 10,1-1-18,-1 0 6,0 0-5,1 0 10,-1 1-5,1-1 4,-1 0-5,0 0 4,1 0-16,-1 0 10,1 0-11,-1 0 17,0 0-2,0 1 1,0-1 23,0 0 2,1 0 6,-1 0 8,0 0-30,0 0 13,0 0-12,0 0-3,0 1 5,0-1-3,0 0-3,0 0 2,0 1-3,0-1 5,0 0-9,0 1 6,0-1-7,0 1 9,-1-1 8,1 0-7,0 1 4,0-1-8,0 1-1,0-1 1,0 1-10,0-1 9,0 0-8,0 1 10,0-1-28,0 1 21,0-1-23,0 1 28,0-1-50,0 0 36,0 1-43,0-1 50,0 1-27,0-1 19,0 1-25,0-1 30,0 1-10,0-1 9,0 1 8,0-1-9,0 0 10,0 1-14,0-1 9,0 1-6,0-1 12,0 0-13,0 0 5,0 1-1,0-1 0,0 0 2,0 0-17,0 0 11,0 0-32,0 1 29,0-1-10,0 0 14,0 0 3,0 0-6,0 0 27,0 0-19,0 0 22,0 1 22,0-1-32,0 0 37,0 0 6,0 0-34,0 0 38,0 0 4,-1 0 8,1 0 14,0 0-52,-1 0-7,1 0-31,0 0 41,-1 0-53,1 0 39,-1 0-42,1 0 47,0 0-42,-1 0 25,0 0-30,1 0 32,-1 0-21,0 0 9,0 0-13,0 1 8,1-1 11,-1 0-11,0 0 10,0 0-2,0 1 2,0-1 0,1 0 39,-1 0-28,0 1 30,0-1-37,1 0 24,-1 0-15,0 1 20,1-1-25,-1 0-11,0 0 8,1 0-6,-1 1-17,0-1 23,1 0-23,-1 0 3,1 0 16,-1 0-18,1 1 22,-1-1-56,1 0 38,0 1-48,-1-1 57,1 0-12,-1 1 8,1-1-8,-1 0 7,1 1 14,0-1-10,0 1 12,0-1 5,-1 0-17,1 0 19,0 1 16,0-1-27,-1 1 31,1-1-36,0 0 7,0 0-4,0 1 8,0-1-7,0 0 0,0 1 0,0-1 0,-1 0 1,1 0-5,0 0 4,0 1-6,0-1 1,0 0 3,0 0-4,0 1 1,0-1 3,0 0-4,0 1 3,0-1 1,0 0 0,0 0 0,0 1 0,0-1 3,0 0-2,0 0 3,0 1-4,0-1 6,0 0-3,0 0 4,0 0 9,0 0-11,0 1 12,0-1-15,0 0 30,0 0-21,0 0 24,0 0-23,1 0-2,-1 0 3,0 0-1,0 0-20,1 0 15,-1 0-15,0 1 18,1-1-11,-1 0 10,0 0-10,0 0 54,1 0-34,-1 0 31,1 0-40,-1 0-10,0 0 9,1 0-7,-1 0-7,0 0 11,0 1-10,1-1 17,-1 0-23,1 0 18,-1 0-20,1 0 22,-1 0-5,0 0 3,1 0-7,0 0 5,-1 0-8,1 0 7,0 0-11,-1 0 9,1 0-5,-1 0 6,1 0-7,0 0 5,-1 0-6,1 0 7,0 0-37,-1 0 27,1 0-30,-1 0 36,1 0-8,0 0 5,-1 0-8,1 0 3,-1 0 1,1 0-2,0 0-40,-1 0 30,1 0-33,0 0 43,-1 0-12,1 0 9,-1 0-12,1 0 12,-1 1-34,1-1 23,-1 0-26,1 0 33,0 0 31,-1 0-23,1 0 24,0 1 4,-1-1-29,0 0 32,1 0-9,-1 0-19,0 0 26,0 0-29,0 0 21,0 0-14,0 0 16,0 1-13,0-1 13,0 0-8,0 0 10,0 0-14,0 0 14,0 1-10,-1-1 9,1 0-11,-1 0 0,1 1 1,-1-1 1,1 0 0,-1 0 0,0 1 0,1-1-4,-1 1 3,1-1-3,-1 0 3,1 1-6,-1-1 3,1 1-4,-1-1 5,1 1 0,-1-1 0,1 1 0,0-1 10,-1 1-7,1-1 8,0 0-3,0 1-5,-1-1 7,1 1-8,0-1-1,0 1 2,-1-1-1,1 0 2,0 1-12,0-1 8,0 0-9,0 1 11,0-1 0,0 1-1,0-1 1,0 0-4,0 0 2,0 1-2,0-1-6,0 1 4,0-1-5,0 1 8,0-1-5,0 0 4,0 1-4,0-1 5,1 1-6,-1-1 3,0 0-2,1 1 3,-1-1-15,0 0 11,0 1-14,1-1 11,-1 0 2,0 1-2,1-1 5,-1 0 0,1 0 0,-1 1-2,0-1 7,1 0-5,-1 1 5,0-1-7,1 0 19,-1 1-13,1-1 16,-1 0-19,0 0 5,1 1-4,0-1 5,-1 0 12,1 0-10,0 0 12,-1 0-20,1 0 3,-1 0-2,0 0 3,1 0-3,-1 0 4,1 0-4,-1 0 4,1 0-13,-1 0 9,1 0-10,-1 0 12,1 0-47,0 0 34,-1 0-38,1 0 24,-1 0 12,1 0-19,0 0 0,-1 0 12,1 0-14,-1 0 22,1 0 20,0 0-17,-1 0 16,1 0-24,-1 0 18,0 0-12,1 0 13,-1 0-12,1 0 24,-1 0-14,0 0 16,0 0-33,0 0 6,1 0-6,-1 0-25,0 0 29,0 0-31,0 0 36,0 0 0,0 0-9,1 0 4,-1 0 12,0 0-6,0 0 19,0 0-7,0 1-2,0-1 5,0 0-8,0 0-23,0 0 17,0 1-18,0-1 20,0 0-12,0 0 7,-1 0-9,1 0 10,0 0 11,0 0-9,0 1 7,0-1-14,0 0 3,0 0-6,0 0 17,0 0-8,0 1 8,0-1-8,0 0 36,0 0-26,0 1 30,0-1-36,0 0 35,0 1-25,0-1 27,0 0-32,0 0 8,0 0-5,0 0 8,0 1-21,0-1 14,0 0-13,0 0-2,0 1 12,0-1-14,0 0 17,0 0-31,0 0 21,0 1-27,0-1 31,0 0-33,0 0 24,0 1-28,0-1 31,0 0 4,0 0-3,0 1 5,0-1-10,0 0-1,0 0 1,0 1 8,-1-1-4,1 0 6,0 0-7,0 1 0,0-1-1,0 0 2,0 0 0,0 0 5,0 0-3,0 1 3,0-1-6,0 0-15,0 0 11,0 0-12,0 1 22,0-1-6,0 0 6,0 0-22,0 0 11,0 0-11,-1 0 13,1 1-6,0-1 4,0 0-5,0 0 6,0 0-3,0 1 2,0-1-3,0 0 2,0 0-17,0 0 14,0 0 23,0 0 80,0 1-36,-1-1 110,1 0-135,0 0 57,0 0-60,0 0-27,0 0 28,0 0-22,0 0 30,-1-1-31,1 1 27,0 0-28,-1-1-23,1 1 33,-1 0-44,1-1 66,-1 1-21,1 0 16,0 0-24,-1-1 16,0 1-13,1 0 14,-1-1-11,0 1-10,1 0 9,-1 0-4,0-1-9,0 1 15,1-1-15,-1 1 17,0-1-2,1 1 1,-1 0-2,0-1 34,0 1-24,0-1 22,0 1-31,0 0 7,1 0-3,-1-1 7,0 1-8,0 0-7,0-1 6,1 1-3,-1 0 6,1 0-26,-1 0 18,0 0-23,0 0 3,1-1 17,-1 1-19,1 0 12,-1 0 7,1-1-13,-1 1 14,0 0-14,1 0 10,0-1-11,-1 1 11,0 0-3,1 0 2,-1 0-2,1-1 4,-1 1-2,1 0 2,-1 0-2,1 0 16,-1 0-11,1 0 11,-1 0-16,1 0 1,-1 0-1,1 0 3,0-1-3,-1 1 4,1 0-4,0 0 4,-1 0-7,1 0 5,0 0-6,0 0 12,-1-1-5,1 1 5,0 0-6,-1 0-1,1 0 1,-1 0-1,1 0 25,0 0-17,-1 0 19,1 0-22,-1-1 20,1 1-12,-1 0 14,1 0-18,-1 0 3,1 0 2,0 0 0,-1 0 11,1 0-18,-1 0 17,1 0-19,-1 0-6,1 0 9,-1 0-10,1 0-12,0 0 18,-1 0-20,0 0 23,1 0-27,0 0 17,-1 0-21,1 0 24,-1 0-7,1 0 2,-1 0-6,1 0 7,-1 0-2,1 0 0,-1 0-1,1 0 5,0 0-1,-1 0 0,0 0 4,1 0-3,0 0 3,-1 0-4,1 0 4,-1 0-2,1 1 3,-1-1-4,1 0 9,-1 0-6,1 0 6,-1 0 5,1 0-8,0 0 10,-1 1-13,1-1-3,-1 0 4,1 0-4,0 0-3,0 1 6,0-1-5,-1 0 6,1 0-17,0 0 13,0 1-15,-1-1 17,1 0-28,0 1 20,0-1-23,0 0 27,0 1 1,0-1-1,0 0 0,0 1 8,0-1-10,0 0 11,0 0-2,0 1-6,0-1 7,0 0-9,0 1 5,0-1-3,0 0 4,0 0-3,0 1 5,0-1-3,1 0 4,-1 0-5,0 1 2,0-1-2,0 0 0,1 0 14,-1 1-10,0-1 12,0 0-12,0 0-2,1 0 4,-1 0-3,0 1 4,1-1-3,-1 0 3,0 1-3,1-1-3,-1 0 3,1 0-3,-1 0 10,0 0-5,1 0 6,-1 0-7,1 0 15,0 1-10,-1-1 10,0 0 5,1 0-13,0 0 16,-1 0-18,1 0-16,0 0 12,-1 0-12,1 0 16,0 0-18,0 1 14,0-1-15,0 0 8,-1 0 6,1 0-8,0 0 9,0 0-15,0 0 11,0 0-16,-1 0-22,1 0 22,0 0-25,0 0 33,0 0-11,0 0 6,-1 0-8,1 1 11,-1-1-20,1 0 12,0 0-14,-1 0-16,1 0 26,-1 0-29,0 1 10,1-1 15,-1 0-21,1 0 27,-1 0 16,0 0-12,0 0 100,0 0-73,0 0 65,0 0-70,0 1 11,0-1-3,-1 0 7,0 0-18,1 0 2,0 0 0,-1 0 3,1 0-17,-1 1 11,0-1-15,1 0 20,0 0-19,-1 1 14,0-1-18,1 0 19,-1 0-11,1 0 7,-1 0-11,0 1 9,1-1-2,-1 0 1,1 0-14,-1 1 13,1-1-13,-1 0 16,1 0-1,-1 0 0,0 0-1,1 1 0,0-1-4,-1 0 2,1 0-1,0 0-9,0 1 8,-1-1-10,1 0 11,0 0 3,0 0-1,0 0 2,-1 0 5,1 0-6,0 1 7,0-1-9,0 0 8,0 0-6,0 0 7,0 0-8,0 1 3,1-1 0,-1 0 2,0 0 9,1 0-9,-1 0 9,0 0-11,1 0 46,-1 0-33,1 0 36,0 1-52,-1-1 9,0 0-7,1 0 10,-1 0-11,1 0 9,-1 0-10,1 0 13,-1 0-18,1 0 13,-1 0-14,1 0 7,-1 0 6,1 0-8,0 0 19,-1 0 5,1 0-1,-1 0 0,1 0 9,0 0-16,0 0 19,-1 0-20,1 0-19,0 0 15,-1 0-13,1 0 19,0 0-36,0 0 26,-1 0-27,1 0 6,0 0 18,0 0-20,0 0 19,0 1-1,-1-1-5,1 0 4,0 0-15,0 0 12,0 0-10,-1 0 11,1 0-13,0 0 10,0 0-10,0 0 12,0 0-4,0 0 2,-1 0-4,2 0 4,-2 0-2,1 0 1,0 0 0,0 0 6,-1 0-4,1 0 5,-1 0-23,1 0 13,-1 0-13,1 0 17,-1 0-27,1 0 19,-1 0-22,0 0 28,1 0-39,-1 0 28,1 0-32,-1 0 54,0 0-20,0 0 19,0 0-23,1 0 34,-1 0-51,0 0 44,0 0-42,0 0 29,0 0-3,0 0 7,-1 0-8,1 0 11,0 0 0,0 0-3,0 1 1,0-1 5,0 0-4,-1 0 5,1 0 3,0 1-7,0-1 7,-1 0-7,1 0 5,0 0-1,-1 1 2,1-1-3,0 0 0,0 0 1,-1 1-1,1-1 0,0 0-1,-1 1 0,1-1 0,-1 0 0,1 0 0,0 0 0,-1 1 0,1-1 0,0 0 0,-1 0 0,0 0 18,1 1-12,-1-1 14,0 0-19,1 0 19,-1 0-14,1 0 16,-1 1-5,0-1-6,1 0 7,-1 0-9,0 0-1,0 0 2,1 0-1,-1 0 2,0 0-2,0 0 1,1 1-1,-1-1 8,1 0-5,-1 0 3,0 0-4,0 0-6,1 0 4,-1 0-2,0 0 24,1 0-16,-1 0 18,0 0-22,1 0 17,-1 0-12,0 0 14,0 0-10,1 0-3,-1 0 5,0 0-7,1 0 1,-1 0 1,0 0 1,1 0 1,-1 0-21,0 0 14,1 0-17,-1 0-11,0 0 22,1 0-26,-1 0 31,1 0-15,0 0 11,-1 0-12,1 0 16,0 0-6,-1 0 5,1 0-6,0 0 15,-1-1-11,1 1 12,-1 0-13,1 0 28,-1 0-17,1 0 21,-1 0-32,1 0 2,-1 0 0,1-1 3,-1 1-22,0 0 16,1 0-19,-1 0 3,0 0 14,1 0-17,-1 0 19,1-1-3,-1 1 0,1 0-1,-1 0-2,1 0 17,0 0-16,-1-1 15,1 1 7,-1 0-14,1 0 18,-1 0-21,0-1-7,1 1 4,-1-1-2,0 1-9,0 0 15,1 0-15,-1-1 16,0 1-31,0 0 21,0-1-22,0 1 25,0 0-5,1 0 0,-2 0-3,1-1 23,0 1-13,1 0 14,-1 0-18,0 0 7,0 0-5,1-1 6,-1 1 8,0 0-10,0 0 13,1-1-15,-1 1-2,0 0 1,1 0 1,-1 0 3,1-1-9,-1 1 5,1 0-8,-1-1 2,0 1 5,0 0-7,1 0 6,-1 0-1,1-1-1,-1 1 0,0 0 1,1 0 1,0 0-2,-1-1 2,0 1 0,1 0 0,-1 0 0,1 0 0,-1 0 0,0-1 0,1 1 0,-1 0-11,1 0 8,-1 0-7,0-1 9,0 1-5,0 0 3,1 0-4,-2 0 6,2 0-1,-1 0 1,0 0-2,0 0 4,0 0-2,1-1 2,-1 1-4,0 0 6,0 0-4,1-1 5,-1 1-2,0 0-2,1 0 4,-1 0-5,0 0 3,1 0-2,-1-1 1,0 1-1,1 0 1,0 0-1,-1 0 0,0 0 0,1 0 0,-1 0 0,1 0 0,-1 0 20,0 0-13,-1 0 15,2 0-92,-1 0 52,0 0-56,0 0 74,0 0-6,1 0 5,-1 0-9,0 0 16,0 0-12,1-1 13,-1 1-16,1 0 16,-1 0-11,0 0 12,1 0-14,-1 0 12,1 0-6,-1 0 8,1 0-4,-1 0-4,1 0 3,-1 0-4,1 0-15,0 0 11,-1 0-10,1 0 11,0 0 1,-1 0-1,1 0 0,0 0-12,-1 0 9,1 0-10,-1 0 13,1 0 7,-1 0-7,0 0 6,1 0 2,0 0-7,-1 0 8,1 0-9,-1 0 5,1 0-3,-1 0 3,1 0 18,-1 0-16,1 0 18,-1 0-21,0 0 3,1 1-2,0-1 4,-1 0-3,1 0 3,-1 0-2,0 0 0,1 0-6,0 0 4,-1 1-3,1-1 0,-1 0 3,1 0-4,-1 0 5,1 0-4,-1 1 3,1-1-2,0 0 1,-1 0 0,1 1-1,0-1 1,-1 0 0,1 0-1,0 0 1,0 0 0,-1 0 0,1 1 0,0-1 0,0 0 0,-1 0-2,1 0 2,0 1-1,-1-1-8,1 0 7,0 0-7,-1 0 8,1 1-26,-1-1 17,1 0-19,0 1 23,-1-1-3,1 0-1,0 0 1,-1 1 2,1-1 1,0 0-1,-1 1 0,1-1 6,0 0-5,0 0 7,-1 1 5,1-1-7,0 0 8,-1 0-10,1 1 7,-1-1-4,1 0 5,0 1-6,0-1 1,-1 0 0,1 0 1,0 1-1,0-1-1,-1 1 2,1-1-41,-1 0-12,1 1-1,-1-1 6,1 1 89,-1-1 9,1 0 3,-1 1-12,1-1-47,-1 1 1,1-1 1,-1 0 2,1 1 3,-1-1 0,1 1 1,0-1-1,-1 0 0,1 1 4,-1-1-3,1 1-1,0-1 1,-1 1-3,1-1-4,-1 0 1,1 1-5,0-1 2,-1 0 4,1 1-1,0-1 2,-1 0 1,1 0-8,0 1 5,0-1-6,-1 0 8,1 1-1,0-1 0,0 0 1,-1 1 0,1-1 0,0 1-1,0-1 3,-1 0-2,1 1 3,0-1-4,0 0-25,-1 1 18,1-1-19,0 1 25,-1-1-20,1 1 15,0-1-17,-1 0 11,1 1 3,0-1-4,0 0 3,-1 1 10,1-1-9,-1 1 8,1-1-10,0 0 2,-1 1-3,1-1 4,0 1 1,0-1-1,-1 1 6,1-1-5,-1 0-5,1 1 3,0-1-5,-1 1-64,0-1-20,1 1-3,0-1 3,-1 1 119,1-1 4,-1 0 10,1 1 14,0-1-63,-1 0 18,1 1-24,-1-1 22,1 0-10,-1 0 16,1 1-7,0-1-38,-1 0 38,1 1-35,0-1 40,-1 0-10,1 0-4,0 1 8,0-1-6,-1 1 6,1-1-3,0 0 13,-1 1-14,1-1 15,0 1-17,0-1 16,0 0-10,-1 1 13,1 0-11,0-1 1,0 1 3,-1-1-2,1 1 28,0 0-23,0-1 22,0 1-10,0-1-10,-1 1 11,1-1-13,0 1-11,0 0 9,0-1-7,0 1 10,-1-1-26,1 1 19,0 0-21,0-1 24,0 1-9,0-1 6,0 1-8,0-1 4,0 1 4,-1-1-9,1 1 3,0-1 4,0 1-3,-1 0 7,1 0-17,0-1 10,0 1-10,-1 0 12,1 0-18,0-1 13,0 1-14,0 1 16,-1-1 41,1 0 11,0 0 1,0 0 33,-1 1-26,1-1 2,0 0-2,0 0-41,0 0 10,-1 0-7,1 0-23,0 0 19,0 0-15,-1-1 27,1 1-63,0-1 42,0 1-52,0-1 68,0 0-48,0 1-8,-1-1-21,1 0 7,0 1 30,0-1 4,-1 0 3,1 1 5,0-1-4,-1 0 2,1 1 8,0 0-7,0-1 7,0 1-9,-1-1 23,1 1-15,0-1 21,-1 1-21,1 0 25,0 0-14,0 0 13,-1 0 27,1-1-35,0 1 39,0 0-48,0 0-1,-1 0 1,1-1-1,0 1-27,0 0 26,0-1-26,-1 1 32,1 0-13,0 0 7,-1-1-9,1 0 9,0 1-43,0 0 24,-1-1-28,1 1 33,0-1 7,0 0-9,0 1 6,0-1 12,-1 0-9,1 1 12,0-1-1,0 1-10,0-1 12,0 1-12,0-1 9,0 1-4,0 0 6,0 0-7,0 0 0,0-1 3,0 1-1,0 0 27,0 0-22,0-1 23,0 1-19,0 0-5,0 0 6,0-1-6,0 1-9,0-1 7,0 1-5,0 0 7,-1-1-10,1 1 6,0-1-7,0 0 10,0 1-23,-1-1 16,1 1-21,0-1 6,0 1 9,0-1-12,0 0 14,0 1-14,0 0 8,0-1-10,-1 1-12,1-1 20,0 1-22,0 0 26,0-1 4,0 1-3,0 0 1,-1 0-4,1-1-41,0 1 31,-1 0-30,1 0 67,0-1-24,-1 1 24,1 0-30,0 0 29,0-1-20,-1 1 22,1 0-20,0-1-4,-1 1 7,1-1-8,0 1 1,-1-1-1,1 0 4,0 1-2,0 0 6,0-1-3,-1 0 2,1 1-34,0-1 22,0 0-24,0 1 27,0-1 7,0 1-6,0-1 5,0 0 5,0 1-7,0 0 8,-1-1-10,1 1-9,0 0 6,0-1-8,0 1 10,0 0-5,0 0 4,0-1-2,0 1 3,0 0-1,0 0 3,0 0-2,0 0-9,0 0 7,0 0-9,-1 0-7,1-1 10,0 1-12,0 0 16,0 0 12,0 0-9,0 0 9,0-1-12,-1 1 9,1 0-8,0 0 9,0 0-8,0 0-2,-1 0 5,1-1 6,0 1-3,0 0 5,0 0-7,0 0-7,0 0 6,0-1-5,0 1 6,0 0 16,0 0-12,0 0 11,0 0-15,0-1 53,0 1-36,0 0 40,0 0-45,0 0-4,0-1 8,0 1-7,0 0 4,0 0-2,0 0 5,0 0-1,0 0 2,0-1 0,0 1-3,0 0-5,0-1 3,0 1-4,0 0 5,0-1-1,0 1 0,0 0 1,0-1-2,0 1 1,0 0 1,0-1-1,0 1-3,0-1 3,0 1-3,0 0-6,0-1 7,0 1-8,1 0 9,-1-1-7,0 1 5,0 0-5,0-1 6,1 1-5,-1 0 3,0 0-5,0 0 7,0-1-2,0 1 2,1-1 16,-1 1 0,0 0 5,0-1-7,0 0-14,1 1 2,-1-1-1,0 0 5,1 1-6,-1-1 6,0 1-5,1-1 7,-1 0 13,1 0-9,-1 1 10,1-1-28,-1 1 8,1-1-10,-1 1-1,1-1 9,-1 1-10,1-1 14,0 1 23,-1-1-17,1 1 18,-1-1-23,1 1 3,0-1-2,-1 0 3,1 1-4,-1-1-13,1 1 9,0-1-8,-1 0 15,1 1-17,0-1 14,0 0-15,0 1 3,-1-1 8,1 0-10,0 0 3,0 1 3,-1-1-5,1 0 4,0 0 9,0 1-7,0-1 6,-1 0-5,1 0 10,0 0-7,0 0 8,-1 0-10,1 0 24,0 0-15,-1 0 16,1 0-28,0 0 4,-1 0-4,1 0 7,0 0 5,0 0-4,0 0 4,0 0-10,0 0 6,0 0-10,-1 0 8,1 0 1,0 0 0,0 0 2,0 0-5,0 0 20,-1 0-15,1 0 18,0 0 40,0-1-35,-1 1 40,1 0-59,-1-1 1,1 1 0,-1 0 4,1-1 11,0 1-8,-1 0 9,0 0-9,1-1 10,-1 1-7,1 0 7,-1 0-9,0-1-11,1 1 6,-1 0-12,1-1 20,-1 1-3,1 0 4,0 0 16,-1 0-17,1-1 17,-1 1-20,1-1-12,-1 1 8,0 0-10,1 0 14,-1-1-42,0 1 30,1 0-31,-1 0 5,0-1 24,1 1-27,-1 0 6,1-1 19,-1 1-23,1 0 25,-1-1 12,1 1-9,-1-1 6,0 1-13,1 0 17,-1 0-12,0-1 16,1 1-16,0 0 6,-1-1-4,0 1 8,0 0-9,1-1 3,-1 1-1,1 0-14,-1 0 11,1-1-11,-1 1 13,0 0-18,1 0 10,-1-1-13,0 1 15,1 0-4,-1 0 2,0 0-3,1-1 3,-1 1-8,0 0 4,1 0-5,-1 0-12,0-1 16,1 1-16,-1 0-2,0 0 14,1-1-16,-1 1 19,0 0-15,1 0 9,-1 0-10,0-1 12,1 1-4,-1 0 1,0 0-2,0 0 9,1-1-3,-1 1 2,1 0-6,-1 0 11,0 0-7,1 0 10,-1 0-23,0 0 10,1 0-11,-1 0 13,1 0-31,-1 0 23,1 0-23,-1 0 27,0 0 5,1 0-4,-1 0 2,0 0 9,1 0 1,-1 0 1,1 0-4,-1 0 2,1 0-8,-1 0 11,0 0 11,1 0-18,-1 0 22,1 0-25,-1 0 4,0 0-1,0 0 2,1 0 0,-1 0-17,0 0 12,0 0-16,1 0 19,-1 0 5,0 0-5,0 0 5,0 0 13,1 0-15,-1 0 16,0 0-15,0 1-3,0-1 5,0 0-6,0 0 18,1 0-11,-1 0 15,0 1-17,0-1 3,0 0-2,0 0 1,0 0 0,0 1 0,0-1-1,0 0 1,0 0 10,0 0-8,0 1 8,0-1-8,0 0 0,0 0 1,0 0-2,0 1-3,0-1 2,0 0-2,0 0 4,0 1-9,0-1 7,0 0-7,0 1 0,0-1 5,0 0-5,0 0 6,0 1-31,0-1 22,0 1-27,-1-1 23,1 0 3,0 1-5,0-1 6,0 0 7,0 1-6,-1-1 4,1 1-6,0-1 9,0 0-9,0 1 9,0-1 4,0 1-7,0-1 9,-1 0-12,1 1 12,0-1-8,0 0 11,0 1-8,0-1 0,0 1 0,0-1-2,0 0 13,-1 0-9,1 1 8,0-1-11,0 0 4,0 1-3,0-1 4,0 0-4,0 0-2,0 1 3,-1-1-2,1 0-7,0 0 6,0 1-6,0-1-8,0 0 12,-1 0-14,1 1 16,0-1-32,0 0 21,0 0-26,0 1 31,-1-1-6,1 0 5,0 0-5,0 0 12,0 0-29,-1 1 23,1-1-25,0 0 22,0 0-56,0 0-13,-1 1 5,1-1 14,0 0 59,0 0 0,0 1 0</inkml:trace>
  <inkml:trace contextRef="#ctx0" brushRef="#br0" timeOffset="138">759 1089 9202,'0'-1'396,"0"1"-332,0 0-8,0 0 19,-1 0-27,1-1-1,0 1-7,0 0-5,0 0 30,-1 0 1,1 0-2,0 0-5,-1-1 2,1 1-13,0 0 11,-1 0-5,1 0 1,0-1 3,-1 1-5,1 0-12,0 0 10,-1-1-1,1 1-40,-1 0 40,1 0-45,-1 0 47,1 0-60,-1 0 44,1 0-54,-1 0 62,1-1-40,-1 1 27,1 0-31,-1 0 15,1 0 1,-1 0-5,1-1 47,-1 1-21,0 0 25,1-1-32,-1 1 22,1 0-14,-1 0 16,1-1-22,-1 1-12,1 0 12,0 0-7,-1 0 12,1 0-71,-1 0 48,1 0-55,0 0 74,-1 0-76,1 0 55,-1 0-70,1 0 4,-1 0 30,1 0-38,0 0 55,-1 0 8,1 0-11,0 0 5,0 0 47,0 0-33,-1-1 40,1 1-52,0 0 54,0 0-36,-1 0 47,1 0-66,0 0 19,-1 0-17,1 0 23,0 0-19,0 0 15,-1 0-14,1 0 3,-1 0 6,1 0-11,-1 0 10,1 0-25,-1 0 16,1 0-16,-1 0 19,1 0-13,-1 0 11,1 0-12,-1 0 8,1 0 2,0 0-2,-1 0 4,1 0 29,-1 0-21,1 0 22,-1 0-5,1 0-18,-1 0 19,1 0-19,-1 0 41,1 0-25,-1 0 29,1 0-32,-1 0-24,1 0 21,-1 0-17,1 0-34,-1 0 36,0 1-41,1-1 51,0 0-55,-1 0 40,0 1-49,1-1 55,-1 0-29,1 0 19,-1 0-28,1 0 80,-1 0-50,1 0 49,-1 0-54,1 0 53,-1 0 15,1 0 4,0 0 31,-1 1-75,1-1 40,-1 0-42,1 0-25,-1 0 21,1 0-21,-1 0-15,1 0 36,-1 0-41,0 1 43,1-1-18,-1 0 1,1 0-6,-1 0-2,1 0-4,-1 0-3,1 0 0,-1 0 37,1 0-13,-1 0 16,1 0-24,0 1 54,-1-1-33,0 0 38,1 0-39,0 0-7,-1 0 6,1 0-2,-1 0 11,1 0-7,-1 0 12,1 0-17,0 0 23,-1 0-16,1 0 17,0 0-14,0 0-3,-1 0 4,1 0-9,0 0-30,-1 0 26,1 0-26,0 0 42,-1 0-10,1 0 6,0 0-8,0 0-13,-1 0 10,1 0-13,0 0 14,-1 0-14,1 0 9,0 0-8,-1 0 10,1 0-14,0 0 11,-1 0-12,1 0-15,-1 0 22,1 0-24,-1 0 5,1 0 15,-1 0-21,1 0 23,0 0 20,-1 0-14,1 0 17,-1 0-23,1 0 15,0 0-9,-1 0 11,1 0-20,0 0 6,-1 0-5,1 0 0,0 0 5,-1 0-4,1 0 7,-1 0-14,1 0 8,0 0-10,-1 0 8,1 0 13,0 0-10,-1 0 10,1 0-1,-1 0-7,1 0 8,0 0-9,-1 0-2,1 1 1,0-1 0,-1 0 3,1 0-6,-1 0 5,1 1-4,-1-1-12,1 0 12,-1 0-14,1 0 15,0 1-11,-1-1 5,1 0-6,-1 1 7,1-1-1,-1 0-1,1 1-1,0-1 3,-1 0 25,0 0-18,1 0 33,-1 1-23,1-1 4,-1 0-4,1 1-15,0-1 7,-1 0-6,1 0 10,0 1-20,-1-1 17,1 0-17,0 1 18,-1-1-22,1 0 15,0 0-16,-1 0 15,1 0-8,-1 1 1,1-1-6,0 0 7,-1 1 2,1-1-1,0 0 3,-1 0-1,1 1 2,-1-1-2,1 0-1,0 0 1,0 0-1,-1 1 2,1-1 0,0 0 0,-1 0 0,1 1-10,0-1 7,0 0-7,-1 0 9,1 0-1,-1 1 0,1-1-1,0 0-3,-1 0 2,1 0-2,0 0 3,0 1 4,-1-1-3,1 0 4,0 0-5,-1 1-4,1-1 3,0 1-4,0-1-5,-1 0 8,1 1-8,-1-1 9,1 0-48,0 0 31,-1 1-35,1-1 19,-1 0 20,1 1-24,-1-1 26,1 0 22,0 0-15,-1 1 15,1-1-22,0 0 27,-1 0-19,1 1 24,-1-1-21,1 0-2,0 1 4,-1-1-62,1 1 40,-1-1-41,1 0 55,0 0-31,-1 1 21,1-1-32,0 0 36,0 1 1,-1-1 0,1 0-2,-1 1-5,1-1 28,0 1-19,0-1 23,0 0-23,0 1-3,-1-1 5,1 0 5,0 1-8,0-1 12,0 1-10,0-1-19,0 0 13,0 0-17,0 1 22,0-1 17,0 0-13,0 1 10,0-1-15,0 0 34,0 1-24,0-1 28,0 0-9,0 0-16,0 1 19,0-1-21,0 0 1,0 1 0,0-1 8,0 1-48,0-1-4,0 1-9,0-1 6,0 0 42,0 0-8,0 1 5,0-1-12,0 1 24,0-1-21,0 1 19,0-1 12,0 0-18,0 1 22,0-1-29,0 0 29,0 1-20,0-1 28,0 1-23,0-1 6,0 0-5,0 0 2,0 1-3,0-1 1,0 0 1,0 0-2,0 1-1,0-1 2,0 0-2,0 0 1,0 1-1,0-1 0,0 0 0,0 1 0,0-1 0,0 0 0,0 0-4,0 0 3,0 1-3,0-1 4,0 0-19,0 0 13,0 1-13,0-1 16,0 0-7,0 1 3,0-1-4,0 0-10,0 0 12,0 0-16,0 1-17,0-1 22,0 0-24,0 0 31,0 0-14,0 1 7,0-1-12,0 0 15,0 0-19,0 0 13,0 0-14,0 1 31,0-1-11,1 0 10,-1 0 25,0 0-27,0 1 31,0-1-39,0 0 37,0 0-27,0 1 33,0-1-35,0 1-6,0-1 4,0 0-2,0 0 7,0 1-33,0-1 24,0 0-28,0 0 27,0 0 3,1 0-5,-1 1 15,0-1-7,0 0 6,0 0-12,0 0 27,0 0-19,0 1 22,0-1-26,1 0 27,-1 0-20,0 0 27,0 0-29,0 0 20,0 1-14,0-1-47,0 0 30,0 0-45,0 0 44,0 0 7,0 0-11,0 0 22,1 0-14,-1 0 13,0 0-1,0 0-6,0 1 13,0-1 7,0 0 0,0 0 9,0 0 175,0 0-134,0 0 137,0 0-170,0 0 1,0-1-26,0 1 21,-1 0-21,1-1 20,0 1-17,0 0 11,-1 0-12,1-1 14,0 1-37,-1 0 23,1 0-25,0 0 0,-1 0 26,1-1-32,0 1 17,0 0 7,-1 0-9,1 0 11,0 0 15,0 0-13,-1-1 13,1 1-13,0 0-2,0 0 3,-1 0-3,1 0 3,0-1-6,-1 1 6,1 0-5,0 0-14,0 0 14,-1-1-15,1 1 19,0 0-6,0 0 4,-1 0-6,1 0 6,0 0-2,-1 0 1,1 0-2,0 0 3,-1 0-2,1 0 2,-1 0-2,1 0 2,0 0-1,0-1 1,-1 1 0,1 0 1,-1 0 2,1 0-1,0 0-1,0 0-1,-1 0 0,1 0 0,0 0 0,0 0 1,-1 0-1,1 0-16,0 0 12,-1 0-13,1 0 16,0 0 1,0 0-1,0 0 0,-1 0 12,1 0-10,0 0 11,-1 0-14,1 0 42,0 0-28,-1 0 31,1 0-36,0 0-6,-1 0 7,1 0-5,0 0-12,-1 0 11,1 0-11,0 0 16,-1 0-15,1 0 10,0 0-13,-1 0 7,1 0 3,0 0-5,-1 0 3,1 0 3,0 0-4,0 0 3,-1 0 41,1 0-30,-1 0 34,1 0-42,0 0 15,0 0-10,-1 0 14,1 0-15,0 0-1,-1 0 1,1 0 0,-1 0-14,1 0 14,0 0-14,0 0 7,-1 0 0,1 0-3,-1 0 4,1 0-3,0 0 5,-1 1-9,1-1 9,0 0-4,-1 0 3,1 0-2,0 0 1,0 0 15,-1 0-11,1 0 12,0 0 11,-1 0-17,1 0 18,0 0-30,-1 0 6,1 0-5,0 0 10,0 0-21,-1 0 15,1 1-14,0-1 19,-1 0-28,1 0 18,0 0-22,-1 0 22,1 0-1,0 0-4,0 0 2,-1 0 38,1 0-24,-1 0 28,1 1-35,0-1-1,0 0 2,-1 0 2,1 0-7,0 0 7,0 0-7,-1 0 10,1 0-8,0 0 6,0 0-7,-1 0 6,1 1-11,0-1 5,-1 0-6,1 0 2,-1 0 4,1 0-6,0 0 6,0 0 0,-1 0 1,1 1 0,-1-1 0,1 0 0,0 0 0,-1 0 1,1 0 14,0 0-10,-1 0 11,1 0-14,-1 0 20,1 0-14,-1 0 15,1 0-16,-1 0 11,1 0-6,0 0 8,-1 1-22,1-1 7,-1 0-6,1 0-7,-1 0 13,1 0-14,0 0 16,-1 0 28,1 1-21,-1-1 20,1 0-29,-1 0-10,1 0 8,0 0-7,-1 0 11,0 0-6,1 1 4,0-1-3,-1 0-13,1 0 13,0 0-13,-1 0-2,1 0 13,0 0-16,0 0 19,-1 0-13,1 0 9,0 0-12,-1 0 12,1 1-15,0-1 10,0 0-9,0 0 12,-1 0 24,1 0-17,0 0 20,0 0-24,0 0 15,0 0 6,0 0-1,0 1 0,0-1-20,0 0 6,0 0-7,0 0 0,0 0 3,0 0-4,0 0 6,1 0 0,-1 0-1,0 0-1,1 1 1,-1-1 1,0 0 0,1 0-1,-1 0 51,0 0-38,0 0 40,0 0-33,1 1-12,-1-1 18,1 0-14,-1 0-7,0 0 9,0 0-11,1 1 11,-1-1-17,1 0 11,-1 0-10,1 0 42,-1 0-21,1 0 20,0 0-26,-1 0 38,0 1-27,1-1 29,-1 0-18,1 0-12,0 0 17,-1 0-15,1 0-8,-1 0 11,1 0-12,-1 0 17,1 1-6,0-1 5,-1 0-5,0 0 58,1 0-43,-1 0 44,1 0-54,-1 0 46,1 0-32,-1 0 39,1 1 21,-1-1-43,1 0 55,-1 0-62,1 0-63,-1 0 50,1 0-54,-1 0 68,1 0-53,-1 0 38,1 0-39,-1 0-27,1 0-18,-1 0-12,1 0 19,-1 0 1,1 0-10,-1 0-23,1 0 0,-1 0 45,1 0-2,-1 0 3,1 0 60,-1 0 1,1 0 12,0 0 34,-1 0-73,1 1 34,0-1-43,0 0 57,-1 0-40,1 0 60,-1 0-80,1 0 26,0 0-18,-1 0 15,1 1-51,-1-1 39,1 0-45,-1 0 56,1 0-75,-1 0 51,1 0-65,-1 0 23,0 0 24,1 0-29,-1 0 37,1 0 4,-1 1-9,1-1 5,-1 0 6,0 0-2,1 0 3,-1 0-7,1 0 25,-1 0-18,0 0 21,1 0-26,-1 0 44,0 0-31,1 0 37,-1 0-40,1 0 4,-1 1 0,1-1 0,-1 0-27,1 0 21,-1 0-21,1 0 13,-1 0 8,1 0-9,-1 0 10,1 0-35,-1 0 26,0 0-30,1 0 35,-1 0-22,1 0 15,-1 1-20,0-1 33,1 0-14,-1 0 12,0 0-12,1 0 17,-1 0-12,1 0 13,-1 0-36,1 0 15,-1 0-14,0 0 20,1 0-24,-1 0 18,0 0-18,1 0 24,-1 1-41,1-1 29,0 0-34,-1 0 32,0 0 5,1 0-10,-1 0 11,1 0-14,-1 0 50,1 0-39,-1 0 40,0 0-6,1 1-23,-1-1 33,1 0-17,-1 0-9,0 0 13,1 0-15,-1 1-32,0-1 29,0 0-27,1 0 34,-1 0-58,1 1-14,-1-1-4,0 0-29,1 0 75,-1 0-35,0 0 48,1 0-16,-1 1 16,0-1-21,1 0-1,-1 0-1,0 0 1,0 0 3,0 1 34,1-1-21,-1 0 21,0 0 12,0 0-30,0 1 36,0-1-38,0 0 44,1 0-33,-1 0 35,0 0-17,0 0-13,0 1 31,0-1-29,0 0 9,0 0-6,0 0-13,0 0 9,0 0-9,0 1 11,0-1-2,0 0 4,0 1-3,-1-1 5,1 0-5,0 0 3,0 1 0,0-1-3,0 0 3,-1 1-4,1 0-31,0-1 23,0 1-22,-1-1 29,1 1-27,0-1 19,0 1-21,-1 0 36,1 0-11,0-1 10,0 1-14,-1 0-8,1-1 2,0 1-3,0 0-39,0-1 35,0 1-36,0 0 45,0-1-65,0 1 46,0-1-49,0 1 62,-1-1 0,1 1-2,0-1-9,0 0 3,0 1 26,0-1-16,0 0 22,0 1-20,0-1 120,0 0-77,0 0 157,0 0-103,0-1 17,0 1-20,0 0-54,0-1-4,-1 1 11,1-1-55,0 1 55,0 0-53,-1-1 62,1 1-62,0 0-13,-1 0-4,1-1-42,-1 1 88,1 0-57,-1 0 56,1 0-55,-1 0 31,1 0-28,-1 0 46,1 0-5,-1 0 11,0 0-19,1 0 59,-1 0-42,1 0 46,-1 0-55,1 0 41,-1 0-29,1 0 39,-1 0-41,0 0 10,1 0-7,0 0 10,-1 0-8,1 0 13,-1 0-11,1 0 13,-1 0-66,1 1 42,-1-1-47,1 0 38,-1 0 10,1 0-14,0 1 15,-1-1 26,1 0-19,-1 1 21,1-1-12,0 0-12,0 0 14,-1 1-14,1-1-5,0 0 9,0 1-8,-1-1 12,1 0-2,0 1 3,0-1-3,0 0-18,0 0 10,0 1-13,-1-1 18,1 1-49,0-1 34,0 0-41,0 1 34,0-1 5,0 0-7,0 0 9,0 1 8,0-1-7,0 0 5,-1 1-9,1-1 10,0 0-9,0 1 9,0-1-9,0 0 20,0 1-13,0-1 14,0 0 17,-1 0-23,1 0 29,0 1-33,0-1 3,0 0-2,0 0 0,0 1-7,0-1 6,0 0-6,0 1 8,0-1-9,0 0 6,0 0-7,0 1 7,0-1-1,0 1 1,0-1-4,0 0 17,0 0-13,0 0 13,0 1 0,0-1 104,0 0-70,0 0 78,0 0-111,0 0 33,0 0-23,1 1 31,-1-1-43,1 0 21,-1 0-20,0 0 22,0 0-68,1 0 50,-1 0-52,0 0 6,1 0 35,-1 0-49,1 0 55,-1 0-38,0 0 27,1 0-31,0 0 34,-1 0 3,1 0-3,0 0 5,-1 0 7,1 0-13,0 0 15,0 1-15,-1-1-4,1 0 7,0 0-6,0 0-10,-1 0 10,1 0-10,0 0 14,-1 0-70,1 0 50,0 0-57,-1 0 29,1 0 23,0 0-28,0 0 27,-1 0 7,1 0-8,-1 0 3,1 0 2,-1 0-37,1 0 25,-1 0-26,1 1-8,-1-1 27,1 0-26,-1 0 37,1 0-15,-1 1 9,1-1-12,-1 0 9,0 0 16,1 0-17,-1 0 11,0 0 49,0 1-44,1-1 50,-1 0-59,0 0 48,0 0-6,0 0 26,0 0-25,0 0-37,0 0 13,0 0-8,0 1 12,0-1 6,0 0-8,0 0 47,0 0-35,-1 1 37,1-1-45,0 0 6,-1 0-2,1 1 4,0-1-1,-1 1 13,0-1-4,1 1 8,-1-1 10,0 0-19,1 1 20,-1-1-25,1 1 6,0-1-3,-1 1 2,1-1-23,-1 1 14,1-1-15,-1 1 21,0-1-20,1 1 14,-1-1-16,1 1 19,0-1-11,0 0 8,-1 1-13,1-1 5,0 1-1,0-1-1,-1 0 3,1 1 40,0-1-28,0 1 30,0-1-36,0 0 2,0 1 1,0-1 0,0 0-9,0 0 7,0 0-8,0 0 11,0 0-13,0 1 9,1-1-10,-1 0 6,0 0 2,0 0-3,1 0 21,-1 0-11,0 1 11,1-1-16,-1 0-5,0 0 4,1 0-1,-1 0 3,1 0-13,-1 1 9,0-1-10,1 0 14,-1 1-19,1-1 13,-1 0-15,0 0 15,1 1-1,-1-1-1,1 0 0,-1 1 8,1-1-8,0 0 8,-1 0 36,1 0-30,0 0 34,-1 1-41,1-1 32,0 0-23,-1 0 28,1 0-33,-1 0-10,1 0 11,0 0-12,-1 0-26,1 0-13,0 0-4,-1 0 9,1 0 4,0 0 24,-1 0-38,1 0 24,0 1-3,-1-1 0,1 0-2,0 0 45,-1 0-37,1 0 38,0 0-31,-1 0 1,0 0 4,1 0-5,-1 0-11,1 0 10,0 0-5,-1 0-8,1 0 14,-1 0-14,0 0 14,1 0-4,-1 0-1,0 0-1,0 0-5,0 0-35,0 0 22,0 0-24,1 0 66,-1 0-21,0 1 21,0-1-28,0 0 45,0 0-30,0 0 36,0 1 1,0-1-29,0 1 32,-1-1-38,1 1 15,0-1-7,0 1 11,0-1-8,0 0-4,0 1 10,-1 0-6,1-1-6,0 0 1,0 1-6,0 0 6,0-1 1,0 1-1,0 0 0,0-1 1,-1 1-1,1 0 0,0-1-2,0 1 21,0-1-15,0 1 16,0 0-18,-1-1 0,1 1 0,0-1 0,0 1-9,0-1 8,0 1-7,0-1-36,0 0 33,0 0-37,-1 1 45,1-1-37,0 0 26,0 1-32,0-1 36,0 0 5,0 0-4,0 0-5,0 0-41,0 0 22,0 1-54,0-1 134,0 0-74,0 0 91,0 0-70,0 0 28,-1 0-19,1 0 27,0-1-35,0 1 15,0 0-13,0 0 30,-1 0-15,1 0 15,0 0-19,-1 0 1,1 0-2,0-1 0,-1 1 1,1 0 14,-1 0-10,1 0 9,-1-1-13,1 1-2,-1 0 2,0 0 2,0-1-22,1 1 19,-1-1-19,1 1 12,-1 0 4,0 0-7,0-1 9,1 1-18,-1-1 12,1 1-14,-1 0 13,1-1-5,-1 1 1,1 0-1,0-1 16,-1 1-7,1 0 8,-1-1-11,1 1-2,-1 0 2,1-1 0,-1 1-15,0-1 13,1 1-13,0 0 15,-1-1-1,1 1 0,-1 0-1,1-1 0,-1 1 11,1 0-9,-1 0 9,1-1 35,-1 1-32,1 0 37,-1 0-33,1 0-7,0 0 10,-1 0-8,0 0-19,1 0 17,-1 0-17,1 0 21,-1 0-31,1 0 24,0 0-25,-1 0 12,1 0 10,-1-1-16,1 1 17,-1 0-21,1 0 15,0 0-18,-1 0 18,1 0-3,0 0 3,-1 0-2,1-1 0,-1 1-1,1 0 2,0 0 0,-1 0-4,1 0 2,-1 0-2,1 0 4,-1 0-17,1 0 12,-1 0-13,1-1 18,-1 1-2,1 0 1,0 0 6,-1 0-5,1 0 6,-1 0-10,1-1 11,0 1-8,-1 0 9,1 0-9,-1 0 1,1 0-1,0 0 6,-1 0 3,1 0 4,0 0-1,-1-1-3,1 1-7,-1 0 1,1 0-1,0 0-6,-1 0 5,1 0-5,-1 0 7,1 0-24,0-1 17,-1 1-20,1 0 25,-1 0-33,1 0 22,-1 0-26,1 0 31,0 0-15,-1 0 11,1 0-15,-1 0 37,1 0-20,-1-1 19,1 1-9,0 0-8,0 0 8,-1 0-11,1 0 23,-1 0-14,1 0 18,0 0-21,-1 0 2,1 0-1,-1 0 3,1 0-1,0 0-7,0 0 5,-1 0-6,1 0 6,0 0 0,-1 0-1,1 0 7,-1 0-4,1 0 4,0 0-6,0 0 11,-1 0-8,1 0 10,-1 1-11,1-1 6,0 0-1,-1 0 3,1 0-3,0 0-3,0 0 3,-1 1-2,1-1 1,0 0-3,-1 0 3,1 0-3,0 1-9,0-1 8,0 0-10,0 1 12,-1-1-6,1 0 4,0 1-4,0-1 5,0 0-1,0 0 1,0 1-2,0 0 6,0-1-5,0 0 4,0 1-5,0-1 28,0 1-19,0-1 21,0 1-24,0-1-2,0 0 5,0 1-6,1-1 5,-1 1-5,0-1 4,1 0-7,-1 0 6,1 1-6,-1-1 7,1 0-36,-1 1 24,1-1-25,-1 0 29,1 0-42,-1 0 24,1 0-28,-1 0 49,1 0-5,0 0 5,-1 0-22,1 0 6,0 0-6,-1 0 9,1 0-13,0 0 9,-1 0-9,1 0 14,0 1-3,-1-1 5,1 0-5,-1 0 6,1 0-31,0 0 20,0 0-27,-1 0 60,1 0-29,-1 0 29,1 0 2,0 0-21,-1 0 29,1 0-37,-1 0 32,1 0-22,-1 0 26,0 0-28,1 0-25,-1 0 17,0 0-18,1 0 27,-1 0 8,0 0-6,0 0-15,0 0 9,0 0-24,0 0 61,1 0-33,-1 1 35,0-1-35,-1 0 57,1 0 13,0 1 10,0-1 26,-1 0-72,1 0 25,-1 0-27,1 0-16,-1 1 20,1-1-15,-1 0-2,1 1 7,-1-1-8,1 0 16,-1 0-52,1 0 36,-1 0-45,1 1 51,-1-1-63,1 1 46,0-1-54,-1 0 44,1 1 3,-1-1-6,1 0 8,0 1 33,-1-1-25,1 1 25,0-1 1,0 1-20,0-1 21,-1 0-24,1 0 12,0 0-4,0 1 7,0-1-3,0 0-30,0 0 26,0 0-26,0 1 2,0-1 14,1 0-19,-1 0 23,0 0 16,0 0-12,1 0 9,-1 0-16,1 0-4,-1 1 2,1-1 0,-1 0 1,1 0 3,-1 0-3,1 0 6,-1 0 9,1 0-4,0 0 5,0 0-10,-1 0-2,1 0 0,0 0 0,0 0 13,0 0-10,0 0 10,0 0-31,0 0 15,0 0-14,1 0 19,-1 0-11,0 0 7,0 0-9,1 0 7,-1 0-15,1 0 10,-1 0-10,0 0 5,1 0-8,-1 0 0,0 0 0,1 0-44,-1 0 43,0 0-47,1-1-5,-1 1-21,0 0 0,0 0 6,0 0-147,1 0 37,-1 0-131,0 0 86,0 0-137,0-1 210,0 1-113,0 0 276,0 0 0,0 0 0</inkml:trace>
  <inkml:trace contextRef="#ctx0" brushRef="#br0" timeOffset="139">761 1093 9502,'0'0'-972,"0"0"938,0 0 141,1-1-72,-1 1 40,0 0-27,0 0 30,0 0 13,0 0 11,1-1 6,-1 1-5,0 0 0,0 0-27,1 0 29,-1 0-43,0 0 45,0 0-15,0 0 26,1 0-28,-1 0-69,0-1 43,0 1-44,0 0 40,0 0 2,0 0-40,0 0 24,0 0-17,0 0 25,0 0-29,0-1 17,0 1-22,0 0 18,0 0-55,0 0 37,0-1-42,0 1-7,0 0 47,0 0-55,0-1 46,-1 1 10,1 0-14,0-1 15,-1 1-28,1 0 14,-1 0-17,1 0 23,-1-1-12,1 1 4,-1 0-6,1 0 9,-1 0-47,1 0-18,-1 0 1,1 0 4,-1 0-17,1 0 38,-1 0-46,1 0 71,-1 0-5,1 0 2,0 0-1,-1 0-11,1-1 9,0 1-10,-1 0-11,1 0 10,0 0-7,0 0-11,-1 0 17,1 0-27,0 0 24,0 0 40,0 0-29,0 0 41,0-1 6,0 1 14,0 0 6,1 0-12,-1 0 21,0 0 13,1 0 15,-1 0-19,1 0-17,-1 0-27,0 0 33,1 0-32,-1 0 8,1 0-6,-1 0 13,1 0-63,-1 0 52,1 0-55,-1 0 52,0 0-17,1 0 5,-1 1-9,1-1-8,-1 0 16,1 1-21,-1-1 22,0 1-32,1-1 23,-1 1-23,1-1 29,-1 1-15,1-1 12,-1 1-12,0-1-8,0 0 12,1 1-14,-1-1 2,0 0 13,0 0-15,0 1 108,0-1-68,0 0 72,0 0-80,-1-1-6,1 0 12,-1 1-22,0-1 18,0 0-17,0 0-39,0 0 37,0 1-41,0-1 54,0 0-112,-1 1 24,2-1-110,-2 1 112,1-1-143,0 1 93,0 0-48,0 0 89,0-1 81,0 1 0,0-1 0</inkml:trace>
  <inkml:trace contextRef="#ctx0" brushRef="#br0" timeOffset="140">802 1161 8519,'0'1'12,"0"-1"39,0 0 105,0 0-89,0 0 49,0 0-36,0 0-28,0 1 50,0-1 40,0 0-50,0 0 95,0 0-117,0 0 37,0 0-20,1 0-8,-1 0 10,0 0-12,0 0-51,0 0 48,1 0-46,-1 0 56,0 0-57,0 0-11,1-1-5,-1 1-32,1 0 27,-1 0-9,0 0 10,1 0-11,-1 0-5,1-1-12,-1 1 9,1 0 30,-1 0 4,0-1-6,1 1 33,0 0-23,-1 0 24,1 0-26,-1-1-1,1 1 0,-1 0 3,1 0 2,-1 0-27,1 0 22,-1 0-25,1 0-18,-1-1 34,1 1-37,-1 0 4,1 0 23,0 0-30,-1 0 33,0 0-18,1 0 8,-1-1-12,1 1 14,-1 0 0,1 0-4,-1 0 3,0 0-2,1 0 16,-1 0-12,1 0 11,-1 0-13,0 0 4,1 0-2,-1 0-6,1 0 6,-1 0-6,0-1 8,1 1-48,-1 0 35,0 0-38,1 0 46,-1 0-2,1 0 1,-1 0-5,0-1 2,1 1 1,-1 0 0,1 0 0,-1 0 31,0 0-27,1 0 27,-1 0-29,1-1 12,-1 1-5,0 0 7,0 0-26,1 0 11,-1 0-10,0 0 16,1 0-31,-1 0 21,0-1-26,1 1 31,-1 0 3,0 0-3,0 0-1,1 0 5,-1 0-10,0-1 10,1 1-3,-1 0-2,0 0 5,0 0-7,0-1-6,1 1 5,-1 0-16,0 0 13,0 0-2,0 0 19,0 0-3,0-1 12,0 1-18,-1 0 7,1 0-7,0 0 26,0 0-18,0 0 23,0 0-27,-1 0 33,1 0-23,0 0 23,0 0-26,0 0 19,-1 0-13,1 0 15,0-1 26,0 1-27,0 0 34,0 0-11,0 0-20,-1 0 20,1 0-22,0 0-12,0 0 13,0 0-12,-1 0 13,1 0-58,0-1 46,-1 1-48,1 0 56,0 0-55,0 0 33,-1 0-37,1-1 9,-1 1 27,1 0-34,0 0 23,-1 0 1,1 0-3,0 0 6,-1-1 2,1 1-2,0 0 1,0 0 2,-1 0 8,1-1-5,-1 1 5,1 0-7,0 0 2,-1 0 0,1 0 0,0-1-3,-1 1 0,0 0 0,1 0-1,-1 0 2,1 0-3,-1 0 4,1 0 24,0 0-18,-1-1 18,1 1-23,-1 0 58,1 0-40,-1 0 43,1 0-52,-1 0 11,1 0-3,-1 0 6,1 0-14,-1 0 4,1 0-5,-1 0-24,0 0 22,1 0-26,-1 0 36,0 0-21,1-1 14,-1 1-20,1 0 19,-1 0-14,0 0 10,1 0-12,-1 0 12,1 0-2,-1 0 1,1 0 3,-1 0-8,1 0 5,-1 0-4,1-1-7,-1 1 8,1 0-9,-1 0 12,1 0-13,-1 0 10,1 0-13,0 0 13,-1-1-9,1 1 7,-1 0-7,1 0 5,0 0-1,-1 0 1,1 0 0,0 0 1,-1 0 0,1-1 0,-1 1 0,1 0 0,-1 0 0,1 0 0,0 0 0,-1 0 0,1 0 0,0 0 0,-1 0 0,1 0 0,0 0 0,-1 0 0,1 0 41,0 0-29,-1 0 33,1-1-32,0 1-3,0 0 5,-1 0-12,1 0 2,0-1 1,-1 1 5,1 0-17,-1 0 12,1 0-15,0 0 17,-1-1-27,1 1 18,0 0-21,-1 0 20,1 0-5,0-1-1,-1 1 0,1 0 9,0 0-1,0 0 1,-1-1 8,1 1-10,0 0 11,0 0-11,-1 0 2,1-1 0,0 1 1,-1 0 0,1 0-2,0 0 4,-1-1-3,1 1 6,0 0-4,0 0 3,0 0-3,-1-1 25,1 1-18,0 0 19,0 0-32,-1-1 6,1 1-4,0 0 7,0 0 4,0-1-2,-1 1 2,1 0-4,0-1-2,0 1 3,0-1-2,0 1 6,0 0-4,0-1 4,0 1-5,-1-1-12,1 1 9,0 0-11,0-1 13,0 1-11,0-1 9,0 1-9,-1 0 2,1 0 5,0-1-7,0 1 7,0-1-4,-1 1 3,1-1-5,0 1 5,0-1-3,0 1 3,0 0-2,0-1 2,-1 1-1,1 0 1,0-1 0,0 0 0,0 1 0,0 0 0,0-1 1,0 1-1,0 0 2,-1-1-2,1 1 0,0-1 0,0 1 1,0 0-1,0-1-5,0 1 3,-1 0-2,1-1-7,0 1 7,0 0-7,0-1 10,0 1 0,-1 0 0,1-1-2,0 1 4,0 0-2,0 0 2,0 0 7,0-1-8,0 1 8,0 0-9,0-1 14,0 1-10,-1 0 12,1 0-14,0-1 1,0 1 2,0 0-2,0 0-17,0 0 12,0-1-13,-1 1 18,1-1-9,0 1 6,0 0-8,0-1 7,0 1 16,-1 0-12,1 0 11,0-1 50,0 1-48,0-1 54,0 1 9,0-1-48,0 1 53,0-1-68,0 1 35,0-1-15,0 0 23,0 1-16,-1-1-16,1 0 17,0 0-13,0 0-208,0 1 43,0-1-143,0 0 115,0 0 98,0 0 13,0 1 52,0-1 0,0 0 0</inkml:trace>
  <inkml:trace contextRef="#ctx0" brushRef="#br0" timeOffset="141">760 1091 8555,'0'0'-187,"0"0"163,0 0 0,0 0 0</inkml:trace>
  <inkml:trace contextRef="#ctx0" brushRef="#br0" timeOffset="142">765 1096 9502,'0'-1'-778,"0"1"575,1 0 124,-1 0 16,0 0 63,-1 0 1,1 0-2,0 0 34,0 0-23,0 0 24,0 0-30,-1 0 121,1 0-86,0 0 225,0 0-118,0 0 108,0 0-3,-1 0 39,1 0 581,0 0-543,0 0 420,0 0-714,0 0 13,0 0-16,0 0-4,1 1 4,-1-1 12,0 0 11,1 0-18,-1 1 26,0-1-51,0 0-32,1 1 7,-1-1-25,0 0 86,0 1-28,0-1 27,1 0-38,-1 1 26,0-1-33,0 0-25,1 1 41,-1-1-44,0 1 57,0 0-33,1-1 18,-1 0-21,0 1 30,0-1-23,0 1 16,1 0-19,-1-1 28,0 0-5,0 1-1,1 0 64,-1-1-55,0 1 60,0-1-70,0 1-14,0-1 15,0 1-9,0-1 18,1 1-40,-1-1-16,0 1-1,0-1 12,0 0-8,0 1 35,0-1-46,0 0 12,0 1 9,0-1-17,0 1 14,0-1 14,1 0-17,-1 0 14,0 1 28,0-1-19,0 1 28,0-1-36,0 1 37,1-1-24,-1 0 31,0 1-24,0-1-1,0 1 3,0-1-6,0 1-1,0-1 4,0 1-2,0-1 9,0 0-8,1 1 7,-1-1-9,0 0-21,0 0 17,0 1-21,0-1 6,0 0 9,0 0-11,0 0 16,0 0 1,1 1-44,-1-1 31,0 0-37,0 0 40,0 0-2,0 1 0,0-1-2,1 0 6,-1 0-6,0 1 5,0-1 13,0 1-11,0-1 13,0 0-17,0 0 56,0 0-40,0 0 46,0 1-49,0-1 53,0 0-24,1 0 23,-1 0-35,0 0-16,0 0-22,0 0-22,0 0 7,0 0-12,0 1-6,0-1 24,0 0-30,0 0 32,0 0 32,0 1-29,0-1 29,1 0 44,-1 1-46,0-1 53,0 0-68,0 0 30,0 0-11,0 0 56,0 0-40,0 0 18,0 0-21,0 0 40,0 0-23,0 0 29,1 0-39,-1 0-43,0 1 30,0-1-32,0 0-7,0 0 31,0 0-33,0 0 27,1 0 9,-1 0-13,0 0 12,0 0-1,0 0-6,0 0 4,0 0-9,0 0 1,1 0 0,-1 0 2,0 0 7,0 0-25,0 0 18,0 0-46,0 0 41,0 0-20,0 0 25,1 0-45,-1 0 31,0 0-33,0 0 37,0 0-18,1 0 10,-1 0-15,0 0 20,0 0 13,0 0-9,1 0 9,-1 0-14,0 0 40,0 0-28,0 0 33,1 0 17,-1 0-36,0 1 41,0-1-34,0 0-15,1 0 20,-1 0-19,0 0-14,0 0 9,0 0-12,1 0 19,-1 0-28,0 1 19,0-1-24,1 0-13,-1 0 25,0 0-30,1 0 34,-1 0-6,0 0 0,1 0-2,-1 0-3,0 1 9,1-1-10,-1 0 9,0 0 38,1 0-28,-1 0 31,1 1-39,-1-1 39,0 0-27,1 0 32,-1 0-38,0 0 21,1 1-14,-1-1 18,0 0-26,1 0 14,-1 0-12,1 0-9,-1 1 10,1-1-14,-1 0 20,0 0-19,1 0 12,-1 0-18,0 0 19,1 0 28,0 1-21,-1-1 24,0 0-34,1 0 3,-1 0-1,1 0 4,-1 0-37,1 1 28,-1-1-29,1 0 37,-1 0-16,0 1 11,1-1-15,-1 0 4,1 0 4,-1 0-7,0 1 1,1-1 15,-1 0-15,0 0 15,1 0-13,-1 0 31,1 0-19,-1 0 20,1 0 5,-1 1-20,0-1 25,1 0-39,0 0 10,-1 0-10,1 0 13,-1 0-36,0 1 28,1-1-29,-1 0 34,1 0-37,-1 1 22,0-1-26,1 0 28,-1 0-5,1 0-2,-1 1-1,0-1 2,0 0 6,1 0-6,-1 0 35,0 1-24,1-1 25,-1 0-29,1 0 48,-1 0-32,0 0 35,0 0-42,1 0 7,-1 0-1,1 0 3,-1 0-4,0 0-2,1 0 5,-1 0-21,1 0 17,-1 0-16,0 0 18,0 0-30,0 0 21,1 1-23,-1-1 25,0 0-14,0 0 8,1 0-10,-1 0 10,0 0-9,1 0 4,-1 0-5,0 0 7,0 0 17,1 0-14,-1 0 13,1 0-23,-1 0 8,0 0-6,1 0 8,-1 0-27,1 0 19,-1 0-20,0 0-27,1 0 38,-1 1-41,0-1 50,0 0 9,1 0-7,-1 0 4,0 0-10,1 0 12,-1 0-9,0 0 9,0 0 28,0 0-31,1 0 36,-1 0-30,0 1-6,0-1 10,1 0-9,-1 0-2,0 0 1,0 0 0,1 0 3,-1 0-57,0 0 41,0 1-49,1-1 54,-1 0 11,0 0-12,0 0 9,0 0 10,0 0-21,0 0 20,0 0 4,0 0-22,1 0-1,-1 0-8,0 0-9,0 0 7,0 1 14,0-1-13,0 0-16,0 0 21,0 0-24,0 0 24,0 0 18,0 0-17,0 1 16,0-1-2,-1 0-8,1 0 7,0 0-11,0 0 43,-1 1-30,1-1 37,-1 0-43,0 1 34,1-1-25,-1 0 29,1 0-32,-1 0 25,0 1-18,0-1 23,1 0-21,-1 0 5,0 1-5,0-1 0,0 0-1,1 0 1,-1 1-1,0-1 1,1 0-1,-1 1 0,0-1 0,0 0 0,1 1 0,-1-1 0,0 0 0,1 0 20,-1 0-15,1 0 16,-1 1-5,1-1-10,-1 0 12,1 0-20,-1 0 6,1 0-7,-1 0 10,1 0-22,0 0 17,-1 0-17,1 0 20,0 0-35,-1 0 23,1 0-27,0 0 8,-1 0 18,1 0-24,0 0 26,-1 0 5,1 0-4,-1 0 7,1 1 20,0-1-23,-1 0 24,1 0-28,0 0 24,-1 0-14,1 0 16,0 0-17,-1 0-3,1 0 5,0 0-3,0 0-1,-1 0 1,1 0 0,0 0 2,0 0 0,0 0-2,-1 0 0,1 0-6,0 0 4,0 0-5,-1 0 5,1 0-13,0 1 8,0-1-8,0 0 12,-1 0-23,1 0 16,0 0-17,-1 0 21,1 0 1,0 0-3,0 0-1,-1 1-9,1-1 4,0 0-4,0 0 1,-1 0 5,1 0-6,0 0 6,0 0-7,0 0 5,0 0-10,0 0 26,-1 0-47,1 0 42,0 0-40,0 1 47,0-1-10,0 0 8,0 0-11,0 0 4,0 0-3,0 0 63,0 0-46,0 0 95,0 1-65,0-1 21,0 0-16,0 0-57,0 0 29,0 0-27,0 0 26,0 1-46,0-1-14,0 0-8,0 0-24,0 1 65,0-1-24,0 0 19,0 1 16,0-1-20,0 1 18,0-1-16,0 1 4,0-1-2,0 1 3,0-1 6,0 1-4,0-1 5,0 1 0,0 0 9,0-1-2,0 0 2,0 1-8,0-1 8,0 1-6,0-1 15,0 1-15,0-1 6,0 1-8,0-1-23,0 0 18,0 1-19,0-1 25,0 1-15,0-1 9,0 1-11,0-1 12,0 1-3,0-1-1,0 0 0,0 1 28,0-1-18,0 0 19,0 1-27,0-1 18,0 0-11,0 1 14,0-1-7,0 0-4,0 0 6,0 1-3,0-1-26,0 0 21,0 1-20,0-1 18,0 0 3,0 0-5,0 1 4,0-1-1,0 1 0,0-1-2,0 0 10,0 1-9,0-1 9,0 0-9,0 0 24,0 1-17,0-1 18,0 0-21,0 0 11,0 0-6,0 1 8,0-1-11,0 0 0,0 0 2,1 1 0,-1-1-8,0 0 6,0 0-7,0 1-4,0-1 9,0 0-10,0 0 10,0 0-4,0 0 2,0 1-6,0-1 8,0 0-4,0 0 3,0 0-1,0 1 1,0-1 0,0 0 0,0 0 0,0 0-13,0 1 10,1-1-10,-1 0 0,0 0 9,0 0-9,0 1 10,0-1 4,0 0-3,0 1 2,0-1-4,0 0 7,0 0-5,0 0 6,0 1-1,0-1-5,1 0 7,-1 0-7,0 0 3,0 1 0,0-1 1,0 0-1,0 0-1,0 0 0,0 0 0,0 0 0,0 0 0,0 1 0,0-1 12,0 0-9,0 0 9,0 0-11,0 0 15,0 0-9,0 1 5,0-1-8,0 0-6,0 0-25,0 0 21,0 0-25,0 0 30,0 1-1,0-1-1,0 0-2,0 0 0,-1 0-5,1 0 12,0 0-9,0 0 9,0 0-6,-1 0 1,1 0 1,0 0 0,0 0 1,0 0-1,0 0 0,0 1 2,0-1-2,-1 0 2,1 0-3,0 0 36,0 0-25,0 0 27,0 0-18,0 0-10,-1 0 10,1 0-11,0 0 0,0 1 0,0-1-7,0 0 5,0 0-15,0 0 28,0 0-17,0 0 29,0 0 1,0 1-2,0-1-7,0 0-13,0 0-8,0 0-50,0 0 43,1 0-45,-1 0 53,0 0-14,0 0 6,0 0-10,1 0 10,-1 0 6,0 1-10,0-1 1,0 0 14,0 0-13,1 0 17,-1 1-16,0-1 16,0 0-10,1 0 13,-1 0-4,0 1-7,0-1 11,1 0-12,-1 0-13,0 1 9,0-1-12,1 0 16,-1 0-11,0 0 8,0 1-10,0-1 10,0 0-1,0 0 0,0 0 3,1 1 3,-1-1-2,0 0 0,0 0 15,0 1-14,0-1 16,0 0-19,0 0 17,0 0-11,0 1 15,0-1-17,1 0-2,-1 0 2,0 0-2,0 1 3,0-1-40,0 0 29,0 0-45,0 1 50,0-1-13,0 0 13,0 0 2,0 0-2,1 1 0,-1-1-3,0 0 10,0 1-7,0-1 8,0 0-12,0 0-19,0 1 15,0-1-15,0 0-15,0 0 26,0 0-26,0 1 20,0-1 8,0 0-13,0 0 14,0 1 18,0-1-13,0 0 12,0 0-19,0 0 46,0 0-32,0 0 37,0 1-47,1-1 26,-1 0-12,0 0 28,0 0-22,0 1-52,0-1 32,0 0-59,0 0 54,0 0 4,0 0-2,0 0 20,0 0-12,0 0 4,-1 0 0,1 0-1,0 0 0,0 0-1,0 0 7,0 0-6,-1 0 5,1-1-6,0 1-10,0 0 7,-1 0-8,1-1 12,0 1 0,0 0 2,-1 0-3,1 0 8,0 0-6,0 0 5,-1-1-6,1 1 15,-1 0-11,1 0 11,0 0-9,0 0-3,-1 0 4,1 0-3,0-1 0,-1 1 1,1 0 1,0 0-1,0 0-2,0 0 1,0 0 0,-1 0-3,1 0 3,0 0-3,0 0 2,-1 0-1,1 0-1,0 0 1,0 0-7,0 0 7,-1 0-7,1 0 8,0 0-22,0 0 13,0 0-15,0 0 22,0 0-2,0 0 4,-1 0 55,1 0-20,0 0-22,0 0-7,0 0-56,0 0 43,0 0 6,0 0-12,0 0 26,0 1-19,0-1 15,0 0 40,0 0-40,0 0 46,0 0-31,0 1-12,0-1 18,0 0-36,0 0 15,0 0-15,0 0 8,0 0 6,0 0-6,0 0 8,0 0-22,0 1 13,0-1-14,0 0 11,0 0-12,0 1 5,0-1-7,0 0-13,0 0 21,0 0-22,0 0 13,0 1 8,0-1-9,0 0 10,0 0 18,0 0-15,1 1 14,-1-1-18,0 0 10,0 0-7,0 0 6,0 1-7,0-1 15,0 0-8,0 0 11,0 0 14,0 1-21,0-1 25,0 0-14,0 0-6,0 0 8,0 0-12,0 1-31,0-1 23,0 0-22,0 0 1,0 0 20,0 0-30,0 0 27,0 0-11,0 0-7,0 1 11,0-1-5,0 0 16,0 0-1,0 0-3,0 0 2,0 0-1,0 0 1,-1 0 5,1 0-4,0 0 4,0 0-4,0 0 0,-1 0 2,1 0-3,0 0 40,-1 0-29,1 0 30,0 0-29,0 0-4,0 0 6,0 0-6,0 0-1,0 0 2,-1 0-8,1 0 10,0 0 1,0 0 2,0 0 26,0 0-24,0 0 16,0 0-23,0 1 0,0-1 1,0 0-9,0 0 6,0 0-6,1 0 9,-1 0-5,0 1 5,0-1-5,0 0-49,0 1 39,0-1-44,1 1 54,-1-1-34,0 1 24,0-1-31,0 0 32,0 0 8,1 1-5,-1-1 7,0 1 39,0-1-39,0 0 40,0 1-39,0-1-7,0 0 12,0 1-11,0-1 6,0 0 1,0 0 1,0 0-24,0 1 14,0-1-17,0 0-12,0 0 26,0 0-31,-1 0 36,1 0-23,0 0 15,-1 0-21,1 0 14,0 0 0,0 0-2,0 0 6,-1 0 15,1 0-14,0 0 14,0 0-15,0 0 114,0 0-14,-1 0 28,1 1-61,0-1-59,0 0 3,0 0-28,0 0 29,0 0-34,0 1 31,0-1 4,0 0-16,0 0 13,0 0-9,0 0-28,1 0 23,-1 0-25,0 1 30,0-1 4,0 0-6,0 0 1,0 0 0,0 0-1,0 1 3,0-1 8,0 0-7,0 0 8,0 0-10,0 1 26,0-1-19,0 0 21,0 1-13,0-1-7,0 1 11,0-1-12,0 1 44,0-1-30,0 1 32,0-1 4,0 0-31,0 0 34,0 0-38,0 1-1,0-1 3,0 0 3,0 1-4,0-1-15,0 0 11,0 0-12,0 0 17,0 1-10,0-1 6,0 0-12,0 1-16,0-1 14,0 0-17,0 0 37,0 1-7,0-1 7,0 1-12,0-1 14,0 0-10,0 0 13,0 0-14,0 1-3,0-1 2,0 0-1,0 0 3,0 0 8,0 1-6,0-1 7,-1 0-6,1 0 2,0 0-2,0 0-13,0 1 9,0-1-13,-1 0 14,1 0-10,0 0 7,0 0-5,-1 0 7,1 1-6,0-1 4,0 0-6,-1 0 7,1 0 29,0 0-22,0 1 23,0-1-33,-1 0 4,1 0-3,0 0 6,0 0 16,-1 0-10,1 0 12,0 0-19,0 0 1,0 0 0,-1 0 3,1 0-10,0 0 7,0 0-8,0 0 10,-1 0-1,1 0 0,0 0-4,0 0 39,-1 0-27,1 0 29,0 0-28,0 0-4,-1 0 5,1 0-4,0 0-11,-1 0 11,1 1-11,-1-1 16,1 0-33,-1 0 23,1 0-24,0 0 27,-1 0-15,1 0 6,-1 1-10,1-1 26,-1 0-7,1 0 6,0 0-1,-1 0-11,1 0 11,-1 0-8,0 0-6,1 0 8,-1 1-7,1-1 10,-1 0 3,1 0 1,-1 0-1,1 0-2,-1 0-26,1 0 17,-1 0-18,1 0 3,0 0 12,-1 0-15,1 0 9,-1 0 3,1 0-5,-1 0 8,1 0 7,0 0-6,0 0 6,-1 0-9,1 0 11,0 0-9,-1 0 9,1 0-8,0 0 11,-1 0-6,1 0 8,-1 0-13,1 1 2,-1-1-2,1 0 6,-1 0-3,1 0 4,-1 0-4,1 0 11,0 0-7,-1 0 8,1 0-12,-1 0-3,1 0 4,0 0-4,-1 0 22,1 0-12,-1 0 12,1 0-17,-1 0-7,1 0 5,-1 0-5,1 0 1,0 0-1,-1 1-3,1-1 5,0 0-2,-1 0 5,1 0-7,-1 0 7,1 0-8,0 0 7,-1 0-9,1 0 9,0 0-11,-1 0 7,1 0-7,0 0 9,-1 1 0,1-1 0,0 0 0,-1 0-1,1 0 0,0 0 0,0 0 2,-1 0-1,1 1 1,0-1-2,-1 0-4,1 0 3,0 0-3,0 1 5,0-1 0,-1 0-1,1 0 2,0 1-4,0-1 1,0 0-1,-1 0-2,1 0 2,0 0-2,0 1 3,-1-1-3,1 0 3,0 0-4,0 0 4,-1 1-13,1-1 9,0 0-11,-1 0 13,1 0 1,0 1-1,0-1 0,0 0 5,-1 0-4,1 0 4,0 0-5,0 1 28,0-1-21,-1 0 24,1 0-15,0 0-6,0 1 8,0-1-7,0 0-14,-1 1 12,1-1-11,0 0 12,0 0-12,0 1 9,0-1-10,-1 0 22,1 1-8,0-1 6,0 0 18,0 1-21,-1-1 22,1 0-27,0 1-6,0-1 8,0 0-8,0 1 13,0-1-21,0 0 16,0 1-16,0-1 20,0 0-27,0 1 17,0-1-18,0 0 20,0 1 2,0-1-6,0 0 13,0 1-11,0-1 11,0 0-11,0 1 52,0-1-37,0 0 40,0 1-47,0-1 18,0 0-9,0 1 12,0-1-11,1 1-17,-1-1 17,0 0-14,0 1-22,0-1 24,0 0-29,1 0 2,-1 0 23,0 1-24,0-1 26,0 0-18,1 0 7,-1 1-11,0-1 11,0 0 0,0 0-3,1 1 1,-1-1 3,0 0 2,0 0-1,0 0 1,0 1-24,1-1 16,-1 0-17,0 0 51,0 1-21,0-1 22,0 0-29,0 0 51,0 1-35,1-1 39,-1 0-49,0 0 42,1 0-29,-1 1 37,0-1-43,0 0 26,1 0-17,-1 0 28,1 0 2,-1 1-7,0-1 9,1 0-59,-1 0 22,0 0-21,0 0 30,1 1-43,-1-1 29,1 0-38,-1 1 46,0-1-34,0 0 24,1 0-26,-1 0 29,0 0-28,1 1 20,-1-1-26,0 0 23,1 0-6,-1 0 3,0 0 14,1 0-5,-1 1 10,1-1-14,-1 0 39,1 0-28,-1 0 31,1 1-38,-1-1 14,1 0-10,-1 0 13,1 0-14,0 0-4,-1 0 5,0 1-4,1-1-15,-1 0 17,0 0-19,1 0 10,-1 1 8,0-1-12,1 0 14,-1 0-23,0 0 15,0 0-17,1 1 16,-1-1-4,0 0 1,1 0 2,-1 0 10,1 0-4,-1 1 7,0-1-9,1 0-2,-1 0 0,0 1-1,1-1-2,-1 1 4,0-1-4,1 1 5,-1-1-3,0 0 2,1 1-2,-1-1 1,0 1-9,1-1 6,-1 0-7,0 1 7,1-1-38,-1 1 25,1-1-28,-1 0 26,0 1 8,1 0-10,-1-1 18,1 1-9,-1-1 9,1 1-12,-1-1 14,1 1-12,-1 0 12,1-1-14,-1 1 53,1 0-35,-1-1 38,1 1-39,-1-1 3,0 1 3,1-1-1,-1 1-5,1-1-2,-1 0 2,0 1 2,1-1 1,-1 1 0,0-1-2,1 1-9,-1-1 5,1 1-6,-1-1 6,1 1-9,-1-1 4,1 1-5,-1-1-2,0 1 9,1-1-8,-1 1 9,0-1 0,1 1 0,-1 0-2,1-1 4,-1 1-3,1 0 3,-1 0-3,0 0 4,1 0-3,-1-1 4,1 1-4,-1 0 4,0-1-4,1 1 4,-1 0-3,0-1 1,0 1-1,0-1 1,0 0-1,1 1 0,-1-1 0,0 0 0,0 0 0,0 0 0,1 0 0,-1 0 1,0 1 0,0-1 1,0 0-1,1 1-1,-1-1 0,0 0 0,0 1-20,0 0 14,1-1-14,-1 1 18,0-1-3,0 1 1,1 0-1,-1 0 12,1 0-7,-1 0 6,0 0-9,1-1 36,-1 1-25,1 0 27,-1 0-35,0 0 18,1-1-12,-1 1 16,0-1-18,0 1-34,1 0-13,-1-1 0,0 0-15,0 0 51,0 0-17,0 1-11,0-1 22,0 0-30,0 0 32,0 0 3,0 1-2,0-1-1,0 0-10,0 1 33,0-1-23,0 0 34,1 1-14,-1-1-11,0 1 19,0-1-11,1 1-4,-1 0 5,1-1-9,-1 1 3,1 0-2,-1 0 4,0-1-3,0 1-9,1 0 6,-1 0-6,0-1 6,1 0 1,-1 1-1,0 0 0,0-1-19,0 1 13,1-1-15,-1 1 3,0-1 11,0 0-11,0 1 13,0-1-7,0 0 3,0 1-6,0-1 7,0 1 11,1-1-9,-1 1 7,0 0 11,0-1-15,1 1 17,-1 0-20,0-1 8,0 1-6,1 0 8,-1 0-7,0 0 14,0-1-9,1 1 11,-1 0-15,1-1 3,-1 1-2,0 0 2,0-1 4,1 1-4,-1-1 4,0 1-2,0-1-2,0 1 2,0-1-2,1 1-9,-1-1 7,0 0-7,0 0-15,0 0 17,0 1-18,0-1 21,0 0-27,0 0 19,0 1-20,0-1 24,0 0 5,1 1-7,-1 0 4,0-1 4,0 1-7,0-1 8,0 1-9,1-1 18,-1 1-11,0-1 14,0 1 2,0-1-15,1 1 18,-1 0-21,0-1-1,0 1 1,0-1-2,0 1 6,1-1-17,-1 1 11,0-1-15,0 0-1,0 1 12,0-1-12,0 1 15,0-1-7,0 0 3,0 1-4,0 0 14,0-1-5,0 0 5,0 1-8,0-1 22,0 0-16,0 1 20,0 0-23,0-1 21,0 1-16,0-1 17,0 0-20,0 1 16,0-1-10,0 1 14,0-1-12,0 1-5,0-1 3,0 1-4,0-1 0,0 1 4,0-1-5,0 0-5,0 1 7,0-1-10,0 0 12,0 1 3,0-1-2,0 0 2,0 0-5,0 1 7,0-1-5,0 0 7,0 1-23,0-1 12,0 0-11,0 1 14,0-1 5,0 1-2,0-1 1,0 1-1,0-1-3,0 1 2,0-1-2,0 0 15,0 1-11,0-1 12,0 1-15,0-1 5,0 1-2,0-1 3,0 0-2,0 1-1,0-1 3,0 0-145,0 0 31,0 0-129,0 1-577,0-1 558,0 0-463,0 0 721,-1 0 0,1 1 0</inkml:trace>
  <inkml:trace contextRef="#ctx0" brushRef="#br0" timeOffset="143">800 1162 8573,'0'-1'443,"0"1"-296,0 0 48,0 0 193,0-1-301,0 2 288,0-1-377,0 0 2,0 0 25,0 1-35,0-1 40,0 1-55,0-1 39,0 1-47,0-1 53,0 0-45,0 1 33,0 0-35,0-1 68,0 1-28,0 0 27,0-1-33,0 1-4,0 0 4,0-1-4,0 1 25,0-1-13,0 1 15,0-1-17,0 1 22,0-1-14,0 1 16,0-1-17,0 0 6,0 1-2,0-1 5,1 0-41,-1 1 25,0-1-28,0 0 32,0 1-35,0-1 27,0 0-29,0 1 8,0-1 15,0 0-20,0 1 21,0-1-11,0 0 4,0 1-7,0-1 7,0 0 3,0 0-3,0 1 2,0-1 50,0 0-35,0 0 37,0 0-47,0 1 20,1-1-13,-1 0 17,0 0-35,0 1 15,0-1-15,0 0 22,0 0-35,0 1 26,0-1-27,0 0 30,0 0-21,0 0 13,0 1-15,0-1 9,0 0 6,0 0-13,0 1 11,0-1-5,0 0 5,0 0-1,0 0 4,0 0-3,0 1 6,0-1-5,0 0 3,0 0-3,0 0-4,0 0 3,0 0-2,1 0-39,-1 0 30,0 0-31,0 1 39,0-1-22,0 0 14,0 0-16,0 0-4,0 1 17,0-1-22,0 0 22,0 1 42,0-1-30,0 0 31,0 0-42,0 0 49,0 1-35,0-1 42,0 0-15,0 0-18,0 0 22,0 0-22,0 1-2,0-1 9,0 0-5,1 0-2,-1 0-2,0 0-2,0 0 5,0 1-12,0-1 8,0 0-13,0 0 13,0 0-5,0 1 4,0-1-4,0 0-14,0 0 12,0 0-14,0 0 11,0 1 6,0-1-7,0 0 7,0 0-4,0 0 3,0 0-3,0 0 2,0 1-2,0-1 1,0 0-2,0 0 16,0 0-9,0 0 12,0 1-15,0-1 5,0 0-2,0 0 3,0 0-3,0 0-5,0 0 4,0 1-9,0-1 9,0 0-3,0 0 3,0 0-7,0 1 5,0-1-5,0 0 3,0 0 25,-1 0-19,1 1 21,0-1-12,0 0-7,0 0 10,0 0-25,0 0 12,0 0-12,0 1 15,0-1-13,0 0 10,-1 0-10,1 0 11,0 1-8,0-1 5,0 0-7,0 0 5,0 0 0,0 0-3,0 0 1,0 1-13,0-1 11,0 0-9,0 0 13,0 1-1,0-1 1,0 0-1,0 0 2,0 0-2,0 0 2,0 1-3,0-1 27,0 0-20,0 0 22,0 0-27,0 0 48,0 1 14,0-1 2,0 0 0,0 0-52,0 0 14,0 1-2,0-1-33,0 0 30,1 0-35,-1 0-32,0 0 47,0 0-52,0 0 67,0 1-63,0-1 41,1 0-54,-1 0 62,0 1-1,0-1-1,0 0-5,0 1 48,0-1-43,0 0 44,0 0-48,1 1 22,-1-1-11,0 0 14,0 1-6,0-1-9,1 0 15,-1 0-12,0 1-5,0-1 3,0 0-5,0 0 8,0 0-19,0 1 14,1-1-20,-1 0 4,0 0 9,0 0-11,0 1 12,0-1 9,0 0-9,0 1 8,1-1-7,-1 0 23,0 1-17,0-1 18,0 0 2,0 1-17,0-1 22,1 0-25,-1 1 9,0-1-6,0 0 7,0 1-7,0-1 7,0 0-4,0 0 4,0 0-3,0 1-8,0-1 5,0 0-7,1 1-5,-1-1 9,0 0-9,0 0-9,0 0 14,0 1-16,0-1 19,0 0-58,0 0 39,0 0-46,0 1-146,0-1 121,0 0-155,0 0 173,0 1 0,0-1 0</inkml:trace>
  <inkml:trace contextRef="#ctx0" brushRef="#br0" timeOffset="144">2604 1363 9502,'2'0'-882,"-1"-1"976,0 1-53,1 0 61,-2-1 24,1 0 3,0 0 36,0 1-47,1-2 5,-1 1-9,1-1-41,0 0 3,-1 0-1,2-1 3,-1 1-31,0-1 23,1 0-15,0-1 27,0 1-8,0-1 8,0 0-14,0 1-40,1-1 36,-1 1-46,0-1 44,0 1 3,1-1-21,-2 1 17,2 0-60,-2 0-7,1 1-4,0-2 9,0 2 6,0-1-9,-1 1-5,1 0 10,-1-1-5,0 1-10,1 0-12,-1-1-5,0 1 40,0 0-7,0 0 4,0 0-12,0 1 0,0-1-4,0 1 7,-1-1 10,1 1-10,-1 0 9,2 0-11,-2-1 8,1 1-5,0 0 8,1 0 4,-1 0-4,1 0 3,-1-1-8,0 1 3,1 0-4,-1 0 5,0 0-10,1 0 5,-1-1-6,0 1 2,0 0 5,0-1-7,0 1 8,0-1-5,0 0 4,0 0-5,-1 1 5,1-2-50,0 1 36,-1 0-40,1-1 25,0 1 12,-1 0-14,0-1 17,0 2-6,0-1 2,0 0-4,0 0-20,0 1 18,0 0-19,-1 0 20,1 0 14,0 0-10,-1 1 7,1-1-6,-1 1 20,1 0-11,0-1 15,0 1 18,0-1-30,1 0 34,-1 1-41,0-1 43,1 0-29,-1 1 36,1-1-16,0 0-10,0 0 14,0 1-15,-1-1 42,1 0-26,0 1 32,0-1-38,-1 1 18,1-1-9,0 1 10,-1 0-29,1-1 5,0 1-5,0 0 9,0 0 19,0 0-14,0 0 16,1 0-65,-1 0-11,1 0-5,0 0 8,1 0-59,-1 0 17,1 0-37,0-1 58,0 0 53,1-1 0,0-1 0</inkml:trace>
  <inkml:trace contextRef="#ctx0" brushRef="#br0" timeOffset="145">2776 1202 9502,'-2'0'-528,"1"0"442,0 1 53,0-1 51,-1 1-1,1 0 60,-1 0 16,1 0 9,-1 0-12,0 1-6,0-1-26,0 1 31,-1 0-48,1 0 2,0 0-6,-1 1 11,1-1-11,-1 1 8,0-1 0,0 1-38,1-1 36,-1 1-40,0 0 39,0 0-42,0 0 26,1 0-32,-1 1 33,0-1 27,1 0-26,-1 0 24,1 0 0,0 0-14,-1 1 21,1-2-15,0 0 0,1 1 2,-1-1-2,0 0-74,0 0 53,1 0-55,-1-1 73,0 1 12,1 0-11,0 0 9,-1-1-24,1 1 0,-1 0-3,1 0 1,-1 0 59,0 0-40,0 1 41,0-1-46,0 1 0,0-1 4,0 1 2,0-1-8,0 0 8,1 1-6,-1-2 13,0 1-52,0 0 36,0-1-39,1 1-3,-1-1-9,0 0-6,1 0-33,0-1 29,0 1-15,0 0 16,-1-1-14,2 0 33,-1 1-39,0-1 42,-1 0 6,1 0-2,-1 0 3,1 1-10,0-1 38,0 0-26,-1 1 31,1-1-21,0 1-8,0-1 11,-1 1-8,1 0 9,0-1-1,0 1 3,-1 0-25,1-1 8,0 1-11,-1 0 16,1-1-23,-1 1 17,1 0-20,0 0 23,-1 0-14,1 0 10,0 0-13,0 0 43,0-1-25,0 1 25,0 0-12,0 1-12,0-1 15,0 0-18,1 1 49,-1-1-34,0 1 41,0 0-49,0-1 11,0 1-8,0 1 12,0-1-10,-1 0 58,1 0-43,-1 1 43,1 0-61,0-1 12,-1 1-11,1 0 15,-1-1-43,0 1 28,1 1-30,-1-2 39,0 1-27,1 0 19,-1 0-23,0-1-21,0 1 32,1-1-39,0 0 36,-1 0-24,1-1 9,0 1-8,-1-1 15,1 0-34,0 0 22,-1-1-25,1 1-27,0 0 47,0-1-51,0 1 72,-1-1-13,1 1 10,0-1-14,0 0-6,0 0 1,0 0-4,1 0 2,-1 0-24,1 0 34,0 0 18,-1 0 5,2-1 84,0 0-88,0 0 52,1-1-19,1 0 18,0 0-3,1 0 1,0 0-3,-1-1-17,1 1 26,0-1-26,-1 1-19,1-1 22,0 1-21,0-1 33,-1 1-13,1 0 8,-1-1-12,0 1-54,1 0 37,-1-1-37,0 1-22,1-1 46,-1 0-50,1 0 58,0-1-58,-1 1 37,1-1-43,0 0 51,0 0-1,0 0-4,0 1 0,0-2-7,-1 2 13,2-1-11,-3 0 11,2 0 14,-1 1-14,0 0 15,-1-1-23,1 1 4,0 0 2,-1-1 2,0 1-8,1 0 6,-1 0-9,0-1 11,0 1-18,0-1 13,0 0-16,1 1 17,-2-1 10,1 0-9,1 1 9,-1-1-20,0 0 5,1 0-5,0 0 3,-1 0 4,1 1-1,0-2 3,-1 2-7,1-1 3,0 1-5,-1 0 6,0 1-10,1-2 8,-1 2-10,0-1 10,1 0-34,-2 1 24,1 0-16,0 0 26,-1 0 5,0 0-9,0 1 14,1 0 6,-1 0 0,0 0-1,1 0 14,-1 1-22,0-1 25,1 0-31,0 0 15,1 0-10,-1 0 14,1 0-14,-1 1 19,1-1-14,-1 0 16,1 1 2,0-1-10,0 0 10,0 1 8,0 0-18,0 0 20,0-1-24,0 1 41,0 0-26,0 0 30,0 0-30,0 0-6,1 0 8,-1 0-6,0 0 16,0 0-18,1 0 17,-1 0-17,0 0 26,0 0-15,0 0 17,-1 1-42,1-1 15,0 0-16,0 0 19,-1 0-8,1 1 8,-1-1-8,1 1 12,0-1 21,-1 0-18,1 1 18,-1-1 47,0 0-52,1 0 58,-2 1-71,1-1 39,0 1-27,0-1 38,0 1-61,-1-1 25,1 1-24,-1 0 28,1 0-18,-1-1 14,1 1-14,-1-1 5,0 0 5,1 1-9,-1-1 11,0 1 30,1-1-21,-1 0 20,1 1 1,-1-1-25,0 1 31,1 0-30,-1-1-10,0 1 9,1 0-11,-1-1 17,0 1-66,0 0 48,1 0-49,-1-1 58,1 1-73,0 0 50,0 0-59,-1-1 42,1 1 9,0 0-14,1-1 18,-1 1 5,0 0-5,0-1 1,1 1 46,-1-1 15,0 1 4,1 0-13,-1-1-14,0 1-22,0 0 32,0 0-51,0 0 10,-1 0-12,1 0 21,0 0-34,-1 0 35,1 0-38,-1 0 27,1 0 6,-1 0-12,0 0 13,1 0-49,-1 0 33,1 0-40,-1 1 45,0-1 55,0 0-40,1 0 46,-1 0-59,1 0-16,-1 0 12,0 0-8,0 1-18,0-1 27,0 0-27,0 1 31,0-1-41,0 1 30,0 0-32,-1-1 26,1 2 8,0-2-14,0 1 14,-1 1 4,0-1-8,1 0 6,0 0-11,-1-1 63,1 1-41,-1 0 46,1-1-52,-1 1 30,1-2-16,0 1 19,0 0-16,0 0-9,0 0 13,0-1-33,0 1 21,0 0-22,0 0 25,0-1-50,1 1 31,-1 0-36,0 0 36,1 0-28,-1 0 15,1 0-17,-1 0 9,1 0 17,0 0-21,-1 0 20,1 0 8,0 0-6,0 0 8,0 0 1,0-1-8,0 1 10,0-1-11,1 0 22,-1 0-13,0 1 14,0-1-16,1 0 8,-1 0-1,0 0 3,0 0-34,1 0 16,-1 0-19,0 0 26,1 0-40,-1 0 29,0 0-36,1 0 18,-1 0 13,1 0-16,-1 0 16,1 0 27,-1 0-23,1 0 23,0 1-27,-1-1 8,1 0-6,-1 1 9,1 0-8,-1 0 13,0-1-8,0 1 7,0 0-50,0-1 31,0 1-31,0 0 23,0 0 11,-1 0-19,0-1 20,1 1-31,-1-1 21,1 1-25,-1 0 29,0-1 13,0 1-11,1-1 11,0 1-1,0-1-11,-1 1 14,1-1-14,0 1 27,-1-1-13,1 1 17,0-1-6,0 1-15,0-1 15,-1 1-17,2-1 1,-2 1 0,1 0 3,0 1-1,-1-1-35,1 0 24,0 0-29,-1 0 13,1 0 15,-1 0-17,0 0 18,0 0-3,0 0-2,1 0 1,-1 0 22,0 0-12,0 0 13,0 0-21,0-1 26,0 1-18,0 0 24,0-1-27,1 1 23,-1 0-12,0-1 14,1 1-9,-1 0-7,0 0 6,0 0-5,0 0 0,1-1 1,-1 1 0,0 0 6,1 0-5,-1 0 7,0 0-9,1 0 9,-1 0-6,1 0 7,-1 0-8,0 1 1,0-2 0,1 1 0,-1 0-9,0 0 5,1 0-5,-1 0-5,1 0 10,-1 0-11,1-1 12,0 1-11,0 0 7,0-1-8,0 0 8,0 0-65,0 1 44,2-1-47,-1-1 59,0 1-184,1-1 34,0-1-118,1-1-497,0 0 552,0 0-427,0-1 652,0 0 0,1-1 0</inkml:trace>
  <inkml:trace contextRef="#ctx0" brushRef="#br0" timeOffset="146">791 1196 8973,'0'-1'122,"0"1"-60,0 0-74,0 0 31,0 0-35,-1 0 31,1 0 4,0 0-2,0 0-3,-1 0-21,1 0 11,0 0-15,0 0 25,0 0-14,-1 0 11,1 0-12,0 0-14,0 0 19,0 1-23,0-1 29,0 0 37,0 0-27,0 1 29,0-1 27,0 0-47,0 0 53,0 0-64,0 0 18,0 0 24,0 1-13,0-1 19,0 0-46,0 0 16,1 0-14,-1 0 18,0 0 5,1 0 1,-1 0 5,1 0-79,-1 0 46,0 0-54,1 0 64,-1 0-106,0-1 21,0 1-98,1 0-124,-1 0 176,0-1-117,0 0 220,0 1 0,0-1 0</inkml:trace>
  <inkml:trace contextRef="#ctx0" brushRef="#br0" timeOffset="147">746 1299 9502,'0'0'-1147,"0"-1"1147,0 1 0,0 0 0,1 0 4,-1 0 3,0 0 6,0 0 47,0 0-32,0 0 34,0 0-71,0 0 19,0 0-15,0 0 23,0 1-28,0-1 83,0 0-74,1 0 78,-1 0-67,0 0 73,0 0-48,0 0 79,0 0-66,0 0 17,0 0-1,0 0-20,0 0 13,0 0-36,1 1 19,-1-1-21,0 0 25,0 0 219,0 0-161,-1 0 163,1 0-276,0 0-13,0 0-4,0 0 2,0 0 35,0 0 3,0 0-5,0 0 6,-1-1-11,1 1 4,0 0-5,0 0 11,0 0 5,0-1-4,-1 1 4,1 0-17,0 0 9,0 0-8,0-1 11,0 1-10,0 0 6,0-1-9,-1 1 10,1 0 0,0-1-1,0 1 0,0 0 6,0-1-5,-1 1 5,1 0-5,0 0-6,0-1 4,0 1-3,-1 0 0,1-1 4,0 1-2,0 0 5,0 0 5,0-1-5,-1 1 3,1 0-3,0-1 0,0 1 0,0-1-1,-1 1-5,1-1 3,0 1-3,0 0-12,0-1 11,0 1-11,0 0 15,0-1-8,0 1 5,0 0-6,-1 0 6,1-1-5,0 1 0,0 0-2,0 0-4,0 0 7,0 0-8,0-1 10,0 1-7,-1 0 5,1 0-5,0 0 5,0 0 22,0-1-15,0 1 16,0 0-26,0 0 4,0 0-2,0 0 4,0 0 12,0 0-8,0 0 10,0 0-17,-1-1 4,1 1-2,0 0 3,0 0-11,0 0 8,0 0-9,0 0 11,-1 0-11,1 0 7,0 0-10,0 0 12,0 0-8,0-1 5,0 1-4,-1 0 1,1 0 4,0 0-6,0-1 1,0 1 1,0 0-2,0 0 4,0 0-18,0 0 12,0-1-13,0 1 16,0 0-8,0 0 5,0 0-5,0 0 14,0 0-5,0 0 5,0-1-8,0 1 29,0 0-19,0 0 21,0 0-15,0 0-7,0 0 9,0 0-8,0 0-4,0-1 6,0 1-4,0 0 6,0 0-11,0 0 10,0-1 5,0 1 0,0 0 2,0 0-10,0 0-8,0 0 36,0 0-21,0 0 23,0 0-26,1 0 4,-1 0 0,0 0 3,1-1-3,-1 1-4,0 0 5,1 0-6,-1 0 6,1 0-25,-1 0 17,1 0-35,-1 0 33,1-1-12,-1 1 14,1 0-14,0 0 8,-1-1-12,1 1 15,0 0-12,-1-1 8,1 1-7,0 0 9,-1-1-1,1 0 0,0 1 1,0-1-1,-1 1 0,1-1 1,-1 1-1,1-1 9,0 1-6,-1-1 8,1 1 18,-1 0-19,0 0 22,0-1-27,1 1 3,-1 0-3,0 0 5,0 0-3,1 0-26,-1 0 19,0 0-21,0 0-9,1 0 24,-1 0-27,0 0 23,0 0 8,0 0-13,0-1 12,1 1-11,-1 0 7,0 0-10,0 0 9,0 0 14,0 0-10,1 0 12,-1 0-16,0 0 20,0 0-13,1 0 18,-1 0-39,0 0 18,0 0-17,0 0-17,0 0 25,1 0-27,-1 0 32,0 0-11,0 0 7,1 0-12,-1 0 15,0 0 9,0 0-10,1 0 11,-1 0-21,0 0 36,1 0-25,-1 0 27,0 0-4,0 0-17,0 0 23,0 0-25,1 0 19,-1 0-14,0 0 14,0 0-35,0 0 17,0 0-41,0 0 37,0 0-20,0-1-11,1 1 20,-1 0-23,0 0 25,0 0 11,0 0-12,0 0 10,0 0 61,0 0-54,0 0 105,0-1-99,0 1 81,1 0-58,-1 0 41,0 0-50,0 0 20,0 0-54,0 0 31,0 0-29,0 0 32,0 0-10,0 1 9,1-1-10,-1 0 12,0 0-9,0 0 9,0 0-9,0 0-9,1 0 6,-1 0-5,0 0 11,1 0-7,-1 0 6,0 0-19,0 0 12,1 1-8,-1-1 12,0 0-19,0 0 13,0 0-16,1 0 18,-1 0-13,0 1 10,1-1-11,-1 0 12,0 0-8,0 0 6,0 0-6,0 0 5,1 0-1,-1 0 0,0 0 0,0 0 0,0 0 1,0 0 0,1 0-1,-1 1 1,0-1 0,0 0 0,0 0-16,0 0 12,1 0-12,-1 0 15,0 0-4,0 0 3,1 0-5,-1 0 10,0 0-6,0 0 5,0 0-5,1 0 4,-1 0-3,0 0 3,0 0 3,0 0-4,1 0 5,-1 0-6,0 0 5,1 0-3,-1 0 4,0 0-4,1 0 3,-1 0-3,0 0 4,1 0-6,-1 0 2,1 0-1,0 0 1,-1 0-12,0-1 9,1 1-9,-1 0 4,1 0 4,-1 0-4,0 0 5,1 0 2,-1 0-3,0 0 2,1 0-3,-1-1 7,0 1-6,0 0 6,0 0-7,0 0 2,1 0-1,-1 0 2,0 0-27,1-1 19,-1 1-19,0 0 7,0 0 12,1 0-13,-1 0 14,0-1-11,0 1 5,0 0-6,0 0 5,1 0 24,-1-1-19,0 1 17,0 0 6,0 0-17,1 0 20,-1 0-24,0 0 17,0-1-9,0 1 15,0 0-13,0 0 0,0 0 0,0 0-4,0 0 4,0 0-4,0-1 2,0 1-1,0 0 0,0 0-1,0 0 1,0 0 1,0-1 0,0 1-1,0 0 2,0 0-1,0 0 0,0 0 1,0 0-2,0-1 3,0 1-2,0 0 0,0 0 1,0-1 0,0 1-1,0 0 0,0 0 0,0-1 0,0 1 0,0 0 0,0 0 0,0 0 0,0-1-4,0 1 3,0 0-3,0 0-7,0 0 7,0 0-7,0-1 9,0 1 2,0 0-1,0 0 1,0 0-2,0 0-8,0-1 6,0 1-6,0 0 3,0 0 2,0 0-2,0 0 3,0 0 4,0 0-3,0 0 2,0-1-6,0 1 2,0 0-4,0 0 5,0-1 4,0 1-3,0 0 5,0 0-6,0 0 8,0 0-6,0-1 7,0 1-3,0 0-2,0 0 4,0 0-4,0 0-1,0-1 2,0 1-2,0 0 3,0 0-2,0 0 4,0 0-11,0-1-2,0 1-1,0 0-1,0 0 13,0 0-14,0 0 13,0 0-14,0 0 9,-1 0 21,1 0-16,0 0-23,0 0 3,0-1-35,0 1 35,0 0 0,0 0 10,0 0 4,0 0 45,0 0-24,0-1 31,0 1-45,0 0 8,0 0-6,0 0-7,0 0 3,0 0 13,0 0-14,0 0 19,0 0-22,1 0 9,-1 0-4,0 0 7,0 0-4,0 0-3,0 0 5,0 0-25,1 0 17,-1-1-18,0 1 19,0 0-20,0 0 12,0 0-14,0 0 17,1 0-4,-1 0 0,0 0-2,0 0 2,0-1 5,0 1-4,0 0 16,0 0-11,0 0 11,0 0-13,0 0-6,0 0 4,0 0-2,1 0 5,-1-1 0,0 1 4,0 0-4,0 0 4,0 0-4,0 0-1,0 0 0,0-1 6,0 1-3,0 0 4,0 0-4,0 0 0,0 0 4,0-1-5,0 1 6,0 0-18,0 0 11,0 0-11,0 0 19,0 0-5,-1 0 5,1 0-7,0 0 4,0-1-3,0 1 3,0 0-7,0 0 3,0 0-3,0 0-7,0-1 8,0 1-8,0 0 11,0 0 6,0 0-5,0 0 4,0 0-7,0 0 7,0-1-4,0 1 4,0 0-6,-1 0 14,1 0-10,0 0 12,0 0-9,0-1-2,0 1 6,0 0-5,0 0 0,0 0-1,0 0-1,0 0 0,0-1 0,0 1 0,0 0 11,0 0-7,0 0 15,0 0-15,0 0 14,0-1-11,0 1 1,0 0-4,0 0-4,1 0 5,-1 0-9,0 0 6,0 0-6,0 0-9,0 0 9,0 0-12,0 0 13,0 0-2,1 0 3,-1 0-5,0 0 9,0 0-5,0 0 4,1-1-4,-1 1 3,0 0-2,0 0 3,0 0-3,1 0 4,-1 0-2,0 0 3,0 0-1,0 0 8,0 0-5,1-1 7,-1 1-5,0 0-4,0 0 5,0 0-33,0 0 21,0 0-44,1 0 41,-1 0-18,0 0 19,0 0 0,0 0-6,0 0-4,0 0 12,0 0-9,0 0 43,0 0-29,0-1 23,0 1-22,0 0 0,0 0 1,0 0-4,0 0 1,0-1 0,0 1 0,0 0-4,0 0 3,0 0-4,0 0 5,0 0-1,0 0 1,-1 0 0,1-1 0,0 1 0,0 0-26,0 0 17,0 0-18,0 0 24,0 0-1,0-1 0,0 1-2,0 0 2,0 0-5,0 0 4,0 0-4,0 0 2,0-1-2,0 1 1,0 0 9,0 0-6,-1 0 7,1 0-8,0 0 5,0 0-3,0 0 4,0-1-3,0 1-37,0 0 26,0 0-30,0 0 37,0 0-1,0 0 0,0-1 8,0 1-12,0 0 28,0 0-28,0 0 20,0 0 14,0 0-20,0 0 64,0 0-51,0 0 77,0-1-66,0 1 36,0 0-47,0 0-18,0 0 9,1 0-7,-1 0-13,0 0 20,0 0-25,0 0 19,0-1 11,0 1-10,0 0 10,1 0-9,-1 0 30,0 0-20,0 0 22,0 0-27,0 0 24,0 0-15,1 0 16,-1 0-17,0 0-20,0 0 18,0 0-16,0 0-1,0 0 11,0 0-35,0 0 33,0 0-16,1 0 5,-1 0 8,0 0-11,0 0 8,0 0 12,0 0-11,1 0 11,-1 0-11,0 0 13,0 0-8,0 0 9,0 0-10,0 0-5,0 0 5,1 0-3,-1 0 1,0 0 2,0 0-2,1 0 3,-1 0-9,0 0 5,0 0-5,0 0-39,0 0 33,0 0-35,0 0 41,1 0-77,-1 0 11,0-1-71,0 1 75,0 0 14,0 0 45,0 0 7,1 0 0,-1 0 0</inkml:trace>
  <inkml:trace contextRef="#ctx0" brushRef="#br0" timeOffset="148">646 1265 10343,'-1'1'191,"1"-1"-117,0 0-39,-1 1-24,1-1-5,-1 0-46,0 1 28,1-1-5,-1 0-2,0 0 5,0 1 19,0-1-26,0 0 31,0 0 14,0 0-23,0 0 19,-1 1 18,1-1-12,0 0 21,0 0-28,-1 0-13,1 0 10,0 1-11,0-1 9,1 0 7,-2 0-4,1 0 6,0 0-1,1 0-2,-1 0 0,0 0-4,0 0 2,0 0-2,0 0 0,0 0 2,0 0-2,0 0 4,0 0 0,0 0-3,0 0 4,0-1-6,0 1 4,0 0 28,0 0-21,0 0 23,0 0 11,0 0-28,0 0 33,0 0-39,1 0 19,-1-1-12,0 1 16,0 0-43,1 0 24,0 0-19,-1 0 27,0 0-35,1 0 23,-1-1-29,1 1 8,0 0 19,-1 0-25,0 0 26,1 0 7,-1 0-6,1-1 7,-1 1-15,1 0-1,0 0 1,-1-1 3,0 1-33,0 0 26,1 0-24,-1-1 32,0 1-22,0 0 12,1 0-16,-1 0-21,0 0 31,0-1-36,0 1 41,0 0-31,1 0 22,-1 0-26,0 0 9,1 0 9,-1 0-12,1-1 18,-1 1-2,0 0 1,1 0 0,0 0-1,-1 0 33,1 0-23,-1-1 25,1 1-32,0 0 7,-1 0-5,1-1 8,0 1 29,-1 0-23,1 0 27,0 0-22,-1 0-8,1 0 12,-1-1-13,0 1-5,1 0 5,-1 0-6,1 0 16,-1 0-6,1 0 4,-1 0-8,1-1-14,-1 1 10,1 0-11,-1 0 14,1 0 1,-1 0-3,1-1 2,-1 1 50,1 0-36,-1 0 41,1 0-52,-1 0 9,1-1-4,-1 1 6,1 0-14,-1 0 7,0-1-7,1 1 10,-1 0-40,0 0 29,0 0-29,0 0 0,0 0 26,1-1-30,-1 1 37,0 0-22,0 0 16,0 0-22,1 0 19,-1 0-19,0-1 11,1 1-10,-1 0 20,1 0-6,-1 0 7,1 0-9,-1 0 36,1 0-25,-1 0 28,0 0-37,1 0 4,0-1-3,-1 1 7,1 0-6,-1 0 7,1 0-6,-1 0 6,1 0-21,0-1 17,-1 1-18,1 0 15,-1 0 2,0 0-7,1 0 5,-1 0 61,1 0-44,0 0 48,-1-1-46,1 1-6,0 0 9,-1 0-7,1 0-12,-1 0 12,1 0-11,0 0 13,-1 0-22,1 0 21,-1 0-20,1 0 23,-1 0-51,1 0 30,-1 0-32,1 0 9,0 0 25,-1 0-32,1 0 27,-1 0-6,0 0 4,1 0-1,0 0 3,-1 0-1,1 0 1,-1 0 0,0 0 1,1 0 0,0 0 0,-1 0 0,1 0 3,-1 0-2,1 0 3,-1 0-4,1 0 0,0 0 1,-1 0-1,1 0 0,-1 0 0,0 0 0,1 0-1,-1 0 2,1 0-2,-1 0 2,1 0-2,-1 1 1,1-1 0,-1 0 0,1 0 22,-1 0-15,1 0 17,-1 0-23,1 0 2,-1 1-2,1-1 4,-1 0-8,0 1 8,0-1-8,0 0 2,1 0 3,-1 1-4,0-1 5,1 1-6,-1-1 4,1 0-6,-1 0 7,0 1-11,1-1 7,-1 0-7,1 1 8,0-1 0,-1 0 1,1 0-1,-1 0 1,1 0 0,0 1 0,-1-1 31,1 0-23,0 0 25,-1 0-31,1 0-1,0 1 1,0-1 1,0 0 1,-1 0-30,1 1 21,0-1-23,-1 0 24,1 1 4,0-1-6,-1 0 5,1 1 0,0-1-3,-1 1 1,1-1 20,0 1-14,-1-1 13,1 0-18,-1 1 11,1-1-6,-1 0 11,1 1-13,0-1 22,-1 0-15,1 0 18,0 1 11,-1-1-20,1 0 22,0 1-29,-1-1-10,1 0 11,-1 1-7,1-1-3,0 1 8,-1-1-9,1 1 10,-1-1-20,1 1 15,-1-1-16,0 0 18,1 1-48,-1 0 30,1-1-34,-1 0 40,0 1 4,0 0-6,1-1 4,-1 1-6,0-1 5,1 0-2,0 1-6,-1-1 6,1 1-6,0-1 8,-1 0-21,1 1 16,0-1-16,0 1 25,-1-1 1,1 0-4,0 0 1,0 1-7,0-1 2,0 1-1,0-1 1,-1 1 12,1-1-9,0 1 11,0-1-14,0 1 1,-1-1 1,1 1 2,0 0 2,0-1 2,-1 1-1,1 0-3,0 0 7,0 0-7,0-1 6,-1 1 1,1 0-6,-1-1 8,1 1-25,0 0 13,0 0-13,-1-1 16,1 1-15,0 0 10,0-1-11,0 1 14,-1 0-59,1-1 41,0 1-47,0 0 58,0-1-2,-1 1-4,1-1-3,0 1 25,0-1-21,-1 1 26,1-1-30,0 1 14,0-1-9,-1 0 11,1 1-2,0-1-5,0 1 9,0-1-11,0 1-21,-1-1 15,1 1-16,0-1 25,-1 1-3,1-1-1,0 1-3,0-1 16,0 1-12,0-1 13,-1 1-15,1-1 53,0 1-39,0-1 42,-1 1-10,1-1-28,0 1 37,-1-1-42,1 1 26,0-1-19,0 1 22,-1-1-22,1 1-3,0-1 3,-1 0-4,1 1-43,0-1 36,0 0-39,0 1 43,0-1 2,-1 1-7,1 0 5,0-1-25,-1 1 19,1-1-21,0 1 24,0-1-28,0 1 20,-1 0-23,1 0 26,0 0 31,-1 0-21,1-1 24,0 1 2,0 0-23,-1-1 25,1 1-24,0 0-5,0-1 5,-1 1-1,1 0-69,0-1 54,0 1-56,0 0 70,-1 0-79,1-1 52,0 1-58,-1-1 50,1 1 12,-1 0-22,1 0 19,0-1 4,0 1 0,-1-1 0,1 1 40,0 0-36,-1 0 38,1-1-39,0 2 40,-1-1-22,1-1 24,-1 1-27,1 0 32,0 0-14,0 0 20,0 0-21,-1 0-13,1-1 14,0 1-14,0 0-6,-1 0 4,1 0-5,0-1-40,0 1 36,-1-1-38,1 1 43,0 0-13,0-1 5,0 0-9,-1 1 8,1-1 10,0 1-10,0-1 8,-1 0-19,1 1 10,0-1-11,0 1 36,-1-1-17,1 1 19,-1 0-22,1 0-18,0-1 16,0 1-15,-1 0 19,1 0-19,0-1 12,0 1-17,-1 0 19,1 0 54,0-1-40,0 1 44,0 0-35,0-1-13,-1 1 17,1 0-20,0-1 17,0 1-9,0-1 13,0 1-17,0-1 1,0 1 4,0-1 1,0 0-34,0 1 23,-1-1-29,1 1 37,0-1-52,0 1 37,0-1-46,0 0 52,0 1-49,0 0 35,-1-1-37,1 1 44,0 0-8,0 0 3,0 0-19,-1 0 1,1 0-5,0 0 8,0 0 45,0 0-27,0 1 29,-1-1-37,1 0 27,0 1-16,0-1 22,-1 0-27,1 0 31,0 0-23,0 0 25,0 0-17,-1 0-3,1 0 3,0 0-10,0 0 1,0-1 0,-1 1 3,1 0-13,0-1 7,0 1-11,0 0 14,-1-1-26,1 1 19,0 0-22,0-1 25,0 1-54,0-1 38,0 1-44,0 0 76,0 0-21,0 0 15,0 0-19,0 0 21,0 0-12,0 1 17,0-1 39,0 0 13,0 0 11,0 0-19,0 1-8,-1-1 6,1 0 15,0 0 3,0 0-59,0-1 20,0 1-20,0 0-26,-1-1 38,1 1-37,0-1 39,0 1-46,0 0 29,0-1-41,0 0 40,0 1-6,0-1 3,0 1-7,0-1-3,0 1 0,0-1 0,0 1 16,0 0-3,0 0 5,0 0 9,0-1-11,0 1 13,0 0-17,0 0 42,0 0-28,0 0 30,0 0-38,0-1 71,0 2-48,1-2 52,-1 1-61,0 0 3,0 0 5,0 0-1,1-1-15,-1 1 5,0 0-4,0-1-4,0 1-6,0 0 3,0-1-3,0 1-24,0 0 27,0-1-33,0 1 37,1 0-24,-1-1 11,0 1-15,0-1 11,0 1 10,0-1-11,0 1 8,0-1 2,0 1-2,0-1 2,1 1 2,-1 0-3,0-1 4,0 1-4,0 0 8,0-1-6,0 1 7,0-1-7,1 1 13,-1-1-8,0 1 9,0 0-13,0-1-1,0 1 1,0-1 0,0 1-1,0-1 4,0 1-4,0-1-2,0 0 3,1 1-3,-1-1 4,0 0 4,0 0-3,0 1 2,0-1-3,0 0 8,0 0-6,1 1 5,-1-1-7,0 0 4,0 0-2,1 1 5,0-1-12,-1 0 6,1 0-5,-1 0 2,1 0 3,-1 0-3,1 0 4,0 0-13,-1 0 9,1 0-11,0 0 13,-1 0-30,1 0 22,0 0-26,-1 0 30,1 0-21,0 0 15,-1 0-18,1 0 31,-1 0-12,1 0 11,0 0 14,-1 0-17,1 0 17,0 0-23,-1 0 12,1 0-8,-1 0 12,1 0-14,0 0 36,-1 0-25,1 0 31,0 0-36,-1-1 1,1 1-1,0 0 1,-1 0-10,1-1 11,0 1-11,-1 0-32,1 0 32,0 0-34,-1-1 41,1 1-10,0 0 3,-1 0-4,1 0 3,-1 0 6,1 0-8,0 0 6,-1 0-7,1 0 51,-1 0-37,1 0 38,0 0 17,-1-1-44,1 1 53,-1 0-63,1 0 8,-1-1-4,1 1 9,0 0-52,-1-1 40,1 1-41,-1 0 50,1 0-36,0 0 25,-1-1-28,1 1 6,-1 0 17,1-1-27,-1 1 27,1 0-16,-1-1 2,1 1-6,-1 0 5,1 0 17,0 0-5,-1-1 8,1 1-11,-1 0 10,1 0-8,-1 0 12,1 0-3,-1-1-3,1 1 5,-1 0-8,1 0 11,0 0-8,-1 0 9,1-1 26,0 1-27,-1 0 32,1 0-32,-1-1-1,1 1 3,0 0-3,-1 0-13,0 0 11,1-1-11,-1 1 16,1 0-69,0 0 50,-1-1-51,1 1 59,-1 0-18,0 0 8,1 0-17,-1-1 19,1 1-1,-1 0 2,1 0-5,-1 0 21,1 0-19,0 0 19,0 0-1,-1 0-12,1-1 16,-1 1-19,1 0 17,0 0-11,-1 0 14,1 0-15,0-1-9,-1 1 7,1 0-9,0 0 10,-1 0 0,0 0 0,1-1 0,-1 1-12,1 0 8,0 0-9,-1 0 5,0 0 5,1 0-5,-1 0 5,0-1-16,1 1 11,-1 0-11,1 0 14,-1 0-38,0 0 28,1 0-32,-1 0 38,0 0 17,1 0-12,-1 0 12,0 0-12,1 0-5,-1 0 5,0 0 7,1 0-9,-1 0 7,1 0-10,-1 0 29,1 0-20,-1 0 27,1 0-31,-1 0 46,0 0-33,0 1 37,1-1-43,-1 0 6,0 0-4,0 0 4,0 0 8,0 1-6,0-1 8,0 0-8,0 0-2,0 1 4,0-1-3,0 0 11,0 0-9,0 1 9,0-1-12,0 0 37,0 0-25,0 1 28,0-1-21,0 0-19,0 1 19,0-1-18,0 1-19,0-1 21,0 0-23,0 0 1,0 1 18,0-1-18,0 1 21,0-1-8,-1 1 1,1 0-4,0-1 0,-1 0-3,1 1-2,-1 0 1,1-1 2,-1 1 5,1-1-4,0 0 4,0 1 16,0-1-11,0 1 13,-1-1-2,1 0-10,0 1 12,0-1-14,0 0 1,0 1 1,0-1-1,0 1 2,-1-1-6,1 0 5,0 1-4,0-1-7,0 0 7,0 0-8,0 0 11,0 1-12,0-1 9,0 0-14,-1 1 15,1-1-35,0 0 25,0 1-28,0-1 14,0 0 10,0 0-13,0 1 17,0-1-8,0 0 5,0 0-8,0 1 7,-1-1 0,1 0-3,0 0 1,0 1 12,0-1-9,0 1 12,0-1 8,0 0-14,-1 0 16,1 0-18,0 1 27,0-1-20,0 0 23,0 1-27,-1-1 23,1 0-16,0 0 19,0 0-10,0 0-4,0 0 6,0 0-6,0 0-5,0 1 9,-1-1-7,1 0 5,0 0-4,0 0 3,0 0-1,0 0 26,-1 0-21,1 0 20,0 0-22,0 0-11,-1 0 7,1 0-7,0 0-11,0 0 14,0 0-14,-1 0 18,1 0-10,0 0 6,0 0-9,0 0-10,-1 0 15,1 0-21,0 0 23,0 0-11,-1 0 8,1 0-6,0 0 6,0 0 0,-1 0 1,1 0-1,0 0 3,0 0-3,0 0 2,0 0-2,-1 0 2,1 0-1,0 0 2,0 0-2,0 0 0,-1 0 1,1 0-1,0 0-16,0 1 12,0-1-12,-1 0 14,1 0 1,0 0-2,0 0 2,0 1-1,-1-1 3,1 0-3,0 0 3,0 1 4,0-1-6,0 0 7,0 1 2,0-1-7,0 0 9,0 1-10,0-1 1,-1 1 2,1-1-2,0 0 2,0 1-46,0-1 32,0 1-35,-1-1 45,1 1-2,0 0-1,0-1-1,0 1-7,-1 0 5,1 0-6,0-1-9,0 1 7,0 0-9,-1-1 13,1 1-1,0 0 2,0 0-2,-1 0 3,1 0 18,0-1-12,0 1 11,-1 0-16,1-1 0,0 1-1,0 0 0,0-1-17,0 1 13,0-1-12,-1 1 14,1-1 3,0 1-3,0 0 2,0-1 7,0 0-5,0 1 4,0-1-9,0 0 11,0 1-9,0-1 11,0 1 19,0-1-22,0 0 28,0 1-2,0-1-15,0 0 19,0 0-23,0 1-3,0-1 2,0 0 1,0 1-2,0-1-4,0 0 3,0 1-4,0-1 6,0 0-7,0 1 4,0-1-7,0 0 20,0 1-11,1-1 11,-1 1 27,0-1 13,0 0 3,0 1-10,0-1 20,1 0-41,-1 0 49,0 1-56,1-1 15,-1 0-10,1 0 18,0 0-14,0 0-5,0 0 2,1 0-5,-1 0-85,0 0 25,1 0-88,0 0 83,0 0-183,0-1 180,0 1-141,0 0 189,0-1 0,1 1 0</inkml:trace>
  <inkml:trace contextRef="#ctx0" brushRef="#br0" timeOffset="149">3212 1365 9502,'2'0'-89,"-1"0"7,0 0 48,0 0-86,0 0 130,0-1 75,-1 1 80,1 0 5,0 0 75,-1 0-51,2-1 19,-2 1-30,1 0-36,0-1-21,0 1 36,0 0-83,1 0 45,-1-1-47,1 1 46,-1 0-66,1 0 64,0-1-57,-1 1 77,1 0-125,0 0 20,0 0-105,1 0 104,-1 0-93,1 0 74,0-1-112,1 1 53,-1 0-22,1 0 56,0-1-10,-1 0 47,2 0-23,-2 0 17,1 0 15,0 0-6,-1-1 10,1 1-19,-1-1 31,0 0-20,0 0 34,0 0-39,0 0 26,-1 0-19,1 0 20,-1 0-74,0 0 49,0-1-49,0 1 57,1-1-44,-1 1 27,0-1-29,0 0-25,0 1 36,1-1-44,-1 0 45,0 1-23,0-1 9,0 1-13,0 0 16,-1 0 30,1 0-25,-1 1 23,0-1-14,0 1-2,0 0 7,0 0-6,-1 0-29,1 0 20,0 0-21,0 1 3,-1-1 19,1 1-21,0-1 24,0 0-63,0 0 40,0 0-45,0 0 49,0 0-33,0 0 15,0 1-21,0-1-8,0 0-7,-1 1-8,1-1 11,-1 1 52,1-1-9,-1 1-17,1 0 11,-2 0-15,1 1 36,-2 0-1,1 1 18,-1 0-20,0 1 23,0-1-40,-1 1 16,1 0-16,-1 0 11,1 0 30,-1 0-22,1 0 23,0 0-27,-1 1 32,1-1-21,0 0 25,0 1-29,0-1 37,0 0-27,0 1 32,0-1 7,0 0-23,0 0 29,0 0-29,0 0-21,0 0 19,0-1-17,1 0-2,-1 1 9,0-2-12,0 2 15,0-2-12,1 1 8,-1 0-13,0 0 14,0-1 37,0 0-29,0 0 30,1 1-20,-1-1-12,1 0 14,-1-1-12,0 1 34,1-1-20,-1 1 25,0-1-8,0 0-19,1 1 23,-2-1-26,1 0-18,0 0 14,0 0-15,0 0 17,-1 0 1,1 0-4,-1 0 1,1 0 27,0 0-21,-1 0 21,1 0-26,-1 0 5,1 0-4,-1 0 7,1-1 13,0 0-11,-1 0 15,1 1-19,-1-2-23,1 1 21,0 0-21,0 0 27,0 0-55,0 0 36,-1-1-41,2 1 16,-1 0 21,0-1-29,0 1 33,0 0-8,1-1 1,-1 1-6,0-1-6,1 1 6,-1-1-6,0 1 13,0 0-11,1 0 8,-1 0-7,0 1 8,0-1 7,1 0-5,0 1 6,-1-1 4,1 1-9,-1 0 11,1 0-12,0 0-14,-1 0 11,1 0-10,-1 0-2,1 0 12,-1 0-13,1 0 15,-1 0-16,1 0 10,0 0-13,-1 0 12,1 0 4,0 0-7,-1 0 5,1 0 1,0 0 0,-1 0 3,1 0-6,-1-1 16,1 1-12,-1 0 14,0 0-12,1-1 1,0 1 0,-1 0-1,0 0 17,1-1-11,-1 1 12,0 0-16,0-1 4,1 1 0,-1 0 2,0 0 32,0-1-27,0 1 29,-1-1-35,1 1-1,0 0 2,0-1-1,0 1-18,0-1 16,-1 1-17,1 0 21,-1-1-13,1 1 8,-1-1-10,1 1 11,-1-1-8,0 0 4,-1 0-10,1 0 30,-1-1-18,1 1 18,-1-1-19,-1 1 44,1-2-29,-1 1 32,0 0-24,0-1-12,0 0 15,-1 0-15,1 0-85,0 1 17,0-2-79,0 2 85,1-1-368,0 0 125,1 1-265,0 1 325,1-1 99,0 1 131,1 0 0,0 0 0</inkml:trace>
  <inkml:trace contextRef="#ctx0" brushRef="#br0" timeOffset="150">733 1285 8847,'-1'-1'-295,"1"1"576,0 0-118,0 0 29,0 0-162,0 1 3,0-1-6,0 0 10,0 0-10,0 0 18,0 1-13,0-1 16,0 0 17,0 1-22,0-1 23,0 0-33,0 1 21,0-1-7,0 1 10,0-1-10,0 1 22,1-1-14,-1 1 18,0 0-41,0-1 10,0 1-11,0-1-26,0 1-12,0 0-3,0-1 11,0 1-34,0-1 52,0 1-67,0 0 73,0-1-24,0 1 14,0-1-20,0 1 16,0-1-19,0 1 16,0 0-18,0 0 3,0-1 5,0 1-5,0 0 17,0-1-2,0 1 3,0 0-3,0 0 48,0-1-36,0 1 38,0 0-48,0 0 43,0 0-30,0-1 32,0 1-40,0 0 22,0 0-15,0 0 25,0 0-17,0 0 6,0 0-4,0 0-34,0 0 20,0 0-19,0 0 28,0 0-23,0 0 14,0 0-24,0-1 27,-1 1-28,1 0 20,0-1-25,0 1 26,0 0 1,0 0 1,0-1 3,0 1-2,0 0-4,0-1 3,0 1-3,0-1 22,0 1-12,0 0 13,0-1-3,0 1-13,0 0 13,0 0-14,0-1-26,0 1 20,0 0-20,0-1 27,0 1-39,-1 0 27,1-1-29,0 1 4,0 0 21,0 0-28,-1 0 23,1 0-3,0-1 1,0 1-3,0 0 42,-1-1-31,1 1 31,0 0-33,-1 0 11,1-1-5,0 1 7,0 0-5,0-1 1,0 1 1,-1 0 1,1-1 0,0 1-3,0 0 5,0-1-29,-1 1 19,1-1-20,0 1 16,0 0 23,-1 0-20,1 0 19,0-1-18,0 2 2,0-2 0,-1 1 1,1 0 11,0 0-5,-1-1 6,1 1-5,0 0-22,-1 0 12,1 0-10,-1 0 7,1 0 7,-1-1-6,1 1 5,0 0 3,-1 0-5,0 0 2,1-1-3,0 1 15,-1 0-11,1 0 11,-1 0-14,1 0 44,-1-1-29,1 1 37,0 0-34,-1 0-2,1 0 1,-1-1-15,1 1 8,-1 0-7,1 0 11,-1 0 15,1 0-14,0-1 13,-1 1-14,1 0-16,-1 0 12,0-1-15,1 1-1,0 0 10,-1 0-10,0 0-10,1-1 20,-1 1-23,1 0 25,-1 0-28,1 0 22,-1-1-26,0 2 28,1-2-6,-1 1 4,1 0-5,-1 0 3,0-1 11,1 1-7,-1 0 9,0 0-13,1 0 18,-1 0-11,0 0 14,1 0-6,-1 0-6,0-1 6,1 1-14,-1 0 4,0 0-3,1-1 6,-1 1-16,1 0 10,-1-1-12,0 1 17,1-1-24,0 1 16,-1 0-19,0-1 23,1 1-19,-1 0 13,1-1-17,-1 1 12,1-1-1,-1 1 0,0-1 4,0 1 1,1-1-1,0 1 0,-1 0 7,0-1-5,1 1 6,-1 0-7,1-1-1,-1 1 2,1-1-3,-1 1 3,0-1 9,1 1-6,-1-1 7,1 1 27,-1-1-27,1 1 29,-1-1-28,1 1-1,0-1 3,-1 1-4,1-1-10,-1 1 10,1-1-9,-1 1 14,1-1-28,-1 1 21,0-1-22,1 1 23,-1-1-23,1 1 14,-1-1 3,1 1 4,-1-1 15,1 1-22,-1 0 38,0-1-27,0 1 30,1-1-34,-1 1 18,0 0-10,1 0 13,-1 0-12,1-1 2,-1 1 2,0-1-2,1 1-26,-1 0 18,0-1-20,1 1 26,-1-1-34,0 1 23,0 0-30,1-1-17,-1 1 32,0 0-36,0 0 43,0 0-5,1-1 1,-1 1-8,0 0 10,0-1 0,0 1-2,0 0 3,0-1 8,0 1-7,0 0 10,1 0 4,-1-1-11,0 1 14,0 0-17,0 0 7,1-1-5,-1 1 9,0 0-8,0-1 0,1 1 0,-1-1-2,0 1 3,1 0-4,0-1 3,-1 1-4,1-1 3,-1 0-1,0 1 1,1-1-1,-1 1 0,1-1 1,-1 1 0,1-1 0,-1 1 0,1 0 0,-1-1 0,0 1-4,0 0 3,0 0-3,0-1-2,0 1 3,0 0-3,0 0 4,0-1-13,0 1 8,0 0-9,1-1 13,-1 1 1,0 0-2,0-1 0,1 1 5,-1-1-3,1 1 4,-1 0-6,0-1 8,1 1-6,0 0 7,-1-1-8,0 1 7,1-1-5,-1 1 7,1 0 13,-1-1-13,1 1 15,-1-1-20,1 1 0,0-1 1,-1 0 0,0 1-7,1-1 6,0 1-4,-1-1 6,1 0-15,0 1 11,-1-1-11,1 1-2,-1-1 12,1 0-14,0 1 15,-1-1-1,1 1 1,-1-1-3,0 1 7,1-1-6,-1 1 7,0-1-7,1 1 2,-1 0-1,0-1 2,1 1-1,-1 0-6,0-1 5,0 1-5,1-1 7,-1 1-19,0-1 13,1 1-15,-1 0 6,1-1 9,-1 1-11,0-1 7,1 0 2,-1 1-3,0-1 1,1 1 9,-1-1-8,1 0 8,-1 1-7,0-1 9,1 1-7,0-1 7,-1 1-7,0-1-7,0 1 8,1-1-7,-1 1-9,0-1 11,1 1-11,0-1 7,-1 1 5,1-1-5,-1 0 3,1 1 18,0-1-14,0 0 14,-1 0-17,1 1 2,0-1-2,0 0 3,-1 0-1,1 0-6,-1 1 5,1-1-5,0 0 8,-1 0-2,1 1 1,0-1 0,0 0-8,-1 0 4,1 0-6,0 1 3,-1-1 2,1 0-3,0 0 5,-1 0 0,1 1-1,0-1 2,-1 0-2,1 0 4,-1 0-2,1 0 3,0 1-8,-1-1 4,1 0-4,-1 0 4,1 0 9,0 0-5,-1 0 5,1 0 2,0 0-8,0 0 9,-1 1-10,1-1 12,0 0-9,0 0 10,-1 0-12,1 0 15,0 0-10,-1 0 12,1 0-6,-1 0-4,1 0 5,0 0-10,0 0 3,-1 0-2,1 0 2,0 1 4,-1-1-3,1 0 3,0 0-3,-1 0-23,1 0 17,0 1-20,0-1-12,-1 0 25,1 0-29,0 1 35,0-1-48,-1 0 34,1 0-38,0 0 31,0 0 6,-1 1-10,1-1 9,0 0-5,-1 0-1,1 1 0,0-1 1,-1 0-27,1 0 18,0 0-19,0 1 15,-1-1 11,1 0-12,0 1 10,0-1 24,0 0-18,-1 0 20,1 1 35,0-1-41,0 0 40,0 0-51,0 1 25,0-1-18,0 0 50,0 0-34,0 0 21,0 0-18,0 0 42,1 0-36,-1 0 37,1 0-45,-1 0 66,1 0-46,0 0 52,0-1-32,0 1-15,0-1 18,0 0-20,0 1-36,0-1 29,0 1-28,0-1 36,0 1-26,0-1 20,0 1-18,0-1 19,0 1-65,0-1-27,0 1-112,-1-1 28,1 1-48,-1 0 113,1-1-92,-1 1-35,0 0-35,1 0-36,-1-1 164,0 1 45,1 0 81,-1-1 0,2 0 0</inkml:trace>
  <inkml:trace contextRef="#ctx0" brushRef="#br0" timeOffset="151">647 1288 8618,'0'-1'478,"0"1"-395,0 0 59,0 0 2,0 0 50,0 0 108,0 0-113,0 0 100,0-1-86,0 1-20,0 0 118,0 0-140,0 0 57,0 0-150,0 1 23,0-1-23,0 0 21,0 0-57,1 1 37,-1-1-34,0 1 12,0-1-10,0 1-2,0-1 4,0 1-29,1 0-21,-1 0 6,0-1-5,1 1 2,-1 0 26,0 0-42,0 0 49,0 0 19,0 0-25,1 0 21,-1 1-2,0-1-5,0 0 7,0 0-10,0 0 37,0 0-24,0 0 31,0 0-76,0 0 30,0 0-21,0 0 32,0 0-62,0 0 41,0 0-50,1-1 59,-1 1-62,0 0 42,0 0-53,0-1 31,1 1 9,-1 0-15,0 0 12,0 0-9,1 0 1,-1 0-5,0 0 14,0 0 5,0 1-4,0-2 3,0 2 7,0-1-4,0 0 5,0 0-7,0 0 15,0 0-11,0 0 14,0 0-16,0 0 9,0 0-7,1 0 9,-1-1 8,0 1-9,0 0 11,0 0-17,0 0 1,0-1-1,0 1 3,0 0-10,0 0 6,1-1-6,-1 1 9,0 0-10,0-1 7,0 1-9,1 0 4,-1 0 2,0 0-2,0 0 2,0 0 1,0 0-2,0 0 2,0 1 4,0-2-3,0 2 3,0-1-4,0 0 10,0 0-7,0 0 9,0 0-10,0 0-2,0 0 1,0 0-1,0-1-2,0 1 4,0 0-4,0 0 4,0 0-52,0-1 37,0 1-40,0-1 42,0 1 3,0 0-6,0-1 2,0 1-27,0 0 16,0 0-19,0 0 21,0 0 26,-1 0-22,1 0 20,-1 0-4,1 0-11,0 0 13,0 0-14,-1 0 12,1-1-6,0 1 12,0-1 4,0 1-11,0-1 19,0 0-20,0 0 5,0 0-2,0-1 3,0 1-1,0-1 2,0 0 49,0 0-40,0 0 42,0 0-47,0 0 1,0 0 0,0-1 2,0 1-11,0 0 9,0-1-8,0 1 2,0-1 4,1 1-4,-1-1 6,0 0-16,0 0 11,0 0-14,0 1 16,0-1-5,0 0 3,1 0-6,-1 0-16,0 0 14,0 0-15,0 0 21,0 0-59,1 1 41,-1-1-46,0 0 57,0 0-68,0 1 49,-1-1-58,1 0 69,0 1-86,0 0 61,-1 0-52,1-1 66,0 1-1,0 0-8,0-1 29,-1 1-19,1 0 24,0 0-32,0 0 14,0-1-9,0 1 14,0 0-13,-1-1 11,1 1-7,0 0 11,0 0-10,0-1 6,0 1-5,0-1-21,0 1 14,0 0-20,0 0 24,0-1-43,-1 1 30,1 1-33,0-1 41,0 0 20,0 0-15,-1 1 12,1-1-20,0 1 0,0 0 2,0 0 2,-1 0 33,1-1-29,0 1 30,0 0-35,0 0 28,0 0-11,0-1 15,0 1 22,0 0-33,0 0 152,0 0-134,0 0 107,0 0-120,0 1 14,0 0-21,0-1 13,0 1-17,0 0 11,0 0 5,0 0-6,0 0-1,0 0-3,0 1-4,0-1 2,0 0 3,0 1 4,0 0 1,0 0 0,0-1 0,1 2 0,-1-1 0,0 0 0,0 1 18,0 0-13,1-1 15,-1 1-7,0 0-8,0 0 9,1 0-10,-1-1-3,0 1 4,0-1-3,1 0 4,-1 0-10,0 0 9,0 0-10,0 0 1,0-1 5,0 1-7,0-1 9,0 0-39,0 1 29,0-2-33,0 1 15,1 0 13,-1 0-15,0 0 19,0 0-23,0 0 13,0 0-15,0 0 18,0 0 14,0 0-14,0 0 13,0 1 10,0-2-15,0 2 18,0-1-23,0 0 43,0 0-30,0-1 36,0 1-26,0 0-9,0-1 16,0 0-19,0 1 13,0-1-44,0 0-11,0 0-42,0 0 26,0 1 13,0-1 27,0 0-22,0 1 8,0-1-14,0 0 40,0 1-10,0-1 11,0 1-17,0-1 26,0 1-20,0-1 26,0 1-32,0-1 73,0 0 29,0 0 46,0 0-32,0 0-40,0 0-5,0-1-26,0 1 32,0-1-34,0 1 7,0-1-2,0 1 2,0 0 1,0-1-43,0 1 28,0 0-33,0 0 5,1 0 15,-1 0-23,0 0 29,0 0 4,0 0-1,0 0-3,1 0-6,-1 0 5,0 0-4,0 0 46,0 0-31,1 0 32,-1 0-36,0 0 3,1 0 0,-1 0 5,1 0-20,-1 0 13,1 0-13,0 0 17,0 0-32,0 0 23,0 0-25,0 0 28,0 1-44,0-1 27,0 0-31,0 1-22,0-1 45,1 1-51,-1-1 14,0 1 26,1-1-30,-1 0 38,1 1-28,-1-1 17,1 1-22,0-1 23,-1 0 16,1 0-14,-1 0 14,0 0-17,1 0 27,-1 0-20,0 0 20,0 0 27,-1 0-35,1 0 43,-1 0-18,1 0-16,-1 0 19,0-1-21,0 1-19,0 0 19,0 0 25,0 0-12,-1 0 28,1 0-39,-1 0 9,1 0-6,-1-1 6,-1 1-8,1 0 59,0 0-39,0 0 48,0 0-51,-1 0 2,1-1-1,-1 1-3,0 0-26,1-1 23,0 1-20,-1-1-6,1 1 19,-1 0-29,1 0 33,0 0-24,0-1 17,0 1-21,0 0 21,0 0-7,1 0 5,-1 0 80,1 0-52,0 0 46,1 0-62,0 0-16,0 1-3,0-1 11,0 0-13,1 0 19,0 0-57,0 0 41,-1 0-48,1 0 58,0 0-18,0 0 11,-1 0-21,0 0 28,0 0-16,1 0 15,-2 0-76,1 0 49,0 0-52,-1 0-41,0 0 71,0 0-78,-1 0-163,1 0 64,-1 0-86,-1 0 163,1 0 145,-1 0 0,1 1 0</inkml:trace>
  <inkml:trace contextRef="#ctx0" brushRef="#br0" timeOffset="152">535 1300 9214,'0'1'-198,"-1"-1"184,1 0-13,0 0 61,0 0-19,0 0 8,-1 0 10,1 0-11,-1 0 16,1 0 16,0 1-12,-1-1-9,1 0-7,-1 0 10,1 0 6,-1 0 15,1 1-6,-1-1-13,1 0 10,-1 0-11,0 0-14,1 1 10,-1-1-12,0 0-31,1 0 34,-1 0-36,0 1 44,1-1-34,-1 0 21,0 0-25,1 0 24,-1 0-50,0 0 31,1 1-36,-1-1 3,0 0 36,1 0-43,-1 0 47,1 1 19,-1-1-14,0 0 15,0 1-6,1-1-14,-1 0 15,1 0-14,-1 1-2,1-1 4,-1 0-3,1 0 6,-1 0-4,1 1 7,0-1-5,-1 0 24,1 1-19,-1-1 17,1 0-20,-1 1-17,1-1 12,-1 0-14,1 0-3,-1 0 14,1 1-16,-1-1 20,1 0-16,-1 0 10,0 1-12,1-1 14,-1 0-9,1 1 4,-1-1-9,1 0 21,-1 0-10,1 1 10,0-1-10,-1 0 52,1 0-35,0 0 38,-1 0-23,1 1-19,0-1 25,-1 0-26,1 0-18,-1 1 12,1-1-13,-1 0 21,1 0-26,0 0 17,-1 1-21,1-1-12,-1 0 25,1 0-29,-1 1 31,1-1-3,0 0-5,-1 0 1,1 0-1,-1 1 7,1-1-5,-1 0 3,1 1 5,0-1-3,-1 0 3,1 0-4,0 0 11,0 1-9,0-1 11,-1 0 4,1 0-10,0 0 12,-1 1-13,1-1-8,0 0 6,0 0-6,-1 1 0,1-1 5,0 0-5,0 0 7,0 1-32,-1-1 22,1 0-25,0 0 31,0 0-3,0 0-1,0 0-1,0 0 3,-1 0-3,1 0 2,0 1-7,0-1 4,0 0-1,0 0 12,0 0-6,0 0 7,-1 0-8,1 1 14,0-1-8,0 0 10,0 0-14,0 0 34,0 1-25,0-1 27,0 0 22,0 1-39,0-1 47,0 0-55,0 1 31,0-1-21,0 0 25,0 1-52,0-1 24,0 1-22,0-1 28,0 0-28,0 1 19,0-1-23,0 1 23,0-1 24,0 1-21,0-1 19,0 1-4,0 0-14,0 0 15,0-1-18,0 1 31,0 0-21,0 0 26,0-1-21,0 1-1,0 0 7,0 0-4,0 0-28,0-1 21,0 1-23,0 0 25,0-1 0,0 1-1,0 0-2,0-1 1,0 1-4,0 0 6,0 0-6,0-1-13,0 1 8,0 0-11,0-1 4,0 1 11,0 0-10,0 0 12,0-1-37,1 1 25,-1-1-29,0 1 37,0 0-42,0-1 29,0 1-34,0 0 34,0-1-2,0 1 0,0-1-1,0 1 13,0 0-10,0-1 10,0 0-9,0 1 0,0-1 1,0 1-1,0-1-10,0 1 7,0-1-5,0 1 9,0-1-11,0 1 7,0 0-9,0 0 0,0-1 7,0 1-8,0-1 7,0 1 29,0 0-23,0-1 22,0 1-26,0-1 2,0 1-1,0 0 1,0-1-6,0 1 4,0 0-2,0 0 7,0 0-32,0-1 23,0 1-25,0 0 7,0 0 16,0-1-20,-1 1 23,1-1-3,0 1 2,0 0-4,0-1 5,0 0-6,0 1 6,0 0-5,0-1 11,0 1-7,0 0 8,0-1-8,0 0 2,0 1 1,0-1 0,0 1-8,0-1 3,0 1-5,0-1 7,0 0-3,0 1 3,0-1-3,0 0 4,0 1-1,0-1 1,0 0-3,0 1 5,0-1-3,1 0 4,-1 0-5,0 1 6,0-1-5,0 0 6,0 0-9,0 0 3,0 0-2,0 0 3,0 1-21,1-1 15,-1 0-15,0 1 14,0-1 2,0 0-3,0 0 3,0 0 10,0 1-8,0-1 7,0 0-9,0 0 12,0 0-7,0 0 16,0 1-16,0-1 5,0 0-2,0 0-2,0 0-9,0 0 6,0 0-9,0 0-17,0 1 20,0-1-24,0 0 29,0 0-4,0 0 4,0 1-6,0-1 22,0 0-17,0 0 17,0 0 13,0 0-22,0 0 25,0 0-31,0 0 5,0 0-3,0 1 9,0-1-8,0 0 6,0 0-4,0 0 5,0 0-4,0 1-3,0-1 1,0 0-4,0 0 4,0 0 1,0 0-1,0 0-1,0 1-38,0-1 25,0 0-27,0 0-29,0 0 47,0 0-49,0 0 58,0 1-99,0-1 13,0 0-93,0 0 82,0 0-150,0 1 185,0-1-109,0 1 184,0-1 0,0 0 0</inkml:trace>
  <inkml:trace contextRef="#ctx0" brushRef="#br0" timeOffset="153">748 1302 9502,'0'1'-911,"0"-1"747,0 0 92,0 0 72,0 0 0,0 0 0,0 0 0,0 0 0,1 0 0,-1 0 0,0 0 0,0 0 0,0 0 0,0 0 124,0 0-93,0 0 152,0 0-165,0 0 44,0 0 7,0 0 21,0 0 10,-1 0 47,1 0-27,0 0 71,0 0 123,0 1-93,0-1 325,0 0-357,0 0 182,0 0-289,0 0-20,0 0 25,0 0-26,1 0 30,-1 1-18,0-1 6,1 0-1,0 0 14,-1 0-74,1 0 55,-1 0-67,1 0 14,-1 0 34,1 1-32,0-1 13,-1 0 29,1 0-40,-1 1 35,1-1-14,0 0 15,-1 1-14,1-1 13,-1 0-27,1 0 15,-1 1-18,1-1 24,-1 0-27,1 1 23,0-1-22,0 1-41,-1-1 48,1 1-50,-1-1 59,1 0-55,-1 0 32,1 1-38,0-1 42,-1 0 6,0 1-13,1-1 9,0 0-8,-1 1 6,1-1-5,0 0 3,-1 0 12,0 1-9,1-1 13,-1 0-46,1 1 27,-1-1-27,1 0 12,-1 1 3,0-1-11,0 0 15,1 0 45,-1 1-28,0-1 28,0 0-40,1 0 31,-1 0-25,0 1 27,0-1-32,1 0 59,-1 0-37,0 1 40,0-1-40,1 1-7,-1-1 13,0 0-9,0 0-30,1 1 20,-1-1-24,0 0 15,0 1 11,1-1-14,-1 1 13,0-1-16,1 1 8,-1-1-8,0 0 10,0 1 19,1-1-18,-1 0 13,1 1-14,-1-1-8,0 0 7,1 0-7,-1 1-8,0-1 13,0 0-14,1 1 19,-1-1-44,0 0 32,0 1-36,1-1 43,-1 0-4,0 1 5,0-1-8,1 1-11,-1-1 5,0 0-7,1 1 10,-1-1-7,0 1 6,0-1-6,1 0-9,-1 1-19,1-1 6,-1 1-5,0 0 16,0 0 7,1-1-8,-1 1 5,0-1 5,0 1-8,1 0 6,-1-1 3,1 0-2,-1 1 6,0 0-7,1-1 4,-1 1-3,0 0 6,1-1-4,-1 0 2,0 1-1,1 0 1,-1-1-2,1 1 0,-1-1 0,0 1-12,0-1 8,1 1-9,-1 0 12,0 0-24,0-1 16,0 1-17,0-1 28,1 1-6,-1-1 6,0 1-8,0 0 6,0-1-6,1 1 6,-1-1 15,0 1-15,0-1 18,1 0-21,-1 1 9,0-1-6,0 1 10,1-1-11,-1 1 5,1-1-3,-1 1 2,0-1-1,1 0-16,-1 1 11,0-1-14,1 1 9,-1-1 5,0 1-8,0-1 8,1 0-2,-1 1 1,0-1-1,0 1 6,0-1-3,1 1 3,-1-1-6,0 0-8,0 1 6,0-1-6,1 1 9,-1-1-3,0 1 3,0-1-3,0 1 11,0-1-6,1 0 5,-1 1 2,0-1-6,1 0 6,-1 1-8,0-1 3,0 0-2,1 1 3,-1-1-1,0 0-28,0 1 22,0-1-22,0 1 28,0-1-25,0 1 15,1-1-17,-1 0 28,0 0-5,0 1 4,0-1 39,1 0-36,-1 1 38,0-1-46,0 1 11,0-1-5,0 0 7,1 1-4,-1-1-6,0 1 11,0-1-8,0 0 12,0 1-26,1 0 19,-1-1-21,0 0-2,0 1 14,0-1-19,0 1 23,0-1-27,1 1 19,-1-1-23,0 1-13,0-1 23,0 1-27,0-1 35,1 1-25,-1 0 16,0-1-20,0 0 22,0 1-5,0-1 2,0 1-7,0-1 58,0 1-41,0-1 42,0 1 1,0-1-33,0 0 41,0 1-50,0-1 32,0 1-22,0-1 29,0 0-30,1 0 12,-1 1-9,0-1 10,0 0-14,0 0 8,0 1-8,0-1 3,0 0 2,0 1-5,0-1 5,0 0-23,0 1 17,1-1-18,-1 1 21,0-1-4,0 1 2,0 0-4,0-1 5,0 1 3,0-1-2,0 1 1,0-1-61,0 1 40,0-1-42,0 1-215,1-1 62,-1 1-183,0-1 146,0 1-254,0-1 323,1 1-211,-1-1 395,2 1 0,-1-1 0</inkml:trace>
  <inkml:trace contextRef="#ctx0" brushRef="#br0" timeOffset="154">740 1313 8355,'0'-1'0,"0"1"0,0 0 0,0 0 0,0-1-11,0 1 12,0-1-7,0 1 14,0 0 46,0-1-31,0 1 35,0-1-43,0 1 1,0 0 3,0 0-2,0-1 19,0 1-13,0 0 17,1-1-34,-1 1 18,0 0-17,0 0 16,0-1 22,0 1-23,0 0 22,0 0 37,0 0 15,1 0 13,-1-1 109,0 1-138,0 0 27,0 0-67,0 1-58,0-1 64,0 1 27,0 0-28,0 0 25,0-1 2,0 1-24,0 0 22,-1 0-33,1 0 37,0 0-25,0 0 41,0 0-37,0 0-58,0 0 46,0 1-54,0-1 4,-1 0 44,1 0-52,0 0 23,0 1-22,0-1 1,-1 0-2,1 0 17,0 1 2,-1-1-8,1 1 4,0-1 16,0 1-16,-1 0 15,1-1-10,0 1 80,-1 0-53,1 0 57,0 0-29,0 0 13,-1-1 5,1 2-10,0-2-12,0 1-19,-1 0 28,1-1-67,-1 1 39,1-1-38,-1 0 44,1 1-52,-1-1 36,0 0-35,0 0 38,0 0-25,1 0 7,-1 0-15,0 1-1,0-1 23,-1 1-26,1-1 27,0 1-10,0 0 6,0 0-3,0-1 35,1 1-24,-1 0 26,0 0-32,0 0 33,1 0-20,-1-1 22,1 1-24,-1 0-6,1-1 7,-1 1-5,1-1 8,-1 1 0,1-1 0,-1 0 2,0 1-7,0-1-33,1 1 27,-1-1-33,0 0 33,1 0-4,-1 1 0,0-1-26,0 0 23,0 0-25,0 1 30,0-1-7,0 0 3,0 0-3,1 0 4,-1 0 38,-1 0-27,2 0 31,-1 1-43,0-1 6,0 1-3,0-1-16,0 0 14,0 0-16,0 0 19,0 1-35,0-1 28,0 0-29,1 0 36,-1 0-30,0 0 19,-1 0-27,2 0 31,-1 0-19,0 0 14,0 0-18,0 1 20,-1-1-7,1 0 6,0 0-4,0 0 16,0 0-12,0 0 13,0 0-12,0 0-1,0-1 2,0 2-2,0-2 2,0 2-2,1-2 1,-1 1 1,0 0-11,0 0 7,0-1-8,0 1 8,1 0 0,-1-1 0,0 1 0,1 0 11,-1 0-8,0 0 8,0 0 24,0-1-21,0 1 24,0 0-29,1 0 36,-1 0-24,0 0 27,0 0-27,0-1-23,0 1 21,0 0-19,0 0-9,0-1 16,0 1-16,0 0 22,0-1-36,0 1 24,0 0-33,0-1 26,0 1 2,0 0-4,0-1 2,0 1-8,-1 0 2,1-1-3,0 1 7,0 0 1,0 0-1,0 0-1,0 0 2,0-1 1,0 1 0,0 0 25,0-1-18,0 1 20,1 0-24,-1-1 14,0 0-8,0 1 8,1-1-10,-1 1-5,1-1 5,-1 1-3,0-1 6,1 0-15,-1 1 12,1-1-13,-1 0 14,1 1-18,-1-1 11,1 0-13,0 0 0,-1 1 12,1-1-14,0 0-4,0 1 12,-1-1-13,1 0 16,-1 1-17,1-1 10,-1 1-13,1-1 18,-1 1 3,1-1-2,-1 0 1,1 1 10,-1-1-12,1 0 12,0 1-13,-1-1 12,0 1-7,1-1 9,-1 0-24,1 1 9,-1-1-8,1 0 13,-1 1 0,1-1-1,-1 1-1,1-1 1,-1 1 1,1-1-1,-1 1 0,0-1-10,1 0 4,-1 1-5,0-1 10,1 1-4,-1 0 5,0-1-7,0 1-15,1-1 14,-1 1-14,0-1 18,0 1-10,1-1 7,-1 0-12,1 1 12,-1-1 9,0 0-6,1 1 8,0-1-4,-1 1-7,0-1 7,1 1-6,-1-1 2,1 0 1,-1 1 0,1-1-7,-1 1 4,1-1-4,0 1 6,-1-1-16,1 0 10,-1 1-15,1-1 19,0 0-2,-1 0 1,1 1-2,-1-1 12,1 1-10,-1-1 10,1 0-12,0 1 10,-1-1-5,1 0 5,-1 0 6,1 1-11,0-1 13,-1 0-13,1 1-4,0-1 4,-1 0-4,1 0 6,0 0 2,0 0-2,0 1 1,0-1-18,0 0 12,-1 0-13,1 0 15,0 0 4,0 0-3,0 0 1,-1 1 2,1-1-5,0 0 6,0 0-5,-1 0 9,1 0-7,0 0 7,0 0-7,-1 1 8,1-1-5,0 0 6,0 1-38,-1-1 21,1 0-21,0 0-22,0 0-15,-1 1-1,1-1 3,0 0-86,0 0 21,-1 0-119,1 0 115,0 1-98,-1-1 63,1 0-95,-1 0 139,1 0 32,-1 0 99,1 1 0,-1-1 0</inkml:trace>
  <inkml:trace contextRef="#ctx0" brushRef="#br0" timeOffset="155">2577 1417 9502,'1'-2'-430,"0"1"92,-1 1 262,1-1 93,0 1 83,0-1 66,0 1-30,0-1 18,0 0-21,1 1-23,-1-1-22,1 1 34,-1-1-35,1 0-10,0 0 3,0-1-12,0 0-5,0 0 16,1 1-17,-1-2 26,0 1-63,1-1-14,-1 0 0,1 0-55,0-1 49,0 0-25,0 0 20,0 0-5,-1-1 0,1 1-23,0-1 21,0 1-29,-1-1 50,0 1-52,0-1-9,0 1 37,0 0-42,-1 1 56,0-1-68,0 1 44,0 0-49,-1 1-38,0 1 26,1-1-106,-1 1 102,0 0-145,0 0-57,0 1 68,0 0-17,-1 1 236,1 0 0,-2 1 0</inkml:trace>
  <inkml:trace contextRef="#ctx0" brushRef="#br0" timeOffset="156">552 1376 8199,'0'0'116,"0"0"-15,0 0 102,0 0-37,0-1 23,0 1 644,0 0-572,0 0 485,0 0-800,0 0 23,-1 0 12,1 0-10,0 1 32,0-1-34,-1 0 9,1 0-7,0 0 7,-1 0 16,1 1-22,-1-1 19,1 0 16,-1 1-22,0-1 21,1 1-17,-1-1 12,0 0-10,0 1-58,0-1 47,0 0-50,1 1 64,-1-1-49,0 1 32,0-1-35,1 0 41,-1 1 0,0-1-3,1 0-4,0 0 21,-1 0-18,1 0 17,0 0-23,-1 1 29,1-1-21,0 0 23,-1 0 5,1 0-19,0 0 27,0 0-30,0 0 15,0 0-10,0 1 12,0-1-12,0 0 7,0 0-5,0 1 3,0-1-2,0 0 0,0 0 0,0 0-3,0 0 30,0 0-21,0 0 22,0 1-10,0-1-9,0 0 11,0 0-7,0 0-7,0 0 7,0 1-6,0-1 40,0 0-29,0 0 34,0 0-23,0 1-7,0-1 11,0 0-13,0 0 25,0 0-17,0 0 19,1 1 12,-1-1-29,0 0 35,0 0-41,0 1 12,1-1-8,-1 1 10,0-1-2,0 1 10,0-1-5,0 0 3,0 1-17,1 0 5,-1-1 1,0 1 2,0 0-15,0-1 8,0 2-17,0-2 2,0 1 13,1 0-14,-1 0 16,0 0-25,0 0 15,0 0-17,0 0 23,1 0 1,-1 0-3,0 0 2,0-1 18,1 1-14,-1 0 18,0 0-22,0 1 41,1-1-31,-1 0 33,0 0-2,0 0-21,0 0 25,1 0-29,-1 1 19,0-1-12,0 0 15,0 0-13,0 0-28,0 0 24,1 0-25,-1 0 16,0 0 4,1-1 0,-1 1 2,0 0-56,1-1 38,-1 1-48,0 0 0,0-1 38,1 1-42,-1-1 48,0 1-36,0-1 19,0 1-24,0 0 31,0-1-31,0 1 21,0 0-28,0-1 31,0 1-1,0 0-3,0-1 4,0 1 0,0-1-2,0 1 4,0-1-1,0 1-1,0-1 2,0 1-2,0-1-22,0 1 16,0-1-16,1 1 21,-1-1 5,0 0-5,0 1 5,0-1-21,0 1 10,0-1-11,0 0 12,0 1 13,0 0-10,0-1 11,1 1-7,-1-1-3,0 1 4,0-1-5,0 0 12,0 1-9,0-1 10,0 0-11,0 0-10,0 1 7,0-1-6,0 0-15,0 1 17,0-1-18,0 0 23,0 0 0,0 1-2,0-1 1,0 1-5,0-1 22,0 0-17,0 1 17,0-1 9,0 0-20,0 0 22,0 1-26,0-1 18,0 1-7,0-1 11,0 1-9,0-1 4,0 1 1,0-1 0,0 1 3,0-1-9,0 1 7,0-1-6,0 1-15,0-1 10,0 1-11,0-1 0,0 1 9,0-1-10,0 1 13,0-1-6,0 0 4,0 1-5,0-1 3,0 1 10,0-1-10,0 1 9,0-1-6,0 1-2,0-1 4,0 0-7,0 1 4,0-1-4,0 1 4,0-1-6,0 1 5,0-1-4,0 0 5,0 1-14,0-1 9,0 1-9,0 0 9,0-1 3,0 0-4,0 1 2,0 0 0,0-1 0,0 1-1,0-1 2,1 0-1,-1 1 2,0-1-2,0 1 2,0-1-2,0 1 3,0-1-3,0 1 2,0-1-1,0 1 1,0-1 0,0 1-1,0-1 1,0 1-1,0-1 0,0 1 0,0-1 0,0 1 0,0-1 0,0 1 0,0-1 0,0 0-14,0 1 10,0-1-10,0 1 13,0-1-13,0 0 9,0 1-11,0-1 13,0 1-2,0-1 2,0 0-3,0 1 10,0-1-7,0 1 7,1-1-5,-1 1-2,0-1 3,0 0-4,0 1 8,0-1-5,0 1 9,0-1-10,0 1 7,0-1-5,0 0 3,0 1-17,0-1 11,0 0-11,0 1 2,1-1 8,-1 0-9,0 1 10,0-1 4,0 0-3,0 1 3,0-1-4,0 0 2,0 1-3,0-1 2,0 0-3,0 1 10,0-1-7,0 0 8,0 1-13,0-1 3,0 0-1,0 1 4,0-1-3,0 0 2,0 1-4,0-1-17,0 0 13,0 1-15,0-1 19,0 0-12,0 0 7,0 1-9,0-1 10,0 0 0,0 0-2,0 1 1,0-1 11,0 0-6,0 0 7,0 0 5,0 1-12,0-1 14,0 0-16,0 0 12,0 0-7,0 1 9,0-1-9,0 0-11,0 0 8,0 1-8,0-1 10,0 0 0,0 1 1,-1-1-1,1 0-9,0 0 7,0 0-8,0 1 8,0-1 6,0 0-5,0 0 2,0 1 0,0-2 0,0 1 3,0 0 3,1 0-4,-1 0 1,0 0 2,0-1-4,0 1 55,0 0-38,0 0 41,0 0-51,0 0 5,1 0-3,-1 0 8,0 0-15,0 0 12,0 0-11,0 0 13,0 0-29,1 0 21,-1 0-23,0 0 10,0 0 8,0 0-10,0-1 6,0 1-31,1 0 16,-1 0-20,0 0 26,1 0 6,-1 0-5,0 0 5,0 0-20,0 0 13,1-1-15,-1 1 20,0 0-3,1 0 3,-1 0-3,0 0 3,0 0-2,1 0 3,-1 0 6,0 0-5,0 0 5,0-1-8,1 1-22,-1 0 15,0 0-14,0 0 34,0 0-9,1 0 8,-1 0-12,0 0-33,0 0 25,0-1-26,0 1 30,1 0 3,-1 0-5,0 0 4,0 0-4,0 0 5,0 0-4,0 0 2,1-1 11,-1 1-12,0 0 15,0 0 11,0 0-17,0 0 19,0 0-26,0 0 20,1 0-12,-1 0 24,0 0-42,0 0 20,0-1-20,0 1 1,0 0 12,0 0-11,0 0 14,0 0 1,0 0 6,0 0-6,0-1 23,0 1-21,0 0 14,0 0 11,0 0-15,0 0 18,0-1-23,0 1 27,0 0-17,0 0 20,0 0-15,0 0-8,0 0 10,0-1-10,0 1 8,0 0-6,0 0 8,0 0-9,0-1 13,0 1-8,0 0 9,0-1-2,0 1-5,0 0 5,0-1 9,0 1-11,0 0 13,0-1-16,0 1-14,0 0 8,0-1-8,-1 1 16,1 0-17,0-1 13,0 1-14,0-1-20,0 1 24,0 0-26,0-1 33,0 1-25,0-1 16,0 1-22,0-1 58,-1 1-28,1 0 28,0-1-36,0 0 37,0 1-26,0-1 28,0 1-30,0 0 18,0-1-9,0 1 12,0-1-17,0 0-2,0 1 8,0-1-4,0 1-29,0-1 20,-1 1-26,1-1-2,0 1 25,0-1-27,0 1 30,0-1-13,0 1 5,0-1-7,0 1 7,0-1 1,0 1-2,0-1 1,0 1-1,0-1 0,0 1 0,0-1 1,0 1-2,0-1 3,0 1-2,-1-1-1,1 1 4,0-1-4,0 0 4,0 1 4,0 0-3,0-1 4,0 0-7,0 1 22,0-1-16,0 1 19,0-1-22,0 0-3,0 1 4,0-1-3,0 1 1,0-1 2,0 1-3,0-1 2,0 1 1,0-1-1,-1 0 2,1 1-11,0 0 8,0-1-8,0 1 9,0-1-11,0 1 8,0-1-10,0 1-4,0-1 10,0 1-9,0-1 12,-1 0-5,1 1 3,0 0-4,0-1 4,0 0 1,0 1-2,0-1 1,0 1 0,0-1 0,0 1 1,0-1-2,0 1 3,-1 0-2,1-1 4,0 1-4,0-1 2,0 1-1,0-1 3,0 1-2,0 0-1,-1-1 1,1 1 3,0 0-3,0-1 4,0 1-5,0-1 0,0 1 0,0-1 1,0 1 0,0-1-1,-1 1 0,1-1 0,0 1 1,0-1-2,0 1 2,0-1-2,0 1 6,0-1-2,0 1 2,0-1-4,0 1 14,0-1-10,0 1 12,0-1-17,0 0 3,0 1-3,0 0 4,0-1 11,0 1-8,0-1 9,0 1-15,0-1 3,-1 1-2,1 0 3,0-1-10,0 1 8,0-1-9,0 1-20,0-1 21,0 1-23,0-1 28,0 1-2,0 0 0,0-1-1,0 1-1,-1-1 6,1 1-6,0 0 4,0-1-5,0 1 8,0-1-6,0 1 7,0 0-4,0-1-1,0 1 2,0-1 2,0 1-2,0-1 3,-1 1-3,1 0 21,0-1-16,0 1 17,0 0-21,0-1 6,0 1-5,0 0 7,-1 0-9,1-1 2,0 0-2,0 1 3,0 0-8,0-1 7,0 1-7,0 0 4,-1-1 3,1 1-4,0-1 4,0 1-8,0 0 6,0-1-8,0 1 7,0-1-14,0 1 11,0 0-11,0-1 14,0 1-15,0-1 10,0 1-12,0 0 19,0-1-5,0 1 5,0 0 0,0-1-4,0 1 5,0 0-7,0 0 5,0-1-4,0 1 3,0 0-3,0-1 16,0 1-12,0-1 15,0 1-16,0 0 10,0-1-8,0 1 6,0-1-1,0 1-3,0-1 3,0 1-9,0-1 5,-1 1-5,1 0 4,0-1-4,0 1 3,0-1-3,0 1 3,0 0-1,0-1 0,0 1 0,0 0-38,0-1 29,0 1-32,0-1 39,0 1-8,0 0 5,0-1-7,0 1 17,-1 0-10,1-1 10,0 1-13,0 0 10,0-1-7,0 1 7,0-1-8,0 1-36,0-1 27,0 1-28,0 0 37,0-1 0,0 1 1,0-1-1,0 1 10,0-1-8,0 1 5,0-1 7,0 1-15,0-1 15,0 1-16,0-1 14,0 1-10,0-1 12,0 1-12,0-1-17,0 0 16,0 1-14,0-1 18,0 1 0,0 0-1,0-1 1,0 1-15,0 0 7,-1-1-7,1 1 7,0 0 3,0-1-3,0 1 2,0 0-10,0 0 7,0-1-6,0 1 9,0-1-13,0 1 8,0 0-10,0-1 29,0 1-14,0 0 15,0-1-18,0 1 12,0 0-8,0-1 9,0 1 23,0-1-24,0 1 27,0 0-32,0-1-90,1 1 21,-1 0-80,0 0 88,0-1-355,1 1 322,-1 0-271,1-1 368,0 1 0,0-1 0</inkml:trace>
  <inkml:trace contextRef="#ctx0" brushRef="#br0" timeOffset="157">2540 1491 9502,'0'-2'-985,"0"0"927,1 1 58,0 0 54,0-1 12,1 1 11,-1-1-12,0-1 14,1 1 16,-1 0 13,0-1-16,1 0 0,-1 0 5,1 0 6,0-1 36,-1 1-63,2 0 30,-2-1-37,1 1 22,1-1-12,-1 0 19,0 1-38,1 0 9,-1 0-11,0 0 16,1 0-48,-1 1-13,1-1 0,-1 1 8,1 0-26,-1 0-23,1 0-16,0 0 22,0 0-12,0 0-14,0 0-21,0-1-122,0 1 78,0 0-116,0 0 112,-1 0-220,0 1 109,-1-1-63,1 2 150,-1-1 141,0 0 0,-1 0 0</inkml:trace>
  <inkml:trace contextRef="#ctx0" brushRef="#br0" timeOffset="158">546 1382 9175,'1'0'-220,"-1"0"213,0 0 77,0 1-77,0-1 38,0 0-37,0 0 47,-1 0-81,1 1 13,-1-1-75,0 1-31,0-1 31,0 1-72,0-1 109,1 0 1,-2 1 64,2 0 0,-1-1 0</inkml:trace>
  <inkml:trace contextRef="#ctx0" brushRef="#br0" timeOffset="159">541 1384 9502,'0'0'-879,"-1"0"768,1 0 54,0 0 16,0 0 62,-1 0-2,1 0 1,0 0 30,0 0-22,-1 0 24,1 0-27,0 0 41,0 0-27,-1 0 29,1 0-40,0 0 4,-1 0 2,1 1 3,0-1-3,0 1-34,0-1 21,-1 0-22,1 1 8,0-1 16,0 1-17,0-1-3,-1 1 17,1-1-23,0 1 27,-1-1-11,1 1 8,0 0-10,-1-1 6,1 1-21,0-1 17,0 1-15,0-1 12,0 1 3,0-1-4,0 1 6,0-1 30,0 1-22,0 0 23,0-1-30,0 1 7,0 0-6,0 0 9,0 0-16,0-1 9,0 1-8,0 0 13,0 0-6,0 0 8,0 0-8,0 0 13,0 0 6,0 0-4,0 0 3,0 0 2,0 0-13,1 0 13,-1 0-26,0 0 8,1 0-5,-1 0 11,0 0-2,0 0 3,1-1-5,-1 1 5,0 0-42,0 0 28,0 0-31,0 0 33,1 0-27,-1 0 14,0 0-17,0 0 13,0-1 12,0 1-15,0 1 16,0-1-4,0 0 5,1 0-7,-1 0 41,0 0-30,0 0 30,0 0-34,0 0 15,0 0-7,0 0 8,0 0-7,1 0 8,-1 0-2,0 0 6,0 0-32,0 0 14,0 0-18,0-1-16,0 1 28,1 1-30,-1-2 36,0 2-12,0-1 7,0 0-10,0 0 7,1 0 21,-1 0-18,0 0 14,0 0 25,1 1-31,-1-1 35,0 0-35,0 0-27,0 0 26,0 0-25,1 0-24,-1 0 33,0 0-35,0 1 47,0-1-36,1 0 24,-1 0-34,0 0 37,0 0 2,0 0-1,1 0-2,-1 0-4,0 0-4,0 0 3,0 0 2,0-1 4,0 1-2,0 0 3,0 0 4,1 0-7,-1 0 11,0 0-11,0-1 26,0 2-20,0-2 18,0 1-22,0 0 34,0 0-23,0-1 26,0 1-11,0 0-12,0-1 14,0 1-14,0 0-7,1-1 9,-1 1-9,0-1-15,0 1 13,0 0-14,0-1 21,0 1-18,0 0 11,0-1-18,1 1 21,-1-1-48,0 1 31,0-1-32,0 1 34,0-1-22,0 1 13,0 0-17,0-1-9,0 1 26,0-1-30,0 1 36,0-1-14,0 1 9,0-1-13,0 1 24,0 0-16,0-1 16,0 1-17,0-1 32,0 1-21,0-1 24,0 1-15,0-1-5,0 0 7,0 1-47,0-1 27,0 0-31,0 1 40,0-1-11,0 0 6,0 0-8,1 1 6,-1-1-74,0 0 44,0 0-51,0 0 2,0 0-8,0-1-5,0 1-159,0-1 88,0 0-41,0 0 101,0 0 116,-1-1 0,1 1 0</inkml:trace>
  <inkml:trace contextRef="#ctx0" brushRef="#br0" timeOffset="160">548 1389 8916,'1'1'89,"-1"0"-122,0 0 0,-1 0 49,1 0-53,0 0 54,0 1-51,-1 0 29,1 1-31,0-1 44,0 1-9,-1 0-4,1 0-3,1 0 75,-1 0 23,0 0 0,1-1-16,0 0-48,-1 0-8,1 0 19,-1 0-91,0-1 23,1 0-71,-1 0 75,0 0-132,0-1 23,0 0-24,0 1 47,0-1 113,0 0 0,-1 0 0</inkml:trace>
  <inkml:trace contextRef="#ctx0" brushRef="#br0" timeOffset="161">645 1419 9233,'1'0'-137,"-1"0"227,1 0 175,-1 0-145,0 0 129,0 0-160,0 0-41,0 1 8,0-1-16,-1 1 20,1 0 45,-1 0-33,1 1 34,-1-1-39,0 1-39,0 0 31,0 0-23,0 0 25,0 0-33,0 1 20,0 0-29,0 0-18,0 0-9,0 0-14,-1 1 21,1-1-19,0 0-10,0 0-18,0-1-47,0 0 19,0 0 10,0 0-11,0-1 12,1 0-38,0 0-147,0-1 119,0 0-45,0 0 125,0-1 14,0 1-36,0-1 21,0 0-15,0 0 7,0 0 67,0 1-49,1-1 58,-1 0-65,0 0 53,1 0 6,-1 0 14,0 0-17,1 1 38,-1-2-56,1 1 64,-1 0-62,1 0 4,-1 0-1,1 0 8,-1 0 13,1 0 0,-1 0 2,1-1 0,-1 1-17,1 0 14,-1 0-16,1 0 24,-1 0-16,0 1 19,0-1-25,0 1 65,0-1-41,0 1 86,0 0-83,0 0 25,0 1-32,-1 0-3,0 0 8,0 0-3,0 1-12,0 0 9,0 0-8,0 0 10,0 0-13,0 0 11,0 0-17,0 0 20,0 0-7,-1 1 3,2-1-6,-1-1-26,1 1 18,-1-1-19,1 0 2,0-1 18,0 1-14,-1-1 9,2 0 9,-1-1-12,0 0 9,1 0-14,-1 0 7,1-1-11,0 0 71,0 0-41,1-1 45,-1 1-58,0-1 58,0 0 13,1-1 11,-1 0 47,1 0-26,0 0 0,-1-1 3,1 1-93,0-1 35,-1 0-30,1 1 38,-1 1-65,0 0 3,-1 1-17,1 1-60,-1 0 57,0 2-66,0-1 62,0 0-2,0 1 35,0 0-72,-1 0 53,1 0-57,0-1 62,0 1-13,0-1 12,0 1 1,0-1 12,0 1-3,1-1 5,-1 0-8,0 1 0,0-1-6,0 0 4,0 0-19,0 0 12,1 0-8,-1 0 22,0 0-4,0 0 4,1 0-7,-1 0 22,0 0-16,0 0 18,1 0-23,-1 0 30,0 0-22,1 0 25,-1 0-30,1 0 37,-1 0-24,1 0 32,-1 0 21,1 0-20,-1 0 25,1 0-32,0 1-24,0-1 16,-1 0-13,2 0-34,-1 0 26,-1 0-33,1 1 44,0-1-45,0 0 31,1 1-39,-1-1 45,0 0-46,0 1 33,0 0-40,0-1 43,1 1-31,-2 0 23,1-1-24,0 1-21,0-1 26,0 0-30,-1 0-6,1 0-9,-1 0-51,0 0 43,0 0 0,0 0 47,-1 0 0,1 0 1,-2-1-5,1 1 0,0-1-13,0 1 12,-1-1-6,1 1 25,0-1-15,0 1 16,0-1-12,-1 1 40,2 0 23,-1 0-7,0 0 76,1 0-63,-1 0 78,1 0-79,0 0 46,0 0-31,0 1 22,1 0-19,0 0 32,0 0-54,1 0 61,0 0-121,0 0 0,0-1-15,0 1-65,-1-1 69,1 1-79,0-1 81,-1 0-4,0 0 43,0 1-9,-1-1 0,1 1 0</inkml:trace>
  <inkml:trace contextRef="#ctx0" brushRef="#br0" timeOffset="162">1061 1487 9502,'-1'1'-967,"1"-1"1001,-1 0 165,1 0-66,0 0-79,0 0-53,0 0 20,0 0-7,0 1 126,0-1 194,0 0-153,0 0 85,0 0-272,0-1-12,0 1 13,0-1 5,0 1-5,0-1-19,0 1 19,0-1-34,0 0 49,0 1-55,0-1 45,0 0-6,1 0 1,-1 0-7,0 1 16,0-1-13,0 0 14,0 0 12,0 1-8,0-1 10,0 0-14,1 0-10,-1 1 8,0-1-7,0 0 10,0 1-18,0-1 13,0 0-13,0 1 1,0 0 11,0-1-13,0 1 14,0-1-2,0 1 0,0 0-5,0 0 26,0-1-20,0 1 22,0 0-23,0 0 3,0 0 0,0 0 1,0-1-5,0 1 4,0 0-2,0 0 3,0 0 1,0 0-5,-1 0 19,1 0-15,0 0 15,0 0-6,0 1 0,0-1 6,0 0-7,-1 0 9,1 0-11,0 0 13,0 1-28,0-1 13,0 0-14,0 0 23,0 0-7,0 0 7,0 0-9,0 0 32,0 0-25,-1 0 24,1 1-30,0-1 8,0 0-5,0 0 5,0 0 11,0 0-12,-1 0 18,1 0-44,0 0 23,0 0-21,-1 0 24,1 0-29,0 0 19,-1 0-22,1 0 27,-1 0-8,1 0 4,-1 0-9,1 0 15,-1 0-8,0 0 7,0 0-10,1 0 28,-1 1-20,1-1 22,-1 0-20,0 0-2,0 0 6,1 0-5,-1 0-17,1 0 12,0 0-12,-1 0 17,1 0-16,0 0 11,0 0-17,-1 0 6,1 0 6,0 0-8,0 0 8,0 0-3,0 0-1,0 0-1,-1 0-14,1 0 15,0 0-15,0 0 18,0 0-7,-1 0 5,1 0-6,0 0 2,0 0-2,0 0-36,0 0 61,0 0-50,0 0 58,-1 0 18,1 0-36,0 0 44,0 0-49,0 0 9,0 0-4,0 1 10,0-1-18,0 0 16,0 0-15,0 0 4,0 1 2,0-1-6,0 0 7,0 0 21,0 0-15,0 0 15,0 1-20,1-1 54,-1 0-39,0 0 44,0 0-65,0 1 14,0-1-12,0 0 18,0 0-21,0 0 17,0 0-17,0 0-37,0 0 37,0 1-44,0-1 55,0 0-30,0 0 21,0 0-30,1 1 56,-1-1-27,0 0 25,0 1-32,0-1 47,0 0-31,0 0 34,1 0-37,-1 0 3,0 1 2,0-1-1,0 0-4,0 1 1,0-1 2,1 0 2,-1 1-21,0-1 14,0 0-19,0 0 2,0 1 16,0-1-23,1 1 23,-1-1 27,0 0-20,0 1 23,0-1-31,0 0 8,0 1-5,0-1 9,0 0-20,1 0 11,-1 0-11,0 0 14,0 1-10,0-1 9,0 0-8,0 1 12,1-1-3,-1 0 0,0 1-4,0-1 17,0 0-11,1 0 11,-1 0-16,0 1-11,0-1 9,0 0-7,0 1 11,0-1-13,0 0 8,0 0-9,0 1-1,0-1 10,0 0-11,0 0 11,0 0-3,0 0-3,0 1 1,0-1 16,0 0-9,0 0 12,0 0-15,0 0 43,0 1-28,0-1 31,0 0-33,0 0-5,0 0 7,0 0-5,-1 0 3,1 0-1,0 0 1,0 0 20,0 0-13,-1 1 13,1-1-11,0 0-7,0 0 6,0 0-8,-1 0-17,1 0 13,0 0-10,-1 0 17,1 0-33,0 0 24,-1 0-29,1 0 6,-1 0 18,1 0-23,-1 0 12,1 1 4,-1-1-7,0 0 9,1 0 22,-1 0-18,1 0 16,-1 0-18,1 0 13,-1 1-9,1-1 11,-1 0-10,0 0 33,0 0-22,1 0 24,-1 0-10,0 0-15,1 0 19,-1 0-10,0 0-5,1 0 5,-1 0-5,1 0-12,-1 0 10,0 0-10,1 0 10,-1 0-7,1 0 4,-1 0-2,1 0 4,-1 0-18,1 0 9,-1 0-13,1 1 13,-1-1 5,1 0-5,-1 0 6,1 0-15,-1 0 10,1 0-10,-1 0 0,1 0 7,-1 0-7,1 0 9,-1 0-3,1 0 1,-1 0-1,1 0 11,-1 0-5,1 0 6,-1 1-10,1-1-2,-1 0 2,0 0-1,1 0 3,0 0-14,-1 0 10,1 0-10,-1 0 19,1 0-4,-1 0 4,1 0-6,0 0-15,-1 0 10,1 0-11,-1 0 13,1 0-12,-1 0 9,1 1-9,0-1 11,-1 0-2,1 0 2,-1 0-2,1 0-6,-1 0 4,1 0-5,-1 0 1,1 0 4,-1 0-5,1 0 6,-1 1-3,1-1 3,-1 0-2,1 0 2,0 1 16,-1-1-12,1 0 14,-1 0-16,1 0 0,-1 0 1,1 0 0,-1 0-4,1 1 4,-1-1-3,1 0-10,-1 0 9,1 0-9,-1 0 11,1 0-6,-1 1 5,1-1-7,0 0 7,-1 0-4,1 0 3,-1 0-5,1 0 18,0 0-12,0 0 13,-1 0-14,1 0 2,0 0-1,-1 0 3,1 0-3,0 0 2,0 0-2,0 0 2,0 0-9,-1 0 7,1 0-6,0 0 8,0 0-42,0 0 29,0 0-41,0 0 46,-1 0-11,1 0 5,0 0 0,0 0-1,0 0 2,0 0 3,-1 0-4,1 0 4,0 0-2,0 0 1,0 0-1,-1 0 2,1 0 1,0 0 3,0 1 0,-1-1 1,1 0-28,0 0 16,0 0-18,0 0 35,0 0-14,0 0 45,0 0-31,0 0 23,-1 0-20,1 0-3,0 0-1,0 0 7,0 0-19,0 0 13,0 0-19,-1 0 15,1 0-5,0 0 33,0 0-19,0 0 32,0 0-53,0 0 21,0 0-25,-1-1 21,1 1-18,0 0 12,0 0-16,0 0 18,0 0-24,0 0 17,0 0-19,0-1 21,0 1-8,0 0 6,0 0-8,0 0 4,0 0 0,0-1-5,0 1 7,0 0-3,0 0 4,0 0 15,0 0-11,0 0 13,0 0-16,0 0 15,0 0-11,0-1 13,0 1-23,0 0 7,0 0-6,0 0 10,0 0-19,0-1 14,0 1-14,0 0 9,0 0 5,0 0-7,0 0 8,0 0 5,0-1-4,0 1 2,0 0-4,0 0 12,-1 0-9,1 0 11,0 0 0,0-1-9,0 1 11,0 0-11,0 0 0,0 0 1,0 0 1,-1 0-3,1 0 3,0 0-3,0-1 2,0 1-7,0 0 4,0 0-3,-1 0 4,1 0-1,0 0-1,0 0 0,0 0 7,0 0-3,0-1 3,0 1-5,-1 0 6,1 0-5,0 0 8,0 0-4,-1 0-2,1 0 3,0 0-4,0 0 2,0 0 0,-1 0 0,1-1 0,0 1-1,0 0 1,-1 0-1,1 0 0,0 0 0,0 0 0,0 0 0,0 0-12,0 0 9,0 0-8,-1 0 10,1 0-12,0 0 9,0 0-10,0 0-31,0 0 29,-1 0-35,1 0 50,0 0-11,0 0 12,0 0-15,0 0-6,0 0 21,-1 0 72,1 0-72,0 0 60,0 0-104,0 0 24,0 0 15,0 0-1,0 0 5,0-1-7,0 1 5,0 0-3,1 0 7,-1 0-11,0 0 7,0 0-6,0 0 5,0-1-2,0 1 0,1 0 0,-1 0 2,0-1-2,0 1 2,0 0-3,0 0-4,0 0 4,0 0-3,1-1 3,-1 1-7,0 0 5,0 0-5,0 0 9,0 0-2,0 0 1,0-1-2,0 1 14,0 0-9,0 0 10,0 0-9,0 0-3,0-1 16,0 1-11,0 0 22,0 0-19,0 0 11,0 0-13,0 0 2,0 0 16,0 0-12,-1 0 13,1 0-17,0 0 3,0 0-2,-1 0 4,1 0-3,0 0 4,-1 0-1,1 0 1,0 0 0,0 0 12,-1 0-5,1 0 7,0 0-28,-1 0 10,1 0-12,0 0 6,-1 1 6,1-1-6,0 0 6,-1 0 0,1 0-1,0 0 1,0 0 0,-1 0-3,1 0 1,0 1-2,0-1 1,-1 0 5,1 0-4,-1 0 5,1 0 13,0 0-12,0 0 13,0 0-21,0 0 4,-1 0-3,1 0 4,0 1 1,0-1-1,-1 0 3,1 0-2,0 0-7,0 0 4,-1 0-6,1 0 7,0 0 2,0 0-1,-1 0-1,1 0 5,0 0-6,0 0 5,0 0 20,0 0-16,-1 1 19,1-1-25,0 0 39,0 0-28,0 0 33,-1 0-40,1 0 25,0 0-17,0 0 18,0 0-20,-1 0 3,1 0-3,0 0 3,0 0-20,0 0 17,0 0-18,-1 0-27,1 0 33,0 0-40,-1 0 49,1 0-35,0 0 24,0 0-31,-1 0 34,1 0-19,0 0 13,0 0-14,-1 0 13,1 0-3,0 0 2,0 0 21,0 0-14,-1 0 16,1 0-20,0 0 12,-1 0-8,1 0 11,0 0-13,0 0 47,-1 0-33,1 0 39,0 0-48,0 0-9,-1 0 7,1 0-6,0 0-11,-1 0 20,1 0-20,0 0 2,0 0 12,-1 0-15,1 0 19,0 0-22,0 0 13,-1 0-16,1 0 15,0 0 3,0 0-6,0 0 4,-1 0 0,1 0 2,0 0-1,0 0 2,-1 0 12,1 0-11,0 0 11,0 0 4,0 0-11,0 0 12,0 1-14,-1-1 6,1 0-3,0 0 5,0 0-6,-1 1-3,1-1 4,0 0-4,-1 0 12,1 0-6,0 0 7,0 1-9,-1-1-12,1 0 9,0 1-11,0-1 8,-1 0 3,1 0-3,0 1 3,0-1 7,-1 0-6,1 0 7,0 0-8,0 1-7,-1-1 5,1 0-6,0 0 9,-1 1 11,1-1-8,-1 0 9,1 0-2,-1 1-6,1-1 8,0 0 2,-1 0-10,1 1 11,0-1-11,0 0-3,-1 0 3,1 0-3,0 0 4,0 0 35,0 0-24,-1 0 27,1 1-34,0-1-7,0 0 5,0 0-5,0 0-17,-1 0 18,1 0-19,0 0 11,0 1 9,-1-1-11,1 0 14,0 0-13,-1 0 10,1 0-14,0 0 13,0 0-6,-1 0 4,1 0-5,0 0 4,0 0 18,0 0-13,-1 0 16,1 0 10,0 0-19,0 0 21,-1 0-26,1 0-1,0 0 3,-1 0 0,1 0-5,0 0 5,-1 0-5,1 0 6,0 0-29,-1 0 21,1 0-23,-1 0 29,1 0-26,-1 0 17,1 0-22,0 0 21,-1 0-2,1 0 0,-1 0 30,1 0-20,-1 0 22,1 0-28,0-1 1,-1 1 2,1 0 0,-1 0-1,1 0 18,0 0-11,-1 0 12,1 0-10,-1 0-6,1-1 7,-1 1-4,1 0-14,-1 0 11,1 0-12,0 0 1,-1 0-3,1 0-1,-1 0 1,0-1 2,1 1 4,-1 0-6,1 0 8,-1-1 4,1 1-7,-1 0 5,1 0-13,-1 0 8,1 0-5,-1 0 6,1-1 1,-1 1-1,1 0 1,0 0 3,-1 0-3,1 0 4,-1 0-4,1 0-6,0-1 4,0 1-3,-1 0 4,1 0-32,0 0 22,0 0-24,-1-1 31,1 1-15,0 0 9,0 0-12,-1 0-2,1-1 12,0 1-17,-1 0 33,1-1-15,-1 1 13,1 0-16,-1 0 14,1 0-9,-1 0 11,1-1-13,-1 1 0,1 0 1,-1 0 2,0-1-2,1 1 4,0 0-3,-1-1 2,1 1 5,-1 0-6,1 0 5,-1 0 3,1 0-5,0-1 6,-1 1-8,1 0 8,0 0-5,-1-1 7,1 1-8,-1 0 3,1-1-2,0 1 2,-1 0-2,1 0-18,0 0 13,-1 0-15,1-1 5,-1 1 9,1 0-10,-1-1 13,1 1 0,0 0-2,-1 0 0,1 0 9,-1-1-6,1 1 7,-1 0-11,1 0 6,0 0-3,-1 0 5,1 0-6,0 0 2,-1 0-1,1-1 1,-1 1 6,1 0-3,0 0 4,-1 0-2,1 0-3,-1 0 3,1 0-4,0-1 1,-1 1 0,1 0 1,-1 0-2,1 0-29,0 0 21,-1 0-21,1-1 28,-1 1-29,1 0 17,-1-1-20,1 1 37,-1 0-8,1 0 10,0 0-8,-1-1-4,1 1 4,0 0-8,-1-1 13,1 1-7,0 0 8,0 0-8,-1-1-5,1 1 8,0 0-6,0 0 11,0 0 1,0-1-3,-1 1 2,1 0-14,0-1 10,0 1-10,-1 0 12,1-1-17,-1 1 9,1 0-9,0-1-17,-1 1 19,1-1-20,0 1 25,0-1 12,-1 1-11,1-1 11,-1 1-13,1-1 7,0 1-8,0-1 7,0 1-5,-1-1 0,1 1 3,0-1-37,0 0 25,0 1-26,0-1 32,0 1 7,0-1-5,0 1 5,-1-1-8,1 1 15,0-1-13,0 0 14,0 1-4,0 0 5,0-1-1,0 1-2,-1-1 4,1 1-11,0 0 18,0-1 17,-1 1-18,1-1 24,0 1-33,-1 0 51,1-1-37,0 1 38,-1-1-42,1 1-2,-1-1 4,1 0 0,0 1-23,-1-1 19,1 1-18,-1-1 22,1 1-13,-1-1 7,1 1-9,-1-1-10,1 1 16,-1 0-21,1-1 22,0 1-16,0 0 11,0 0-12,-1 0 12,1 0-21,0-1 16,0 1-18,0 0 24,-1 0-5,1 0 4,0 0-3,0 0-19,0 0 12,-1 0-13,1 0 21,0 0-2,-1 0 0,1 0-2,-1 0-2,1 0 1,0 0-2,-1 0 3,1 0 11,0 0-7,-1 0 9,1-1-12,-1 1 11,1 0-8,-1 0 8,1 0-43,0 0 26,-1 0-27,1 0 18,-1-1 11,1 1-13,-1 0 14,1 0-6,-1 0 5,1 0-9,0 0 4,0 0 21,-1 0-16,1-1 18,0 1 3,-1 0-20,1 0 22,0 0-24,-1 0 22,1 0-15,0 0 21,0 0-46,-1 0 23,1 0-22,0 0 25,-1 0-35,1 0 25,0 0-27,-1 0 30,1 0-24,0 0 14,0-1-16,-1 1-1,1 0 6,0 0-14,0 0 16,0 0-32,0 0 30,0 0-33,-1 0 84,1 0-39,0 0 29,0 0 9,0 0-50,0-1 57,0 1-2,0 0-21,0 0 36,0 0-32,0-1-12,0 1 19,0 0-18,0 0 7,0 0-4,0 0 4,0 0-33,0 0 25,0-1-26,0 1 28,0 0 9,0 0-8,0 0 7,0-1-11,0 1 28,0 0-22,0 0 23,0-1 1,0 1-18,0 0 21,0 0-23,0 0-4,0-1 4,0 1 1,1 0-9,-1 0 11,0 0-10,0 0 10,0 0-41,0-1 28,0 1-33,0 0 41,0 0-30,0 0 20,0 0-25,0-1 23,0 1-2,0 0 0,0 0 0,0 0-10,0-1 6,1 1-9,-1 0 3,0-1 8,0 1-9,0 0 11,0 0 19,0 0-16,1 0 19,-1-1-23,0 1 11,0 0-7,0 0 6,0 0-8,0-1-6,0 1 5,1 0-4,-1 0-17,0 0 18,0 0-24,0 0 14,0 0 4,0-1-4,0 1 12,0 0-2,0 0-1,1 0-1,-1 0 25,0 0-16,0 0 20,0 0-28,0-1 17,0 1-12,0 0 16,0 0-17,0 0 5,0 0-2,0-1 1,0 1 5,0 0-4,0 0 4,0 0 2,1 0-6,-1 0 6,0 0-10,0-1 36,0 1-25,0 0 27,0 0-8,0 0-17,0 0 22,0-1-25,0 1 5,0 0-3,0 0 5,0 0-11,0 0 9,0 0-8,0-1 8,0 1-9,0 0 5,0 0-5,0-1 5,0 1-1,0 0-1,0 0-1,0 0-1,0-1 4,0 1-5,0 0 4,0 0 26,0-1-19,0 1 21,0 0 14,0-1-27,0 1 30,0 0-36,0 0 16,0 0-7,0 0 10,-1-1-10,1 1-19,0 0 15,0 0-12,0 0 1,0-1 9,0 1-10,-1 0 13,1 0-59,0-1 39,-1 1-44,1 0-114,0 0 35,0-1-60,-1 1 99,1 0 89,0-1 0,-1 1 0</inkml:trace>
  <inkml:trace contextRef="#ctx0" brushRef="#br0" timeOffset="163">700 1436 9502,'1'-1'-791,"-1"1"829,0 0-35,0 0 113,0 0-7,0 0-41,0 0 56,1 0-18,-1 0 20,0 0 0,0 0-13,0 0-40,0 0 33,0 0-30,0 1 39,0-1-37,0 0-28,0 1 22,0-1-33,0 1 31,0-1-52,0 1 37,0 0-40,0 0 0,0 1 29,-1-1-32,1 0-2,0 1-16,-1 0-4,1 1 9,0-1-2,-1 1 34,1-1-43,-1 1 46,1 0-79,0 0 55,-1 1-63,1-1 58,0-1 0,-1 1-10,1 0 14,-1 0 6,1 0-3,0-1 6,0 0 4,0 1-9,-1-2 11,1 1-11,0 0-45,-1-1-8,0 1-4,1-1 10,-1 0-10,1 0 33,-1 0-39,1 0 42,-1 0-52,1 0-28,-1-1 6,1 1-22,0 0 90,0-1-69,0 0 57,0 0 8,0 0-1,0 0 35,1-1-39,0 0 12,-1 0 0,1 0 6,-1 0-6,0 1-8,1-1 11,-1 0-9,0 0 7,1 0-32,-1 1 19,0-1-23,0 1 42,1-1-12,-1 0 14,0 1 18,0-1-23,0 1 23,0 0-34,1-1 60,-1 1 19,0-1 3,0 1 52,0 0-106,0 0 64,0 0-57,0 1 16,0 0 0,0 0-6,0 0-3,0 0-3,0 0 4,-1 1-4,1-1-30,0 1 20,0-1-27,-1 0 31,1 1-31,0-1 22,-1 0-20,1 0 26,0 0-42,0-1 30,0 1-38,0-1-56,0 0 63,0 0-78,0 0 96,0-1-15,0 0 11,0 0-12,0 0 11,0 0 31,1 0-22,-1 0 27,1 0-32,-1 0 52,0 1-37,0-1 45,1 1 8,-1-1-36,0 1 40,0 0-35,0-1 20,0 1-6,0 0 13,0 1-33,0 0-4,0-1 3,0 1-6,0 0 17,0 1-6,0-1 7,0 0-14,0 0 30,0 0-25,-1 0 24,1 0 2,0 0-14,0 1 19,0-1-24,0-1-10,0 0 5,0 1-62,0-1-36,0 0-65,0 0-152,0 0 170,1-1-75,-1 1 199,0-2 0,1 1 0</inkml:trace>
  <inkml:trace contextRef="#ctx0" brushRef="#br0" timeOffset="164">551 1435 9502,'0'2'-882,"0"-1"866,1 0 26,-1 0 148,0 0-60,0 0 22,0 0-64,0 0-23,1 1 17,-1-1-19,0 1 17,0-1-46,0 1-7,0-1-9,0 1 15,0-1-39,0 0 54,0 1-58,0-1 16,0 1 35,0-1-41,0 0 37,0 0 11,0 1-18,0-1 15,0 0 4,0 0-3,0 0 7,1 1-14,-1-1-14,0 0 12,0 0-9,1 0 14,-1-1-36,0 1 25,1 0-28,-1 0 45,1-1-8,-1 1 5,0-1-4,1 1-5,-1-1 1,0 0-7,0 0 0,1 1-1,-1-1 5,0 1 3,0-1-8,0 0 8,0 1-6,0-1 8,0 1-12,0-1 9,0 1-9,0-1 1,0 0 4,1 1-9,-1-1 10,0 1-5,0-1 4,0 1-2,0-1-2,0 1 4,0 0-4,0 0 4,0-1 0,0 1-1,0 0 1,0 0-1,0-1 1,0 1-1,0-1 2,0 1-11,0 0-6,0-1 1,0 1-46,0-1 44,0 1-34,0-1 41,0 1-22,0-1 12,0 1-15,0-1 18,0 1-25,0-1 14,0 0-17,0 1 21,0-1 6,0 1-8,0-1 4,0 0 27,0 1-21,0-1 26,0 1-7,0-1-14,1 1 17,-1-1-21,0 0 15,0 0-9,0 1 12,1-1-12,-1 0-29,0 0 22,0 0-20,1 0 7,-1 0 14,0 0-15,0 0 21,1-1-4,-1 1 1,0 0-3,0-1 29,1 0-22,-1 1 22,0-1-29,1 0 39,-1 1 13,0-1 7,0 1-12,0-1 38,0 1-53,1 0 63,-1 0 23,0-1-51,0 1 92,-1 1-98,1-1 13,-1 1-15,1 0 26,-1 0-7,0 0 13,0 0-47,0 1 6,-1-1-10,2 0 19,-1 1-67,0-1-25,0 0-17,1-1 11,-1 1 54,0-1 0,1 1 0</inkml:trace>
  <inkml:trace contextRef="#ctx0" brushRef="#br0" timeOffset="165">820 1440 10949,'1'0'379,"-1"0"-329,0 0 30,0 0-35,1 0 49,-1 0-42,0 0 23,1 0-43,-1 0 21,1 0 17,-1 1-17,1-1 20,0 0-53,0 0 29,-1 1-33,1-1 21,0 0 20,0 0-21,0 1 25,0-1-29,-1 0 19,1 0-18,0 1 23,0-1-64,-1 0 44,1 1-59,-1-1 30,1 0 21,0 0-24,-1 1 42,1-1 20,0 0-18,-1 1 15,0-1-27,1 0-3,-1 0 4,1 0-6,-1 1-2,0-1 6,0 0-2,1 0 10,-1 1-62,0-1 45,1 0-50,-1 0 59,0 0 4,1 1-9,-1-1 7,0 0-46,1 1 28,-1-1-33,0 0 47,1 1-13,-1-1 12,0 0-10,0 1-11,0-1 9,1 0-7,-1 1 13,0-1-23,1 0 15,-1 0-19,0 1 16,0-1-34,0 0 21,0 0-23,1 1 3,-1-1 23,0 0-28,0 0 14,0 0 7,1 1-11,-1-1 13,0 0 8,1 0-6,-1 0 5,0 1-7,0-1 0,1 0-1,-1 0 1,0 1-1,0-1 2,1 0-1,-1 0-6,0 1 6,0-1-5,0 0 6,1 1-6,-1-1 4,0 0-4,1 1 4,-1-1 4,0 0-4,0 1 2,1-1-3,-1 1 45,0-1-31,1 0 34,-1 1-23,1-1-12,-1 1 14,1-1-25,-1 1 5,0-1-3,1 0 8,-1 0-27,0 1 20,1-1-22,0 1 28,-1-1-23,0 1 17,0-1-22,1 0 24,-1 1-15,1-1 10,0 1-13,-1 0 18,0-1-9,1 1 9,-1-1 4,1 0-8,-1 1 10,1-1-11,-1 1 25,0-1-18,1 1 22,-1-1-26,1 0 7,0 1-4,-1-1 4,1 1-3,-1-1 3,1 1-3,-1-1 6,1 0-9,-1 0 5,1 0-5,-1 1-4,0-1 5,1 0-6,-1 0 7,0 1-14,1-1 11,-1 0-12,1 0 13,-1 1-6,0-1 5,1 0-5,-1 1 5,0-1 8,1 0-6,-1 0 5,1 0 7,-1 0-11,1 1 13,-1-1-22,1 1 5,-1-1-4,1 0 9,-1 1-7,1-1 6,-1 0-6,1 0 6,-1 1-35,0-1 23,1 0-25,-1 1 28,0-1-9,1 0 5,-1 1-9,1-1 3,-1 0 4,0 0-6,1 0 9,-1 1 11,1-1-9,-1 1 9,0-1 0,1 0-8,-1 1 10,1-1-10,-1 0 3,1 0 1,-1 1 0,0-1-1,1 1 1,-1-1 0,1 0 0,-1 1-12,0-1 7,1 0-7,-1 1 10,1-1-8,-1 0 5,0 0-6,1 0 11,-1 1-3,0-1 3,1 0-5,-1 0-3,1 0 2,-1 0-1,1 0 2,-1 1 2,1-1-1,-1 0 0,1 0-17,-1 0 12,0 0-12,1 1 14,0-1 1,-1 0-1,0 0-1,1 0 10,-1 0-9,1 0 9,-1 0-10,0 1 13,1-1-9,-1 0 10,0 0-12,1 0 10,-1 0-5,1 0 5,-1 0-3,0 0-3,1 0 5,-1 0-3,1 0 1,-1 0 0,0 0-2,1 0-14,-1 0 10,1 0-11,-1 0 15,0 0-32,1 0 23,-1 0-25,0 0 30,1 0 3,-1 0-2,1 0 0,-1 0 3,1 0-8,-1 0 7,0 0 7,1 0-9,-1-1 10,1 1-13,-1 0 13,1 0-9,-1 0 13,0 0-13,1 0-22,-1 0 17,1 0-18,-1 0 23,0 0-6,1 0 4,-1 0-8,1 0 10,-1 0-6,1-1 5,-1 1 2,0 0-4,1 0 3,-1 0-5,0 0 13,1 0-8,-1 0 10,0 0-12,0 0 11,1-1-8,-1 1 11,0 0-12,0 0 7,1 0-6,-1 0 4,1 0-34,-1 0 23,0 0-23,1 0 10,-1 0 12,0 0-15,1 0 18,-1 0 3,0 0-2,0-1-1,1 1-6,-1 0 19,0 0-14,1 0 15,-1 0-16,0 0 16,1 0-11,-1 0 13,0 0-28,0 0 10,1 0-5,-1 0-15,0 0 20,1-1-21,-1 1 22,0 0-10,1 0 5,-1 0-7,0 0 4,0 0 19,1 0-17,-1 0 17,0 0-20,1-1 16,-1 1-12,0 0 13,1 0 7,-1 0-13,0 0 18,1 0-18,-1 0 2,0 0 0,0 0-1,1 0 1,-1 0 1,0 0-1,1-1-1,-1 1-22,0 0 15,0 0-16,1 0 21,-1 0-12,0 0 7,0 0-8,0 0 24,0 0-10,0 0 10,0 0-11,1 0-4,-1 0 4,0 0-2,0 0 12,0 0-8,0-1 10,1 1-12,-1 0 4,0 0 0,0 0 1,0 0-2,0 0-15,1 0 11,-1 0-12,0 0 15,0 0 0,1 0-2,-1 0 9,0 0-8,0 0 8,0 0-9,0 0 10,1 0-7,-1 0 6,0 0-9,0 0 0,0 0 1,0 0 1,1 0 1,-1 0 8,0 0-7,0 0 6,0 0-9,0 0 2,0 0-1,1 0 0,-1 0-11,0 0 8,0 0-9,0 0 12,0 0 1,0 0-2,1 0 1,-1 0-12,0 0 8,0-1-7,0 1 9,1 0 14,-1 0-9,0 0 9,0 0-13,0 0 11,1 0-7,-1 0 9,0 0-7,0 0-2,0 0 3,1 0 2,-1 0-4,0 0 5,0 0-5,1 0-13,-1 0 9,0 0-12,0 0 15,0 0-17,0 0 12,1 0-15,-1 0 18,0 0-1,0 0 0,0 0-1,0 0-9,0 0 5,0 0-6,0 0 7,0 0 1,1 0-34,-1 0-5,0 0-34,0 0 27,0 0 13,0 0 19,1 0 35,-1 0-25,0 0 23,0 0-30,0 0 10,0 0-7,0 0 9,0 0 4,1-1-2,-1 1-10,0 0 5,0 0-10,0 0 12,0 0-12,0-1 7,0 1-8,0 0 8,1 0-7,-1 0 5,0 0-5,0 0 17,0-1-9,0 1 10,0 0-12,0 0 11,1 0-7,-1 0 5,0 0-12,0 0 4,0-1-4,1 1 7,-1 0 3,0 0-3,0 0 4,0 0-4,0 0 0,0-1 1,0 1-1,1 0-2,-1 0 7,0 0-6,0 0 6,0 0-21,0 0 12,0 0-13,0 0-2,0 0 11,0 0-12,0 0 18,1 0 34,-1 0-28,0-1 29,0 1-37,0 0 3,0 0-1,1 0 0,-1 0 62,0 0-40,0 0 46,0 0-46,0 0 66,1 0-45,-1 0 57,0 0-68,0 0-30,0 0 27,0 0-34,0 0 1,0 1 22,1-1-29,-1 0 34,0 0-34,0 0 22,0 0-26,0 0 32,0 0-31,0 0 22,1 1-30,-1-1 33,0 0-9,0 0 8,0 0-5,0 0 10,0 1-7,0-1 8,0 0-1,0 0-6,0 0 6,0 0-6,0 0 5,0 1-3,0-1 5,0 0-6,0 0 4,0 0-3,0 0 3,0 0-3,0 0 0,1 0 0,-1 0 0,0 1 0,0-1 0,0 0 0,0 0-6,0 0 4,0 1-3,0-1 4,0 0 1,0 0 0,0 0 0,0 1-1,0-1 1,0 0 0,0 0 1,1 0 7,-1 0-6,0 0 8,0 0 0,0 0-7,0 1 9,0-1-10,0 0 16,0 0-11,0 0 14,0 1-17,1-1-7,-1 0 5,0 0-5,0 0-17,0 0 10,0 0-15,0 1 18,1-1 3,-1 0 3,0 0-5,0 0 35,0 0-24,0 1 25,0-1-32,0 0 20,1 0-13,-1 0 15,0 0-16,0 0-3,0 1 7,0-1-4,0 0-16,0 0 13,0 0-15,1 0 21,-1 0-46,0 1-12,0-1-7,0 0-16,0 0 56,0 0-19,0 0 17,0 1 50,0-1-41,0 0 40,0 0-48,1 0 39,-1 0-29,0 1 29,0-1-2,0 0-5,0 0 20,0 0-20,0 1 27,0-1-30,0 0 36,0 0 1,0 0-19,0 1 21,0-1-31,0 0-7,0 0 5,0 0 3,0 0-73,0 1-9,0-1-204,1 0-340,-1 0 53,0 0-7,0 0 318,0 0 243,0 0 0,1 0 0</inkml:trace>
  <inkml:trace contextRef="#ctx0" brushRef="#br0" timeOffset="166">2508 1592 9502,'0'1'-120,"0"0"55,0 0 71,0 0-45,0 0 38,0 0-78,0-1 63,0 1 34,0-1 16,0 1 98,0-1-46,0 0 52,0 0-67,1 0 7,0 0-1,0-1-7,0-1 7,1-1-17,0 0 7,1-2-38,-1 1 35,1-1-26,0-1-30,0-1 41,0 0-49,1 0 60,-1-1-45,1 0-16,-1-1-8,1 0 9,-1 0-22,0 0 49,-1 1-59,0 1-51,-1 1 10,0 0-96,0 1 86,-1 1-134,0 1 64,0 1-85,0 1-82,0 0 94,0 1-11,0-1 118,-1 1 119,0 0 0,-1 0 0</inkml:trace>
  <inkml:trace contextRef="#ctx0" brushRef="#br0" timeOffset="167">722 1538 8355,'0'0'81,"0"-1"28,0 1 84,0 0-59,0 0-25,0 0-56,0 0-10,0 0-20,0 0 34,0 0 40,0-1-15,0 1 39,0 0-34,0 0 4,0 0 6,1 0 2,-1 0-38,0 0 16,0 0-12,1 0 6,-1-1-52,1 1 47,-1 0-42,0 0-11,1 0 38,-1 0-49,1 0-2,-1-1 6,0 1-31,1-1 34,-1 1-37,1 0 49,-1-1-59,1 1 66,-1-1-24,1 1 17,0-1-17,-1 1 13,0-1-10,1 1 10,0-1-8,-1 1 4,1-1 2,-1 1-3,1-1 4,-1 1 2,0 0-2,1-1 2,-1 1-21,1 0 14,-1-1-14,1 1 19,-1 0-32,0-1 23,0 1-27,1-1 31,-1 1-31,0 0 23,1-1-25,-1 0 3,0 1 13,0-1-16,0 1 20,1-1 3,-1 1-6,1-1 4,-1 1 52,0-1-38,0 1 43,1 0-55,-1-1 24,0 1-17,1-1 21,-1 1-22,0 0-7,0 0 5,0-1-3,1 1-12,-1 0 18,0-1-18,0 1 20,0-1-34,1 1 23,-1 0-26,0-1 10,0 1 15,1-1-21,-1 1 18,0 0 1,1-1-1,-1 0 4,0 1-3,1 0-2,-1-1 0,0 1 0,0 0 9,1-1-5,-1 1 7,0 0 17,0-1-18,0 1 21,0 0-24,0 0 18,0-1-10,0 1 12,0 0-15,0-1 16,0 1-9,0 0 12,0-1-12,0 0-20,1 1 17,-1 0-15,0-1-3,0 0 12,0 1-15,0 0 18,0-1-3,0 1 0,0 0-2,0-1 20,0 1-17,0 0 18,0-1-21,0 1 27,0 0-18,0 0 20,0-1-20,0 1 34,0 0-19,0 0 22,0-1-20,0 1-11,0 0 14,0-1-11,0 1 18,0-1-13,0 1 13,0-1-37,0 1 17,0-1-15,0 1 18,0-1-38,0 1 24,0-1-29,0 1 35,0-1-13,0 1 6,0-1-8,0 1-28,0-1 31,0 1-34,0 0 9,0 0 18,0-1-20,0 1 23,0-1-9,0 1 1,0 0-5,0-1 10,0 1 8,0-1-5,0 1 6,0 0-9,0 0 11,0-1-8,0 1 9,0-1-5,0 1-2,0 0 2,1-1-19,-1 1 11,0 0-11,0 0 16,0 0-22,0-1 15,0 1-19,0 0 23,1 0 6,-1 0-5,0-1 4,0 1-8,0 0 14,0 0-10,0-1 11,1 1 36,-1 0-34,0 0 37,0 0-30,1-1-12,-1 1 17,0 0-18,0 0 17,1 0-11,-1 0 15,1-1-14,-1 1-14,0 0 8,0 0-10,1 0 16,-1 0-19,0 0 13,0 0-18,0 0 1,0 0 10,0 0-12,0 0-13,1 0 24,-1 0-27,0 0 30,0 0-22,0 0 15,0 0-16,1 0 18,-1 0-16,0 0 12,0 0-14,0 0 11,0 0 14,1 0-13,-1 0 14,0 0-29,0 0 13,0 0-12,0 0-4,0 0 14,1-1-14,-1 1 18,0 0 5,0 0-7,1 0 6,-1 0-11,0 0 32,0-1-22,1 1 23,-1 0-30,0 0 33,0 0-23,0 0 26,1 0 0,-1 0-21,0 0 27,0 0-12,0 0-7,0 0 9,1 0-13,-1 0 2,0 0 0,0 0 1,0 0-2,0 0 7,0 0-4,1 0 16,-1 0-12,0 0 11,0 0-10,0 0 0,0 0-3,0 0-3,0 0 21,0 0-14,0 0 15,0 0-20,0 1 15,1-1-11,-1 0 13,0 1-13,0-1 18,0 0-12,0 1 13,0-1 35,0 0-36,0 1 43,0-1-11,0 0-24,1 1 26,-1-1-32,0 0-1,0 1 3,0-1-2,1 0 4,-1 1-50,0-1 37,0 0-35,0 1 43,1-1 8,-1 1-9,0-1 5,0 1-3,0-1-3,1 1 2,-1-1-22,0 1 11,1-1-16,-1 1 19,0-1-1,0 1 1,1-1 3,-1 0-3,0 1-19,0-1 14,1 1-15,-1-1-7,0 1 18,0-1-22,1 0 23,-1 0-15,0 1 9,1-1-10,-1 1-16,0-1 22,1 1-27,-1-1 31,0 0 53,1 1-38,-1-1 41,1 1-55,-1-1 8,1 1-4,-1-1 10,0 0 3,1 0 18,0 0-11,0 1 11,-1-1-33,1 0 14,-1 0-12,1 0 5,-1 0 2,0 1-4,1-1 6,-1 0 1,1 0-2,-1 0-2,1 1 1,-1-1-38,0 0 28,1 0-25,-1 0 19,0 0-8,1 1 1,-1-1-7,0 0-8,0 0 17,1 0-18,-1 1-17,0-1 30,0 0-35,1 0 42,-1 1-8,0-1 5,0 0-8,1 0 6,-1 1 7,0-1-6,1 0 7,-1 0-13,0 0 38,1 1-25,-1-1 27,1 1-26,-1-1-5,1 0 9,-1 1 10,0-1-9,0 0 11,1 1-13,-1-1-8,0 0 7,1 0-7,-1 1 7,0-1-15,1 0 10,-1 0-11,0 0 12,0 1-10,1-1 5,-1 0-6,1 0 11,-1 0-1,0 0 1,1 1-2,-1-1 0,1 0 0,-1 0-1,0 0 5,1 1-2,-1-1 2,1 0-3,-1 0 20,1 1-13,-1-1 13,0 0-15,1 0-7,0 1 7,-1-1-6,1 0-6,-1 0 7,0 0-8,1 0-9,0 0 13,-1 1-15,0-1 20,1 0-21,-1 0 13,1 0-15,-1 0 16,0 1-3,1-1-1,-1 0-2,1 0 0,-1 0 4,1 1-4,-1-1 4,1 0-28,-1 0 21,1 1-23,-1-1 42,1 0-14,-1 0 14,1 1-16,0-1 48,-1 1-33,0-1 36,1 1-45,0-1 9,-1 0-4,0 1 8,1-1-41,-1 0-48,1 1-46,-1-1 30,0 0 17,1 1-120,-1-1 146,0 1-141,1-1 193,-1 1 0,0-1 0</inkml:trace>
  <inkml:trace contextRef="#ctx0" brushRef="#br0" timeOffset="168">850 1565 8355,'0'-1'567,"0"1"-361,0 0-143,-1 1-5,1-1 18,0 0-15,0 0-75,0 0 56,0 0-70,0 0 26,0 0-9,-1 0-13,1 0 16,0 0-26,0 1 46,-1-1-53,1 0 46,0 0-6,0 0 1,0 0-8,-1 0 13,1 0-14,0 0 14,0 0-7,0 0 57,0 0-33,-1 0 67,1 0-64,0 0 27,0 0-48,0 0 18,0 0-17,-1 0-20,1 0 27,0 0-27,0 0 30,0 0-16,0 0 8,0 0-10,-1 0-16,1 0 23,0 0-30,0 0 31,0 0 18,-1 0-13,1 0 16,0 0 28,0 0 11,0 0 7,0 0 26,0 0-67,0 0 26,0 0-26,0 0 21,-1 0-9,1 0 23,0 0-28,-1 0-25,1 0 14,0 0-17,-1-1-30,1 1 41,-1 0-46,0 0 64,1-1-9,-1 1 1,0-1-9,0 1 18,0-1-12,0 1 18,-1-1-23,1 0 1,0 0 0,0 0 6,-1 1-4,1-1-28,-1 0 19,1 0-23,-1 1 9,1-1 19,-1 0-21,1 1 18,0-1-35,-1 1 15,1-1-19,0 1 35,0-1-1,0 1 1,0-1-5,0 1 38,-1-1-27,1 1 33,0 0-41,0 0 16,0-1-11,0 1 14,0 0-14,-1-1 11,2 1-7,-1 0 9,0 0-31,0 0 19,0 0-19,0 0-12,0-1 23,0 1-30,1 0 35,-1 0-16,0 0 9,1-1-10,-1 1 11,1 0 36,-1 0-27,0 0 28,0-1-14,0 1-14,1 0 17,-1 0 2,0 0-11,0-1 13,0 1-9,0 0-9,0 0 10,0 0-9,0 0 8,0 0-35,0 0 27,0 0-28,0-1 28,0 1-48,0 0 29,1 0-34,-1 0 21,0 0 17,0 0-22,0 0 25,0 0-28,0 0 19,0-1-20,0 1 43,1 0-17,-1 0 18,0 0-22,0 0 21,0 0-14,1 0 16,-1 0-23,0 0 3,0 0-1,0 0 3,0 0-15,0 0 10,0 0-11,0 0-25,1 0 28,-1-1-30,0 1 38,0 0-11,1 0 5,-1 0-8,0 0 4,0 0 7,0 0-8,1 0 6,-1 0-1,1 0-1,-1 0 3,0 0-4,1 0 8,-1 0-4,0 0 5,1 0-31,-1 0 18,0 0-19,1 0 26,-1 0-65,0 0 46,1 0-52,-1 0 63,0 0-21,1 0 12,-1 0-18,0 0 48,1 0-25,0 0 26,-1 0-15,1 0-13,-1 0 13,1 0-17,-1 1 25,1-1-15,0 0 22,-1 0-24,1 0 7,-1 0-5,1 0 8,0 0-4,-1 1-30,1-1 19,0 0-26,0 0 48,-1 0-14,1 0 14,0 0-20,0 0-4,-1 0 0,1 0 0,0 0-15,-1 0 15,1 0-15,0 0 19,0 0 11,-1 0-25,1 0 26,0 0-23,0 0 23,1 0-3,-1 0 1,1 0-5,-1 0 15,0 0-11,0 0 10,0 0 1,1-1-9,-1 1 11,0 0-8,0 0-8,1-1 7,-1 1-5,1 0 7,-1-1 0,1 1 2,-1 0-4,1-1 0,-1 1 0,0 0 1,1 0-3,0-1 15,-1 1-11,0 0 12,1 0-12,-1-1-1,1 1 3,-1 0-2,1-1 8,-1 1-6,1-1 7,-1 1-11,1 0 3,-1-1-3,0 1 4,1-1-5,0 1 3,-1-1-4,1 1 5,-1-1-3,1 1 1,-1-1 0,1 1-2,-1 0 3,1-1-3,-1 1 3,1-1-5,-1 1 3,1-1-4,-1 1 4,1-1-1,-1 1 1,1 0 1,-1-1-17,1 1 13,-1-1-14,1 1 16,0-1 2,-1 1-2,1-1 2,-1 0 0,0 1-4,1-1 4,-1 1 26,1-1-20,-1 1 22,0-1-28,1 1-11,-1-1 8,0 1-7,1-1 11,-1 1-44,1-1 32,-1 1-35,0-1 44,1 1-4,-1 0 2,0-1-5,0 1 12,1-1-10,-1 1 8,0 0-4,0-1-3,1 1 3,-1 0-5,0-1 16,0 1-11,0-1 18,1 0-20,-1 1 52,0-1-37,0 1 40,0-1-48,1 0 26,-1 0-18,0 1 19,0-1-34,0 0 12,0 1-11,0-1-26,0 0 29,0 1-30,0-1 38,0 1-27,0-1 19,0 1-23,0 0 27,0-1-35,0 1 23,0-1-31,0 1 25,0-1 41,0 1-30,0 0 36,0-1 5,0 1-33,0 0 37,0-1-43,0 1 31,0 0-21,0-1 29,0 1-37,0 0 13,-1 0-11,1 0 13,0 0-15,0 0 11,0 0-12,-1-1 11,1 1-22,0 0 11,0 0-14,0 0 9,0 0 9,0 0-9,0 0 11,0 0-4,0-1 1,0 1-2,0 0 0,0 0 1,0 0 6,-1 0-3,1 0 3,0-1 39,0 1-33,0 0 36,0 0-6,0 0-24,0 0 28,0-1-32,0 1-8,0-1 12,0 1-10,0-1 13,1 1-56,-1-1 41,0 1-42,0-1 52,0 1-45,0-1-12,0 0-4,0 1-10,0 0 53,1-1-25,-1 0 7,0 1 1,0-1-8,0 1 15,0 0 15,0-1-11,1 1 14,-1-1-20,0 1 48,0 0-33,0-1 41,1 1-48,-1 0 36,1-1-26,-1 1 31,0 0-25,0-1-1,1 1 4,-1 0-5,0-1-8,0 1 8,0 0-8,0 0-28,1 0 24,-1-1-29,0 1 36,0 0-37,0 0 26,0 0-32,0 0 37,1 0-2,-1 0 1,0 0-3,0 0 16,0 0-15,0 0 15,1 0-5,-1 0-8,0 0 10,0 0-10,1 0 3,-1 0-2,0 0 6,0 0-5,0 0-16,1 0 12,-1 0-14,0 0 18,0 0-37,1 0 26,-1 0-30,0 0 16,0 0 10,0 0-15,0 0 19,1 0 0,-1 0-3,0 0 3,0 0 28,0 0-20,0 0 24,0 0-32,1 0 41,-1 0-26,0 0 29,0 0-31,0 0 4,0 0 2,0 0 0,0 0-2,1 0-5,-1 0 5,0 0 49,0 0-36,0 0 37,0 0-50,0 1 17,0-1-11,1 1 14,-1-1-12,0 1-8,0-1 11,0 1-8,0-1 12,0 1-5,1-1 5,-1 1-6,0 0 43,1-1-30,-1 0 32,0 1-17,0 0-17,1 0 17,-1-1-22,0 1 47,1 0-30,-1-1 33,1 1-37,-1 0 0,0-1 4,1 1 1,-1-1 1,0 1-17,1 0 13,-1-1-17,1 1 12,-1-1 2,1 1-4,-1-1 34,1 1-22,-1-1 23,0 0-29,1 1-17,-1-1 13,1 1-14,-1 0 16,0-1-9,1 0 11,-1 1-8,0 0 11,1-1-57,-1 1 37,1-1-43,-1 1 57,1-1-25,-1 0 18,1 0-27,-1 1 97,1-1-63,0 0 66,-1 0-48,1 1-15,-1-1 21,1 0-27,0 0 4,0 1 2,-1-1 5,1 0-1,-1 0-29,1 1 18,-1-1-20,1 1 32,-1-1-35,1 1 25,-1-1-37,1 0 36,-1 1-30,1-1 24,-1 0-21,1 0 24,-1 0-3,1 1-2,-1-1-21,1 0 18,-1 0-19,1 1 23,-1-1-40,1 0 27,-1 0-30,1 1 4,-1-1 20,1 1-22,0-1-21,-1 1 37,0-1-43,1 0 51,-1 1-16,1-1 10,0 0-15,-1 1 14,0-1-5,1 1 1,0-1 1,-1 0-5,1 0 30,0 1-21,-1-1 23,1 0 30,0 0-40,-1 1 46,1-1-57,0 0 7,0 1-4,-1-1 8,1 0-18,0 1 16,-1-1-16,1 0 17,0 1-11,-1-1 9,1 0-9,0 0-9,-1 1 12,1-1-17,0 1 19,-1-1-48,1 0 33,-1 0-36,1 1 11,-1-1 20,1 0-23,-1 0 28,1 1 24,-1-1-18,1 0 18,0 0-25,0 0 29,-1 0-22,1 0 24,0 1-27,0-1 16,-1 0-9,1 0 10,0 0 3,-1 0-13,1 0 18,0 0-17,-1 1-26,1-1 20,-1 0-23,1 0-26,-1 0 37,1 0-42,-1 1 50,1-1-10,-1 0 4,1 0-9,-1 0 11,1 0-3,-1 0 2,1 0-5,-1 0 9,1 0-9,-1 0 9,1 0-6,-1 0 19,0 0-11,1 0 13,0 0-14,-1 0-2,1 0 5,0 0-3,-1 0-23,1 0 16,-1 0-21,0 0 25,1 0-42,-1 0 31,0 0-36,1 0 32,-1 0 2,0 0-5,0 0-10,1 0 15,-1 0-22,0 0 23,1 0-12,-1 0 10,0 0-5,1 0 5,-1-1 21,0 1-15,0 0 15,0 0-21,1 0 56,-1 0-39,0 0 43,0 0-5,0 0-32,1 0 35,-1-1-24,0 1-15,0 0 21,0 0-11,0 0-62,0 0 13,1 0-32,-1 0 31,0 0 63,0 0-24,0 0 23,0 0-26,0 0 12,0 0-5,1-1 8,-1 1 10,0 0-11,0 0 14,0 0-9,0 0-5,0 0-11,0 0-29,0 0-40,0 0 4,1 0-11,-1 0 53,0 0 7,0 0 2,0 0 10,0 0 7,1 0-5,-1 0 39,0 0-41,0 0 24,0 0-21,0 0 5,1 0 0,-1 0 0,0 0-8,0 0 7,0 0-5,0 0 6,0 0 1,0 0-2,0 0 10,1 0-6,-1 0 6,0 0-1,0 0-6,0 0 9,0 1-1,0-1-4,0 0 5,0 0 7,0 0-8,0 0 8,0 0-9,0 0-4,0 0 3,0 1-7,0-1 4,0 0-5,0 0-3,0 0 6,0 0 26,0 0-16,0 0 25,0 1-32,0-1 24,0 0-12,0 0 6,0 0-11,0 0-5,0 0-16,0 0 26,0 0-24,0 1 1,0-1-2,0 0-16,0 0-5,0 0 43,0 0-21,0 0 32,0 0-17,0 0-4,0 1 1,0-1 0,-1 0 0,1 0 0,-1 0 0,1 0 2,-1 0-1,0 0-3,1 0 3,-1 0-4,0 0 0,0 0 1,0 0-1,0 0 1,0 0 1,0 0 0,0 0 0,0 0 0,0 0 0,0 0 0,0 0-1,0 0 1,0 0 0,1 0 0,-1 0 0,0 0 6,0-1-5,0 1 6,0 0 35,0 0-30,0 0 33,0 0-41,0 0-4,0-1 5,0 1-3,0 0 6,0 0-12,1 0 7,-1 0-8,0 0 3,0 0 8,1 0-9,-1 0 9,1 0 6,-1 0-7,1 0 6,-1 0-6,1 0 0,0 0 1,-1 0-3,1 0 22,0 0-14,0 0 18,0 0-23,0 0 14,0 1-11,-1-1 12,1 0-12,-1 0-15,1 0 11,0 0-12,-1 0-26,1 1 30,-1-1-32,0 0 29,1 0 8,-1 0-12,1 0 13,-1 0-12,1 1 8,0-1-12,0 0 10,0 0 13,-1 0-8,1 0 15,0 0-15,0 0-20,0 1 13,0-1-17,0 0 16,0 0 6,1 0-5,-1 0 1,0 0 46,0 0-38,0 1 39,0-1-45,1 0 25,-1 0-18,1 0 26,-1 0-22,0 1 4,0-1-1,1 0 0,-1 1-28,0-1 23,1 0-24,-1 0 28,0 1-22,0-1 11,0 1-14,1-1 0,-1 0 13,0 1-16,0 0 17,0-1-4,0 1 3,0 0-4,0-1 7,0 1-6,0 0 6,0-1-4,0 1 17,0 0-11,0 0 11,0-1-14,0 1 6,-1-1-4,1 1 6,0-1-8,0 0 0,0 1 2,0-1 0,0 0-66,0 0 48,0 1-52,0-1 92,0 0-24,0 1 22,0-1-30,0 0 5,0 1-6,0-1 5,0 0-6,0 0 31,0 1-22,0-1 25,0 0-23,0 0-41,-1 0 31,2 0 33,-1 1-11,0-2 50,0 1-64,1 0 45,-1 0-31,0 0 40,1 0-59,-1-1 17,1 1-14,-1 0 21,0 0-19,1 0 19,-1 0-17,1 0-15,-1 0 20,1 0-29,0 0 32,-1-1-27,1 1 18,0 0-21,0 0 23,-1 0-9,1 0 7,0 0-6,0 0 5,0-1 27,0 1-18,0 0 21,0 0-14,1 0-7,-1 0 9,0 0-9,0 0-9,0 0 9,-1 0-7,1 0-7,1 0 9,-2-1-10,1 1 14,0 0-19,0 0 12,-1 0-15,1 0 15,-1 0-7,1 0 4,0-1-7,0 1 8,-1 0-2,1 0 1,0 0 1,-1 0 1,2 0-1,-2 0 1,1-1 0,0 1 0,0 0 0,0 0 0,0 0 0,0 0 1,-1-1-1,1 1 0,0 0 22,0 0-16,0 0 17,0 0-5,-1 0-11,1 0 14,0 0-24,0 0 8,-1-1-8,1 1 10,0 0-12,-1 0 9,1 0-9,-1 0 11,1 0-7,0 0 5,0 0-5,-1 0 3,1-1-7,-1 1 1,1 0-2,0 0 3,0 0 2,-1 0-2,1 0 1,0 0 2,-1 0 0,1-1 0,0 1-8,0 0 5,0 0-5,0 0 7,-1 0-4,1 0 2,0 0-3,-1 0 3,1-1 1,0 1-1,0 0 1,-1 0 3,1 0-2,-1 0 2,1 0 0,0-1-2,0 1 4,0 0-5,-1 0 4,1 0-2,-1-1 3,1 1-3,0 0 1,-1 0 0,1-1 0,-1 1-1,1 0 0,-1 0 1,1 0-1,-1 0-2,0-1 2,0 1-1,1 0-27,-1 0 20,0 0-22,1 0 28,-1 0-26,0 0 18,0 0-21,1 0 24,-1 0-7,1 0 4,-1 0-6,1 0 21,-1 0-13,1 0 14,-1 0-17,1 0 53,-1 0-38,0 0 39,1 0-26,-1 0-15,1 0 21,-1-1-23,0 1 17,1 0-12,-1 0 15,0 0-15,0 0-5,1 0 5,-1 0-6,0 0-16,0 0 18,1-1-20,-1 1 23,0 0-20,0 0 11,1 0-13,-1 0 14,0 0 2,1 0-5,-1 0 4,0 0 2,0 0-1,1-1 4,-1 1-5,0 0 6,0 0-4,1 0 5,-1 0-18,1 0 8,-1 0-9,0 0 13,0 0-24,1 0 17,-1 0-19,0 0 22,0-1-2,0 1 0,0 0-2,0 0-40,1 0 28,-2 0-29,1 0 39,0 0 21,0 0 9,0 0 6,0 0-38,0 0-5,0 1-33,0-1 29,-1 0 30,1 0-12,0 0 44,0 0-38,0 0 20,0 0-19,0 0 30,0 1-21,0-1 22,0 0 13,0 0-29,0 0 31,0 0-39,0 0 0,0 1 1,0-1 4,0 0-3,0 0-10,0 0 7,0 0-7,1 1 13,-1-1-25,0 0 18,0 1-20,1-1 1,-1 0 14,0 0-16,0 1 5,1-1 9,-1 0-11,0 0 9,1 1 2,-1-1-2,1 0 1,-1 0 1,1 1-1,-1-1 0,1 0 0,-1 0 1,1 1 0,-1-1 0,1 0 0,0 1 14,-1-1-10,1 1 12,-1-1-15,1 1 2,-1-1-1,1 0 3,0 1 13,-1-1-11,0 0 12,1 1-15,-1-1 13,1 0-7,-1 0 8,1 0-10,-1 1 8,0-1-3,1 0 4,0 0-12,-1 0 2,1 0-3,-1 0-11,1 0 12,-1 0-13,1 1 17,0-1-18,-1 0 13,0 0-14,1 0 12,-1 0-28,1 0 17,-1 0-20,1 1 27,-1-1 1,1 0-4,-1 0 2,1 0 1,-1 0-1,0 0 1,1 0 1,-1 0 1,1 0 1,-1 0 0,1 0 2,-1 0-4,1-1 5,0 1-5,0 0 4,-1 0-3,1-1 4,0 1-4,-1 0 1,1 0-1,0 0 0,-1-1-19,1 1 14,0 0-14,0 0 17,-1 0 0,1 0-1,-1 0 0,1 0 4,0-1-3,-1 1 2,1 0-3,-1 0 16,1 0-11,-1-1 13,1 1-18,0 0 29,-1 0-21,1-1 23,0 1-10,-1-1-10,1 1 13,-1-1-23,1 1 6,-1-1-6,1 1 9,-1 0-20,1-1 16,-1 1-16,0 0 20,0-1-16,1 1 10,-1 0-13,0-1 16,1 1-18,-1 0 12,0-1-16,0 1-6,0-1 11,1 1-13,-1 0 19,0-1-14,0 1 10,0 0-11,0-1-2,1 1 11,-1-1-12,0 1 11,0-1-23,0 1 17,0 0-21,0-1 22,0 1-35,0 0 23,0 0-23,0 0 11,0-1 17,0 1-23,0 0 36,0-1-14,0 1 14,-1 0-15,1 0 38,0 0-30,0-1 30,0 1-36,-1 0 27,1 0-13,0 0 14,0 0-14,0 0 34,-1-1-19,1 1 25,0 0-40,0 0 1,0 0-365,0 0 281,0 0-271,-1 0 366,1 0 0,0 0 0</inkml:trace>
  <inkml:trace contextRef="#ctx0" brushRef="#br0" timeOffset="169">1044 1490 9024,'1'0'-200,"-1"0"314,0 0 162,0 0-62,0 0 75,1 0-172,-2 1-27,1-1-8,0 0 18,0 0-19,-1 0 26,1 0-3,-1 0-11,0 0 12,0 0-12,0 0-10,0 0 9,0 0-1,0 0-57,-1 0-8,1 0-11,-1 0 11,1 0-11,-1 0-8,1 0-15,-1 0-26,0 0 28,0 0 1,1 0-8,-1 0 1,1 0 19,-1 1-27,1-1 11,-1 0 26,1 0-31,0 0 34,0 0-38,0 0 28,0 1-27,0-1 30,0 0 11,0 0-7,0 0 6,1 0-27,-1 0 8,0 0-9,0 0 13,1 1-16,-1-1 11,0 0-12,1 0 4,-1 0 9,1 0-9,-1 1 12,1-1-7,-1 0 4,1 0-6,-1 0 6,1 0 46,0 0-35,-1 0 35,0 0-73,1 0 22,-1 0-21,0 0 31,1 0-42,-1 0-8,0 0-6,0 1-14,1-1 54,-1 0-21,0 0 18,0 0-15,1 0 3,0 0-5,-1 0-2,1 0 35,-1 0-32,1 0 32,0 0 9,-1 0-22,1 0 32,-1 0-14,1 0-12,0 0 15,-1 0-15,1 0-16,-1 0 13,1 0-13,-1 0 15,1 0-45,0 0 33,0 1-33,-1-1 40,1 0-36,0 0 22,0 0-25,-1 0-44,1 0 51,0 0-47,0 0 112,0 0 27,1 0-2,-1 0-2,0 0 19,0 0-37,1 0 43,-1 1-27,0-1-27,1 0 33,-1 0-34,1 0-4,-1 0 6,1 0-1,-1 0-20,1 0 26,0 0-30,-1 0 28,1 0-48,0 0 32,-1 0-43,1 0 49,1 0 10,-2 0-11,2 0 12,-1 0-18,1 0-6,-1 0 7,1 0 15,-1 0-7,1 0 19,-1 0-23,1 0-36,-1-1 26,1 1-29,-1 0 38,1 0-42,-1 0-10,1 0-7,-1 0 11,1 0-33,-1-1 49,1 1-75,0-1 79,-1 1-24,1-1 24,0 1 15,-1-1-14,0 1 12,1 0-20,-1 0-31,0-1 24,0 1-21,-1 0 26,1 0-33,-1 0 24,1 0-23,-1 0 33,0 0-42,1 0 26,-1 0-35,0 0-3,0 0-16,0 0 2,1 0-1,-1 0 57,0 0-21,0 0 18,1 0 28,-1 0-26,0 0 29,1 0-46,-1 0 65,1 0-46,-1 0 58,0 0-63,1 0 26,-1 0-22,1 0 29,-1 0-15,1 0 5,-1 0 2,1 0-4,-1 0-10,1 0 7,-1 0-7,0 0 30,0 0-20,0 0 21,1 0-30,-1 0 73,0 0-49,0 0 54,0 1-56,0-1 67,0 0-41,1 0 47,-1 0-39,0 0-23,0 0 27,0 0 27,0 0-31,0 0 34,0 0-41,1 0 5,-1 0-1,0 0 3,0 0-4,0 0 55,0 0 22,0 0-2,1 0-4,-1 0 3,0 0-43,0 0 42,0 0-126,0 0 40,0-1-44,0 1 54,0-1-21,0 1 5,0-1-12,0 1-17,0-1 30,0 0-26,-1 1 34,1-1-35,0 1 24,0-1-35,0 0 17,-1 0 5,1 1-7,0-1 13,0 0-27,-1 0 18,1 1-21,0-1 28,0 1-33,0-1 22,-1 0-24,1 0 19,0 1 5,0 0-7,0-1 14,0 1-3,-1-1 5,1 1-10,0 0 49,0-1-36,0 1 39,0 0-46,0-1 47,0 1 11,0 0 8,0 0 96,0 0-107,0-1 84,0 1-100,0 0-11,0 0 5,0 0-3,1 0 9,-1 0-46,0 0 32,1 0-39,-1 0 48,0 0-49,1 0 33,-1 0-40,1 0 47,0 0-27,-1 0 19,1 0-25,0 0 23,0 0-10,0 0 8,-1 0-4,2 0 3,-1 0 1,0 0-1,0 0 18,0 0-11,0 0 12,0-1-16,0 1-15,0 0 11,-1 0-10,1 0 14,0 0-41,-1-1 29,1 1-33,-1 0 41,1 0-50,-1 0-11,0 0-8,0 0 4,0 0 35,0 0 150,1 0-98,-1 0 123,-1 0-127,1 0-12,0 1 12,0-1-12,-1 1-1,1-1 4,0 0-4,0 1 9,-1-1-21,1 1 17,0-1-19,0 0 18,0 1 18,0-1-17,-1 1 16,1-1-20,0 1 12,0-1-7,-1 1 8,1 0 0,0-1-5,0 1 7,0-1-27,0 1 16,-1 0-16,1 0 21,0-1-8,0 1 4,0-1-4,0 0 3,0 1-14,0-1 7,0 1-10,0-1 1,0 0 11,0 1-29,0-1 24,0 0-58,0 0-2,0 0-21,0 0 21,0 0 22,1 0 48,-1 0-22,0 0 56,0 0-49,0 0 28,0 0-34,0 0 49,0 0-30,0 0 33,1 0-23,-1 0-6,0 0 3,0 0-20,0 0 2,1 0-13,-1 0 19,0 0-2,0 0 0,0 0 4,0 0 31,0 0-25,0 0 27,0 0-5,0 1-18,1-1 21,-1 0-22,0 0 16,0 0-6,0 0 9,1 0 18,-1 0-24,0 0 28,0 0-32,1 0-7,-1 0 4,0 0-4,0 0 10,0 1-38,1-1 26,-1 0-32,0 0 21,1 0 8,-1 0-9,0 0 12,0 0 30,0 0-27,1 1 24,-1-1-17,0 0-7,0 0 9,1 0-11,-1 0 5,0 1-3,0-1 9,1 0-8,-1 0 21,0 1-15,0-1 16,0 0-9,1 0-2,-1 1 3,0-1-26,0 0 12,0 0-18,1 1 22,-1-1-30,0 0 20,0 1-21,0-1 25,0 1-19,0-1 14,0 0-18,0 1-6,0-1 18,0 0-24,0 1 28,0-1-18,0 1 13,0-1-13,0 1 60,0-1-34,0 1 36,0-1-45,0 1 23,0-1-15,0 1 17,-1-1-19,1 1 31,0-1-16,0 1 22,0-1-22,0 0-44,-1 1 35,1-1-37,0 0-4,0 0 30,0 1-37,-1-1-3,1 0 28,0 1-36,0-1 40,0 0-4,-1 0-2,1 1-1,0-1-1,0 0 9,0 0-9,0 0 7,0 0-6,-1 1 14,1-1-9,0 0 11,0 0-3,0 0-6,0 0 8,0 0-38,0 0 24,-1 1-24,1-1 29,0 0-3,0 0 0,0 0 0,0 0-2,-1 1 9,1-1 0,0 0 18,0 0-6,0 0 2,0 0 1,0 0 29,0 0 74,0 0-40,0 0 19,0 0-87,0 1-5,0-1-1,0 0 9,0 0-39,0 0 28,0 0-36,0 1 37,0-1-18,0 0 12,0 0-9,0 0 9,0 0 0,0 1 1,0-1 0,0 1-1,0-1 0,0 0 0,0 1 0,0-1 1,1 1 0,-1-1 0,0 1 5,0-1-3,0 1 5,0-1 41,0 1-34,0 0 36,1-1-24,-1 1 3,0 0 6,0-1-8,0 1-21,0 0 3,0-1 0,0 1 12,0 0-12,0-1 10,0 1-10,0-1 7,0 1-1,0 0 2,0-1-3,0 0-9,0 1 7,0-1-11,0 1 14,0-1-2,0 1 3,0-1-3,0 1 18,0-1-12,0 1 13,0-1-14,0 1 6,0-1-3,0 1 4,0-1-6,0 1-22,0-1 19,0 1-19,0 0-19,0-1 28,0 1-35,0-1 17,0 1 15,0-1-18,0 1 19,0-1-11,0 0 4,0 1-7,0-1 8,0 1 10,-1-1-9,1 1 8,0-1-8,0 1 2,0-1-1,0 1 1,0-1 0,0 1-1,-1-1 3,1 1-3,0-1-1,0 1 2,0-1-2,0 1 2,0-1-6,0 1 4,0-1-4,0 1 1,-1-1 3,1 1-3,0-1 3,0 1 0,0-1 0,0 1 1,-1-1-2,1 1 3,0-1-2,0 1 2,0-1 0,0 1-2,-1-1 3,1 1-2,0-1 1,0 1 0,0-1-1,0 1-27,0-1 20,-1 1-21,1 0 26,0-1-29,0 1 20,0 0-23,-1-1 28,1 1-3,0-1 1,0 1 4,0 0 6,-1 0-6,1-1 4,0 1 8,0-1-12,-1 1 14,1-1-17,0 1 16,0-1-11,0 1 15,-1-1-15,1 1 8,0-1-6,0 0 7,0 1-7,-1-1 2,1 0-2,0 1 1,0-1-1,-1 1 0,1-1 0,0 1 0,0-1 0,-1 1 0,1-1 0,0 1 0,-1-1 0,1 1 0,0-1 0,-1 1 0,1-1 0,0 1 0,-1-1 0,1 1-1,-1-1 1,1 1 0,0-1-7,0 0 5,-1 1-5,1-1 7,0 0-1,0 0 1,-1 0-1,1 0 8,0 1-5,0-1 6,0 0-8,0 0 7,-1 0-5,1 0 7,0 0 0,0 1-6,0-1 7,-1 0-17,1 0 6,0 0-6,-1 0 10,1 0-7,0 1 5,0-1-5,0 0 6,0 0-59,-1 0 38,1 0 2,0 0 84,0 0-8,0 0 5,0-1-64,0 1 5,0 0-4,0 0 9,0 0-16,0-1 13,0 1-13,0 0 19,0-1-8,0 1 8,1 0-8,-1-1 41,0 1-27,0-1 27,0 1-14,0-1-19,0 1 19,0-1-20,1 1 30,-1-1-15,0 0 19,1 1-21,-1-1-26,0 0 21,0 0-19,1 0 0,-1 0 13,0 0-16,0 1 21,1-1-22,-1 0 15,0 0-17,0 0-17,0 0 25,1 1-28,-1-1 29,0 0-29,0 0 16,0 1-23,0-1 31,0 0-5,0 0 5,1 1-3,-1-1-2,0 0-13,0 1 7,0-1-9,1 0 20,-1 1-4,0-1 4,0 0-22,0 0 13,0 1-13,0-1 17,0 1-12,0-1 7,0 0-9,0 1 11,1-1 15,-1 1-11,0-1 11,0 1-16,0-1 19,0 0-14,0 1 18,0-1-6,0 1-8,0-1 8,0 0-9,0 1 2,0-1 3,0 0-2,0 1-14,0-1 8,0 1-10,0-1 14,0 1-3,0-1 1,0 1-3,0-1 2,0 1 11,0-1-7,0 1 6,0 0-8,0-1-2,0 1 2,0-1 0,0 1-61,0-1 44,0 1-46,0-1 58,0 1-6,0 0 2,0 0-4,0-1 18,0 1-8,0 0 4,0 0-16,0-1 28,0 1-21,0 0 25,0 0-4,0 0-17,0 0 22,0-1-23,0 1 17,0 0-9,0 0 9,0 0-4,0 0-6,0 0 5,0-1-5,0 1 0,0 0 0,0 0 0,0 0 31,0-1-22,0 1 24,-1 0-31,1 0-1,0 0 1,0 0 1,0-1-13,0 1 11,0 0-11,0 0 14,0-1-24,0 1 17,0 0-19,0 0 22,0 0-2,0 0-1,0-1-1,0 1-2,0 0 3,0 0-7,0 0 6,0-1-26,0 1 11,0 0-13,0 0 14,-1 0 22,1 0-14,0 0 14,0 0 16,0 0-19,0-1 23,0 1-29,0 0 12,0 0-7,-1 0 9,1 0-1,0 0-7,0 0 10,0-1-12,0 1 6,0 0-6,0 0 6,0 0-8,0-1 5,0 1-5,0 0 5,0 0 2,0 0-3,0 0 1,0 0-2,0 0-15,0-1 11,0 1-36,0 0 31,0 0-19,0 0 5,-1 0 14,1 0-16,0 0 18,0 0-3,0-1 2,0 1-6,0 0 4,0 0 17,0 0-11,0 0 15,0 0-4,0 0-9,-1 0 11,1 0-12,0-1-9,0 1 9,0 0-9,0 0-38,0 0 32,0 0-38,0 0 49,0 0-24,0-1 16,0 1-20,0 0 44,0 0-19,0 0 19,0 0-26,0 0 0,0-1 3,0 1-2,0 0 5,-1-1 9,1 1-6,0 0 7,0 0 19,0-1-23,0 1 25,0 0-26,0 0 8,0-1-6,0 1 5,0 0-5,0-1-34,0 1 24,0 0-25,0 0 32,0-1 2,0 1-3,0 0 5,0 0-4,0-1-1,0 1-3,0 0 2,0 0-3,0 0 4,0-1-3,1 1-83,-1 0 21,0 0-35,0 0 69,0 0 19,0 0 173,0 0-125,0 0 125,0 0-136,0 0 8,-1 0-5,1 0 5,0 0-10,-1 1 25,1-1-16,-1 0 18,1 0-31,-1 0 3,1 1-5,-1-1 9,0 0 11,1 0-8,-1 0 11,0 1 6,0-1-11,0 0 15,0 0-19,0 0 42,0 0-31,0 0 31,0 0-38,0 0-3,-1 0 4,2 0-2,-2 0-6,2 0 5,-1 0-1,-1 0 12,1 0-31,0 0 22,0 0-29,0 0-22,0 0 35,-1 0-41,1 0 49,0 0-34,0 0 24,0 0-32,1 0 35,-1 0-18,0 0 13,0 0-12,0 0 7,0 0 2,1 0-3,-1 0 2,1 0-2,-1 0 1,1 1-1,-1-1 39,0 0-26,1 0 27,-1 0-34,1 0-10,-1 0 7,0 0-7,0 0 11,1 0-14,-1 0 9,0 1-9,0-1-47,0 0 44,1 0-47,-1 0 56,0 0-77,1 0 13,-1 0-69,1 0-10,0 0 28,0 0-52,0 0 86,-1-1-268,1 1 107,0 0-187,0 0 131,0 0 157,-1 0 29,1 0 112,-1-1 0,0 1 0</inkml:trace>
  <inkml:trace contextRef="#ctx0" brushRef="#br0" timeOffset="170">498 1504 9502,'0'-1'-1148,"0"1"1154,1 0-38,-1 0 56,0 0 0,0 0 16,0 0 14,0 0-40,0 0-12,0 0 19,0-1-17,0 1 20,0 0-4,0 0 3,0 0 25,0 0-25,0 0 25,0 0 25,0 0 15,0-1 27,-1 1-15,1 0-41,0 0 75,0 0-67,0 0 142,0 0 185,0 0-184,0 0 162,0 0-315,0 1-51,0-1 37,0 0-36,1 0 41,-1 0 41,0 0-37,1 0 32,-1 0-41,1 0-46,-1 0 31,0 0-33,1 0-25,-1 0 54,1 0-57,-1 0 6,0 0 41,1 0-46,0 0 53,-1 0-15,0 0 2,1 0-4,-1 0-7,0 0 34,1 0-35,-1 0 30,1 0-12,-1 0 1,0-1 8,0 1-9,1 0 22,-1 0-17,0 0 19,0-1-36,0 1-1,0 0-2,1 0 3,-1-1 29,0 1-11,0 0 12,0-1-18,0 1 5,0 0-6,0-1 3,0 1-4,0-1 2,0 1-3,0-1-18,0 1 13,0-1-14,0 0 23,0 1-27,0-1 20,0 0-23,0 0 25,0 0-43,0 1-11,0-1-10,0 0 14,0 0-19,0 0-10,0 0-12,0 0-81,0 0 63,0 0-82,0 0 70,0 1 41,0-1 38,0 0 32,-1 0 0,1 1 0</inkml:trace>
  <inkml:trace contextRef="#ctx0" brushRef="#br0" timeOffset="171">558 1489 9502,'0'-1'-213,"1"0"65,-1 1 100,0 0-17,0 0 34,0 0-41,0 0 3,0 0 61,0 0-30,0 0 5,-1 1 42,1 0-45,-1-1 56,1 1-60,-1 0-13,1 0-15,-1 0 17,0-1-12,1 1-11,-1 0-11,1 0 22,-1-1 51,1 1 12,0-1 0,-1 1 0</inkml:trace>
  <inkml:trace contextRef="#ctx0" brushRef="#br0" timeOffset="172">986 1518 8847,'0'0'-492,"-1"0"492,1 0 81,0 0 607,0 0-400,0 0 429,0 0-606,1 0 18,-1 0 3,1-1 1,-1 1-32,1 0-36,-1 0 26,0 0-11,1-1-31,-1 1-13,1 0-20,-1 0-47,1-1 35,-1 1 7,1 0-5,0 0 27,-1 0-37,1-1 9,0 1-10,0 0 60,0 0-30,0 0 24,0 0-35,0-1 32,0 1-23,0 0 27,0 0-12,0 0 2,0 0 1,0 0-55,0 0 38,0 0-35,0-1 46,0 1-61,0 0 39,0 0-47,0 0 57,0 0-38,0 0 21,0 0-26,0 0 27,-1 0 5,1-1-11,0 1 0,0 0 40,0 0-28,0 0 31,-1 0-43,1 0 4,0 0 0,-1 0 8,0 0-21,1 0 14,-1 0-16,1 0 22,-1 0-47,0 0 35,1 0-41,0 0 22,-1 0 13,0 1-17,1-1 17,-1 0 5,1 0-10,-1 0 9,1 0 2,-1 0-3,0 0 5,1 0-7,-1 0 11,1 0-7,-1 0 10,1 0-13,-1 0 45,0 0-32,1 0 35,-1 0-42,0 0 3,1 0-3,-1 0 4,0 0-13,0 0 12,0 0-12,1 0-19,-1 0 23,0 0-23,1 0 29,-1 0-20,0 0 13,1 0-19,-1 0 21,0 0-22,1 0 16,-1 0-19,1 0 27,-1 0-9,0 0 7,1 0-7,-1 0-11,1 0 8,-1 0-6,1 0-11,-1 1 14,0-1-14,1 0 19,-1 0 5,0 0-3,1 0 1,-1 0-7,0 0-44,1 0 29,-1 0-28,1 0 41,-1 0 18,0 0-17,1 0 15,-1 0-12,0 0-3,1 0 8,-1 0 22,0 0-23,0 0 25,1 0-31,-1 0 27,0 0-17,0 0 19,0 0-20,1 0-3,-1 0 7,0 0-2,0 0 3,-1 0 0,1 0 0,0 0 0,0 0 0,0 1 0,0-1 16,0 0-12,-1 0 13,1 0-16,0 0 18,0 0-11,0 0 13,0 1-17,0-1 10,0 0-7,0 0 18,0 0-15,0 0 9,0 0-10,0 0 3,0 1-4,0-1 4,0 0-3,0 0-18,0 0 15,0 1-18,0-1 20,0 0-17,0 0 13,0 0-16,0 1 17,0-1-8,0 0 5,0 0-8,0 1 37,0-1-24,0 0 23,0 1-22,0-1-3,0 0 7,0 1-6,0-1-8,0 0 5,0 1-5,0-1 8,0 0-3,0 0 2,0 0-3,0 0 16,1 0-9,-1 1 9,0-1-13,0 0-5,0 0 3,0 0-3,1 0-5,-1 1 7,0-1-6,0 0 10,0 0-11,0 0 7,1 0-8,-1 0 10,0 1-7,0-1 3,0 0-4,0 0 2,0 0 1,0 1-1,1-1 39,-1 0-26,0 0 29,0 0-37,0 0 33,1 1-21,-1-1 23,0 0-26,0 0 33,0 1-18,0-1 21,0 0-59,0 0 20,1 0-19,-1 0 29,0 0-35,0 1 24,0-1-28,0 0 6,0 0 16,0 0-20,0 1 20,0-1-9,0 0 2,1 1-4,-1-1 5,0 0 4,0 0-5,0 1 4,0-1 1,0 0 0,0 1 1,0-1-1,0 0 26,0 1-19,0-1 20,0 1-24,0-1 1,0 0-1,0 0 2,0 1 43,0-1-30,0 0 33,0 1-40,0-1 14,0 0-7,0 1 8,0-1-4,0 0-6,0 0 8,0 1-8,0-1 17,0 0-13,0 1 14,0-1-37,0 1 17,0-1-18,0 1 21,0-1-34,0 0 23,0 0-27,0 1 33,0-1-27,0 1 19,-1-1-23,1 0 12,0 1 7,0-1-10,0 0 10,0 1 0,0-1-4,0 0 3,0 1 13,0-1-8,-1 1 9,1-1-12,0 0 45,0 0-31,0 1 36,0-1-45,0 0 10,0 1-7,0-1 11,0 1-12,0-1 5,0 0-4,0 1 5,0-1-25,0 0 19,0 1-19,0-1 10,0 0 10,0 1-14,0-1 13,0 1-25,0-1 18,0 0-22,0 1 25,0-1-19,0 0 13,0 1-14,0-1 8,0 0 3,0 1-5,-1-1 7,1 0-7,0 1 4,0-1-5,0 0 3,0 1 4,-1-1-4,1 1 4,0 0-1,0-1-1,0 0 1,0 1-2,0-1-5,-1 1 4,1-1-4,0 1 16,0-1-6,-1 0 7,1 1-10,0-1 10,0 1-7,-1 0 8,1-1-10,0 0 7,0 1-5,0-1 6,-1 1-2,1-1-2,0 1 2,0-1-2,0 0-4,0 1 5,0-1-5,-1 0 4,1 0-33,0 1 23,0-1-24,0 0-21,0 1 37,0-1-43,0 1 66,-1-1-16,1 0 15,0 1-19,0-1-1,0 1-2,0-1 1,0 0-1,-1 1 22,1-1-14,0 0 15,0 1-16,0-1-1,0 1 6,0-1-4,0 1 4,0-1-4,0 0 2,0 0-16,0 1 11,0-1-12,0 1 13,0-1 21,-1 0-16,1 1 16,0-1-17,0 0 12,0 0-8,0 1 9,0-1-5,0 0-6,0 0 9,0 0-9,0 1 16,0-1-11,0 0 12,0 0-5,0 0-6,0 0 10,0 1-11,0-1 2,0 0 5,0 0 6,0 0 1,0 0 16,0 0-19,0 0 5,0 0-5,1 0-9,-1 0 10,0 0-8,0 0-3,0 0 0,0 0-9,0 0 12,0 0-17,1 0 13,-1 1-10,0-1 10,0 0-2,0 0 1,0 0 2,1 0-1,-1 0 2,0 0-1,0 0 0,0 0 1,0 0 0,0 0 0,0 0-1,1 0 1,-1 0-1,0 0 13,0 0-8,0 0 9,0 0-12,1 0 30,-1 0-20,0 0 22,0 0-26,0 0-3,1 0 5,-1 0-17,0 0 13,0 0-12,1 0 15,-1-1-7,0 1 5,0 0-5,1 0 3,-1-1-11,0 1 7,0 0-8,0 0 8,1-1-1,-1 1-2,0 0 1,1 0 11,-1-1-6,0 1 7,0 0-13,1-1 3,-1 1-3,0-1 5,0 0-5,0 1 3,1 0-4,-1-1 5,0 0-4,0 0 3,0 1-4,1-1 5,-1 1 6,0-1-5,0 0 5,0 1 12,1-1-14,-1 0 15,0 1-18,0-1 0,0 0 2,1 1-1,-1-1-6,0 0 5,0 1-6,1-1 8,-1 1-9,0-1 6,0 0-7,0 1-14,0-1 15,0 1-17,1-1 19,-1 1 1,0-1-3,0 0 2,0 1 1,0-1-1,0 0 1,0 1-1,0-1 3,1 1-2,-1-1 4,0 1-5,0-1 26,0 1-18,0-1 21,0 1-27,0-1 4,0 1-3,0-1 3,0 0-6,0 1 5,0-1-6,0 1 1,0-1 3,0 1-4,0-1 6,0 1-4,0-1 3,0 1-4,0-1 3,0 1-4,0-1 2,0 0-3,1 1 3,-1-1 0,0 1 0,0-1-11,0 1 8,0 0-9,0-1 11,0 1 3,0-1-3,0 1 3,0-1-4,0 1 5,0-1-4,0 0 4,0 1-5,0-1 3,0 1-2,0-1 3,0 1 1,0-1-3,0 0 4,1 1-4,-1-1 3,0 1-2,0-1 3,0 1-3,0-1 1,0 1-1,0-1 0,0 1-8,0 0 5,0-1-5,0 1 7,0-1-6,0 1 4,0 0-4,0-1 5,0 1 0,0 0-1,0 0-1,1-1 0,-1 1 0,0-1 0,0 1-10,0 0 7,0-1-8,0 1 10,0 0-20,0-1 15,0 1-14,0 0 17,0 0 10,0 0-7,0-1 7,0 1-3,0 0-6,0 0 5,0-1 1,0 1-5,0 0 6,0 0-7,0 0 13,0-1-9,0 1 11,0 0-11,0 0-12,0-1 9,0 1-9,0 0 12,0-1-4,0 1 3,0 0-4,0 0-12,0-1 10,0 1-11,0 0-3,0 0 13,0 0-15,0 0 18,0-1 7,0 1-5,0 0 3,0 0-7,0 0 17,0 0-12,0 0 14,0 0-18,0 0 11,0-1-8,0 1 9,0 0-9,0 0 4,0 0-4,0 0 7,0 0-17,0-1 12,0 1-12,0 0 12,0 0 2,0 0-3,0-1 2,0 1 1,0 0-2,0 0 2,0 0-4,0 0-2,0-1 1,0 1 0,0 0 1,0 0 16,0 0-11,0 0 12,0 0-13,0-1 5,0 1-3,0 0 4,0 0-4,0 0 0,0 0 1,0 0-1,0-1 0,0 1 1,0 0 0,0 0-11,0 0 8,0 0-10,0 0 3,0 0 15,0-1 37,0 1 7,0 0 16,0 0-26,0 0-10,0 0-10,0 0 22,0 0-1,0-1 13,0 1-10,0 0-44,0 0-29,0 0-35,0 0 22,0 0-21,0 0 45,0-1-16,0 1 20,0 0-4,0 0 27,0 0-27,0 0 24,0 0 29,0-1-33,0 1 40,0 0 10,0 0-38,0 0 47,0 0-120,0 0 57,0 0-83,0-1 83,0 1-31,0 0 19,0 0 4,0 0-10,0 0 69,0 0-41,0 0 46,0-1-41,0 1-7,0 0-5,0 0 9,0 0 6,0 0-4,0 0 9,0 0-21,0-1-5,0 1 5,0 0-10,0 0 0,0 0 8,0 0-11,1 0 10,-1 0-2,0 0 1,0-1 0,0 1-26,1 0 19,-1 0-20,0 0 27,0 0-20,0-1 14,0 1-16,0 0 16,0 0-10,1 0 5,-1 0-7,0-1 5,0 1 22,0 0-16,0 0 18,0 0-3,0-1-11,0 1 13,1 0-29,-1 0 10,0 0-8,0 0 13,0 0 4,0 0-4,0-1 2,0 1-3,0 0 9,0 0-5,0-1 5,0 1-15,0 0 2,0-1-3,0 1 14,0 0-4,0 0 7,0 0-9,0-1 15,0 1-10,0 0 12,0-1-14,0 1-1,0 0 0,0 0-1,0-1 2,0 1 7,0 0-4,0-1 5,0 1-2,0 0-2,0 0 4,0 0-4,-1-1-1,1 1 1,0 0-2,0 0 4,0-1-4,-1 1 4,1 0-3,0 0 15,0 0-11,0-1 13,-1 1-16,1 0 2,0 0-1,-1 0 0,1 0-2,0 0 2,0 0-1,-1 0-10,1 0 9,0 0-9,0 0 11,-1-1-53,1 1 39,0 0-43,0 0 53,-1 0-152,1 0 33,0 0-104,0 0 129,0 0 44,0 0 53,-1-1 0,1 1 0</inkml:trace>
  <inkml:trace contextRef="#ctx0" brushRef="#br0" timeOffset="173">559 1492 9028,'0'1'-394,"0"-1"456,0 1-44,-1-1-16,1 1 10,-1 0-12,1-1 17,-1 1-29,1 0 20,-1-1-21,0 1-16,0 0 30,0 0-31,0 0-23,1-1 42,-1 0-46,1 1 54,0-1-52,0 1 28,0-1-40,0 0 48,1 0-4,-1 0 8,0 0 20,1-1-16,-1 1 20,0 0-28,1 0 58,-1 0-40,0 0 167,1 0-92,-1 0 66,0 0-74,0 0-29,0 1-2,-1-1 4,1 0-2,0 0-38,0 1 33,-1-1-32,1 0 34,0 0-46,0 1-11,0-1-102,0 0 68,0 0-39,0 0 107,-1-1-16,1 1 17,0 0 168,0 0-140,0 0 141,0 0-150,0-1-24,0 1 30,0 0 16,1-1-34,-1 0 41,0 0-49,0 0-2,0 1 2,0-2 2,0 1 5,0 1-64,0-1 48,0 0-52,0 0-11,0 0 51,0 1-55,0-1 62,0 1-38,0 0 15,0-1-22,0 1-41,0 0 57,0-1-66,0 1 74,-1 0-77,1 0 58,0 0-61,0 0 86,0 0-2,0-1 20,0 1 0,0 0 0</inkml:trace>
  <inkml:trace contextRef="#ctx0" brushRef="#br0" timeOffset="174">560 1514 9502,'0'-1'-790,"0"1"830,1 0 66,-1 0 6,0-1-106,0 1 33,0 0-32,0 0 40,0-1-1,0 1-5,0 0-75,0 0 52,0 0-54,-1 0 3,0 0 44,1 1-54,-1 0 13,0-1 26,1 1-32,-1 0 39,0 0-6,0 0-1,1 0-1,-1-1-3,1 1 4,-1 0-7,1-1 5,0 1 2,0-1 3,0 0 1,0 0 48,1 0-36,0 0 40,-1-1 11,1 0 18,0 0 2,0 1-6,0-1-2,0 0-30,-1 0 39,1 0-39,-1 1-23,1-1 27,-1 1-24,0-1 35,1 1-64,-1 0 2,-1-1-59,1 2 31,0-1-41,-1 1 63,0 0-33,0 0 36,0 0-3,1 0-5,-1 0 1,0 0 4,1-1 8,-1 2-5,1-1 5,-1-1-2,1 1 32,0-1-22,0 1 24,0-1-29,0 0-1,0 0 2,0 0 0,1 0 51,-1 0-37,1-1 41,0 1-26,-1-1-13,1 0 19,-1 0-24,1 0-7,-1 0 4,0 1-6,1-1-40,-1 0 38,0 1-40,0-1 52,0 1-57,0-1-17,0 1-3,0-1-4,0 1 0,0 0 23,0-1-31,0 1 58,0-1-1,0 1-3,0 0-5,0-1 25,0 1-15,0-1 24,0 1-35,0 0 7,0-1-5,0 0 12,0 1-44,0-1 35,0 1-37,0-1-45,0 0 16,0 1-81,0 0 99,0-1 8,0 0 60,0 0 0,1 0 0</inkml:trace>
  <inkml:trace contextRef="#ctx0" brushRef="#br0" timeOffset="175">2374 1607 9502,'3'0'59,"-2"0"-10,1 0-87,-1 0 90,0 0-29,1 0 69,-1 0-33,0 0-14,1 0 28,-1 0-24,1 0 2,0 0 28,-1 0-32,1 0 29,0 0-52,1-1 45,-2 1-55,1-1 61,1 1-77,-1 0 51,0-1-51,0 1 68,0 0-50,0 0 38,0 0-44,0 0-33,0 0 38,0 0-41,0 0-10,0 0 59,0 0-65,0 0 70,-1 0 7,1 0-2,0 0 2,0 0-10,0 0 22,0 0-18,1 0 23,-1 0-44,0 0 12,1 0-11,-1 1 19,0-1-8,1 0 9,-1 0-4,-1 0 9,2 0-55,-2 0 35,1 1-43,0-1 4,-1 1-8,1 0-12,-1 0 16,0-1-19,0 2 42,0-1-49,0-1 46,0 1 15,0 0-17,0 0 57,0 0-45,0-1 28,0 1-34,0-1 29,1 0-17,-1 0 21,0 0-18,1 0 22,0 0-8,-1 0 14,1-1-16,0 1-13,0-2 12,0 0-10,1 0-22,-1-1 19,0 1-22,0-2 26,0 0-26,1 0 19,-1 0-24,1-1 13,-1 0 4,1 0-8,0-1 10,-1 1-19,1-1 11,0 1-12,-1-1 14,0 1-44,0 0-19,0 0 1,0 1-117,0 0 76,-1 0-122,0 1-75,0 0 39,0 1-70,-1 0 77,0 1 144,1-1 9,-2 1 107,1 0 0,-1 0 0</inkml:trace>
  <inkml:trace contextRef="#ctx0" brushRef="#br0" timeOffset="176">497 1503 8355,'0'0'-23,"1"0"68,-1 0-48,0 0 63,0 0 33,0 0-51,0 0 61,0 0 1,1 0-49,-1 0 55,0 0-64,0 0 66,0 0 11,0 0 49,0 0-17,0 0-47,0-1 46,0 1-43,0 0 17,0 0-32,0 0-29,0 0-40,0 0 29,0 0-33,0 0 13,0 0 15,-1 0-14,1 0 17,0 0-43,0 0 29,-1 0-40,1 0 46,0 0-61,0 0 43,-1 0-48,1 0 56,0 0-41,0 0 30,-1 0-31,1 0 5,0 0 19,0 0-25,0 0 4,-1 0 15,1 0-17,0 1 21,-1-1 14,1 0-14,0 1 12,-1-1-14,1 0-11,0 0 8,0 1-9,0-1 28,-1 0-10,1 1 11,0-1-15,0 0 9,0 1-6,0-1 8,-1 1-10,1-1-22,0 1 18,0-1-20,0 0-7,0 1 20,0-1-25,0 0 31,0 1-13,-1-1 7,1 1-8,0-1 4,0 1-11,0-1 1,0 0-3,0 1 20,0-1-3,0 1 5,0-1-9,0 1 15,0-1-10,0 1 13,0-1-8,0 1 2,-1-1 1,1 1 0,0-1-13,0 0 6,0 1-5,0-1 6,0 1-9,0-1 7,0 1-9,0-1-2,0 0 6,-1 1-8,1-1 9,0 0 55,0 1-40,0-1 41,0 0-34,-1 0-11,1 1 16,0-1-16,0 0-22,0 1 16,0-1-15,0 0 21,0 1-3,0-1 2,0 1-4,0-1 13,0 0-10,0 1 7,0-1-15,0 1 35,0-1-28,0 1 29,0-1-7,0 0-15,0 1 22,0-1-22,1 0 68,-1 0-48,1 1 53,-1-1-65,1 0 58,-1 1 15,1-1 6,0 1 30,0-1-77,0 0 27,0 1-29,0-1 8,0 0-3,0 1 5,0-1-82,0 0-18,1 0-2,-1 0 18,1 1-362,0-1 301,0 0-328,0 0 407,1 0 0,0-1 0</inkml:trace>
  <inkml:trace contextRef="#ctx0" brushRef="#br0" timeOffset="177">844 1523 9502,'0'-1'-1045,"0"1"999,0 0 14,0 0 3,0-1 32,0 1-37,0 0 45,0 0-25,0 0 16,0-1-17,0 1 8,0 0 9,0 0-9,0 0 4,0-1 2,0 1-5,0 0 4,0 0 0</inkml:trace>
  <inkml:trace contextRef="#ctx0" brushRef="#br0" timeOffset="178">860 1523 9502,'1'0'-408,"-1"1"318,0-1 148,0 0-40,1 0 93,-1 0-93,0 0 254,0 1-193,0-1 205,0 0-215,-1 0 1,1 0 5,-1 0-15,1 0-32,-1 0 12,0 0-11,0 0-23,0 0-16,0 0-4,0 0 10,0 0-7,-1 0-9,1 0-14,0 0 16,-1 0-9,2 0-8,-2 0-25,1 0-64,0 0 41,0 0-63,0 0-63,1 0 42,-1 0-57,1 0 70,-1 0-20,1 0-55,0 0 93,0 0-8,0 0 144,1 0 0,0 0 0,0 0 0,0 0 0,0 0 0,1 0 0,-1 0 0,0 0 0,0 0 0,1 0 0,-1 0 0,0 0 0,0 0 0,0-1 69,-1 1 21,1 0 16,-1 0 58,1 0-72,-1 0 60,0 0 144,0 0-161,0 0 156,0 0-223,-1 0 41,0 0-34,0 0-14,0 0 16,0 0-25,-1 0 38,1 0-73,0 0-15,0 1 0,-1-1-69,1 0 47,-1 0-30,1 0-37,0 1 95,0-1-31,0 0 38,-1 0-13,2 0-4,-2 1-6,1-1 7,0 0-15,0 0 6,0 1-10,1-1 18,-1 0-34,1 0-18,-1 0 4,1 0 3,-1 0 43,1 0 2,0 0-5,0 0 4,0-1-10,0 1 18,0 0-173,0 0 164,0 0-166,0 0 230,0 0-69,0 0 31,-1 0 11,1 1-27,0-1 41,0 0-38,0 0-8,0 0 2,0 0-8,0 0 8,0 0 32,0 0-23,0 0 29,0 0-43,0 1 4,0-1-2,0 0 5,0 0 0,0 0 2,0 0-2,0 0 3,0 0-1,0 1 31,0-1-22,0 0 22,0 0-28,0 0 37,0 1-28,0-1 32,0 0-37,0 0 51,0 0-36,0 0 43,0 1-51,0-1 39,0 0-25,1 1 31,-1-1-63,0 0 24,0 1-25,0-1 17,0 1 11,0 0-11,0-1 14,0 1-50,0-1 33,0 1-37,1 0 47,-1-1-46,0 1 33,0 0-43,0-1 44,0 1-52,0-1-5,1 0-9,-1 1 15,0-1-19,0 0-10,0 1-12,0-1 4,0 0 45,0 0 1,0 1 31,0-1-15,0 0 14,0 0-28,0 1 38,0-1-49,0 0-7,0 0 5,0 0-25,0 0 74,0 0 89,0 0-54,0 0 65,0 0-79,0 0-30,0 0 13,0 0-4,1 0 30,-1 1-11,0-1 8,0 0-22,0 0 23,0 0-16,0 0 16,0 0-20,1 0-2,-1 1-2,0-1 3,0 0-2,0 0 6,0 0 11,1 0-8,-1 0 7,0 0-13,1 0 39,-1 0-30,0 0 31,1 0-23,0 0-21,0 0 22,-1 0-21,1-1 34,0 1-15,0 0 18,0-1-79,1 1 45,-1 0-43,0-1 53,1 1-53,-1-1 33,1 1-40,-1 0 45,1 0-34,0-1 21,-1 1-29,1 0 15,0 0 8,-1 0-11,1 0 9,-1-1 5,1 1-8,-1 0 7,1 0 4,-1 0-2,0 0 3,0 0-3,1 0-7,-1 0 6,0 0-6,0 0 7,0 0-4,0 0 3,1 0-2,-1 0 4,0-1 0,0 1 1,0 0-3,1 0 20,-1 0-15,0-1 16,0 1 14,0-1-24,1 1 28,-1 0-33,1-1-1,-1 1 1,0-1 2,0 1 1,0 0-8,1-1 6,-1 1-9,0-1 12,0 1 42,0 0-30,0-1 30,0 1-26,0-1-12,0 1 12,0 0-10,0 0 0,0-1 6,0 1-5,0 0-54,0 0 38,0 0-40,0-1 56,-1 1-53,1 0 37,0 0-44,0 0 50,-1 0-82,1 0 11,0 0-71,-1 0-289,1 0 287,-1 0-227,0 0 367,0 0 0,0 0 0</inkml:trace>
  <inkml:trace contextRef="#ctx0" brushRef="#br0" timeOffset="179">983 1533 8226,'0'-1'179,"0"1"-151,0 0 55,0 0-66,0-1 49,0 1 13,0 0 2,0 0 39,-1 0-35,1-1 17,0 1-9,0 0-22,0-1-13,0 1 18,0 0-23,0 0 29,0-1-18,0 1 14,0 0-14,0 0-4,0-1 2,0 1 8,0 0 32,0 0-21,0-1 18,0 1 282,0 0-281,0 0 272,0 0-353,0 1 54,0-1-126,0 1 32,0-1-122,0 0 114,-1 1-49,1-1 101,0 1-54,0-1 41,0 1-4,0-1-2,0 1 5,0-1 8,0 1-8,-1-1 6,1 1-4,0 0 30,0-1-18,-1 1 20,1-1-12,0 1-10,0-1 12,-1 1-13,1-1-14,0 1 9,0-1-10,0 1-18,0 0 24,-1-1-25,1 1 31,0-1-26,0 0 17,0 1-19,-1-1 19,1 1-1,0-1-3,0 0 1,-1 0-11,1 1 10,0-1-11,0 0 12,0 1 21,-1-1-15,1 0 17,-1 0-17,1 1-3,0-1 4,-1 0-2,1 0 16,-1 1-10,1-1 11,0 0-16,0 0-1,-1 0 2,1 0-1,0 0-8,0 0 9,-1 0-10,1 0 10,0 0-10,0 0 6,0 0-8,-1 0-6,1 0 12,0 0-15,0 0 18,0 0-16,-1 0 12,1 0-14,0 0 14,-1 0-12,1 0 9,-1 0-9,1 0 7,0 0 0,-1 0-1,1 0 2,-1 0 26,1 0-20,0 0 21,-1 0 33,1 0-42,-1-1 48,1 1-58,-1 0 39,1 0-27,-1 0 33,1-1-37,0 1-19,-1 0 16,1 0-13,-1-1-9,1 1 24,-1 0-27,1 0 29,0 0-8,-1-1 0,1 1-2,-1 0-25,1 0 22,0 0-24,-1 0 28,1 0-17,-1 0 13,1-1-13,-1 1 11,1 0 5,-1 0-3,1 0 5,0 0 15,0 0-16,-1 0 17,1-1-19,-1 1-8,1 0 6,0 0-5,-1 0 0,1 0 8,-1 0-7,1 0 8,-1 0-17,1 0 11,0-1-14,-1 1 15,1 0-9,0 0 4,-1 0-7,1 0 5,-1 0 18,1 0-15,-1 0 18,1-1-16,0 1 4,0 0-3,-1 0-5,1-1 4,-1 1-4,1 0 6,-1-1-4,1 1 3,-1 0-3,1-1 3,0 1-14,-1 0 9,1-1-10,-1 1-22,1-1 26,0 1-28,-1 0-163,1-1 41,-1 0-125,1 1 90,-1 0-258,0-1 68,1 1-187,-1-1 316,1 1 112,-1 0 142,0-1 0,1 0 0</inkml:trace>
  <inkml:trace contextRef="#ctx0" brushRef="#br0" timeOffset="180">726 1539 9502,'0'0'-1147,"0"-1"1147,0 1 0,0 0-24,-1 0 70,1 0-49,0 0 116,0 0-31,0-1 5,0 1-10,0 0 19,0 0-44,0 0 129,0 0-16,0 0 44,0 0 48,0 0-33,0 0-17,0-1 25,0 1-104,0 0 22,0 0-67,0 0 27,0 0 28,0 0-29,0 0 20,0 0-57,0 0 9,1 0-23,-1 0 15,0 0-17,1 0 24,-1 0-50,0 0 33,1 0-29,-1 1 15,0-1 23,1 0-30,-1 0 23,1 0-17,-1 0 20,1 0-20,0 1 5,-1-1-30,1 0 12,0 0-6,-1 0-9,1 1-14,-1-1 1,1 0-32,0 0 64,-1 0-34,1 1 32,-1-1-43,1 0-19,-1 0 5,1 1 3,0-1 12,-1 0 16,0 0-22,1 0 57,0 0-2,0 1 10,-1-1-18,1 0 46,0 0-46,-1 0 55,1 0-76,0 0 15,-1 0-12,1 0 23,-1 0-38,1 0 34,0 1-35,0-1 38,0 0-81,0 0 54,0 0-59,-1 0 44,1 0 17,0 0-26,0 0 25,0 0 0,0 0 0,-1 0-1,1 0-3,0 1-2,-1-1 3,2 0 1,-2 0-2,1 0 4,0 1-3,0-1 7,-1 0 1,1 0 2,0 0-2,-1 1-3,1-1 65,0 0-50,0 0 54,-1 0-9,1 0-38,0 1 48,-1-1-28,1 0-12,-1 1 21,1-1-23,-1 0-68,1 0 52,0 0-56,-1 1 68,1-1-13,-1 0 8,1 0-9,-1 1-20,1-1 18,-1 0-26,1 0 22,0 0 58,-1 0 13,1 0 8,0 1 59,0-1-105,-1 0 68,1 0-77,-1 0 2,1 0-2,0 0 4,-1 0 5,1 0-39,-1 0-24,1 1 2,0-1-47,-1 0 81,1 0-38,0 0 33,-1 0-31,1 0-33,-1 0 14,1 0-48,-1 1 80,1-1-46,-1 0 48,1 0-20,-1 0 15,1 0-15,-1 0 14,0 0 9,1 0-6,-1 1 10,1-1-13,-1 0 3,1 0-2,-1 1 3,1-1-3,0 0 3,-1 0-3,1 0 0,0 0 1,-1 0-2,1 0 3,0 1-4,-1-1 3,1 0-4,-1 0 4,1 0-2,0 0 1,0 0-1,-1 0 0,1 0 6,-1 0-3,1 1 11,-1-1-10,1 0 6,-1 0-8,0 0 15,1 0-11,-1 0 13,0 1-13,1-1-6,-1 0 5,1 0-6,-1 0 7,0 0-9,1 1 6,-1-1-5,0 0-9,1 0 11,-1 0-14,1 1 17,-1-1-13,0 0 9,1 0-11,-1 0 13,0 1-4,0-1 3,1 0-3,-1 0 6,1 1-4,-1-1 4,0 0-5,1 0 6,-1 0-4,1 0 4,-1 1-4,0-1-2,0 0 3,1 0-3,-1 0-2,0 0 4,1 1-3,-1-1-8,1 0 7,-1 0-7,0 0 9,0 0 2,1 1-3,-1-1 3,1 0-13,-1 0 9,0 0-10,1 0 1,-1 1 5,0-1-6,1 0 8,-1 0 1,0 0-57,1 0 41,-1 1-46,0-1 20,1 0 20,-1 0-24,1 1 29,-1-1-18,0 0 9,0 0-12,1 0 11,-1 0 27,1 0-21,-1 1 21,1-1-30,-1 0 7,1 0-10,-1 0 15,0 1-17,0-1 16,1 0-13,-1 0-12,0 0 13,1 1-17,-1-1 22,0 0-2,0 0 3,0 0-11,0 0 6,1 0 41,-1 0-30,0 0 38,0 0-44,0 0 9,0 0-13,1 0-40,-1 0-31,0 0-2,0 0 57,0 0 22,0 0 38,0 0-30,0-1 1,0 1 2,0 0 2,0 0 29,0-1-25,0 1 31,0 0-35,0 0 37,0-1-26,0 1 24,-1 0-30,1 0 26,-1-1-18,1 1 24,0-1-10,-1 1-7,1-1 9,-1 1 2,1-1-13,-1 1 17,0 0-18,1-1 3,-1 1-1,0-1 0,1 1 1,-1-1-7,0 1 6,0-1-6,1 1 7,-1-1-2,0 1 1,0 0-1,0-1-4,1 1 2,-1 0-3,0-1 4,0 1-52,1 0 38,-1-1-40,0 1-7,1 0-19,-1-1 0,0 1 4,0-1-290,1 1 58,-1-1-103,0 1 205,1-1 205,-1 1 0,0-1 0</inkml:trace>
  <inkml:trace contextRef="#ctx0" brushRef="#br0" timeOffset="181">560 1536 9502,'-1'0'-308,"1"0"79,-1 0 119,1 0 49,0 0 73,0 0 126,0 0-11,0 0 123,0 0-162,-1 0 32,1 0-31,0 0-19,0 0 29,0 0-58,0 0 24,0 0-16,-1 0 17,1 0-41,0 0-19,0 0-2,-1 0 6,1 0-25,-1 0 46,1 0-59,-1 0 70,1 0-45,-1 0 25,1 0-35,-1 1-16,1-1 27,-1 0-27,1 0 22,-1 0 21,1 0-22,-1 0 23,0 0-8,1 0 4,-1 1-3,1-1 4,-1 0 3,0 0-1,1 0 3,0 1-8,-1-1 3,1 0-1,-1 0 3,1 1-10,-1-1 7,1 0-8,0 0-2,0 1 8,0-1-9,-1 0 12,1 1-21,0-1 14,0 0-17,0 0 20,-1 0-18,1 1 13,0-1-15,0 0 23,0 1-7,0-1 7,-1 0-11,1 0 3,0 1-4,0-1 4,0 0-7,0 0 6,0 1-5,0-1 6,0 0 28,0 0-21,0 1 21,0-1-26,1 0 56,-1 0 13,0 1 7,0-1-24,1 0-38,-1 0-5,1 0 0,-1 1 10,1-1-10,-1 0 10,0 0-20,1 0 19,-1 1-19,0-1 23,1 0-51,-1 0 27,0 1-33,1-1 30,-1 0-13,0 0 1,1 0-6,-1 0 28,0 1-3,1-1 6,-1 0-17,1 0 5,-1 0-5,1 0 7,-1 1-2,0-1 3,1 0-2,-1 0 3,0 0-4,1 0 2,-1 0-2,1 0 42,-1 0-28,0 0 30,1 0-38,0 0 2,-1 0-1,1 1 3,-1-1-31,0 0 23,1 0-24,-1 0 31,1 0-48,-1 0-12,0 0-4,1 0 6,-1 0 36,0 0 1,1 0-6,-1 0-2,0 0 18,1 0-22,-1-1 20,1 1 19,-1 0-21,1 0 26,-1 0-2,1-1-19,-1 1 23,1 0-23,-1-1 9,0 1-3,1 0 9,-1-1-14,0 1 0,0-1 1,1 1-2,-1-1 2,0 1-4,0-1 3,1 1-4,-1-1 2,0 1 1,0-1-1,0 1 0,0-1 1,0 1-2,0-1 2,0 1-5,0 0 3,0-1-3,-1 1 4,1 0 1,0 0 0,-1 0 0,1-1-1,-1 1 1,1 0 0,-1 0 1,1 0-1,-1-1 6,0 1-3,1 0 4,-1 0-7,0 0 1,0 0 0,0 0-1,1 0 1,-1 0 0,0 0 0,0 0 6,-1 0-5,1 1 6,1-1-6,-1 1-3,0-1 2,0 0-2,0 1-8,1-1 8,-1 0-8,1 1 9,-1-1-72,1 1-21,-1-1-3,1 0 12,0 1-4,0-1 7,0 1-64,0-1-173,0 1 62,0-1-145,0 0 128,0 0 137,0 0 34,0 1 102,1-1 0,0 0 0</inkml:trace>
  <inkml:trace contextRef="#ctx0" brushRef="#br0" timeOffset="182">540 1542 9502,'1'0'125,"-1"0"-23,0 0-37,0 0 213,0 1-240,0-1 172,0 0-169,-1 0-12,0 0 70,1 0-23,-1 0-26,0 0 7,0 0-9,0 0 14,-1 0 19,1 0-37,0 0 9,-1 0-87,1 0 82,-1 0-54,1 0 73,0 0-66,-1 0-21,1 0 0,-1 0 10,1 0-22,0 0 10,0 0-72,0 0 58,0 0-30,0 0 2,0-1 16,1 1-113,-1 0 79,1 0-120,-1-1-11,1 1 11,-1 0-23,1-1 52,0 1-146,0 0 60,0 0-11,0-1 137,0 1 133,0 0 0,0 0 0</inkml:trace>
  <inkml:trace contextRef="#ctx0" brushRef="#br0" timeOffset="183">520 1551 9037,'0'1'217,"0"-1"-134,0 0-10,0 0 3,0 0-12,1 0 15,-1 0 42,0 0-30,0 1 32,0-1-63,1 0 16,-1 0-15,1 0 27,0 0-67,1 0-12,-1 0-11,1-1-176,-1 1 96,1 0-118,0-1 77,-1 1-24,1 0 8,-1-1 10,0 1 61,1-1 68,-2 1 0,1-1 0</inkml:trace>
  <inkml:trace contextRef="#ctx0" brushRef="#br0" timeOffset="184">564 1550 9502,'1'-1'-510,"-1"1"109,1 0 237,-1 0 50,0 0 107,0 0-31,0 0 92,1 0-33,-1 0 38,0 0-46,0 0 47,0 0 15,0 0 2,1 0-8,-1 0-14,0 0-22,0 0 54,0 0 10,0 0 204,1 0 10,-1 0 16,0 0-105,0 0-140,0 0 9,0 0-5,0 0 10,0 1-24,0-1 8,0 1-13,0-1 26,0 0-48,0 0 37,0 1-48,0-1 18,1 1 8,-1-1-3,0 1-31,0-1 41,0 1-47,0-1 47,0 1-32,0-1 29,0 1-31,1-1 35,-1 0-11,0 1 2,1-1-4,-1 1-14,0-1 7,1 1-7,0-1 11,-1 1-9,0 0 5,1-1-1,-1 0-31,1 1 32,-1 0-36,0-1 37,1 1 26,-1-1-16,0 1 15,0 0 45,0-1 10,0 1 6,1 0-14,-1-1 1,0 1 15,0 0 8,1-1-5,-1 1-37,0-1 1,1 1 15,-1 0-37,0-1 15,1 1-10,-1-1 12,0 1-57,1 0-13,-1-1-18,0 1 26,1-1-59,-1 1 27,1-1-101,-1 1 76,0-1-48,1 1 19,-1-1-66,0 0 37,1 1 13,-1 0 37,0-1 20,1 1-10,-1-1 9,0 1 0,1 0 4,-1-1-2,0 1-2,1 0 0,-1-1 35,0 1-23,1 0 25,-1 0-6,0 0-17,0-1 22,1 1-25,-1 0 17,0 0-11,0 0 12,1-1-37,-1 1 19,0 0-20,0-1 24,1 0-24,-1 1 17,0 0-19,0-1 20,0 1-40,0-1-20,0 0 3,0 1-3,0 0 26,0-1 4,0 1-7,0-1 4,0 1 10,0-1-13,0 1 21,0 0-9,0-1 11,0 1-10,0 0 31,0 0-21,0 0 24,0-1-26,0 1-4,0 0 6,0 0-6,0 0 6,1 0-35,-1-1 27,0 1-25,0 0-147,0 0 34,0 0-118,1 0-370,-1 0 150,1 0-281,-1-1 433,0 1 168,1-1 177,-1 1 0,0-1 0</inkml:trace>
  <inkml:trace contextRef="#ctx0" brushRef="#br0" timeOffset="185">542 1558 8917,'-1'1'34,"1"0"50,0-1 21,-1 1 20,1-1 8,-1 1-11,1-1-57,-1 0 9,1 1-8,-1-1 16,1 0-14,-1 1 8,1-1 1,-1 1-7,0-1 8,0 0-11,0 1-31,1-1 25,-1 0-17,0 1 25,0-1-17,1 1 8,-1-1-12,0 0 16,0 1-35,1-1-24,-1 0-3,1 1-58,-1 0 81,0-1-43,0 1 57,1-1-29,-1 1 13,1-1-19,-1 1 18,0 0 9,1 0-8,-1-1 4,1 1-7,-1 0 4,1-1-7,-1 1 6,1 0-16,-1 0 13,1 0-9,-1 0 14,0 0-40,0 0 28,1 0-31,-1 0 38,1 0 0,-1 0-1,0 0 6,1 0-6,0 0 3,-1 0-9,1 0-7,-1 0 4,1 0-2,-1 0-1,1 0 8,0 0-6,-1 0 8,1 0-59,-1 0 42,0 0-46,1 0-5,-1 0-21,1-1-1,-1 1 4,1 0 21,-1-1 19,1 1-28,-1 0 30,1-1 23,0 1-28,-1 0 26,1-1-38,0 1 74,0-1-55,0 1 57,-1 0 10,1 0-46,0 0 59,0 0-28,-1 0-16,1 0 23,0 0-25,-1 0 7,1 0-1,0 0 4,0 0-10,-1 0 2,1-1 0,-1 1 0,1 0-1,0 0-16,-1 0 13,1-1-12,0 1 5,0 0 5,0 0-6,0-1 7,0 0-13,0 1 9,0 0-10,0-1 3,0 1 5,0 0-5,0-1 5,0 1-11,0-1 8,0 1-9,0 0 11,0 0-5,0 0 4,0 0-6,0 0 8,-1-1-3,1 1 3,0 0-6,0-1 3,0 1-4,0 0 4,-1-1-21,1 1 15,0 0-16,0-1 20,0 1-36,0-1 26,0 1-28,0-1 34,0 0-31,0 1 22,0-1-26,0 0 30,0 0-27,0 1 17,-1-1-22,1 0 41,0 1-17,0-1 19,0 0 1,0 1-14,0-1 17,0 0-22,0 1 19,0-1-51,0 0 42,0 0-44,0 0 52,0-1-8,1 1 9,-1-1 17,0 1-20,1-1 23,-1 1-28,0-1 23,0 1-14,1-1 21,-1 0-15,0 0-6,0 1 5,1-1-10,-1 0 6,1 1-1,-1-1 1,1 0-1,-1 0 2,1 0-2,-1 1 2,1-1 15,-1 0-12,1-1 13,0 1-17,0 0 9,0 0-4,0 0 6,-1-1-6,1 1-71,0 0-16,0-1-5,0 1-243,-1-1 123,1 1-88,0-1 155,0 0 140,0 0 0,0 0 0</inkml:trace>
  <inkml:trace contextRef="#ctx0" brushRef="#br0" timeOffset="186">850 1572 8847,'-1'0'-346,"1"0"499,0 0-24,0 0-38,0 0-24,-1 0-26,1 0 52,0 0-24,0 0 18,-1 0-23,1 0 22,0-1-16,0 1 17,0 0 7,0-1-19,0 1 21,0-1-17,0 1 40,0 0 19,0 0-7,0-1-1,0 1 5,0 0-15,0-1 29,1 1-37,-1 0-13,0-1 9,0 1-12,1 0-18,-1 0 17,0-1-21,1 1 4,-1 0 14,1 0-12,0 0 18,-1 0-38,1-1-19,0 1-11,-1 0 14,1 0-17,0 0 40,-1 0-46,1 0 33,0 0 2,0 0-6,-1 0-27,1 0 32,0 0-36,-1 0 40,1 0-63,0 0 45,-1 0-46,1 0 55,-1 0-21,1 0 12,0 0-17,-1 0 20,1 1 52,-1-1-38,1 0 39,-1 0-20,1 0-23,-1 0 25,1 1-14,-1-1-11,1 0 17,0 0-17,0 0-4,-1 1 3,1-1 4,-1 0 2,1 0-50,-1 1 33,1-1-43,0 0 54,-1 0-38,1 0-14,0 1-8,0-1-29,-1 0 56,1 0-21,-1 0-30,1 0 46,0 1-52,-1-1 60,1 0-10,-1 0 2,1 1-6,0-1-2,-1 0 44,1 0 7,0 0 7,-1 0-10,1 1-17,-1-1-9,1 0 13,-1 0-10,1 0-34,-1 0 27,1 0-23,0 1-24,-1-1 37,1 0-42,0 0 17,-1 0 19,1 1-20,-1-1 12,1 1-51,-1-1 26,1 0-35,0 0 49,-1 0-13,1 1 2,-1-1-6,1 0 24,-1 0-1,1 1 5,0-1 46,-1 0-41,1 0 43,-1 1-51,1-1 46,0 0-30,-1 0 34,1 1-37,-1-1-7,1 0 10,-1 0-7,1 1 10,-1-1-17,1 0 14,-1 1-13,1-1-29,-1 0-12,1 0-5,0 1-35,-1-1 66,1 1-32,-1-1 33,1 0 18,0 0-20,-1 1 17,1-1-23,-1 0 69,1 0-50,-1 1 52,1-1-59,0 0 13,-1 0-5,0 0 8,1 0 8,-1 0-13,0 0 20,0 1-11,1-1-11,-1 0 8,1 0-15,-1 0-53,0 0 46,0 0-51,1 1 63,-1-1-5,1 0 3,-1 0-7,0 0 3,1 1 13,-1-1-9,1 0 11,-1 0-15,1 0 7,-1 0-5,0 1 8,1-1 7,-1 0-8,0 0 10,1 1-2,-1-1-9,0 0 11,1 1-11,-1-1-18,0 0 13,1 0-17,-1 1 21,1-1-33,-1 0 22,0 0-25,1 0 31,-1 0 7,1 1-5,-1-1 4,0 0 0,0 0-9,1 0 9,-1 1-4,1-1-4,-1 0 5,0 0-5,1 0 17,-1 0-11,1 1 14,-1-1-16,1 1 12,-1-1-9,1 0 8,-1 1-9,0-1 60,0 0-43,1 1 47,-1-1 7,1 0-43,-1 1 47,0-1-62,1 0 7,-1 1-4,0-1 9,0 0-36,1 1 22,-1-1-17,0 0 33,0 0-62,1 0 45,-1 0-53,1 0 52,-1 1-67,0-1 36,0 0-44,1 0 22,-1 0 33,0 1-36,1-1 48,-1 0-15,1 0 13,-1 1-14,0-1 23,0 0-17,1 0 16,-1 1-20,0-1 44,1 0 18,-1 1 1,0-1 2,1 1-27,-1-1-2,0 0 7,0 1-25,1 0 2,-1-1-1,0 0-14,0 0 19,0 1-19,0-1 19,0 0-18,0 1 9,0-1-10,1 0 4,-1 0 2,0 1-7,0-1 4,0 0 1,0 0-21,0 0 16,0 0-17,0 1 28,0-1-3,0 0 2,0 1 29,0-1-24,0 1 25,0-1-32,0 0 30,0 1-19,0-1 22,1 0-26,-1 1-2,0-1 5,0 0-4,0 1 10,0-1 19,0 0-13,0 0 15,0 1-44,0-1 15,0 1-14,0-1-1,0 0 14,0 1-17,0-1 18,0 0-14,0 1 11,0-1-11,0 0 12,0 1 15,0-1-12,0 0 10,0 1 2,0-1-12,0 0 14,0 1 3,0-1-14,0 0 17,0 1-19,0-1 25,1 1-18,-1-1 21,0 1-24,0 0-5,0-1 4,0 0-2,0 1 5,0 0 7,0-1-6,0 1 1,1-1-3,-1 1 4,0 0-3,0-1 4,1 1-17,-1-1 9,0 1-9,0 0-22,0-1 24,0 1-26,1-1 32,-1 1-25,0-1 18,0 1-21,0-1 24,0 1-42,0-1 30,0 1-36,0-1-5,0 1 26,0-1-29,0 1 58,0 0-11,1-1 12,-1 1-20,0 0 17,0 0-13,0 0 14,0 0-17,0 0 36,0 0-24,0-1 27,0 1-29,0 0 0,0-1 2,0 1 3,0 0-23,0 0 18,0-1-17,0 1 13,0-1 4,0 1-5,0 0 1,0-1 5,0 1-6,0-1 5,0 1-8,0 0 17,0-1-13,0 1 13,0-1-12,0 1-14,0-1 14,0 1-14,0-1-3,0 1 12,0-1-13,0 1 18,0 0-1,-1 0 1,1 0-6,0-1 18,0 1-14,0 0 15,0 0-17,0 0 10,0-1-7,0 1 7,0 0 9,0 0-11,0 0 16,0-1-18,-1 1-11,1-1 8,0 1-9,0-1-3,0 1 11,0-1-13,0 1 14,0 0-34,-1-1 22,1 1-24,0-1 30,0 1-25,0-1 14,-1 1-17,1-1 30,0 1-3,0-1 2,0 1-6,0 0 24,0 0-16,0 0 18,0 0 7,0 0-21,0-1 23,0 1-29,0 0 22,0 0-14,0 0 16,0-1-15,0 1-55,0 0 43,0-1-43,0 1 55,0-1 3,0 1-3,0-1-3,0 1 4,0-1-10,0 0 10,-1 1 8,1-1-11,0 1 14,0-1-20,0 1 4,0-1-2,0 0 7,-1 1-5,1 0 16,0-1-11,0 1 12,0 0-13,0-1-3,-1 1 1,1-1-4,0 1 6,0-1-1,0 1 1,0-1 1,0 1-1,0-1 2,0 1-3,0-1 9,0 1-6,0-1 7,0 1-9,0-1-24,0 0 18,0 1-19,0-1-6,-1 1 20,1-1-22,0 0 27,0 1 8,0-1-8,0 1 6,0-1 0,0 1-5,0-1 1,0 1-4,0 0 28,0-1-19,0 1 24,0-1-30,0 1 33,0-1-19,0 1 24,0 0-28,0-1 1,0 1-2,0 0 9,0-1-14,0 1 8,1-1-7,-1 1-22,0-1 20,0 0-21,0 1 24,0-1-8,0 1 2,0-1-4,0 1 4,0-1 3,0 1-5,0 0 4,0-1 3,0 1 3,0-1-1,0 1 0,0-1 4,0 1-6,0 0 9,0 0-3,0-1-4,0 1 5,0 0-6,0-1 12,0 1-8,0 0 8,0 0-10,0-1 0,0 1 0,0 0 0,0 0 1,0-1-3,0 1 3,0 0-2,0 0 2,0-1-15,0 1 11,0 0-10,0 0-13,0-1 18,0 1-20,0-1 12,0 1 7,0-1-8,0 1 8,0 0 1,0-1-2,0 1 1,0-1-1,0 1 3,0-1-4,0 1 3,0-1-2,0 1-4,0-1 3,0 1-1,0 0-4,-1-1 5,1 1-4,0-1 17,0 1-9,0-1 10,0 1-13,0 0-24,0-1 17,0 0-17,0 1 23,0-1-4,0 1 2,0-1-3,0 1 4,0-1-3,0 1 3,0-1-4,0 0 24,0 1-16,0-1 16,0 1 0,0-1-14,0 0 17,0 1-21,0-1 24,0 1-17,0-1 20,0 1-22,0-1 18,0 0-12,0 1 15,0-1-17,0 0 5,0 1-4,0-1-8,0 0 5,0 1-6,0-1 9,0 0-34,0 1 24,0-1-27,0 0 33,0 1-9,0-1 6,0 0-10,0 1 10,0 0-11,0-1 7,0 0-8,0 1 8,0-1 15,0 1-10,0-1 11,0 0-34,0 1 14,0-1-14,0 0 17,0 1 1,0-1-2,0 1 1,0-1 19,0 1-14,0-1 15,0 0-18,0 1 9,1-1-7,-1 0 7,0 0-14,0 1 6,0-1-4,0 0 6,0 0 13,0 1-8,0-1 8,0 0-6,0 0-4,0 1 2,0-1-6,0 0 12,0 1-8,0-1 10,0 0-10,0 1 7,1-1-2,-1 0 4,0 0-14,0 1 5,0-1-5,0 0 7,0 0 2,0 1-2,0-1 1,0 0 2,0 1-4,0-1 4,0 0-4,0 0 2,0 0-2,0 0 3,0 0-2,0 0-11,0 1 9,0-1-8,0 0-13,0 0 15,0 0-17,0 1 12,0-1 6,0 0-7,0 0-36,0 0 29,0 0-67,0 0 71,0 0-272,0 1 92,0-1-164,0 0 117,0 0 144,0 0 11,0 1 90,1-1 0,-1 1 0</inkml:trace>
  <inkml:trace contextRef="#ctx0" brushRef="#br0" timeOffset="187">813 1660 9502,'-1'0'-510,"0"0"109,1 0 311,0 0 116,-1 1 94,1-1-73,0 0-12,0 0 99,-1 0-10,2 0 124,-1 0-140,0 0-13,1 0 59,-1 0-21,1 0 86,-1 0-12,1 0 16,-1 0-24,1 0-21,-1 0-56,1 0-14,-1 0 15,0 0-45,1 0 43,-1 0-42,1 0 41,-1 0-46,1 0-16,-1 0 11,1 0-13,-1 0 13,1 0 3,0 0-22,-1 0-7,1 0 6,-1 0-22,1 0 23,0 0-23,0 0-11,0 0-5,-1 0 15,1 0-31,0 0 57,0 1-67,0-1 13,-1 0 28,1 1-28,0-1 38,0 0-52,0 0 30,0 0-40,0 0 28,-1 1 25,1-1-30,0 0 32,0 0-57,0 0 38,-1 0-41,1 0 59,0 0-14,-1 1 12,1-1-18,0 0 4,0 0-4,0 0 6,-1 0-2,1 0-22,-1 0 17,1 0-19,0 0-16,-1 0 28,1 1-29,-1-1 36,1 0-22,0 0 13,-1 0-16,1 0-37,-1 0-12,1 0-13,-1 0 18,1 0 13,-1 0 24,1 0-30,-1 0 31,1 0 10,-1 0-6,1 0 5,0 0 43,-1 0-43,1 0 45,-1 0-8,0 0-31,1 0 37,-1 0-45,1 0 25,-1 0-16,1 0 25,-1 0-22,0 0-20,1 0 13,0 0-16,-1 0 24,1 0 8,-1 0-7,1 0 5,-1 0 3,0 0-8,1 0 8,-1 0-12,0 0 24,1 0-17,-1 0 17,0 0-9,0 0-9,1 0 12,-1 0-12,0 0 8,0 0-5,1 0 7,-1 0-6,0-1-15,0 1 11,1 0-13,-1 0 5,0 0 8,0 0-8,1 0 8,-1 0 0,0 0-1,0 0-2,0 0 17,0 0-13,1 0 14,-1 0-16,0 0 20,0 0-12,0 0 13,1 0-15,-1 0 49,0 0-31,1 0 34,-1 0-13,0 0-25,0 0 29,1 0-33,-1 0-17,0 1 13,0-1-11,0 0-15,1 0 28,-1 0-30,0 0 31,1 0-45,-1 0 30,0 0-34,0 0 38,0 1-12,0-1 0,1 0-4,-1 0 3,0 0 10,0 0-11,0 1 10,0-1 2,0 0-2,0 0 4,1 1-7,-1-1 35,0 0-24,0 0 28,0 0-24,0 1-4,0-1 7,0 0-6,0 1-27,1-1 21,-1 0-20,0 0 18,0 1 4,0-1-5,0 0 5,0 0-8,0 1 2,0-1-4,0 0 13,0 0-5,0 1 5,0-1-8,0 0 8,0 1-6,0-1 8,0 0-8,0 1 2,0-1-1,0 1 3,0-1-6,0 1 5,-1-1-5,1 0 4,0 1-3,0-1 3,-1 1-3,1 0 0,0-1 2,0 1-4,-1-1 3,1 1 8,0 0-6,-1-1 7,1 1-8,-1 0-1,1-1 1,0 1-1,0-1 22,-1 1-14,1-1 14,0 1 11,-1-1-16,1 1 21,0 0-26,0-1-5,-1 1 0,1-1 1,0 1 1,0-1 5,0 1-3,-1-1 4,1 1-3,0-1-18,0 1 13,0-1-15,-1 1-3,1-1 16,0 1-19,0-1 17,0 1 13,0-1-13,-1 1 12,1 0 0,0-1-9,0 1 11,0 0-12,0-1-4,-1 1 5,1 0-4,0-1 6,0 1-14,0-1 11,0 1-10,0 0 31,0 0-14,-1-1 15,1 1-4,0 0 3,0-1 4,0 1-6,0-1-31,0 1 14,0 0-14,0-1 19,0 1-7,-1 0 6,1-1-7,0 1 9,0 0 27,0-1-18,0 1 19,0-1 7,0 1-25,0 0 25,0 0-32,0 0-6,0 0 4,0-1 0,0 1 4,0-1 22,1 1-15,-1-1 20,0 1-3,0 0-8,0-1 9,0 1-19,0-1-45,0 1 33,0-1-34,0 1 42,0-1-22,1 1 15,-1-1-16,0 1-14,0-1 23,0 1-26,1-1 16,-1 1 12,0 0-12,1 0 7,-1 0-12,0 0 6,1 0-10,-1 0 16,0 0 23,0 0-16,0 0 20,1 0 5,-1 0-20,0-1 22,0 1-34,0 0 5,1 0-3,-1 0 6,0 0-19,0 0 13,0-1-12,1 1 18,-1 0-21,0-1 16,0 1-20,1-1 22,-1 1-29,0 0 20,0-1-26,0 0-26,1 1 33,-1 0-38,1-1 57,-1 1-5,0 0 3,0 0-6,1-1-7,-1 1 6,0 0-8,0 0 6,1 0 14,-1 0-10,0 0 12,0 0-15,1 0 20,-1-1-14,0 1 19,0 0-7,1 0-5,-1-1 8,0 1-10,0-1 25,1 0-18,-1 0 20,0 1-12,0-1-10,1 0 13,-1 1-13,1-1 2,-1 0 1,0 0-2,1 1 3,-1-1-16,0 0 13,0 1-14,1-1-29,-1 1 30,0-1-35,1 1 27,-1 0 8,0 0-11,0 0 11,1-1 17,-1 1-14,0 0 13,0 0-17,1 0 23,-1 0-16,0 0 18,1-1-21,-1 1 6,0 0-2,0 0 3,1-1 17,-1 1-16,0-1 19,0 1-25,1-1 7,-1 0-6,0 0 5,0 1-56,0-1 39,0 0-41,0 0 51,0 0-67,0 1 45,0-1-51,0 0 61,0 0 16,0 0-17,0 1 14,0-1-4,0 1-6,0-1 3,0 0 55,0 1-50,1-1 53,-1 0-60,0 1 26,0-1-12,0 1 24,0-1-27,1 0 12,-1 1-11,0-1 12,0 0-10,0 0-11,0 1 8,0-1-12,0 0-20,1 1 23,-1-1-25,0 1 30,0-1 2,0 0-6,0 1 4,0-1 2,0 0-1,0 1 3,0-1-6,0 0-15,1 1 12,-1-1-11,0 0 13,0 0 3,0 0-2,0 1 3,0-1 4,0 0-4,0 0 5,0 0-31,0 0 17,0 1-19,0-1 24,0 0-15,0 0 10,0 0-12,0 0 15,0 1-7,0-1 4,0 0-4,0 0 5,0 1 15,0-1-11,0 0 9,0 0 11,0 0-20,0 0 21,0 0-6,0 0-12,0 1 16,0-1-18,0 0 10,0 0-6,0 0 9,0 0-9,0 0-6,0 0 4,0 1-5,0-1 9,-1 0-6,1 0 2,0 0-4,0 0-5,0 1 8,0-1-11,0 0 23,0 0-10,-1 0 10,1 0-12,0 0 37,0 1-27,0-1 30,0 0-35,0 0 3,0 0 3,0 0-2,0 0 4,0 0 2,-1 0 0,1 1 0,0-1-11,0 0 4,0 0-5,0 0 9,0 0 0,0 1-1,0-1-3,0 0 17,0 0-13,0 0 13,0 0-15,0 1 13,0-1-9,1 0 10,-1 1-9,0-1-9,0 0 8,0 1-8,0-1-7,0 0 10,1 1-10,-1-1-4,0 0 13,0 0-14,0 1 14,0-1-12,1 0 7,-1 1-10,0-1 12,1 1-3,-1-1 2,0 0-1,0 0 0,1 0 2,-1 1-1,0-1 2,0 0-2,0 0 1,1 0 0,-1 1-8,0-1 6,0 0-6,1 0 7,-1 0-36,0 0 26,0 1-28,1-1 35,-1 0-22,0 0 15,0 0-19,0 1 21,0-1-7,0 0 5,1 1-7,-1-1 24,0 0-16,0 1 13,0-1-12,0 0-4,0 1 5,0-1-3,0 0 13,0 1-9,0-1 13,0 0-14,0 1 19,0-1-13,-1 0 11,1 1-14,0-1-10,0 1 7,-1 0-5,1-1 9,0 1-11,-1-1 6,1 1-8,0-1 22,-1 1-9,1 0 10,0-1-13,-1 1 8,1 0-8,0-1 8,-1 1 5,1-1-8,0 1 9,-1-1-9,1 1 7,0-1-2,-1 1 3,1 0-3,0-1-2,0 0 2,-1 1-3,1-1 1,0 1-1,0-1 0,0 1 0,0-1 0,-1 1 0,1-1 0,0 1 0,0-1 0,0 1 0,0-1 0,0 1 0,0-1 0,-1 1 0,1 0 0,0-1 0,0 1 0,-1 0-9,1-1 7,0 1-7,0 0 9,0-1-13,0 1 9,0-1-8,0 1 9,0-1 5,0 1-4,0-1 2,0 0-3,0 1 2,0-1-2,0 1 2,0-1-21,0 1 14,0-1-14,0 1-5,0-1 15,0 0-15,0 1 20,0-1 6,0 1-6,0 0 6,0-1-8,0 1 2,0 0-3,0 0 1,0-1-1,0 1 14,0 0-9,0 0 12,0-1-6,0 1-5,0 0 7,0 0 5,1-1-9,-1 1 10,0 0-12,0-1 7,1 1-5,-1-1 5,0 1-6,0-1 5,0 0-3,0 0 5,0 1-5,1-1-27,-1 0 20,0 0-22,0 1 14,0-1 7,0 0-9,0 0 15,0 1-3,1-1 2,-1 0-3,0 0 9,0 1-7,0-1 7,0 0-9,0 1 12,0-1-8,0 1 10,0-1-13,1 0 12,-1 1-9,0-1 14,0 0-11,0 0 2,0 1-1,0-1-2,0 0-1,0 1 1,1-1 0,-1 0-10,0 0 7,0 1-6,0-1 8,1 0-18,-1 0 12,0 0-13,0 0 16,0 1-6,0-1 5,0 0-7,0 0 16,1 0-8,-1 0 7,0 1 2,0-1-8,0 0 10,0 0-11,0 0 8,0 0-5,0 0 6,1 1-5,-1-1 1,0 0 0,0 0 0,0 0 0,1 0-4,-1 0 3,0 1-3,0-1 3,1 0-1,-1 0 1,0 0 0,0 0 0,1 0 0,-1 0 0,0 1 0,0-1 0,0 0 0,0 0 0,1 0 0,-1 0 0,0 1 1,0-1-1,0 0 0,0 0 0,1 0 0,-1 0 1,0 0-1,0 0 0,0 1-8,1-1 6,-1 0-6,0 0 7,0 0-12,0 0 8,0 0-9,0 0 11,0 1-2,1-1 1,-1 0-1,0 0 0,0 0-26,0 0 18,0 0-20,1 0 30,-1 0-3,0 1 1,0-1 13,0 0-14,1 0 13,-1 0-15,0 0 15,0 0-10,0 1 12,0-1-14,1 0-4,-1 0 3,0 0-2,0 0 4,1 0-2,-1 0 1,0 1-1,0-1 5,1 0-2,-1 0 2,0 0 17,1 0-14,-1 0 15,0 0-20,1 0 7,-1 0-5,1 0 7,-1 0-6,1 0 3,-1 0-3,0-1 5,1 1-4,-1 0 0,1 0-1,-1 0 0,1 0-33,-1-1 24,1 1-26,-1 0 32,0 0 1,1-1-4,-1 1 3,1 0-1,-1 0 0,1-1 1,-1 1-3,0 0 9,1 0-6,-1-1 6,1 1 3,-1 0-8,1-1 9,-1 1-10,0 0 8,1-1-5,-1 1 7,0 0-3,1-1-4,-1 1 5,0 0-5,0 0 1,1 0 0,-1-1-1,0 1 1,0 0-1,0 0 0,1-1 0,-1 1 1,0 0-2,0 0 1,1 0 0,-1 0 0,0 0 0,1-1 0,-1 1-1,0 0 1,1 0 0,-1 0 0,0 0 3,0 0-2,0-1 3,1 1-3,-1 0-1,0 0 1,0 0 0,0 0-1,0 0 0,0-1 1,0 1 0,1 0-2,-1 0 1,0 0 0,0-1 1,0 1-1,1 0 1,-1 0-1,0 0 7,0 0-5,1 0 6,-1 0-7,0-1 3,0 1-2,1 0 2,-1 0-2,1 0 0,-1 0 0,0-1 1,1 1 4,-1 0-3,0 0 4,0 0-10,0 0 3,0 0-3,1 0 5,-1 0-6,0-1 4,1 1-4,-1 0 5,0 0-4,0 0 2,1 0-3,-1 0 9,0 0-4,0 0 4,1 0-6,-1 0 0,0 0 1,1 0 0,-1 0-2,1 0 2,-1 0-1,0 0 1,1 0-2,-1 0 2,0 0-2,1 0 2,-1 0-2,1 0 2,-1 0-3,0 0 3,1 0-19,-1 1 14,0-1-15,1 0 17,-1 0 2,0 0-1,1 0 0,-1 0-13,0 0 7,1 0-8,-1 0-19,0 0 22,1 0-24,-1 0 29,0 0 4,0 0-3,1 0 3,-1 0-6,0 0 0,1 0-1,-1 0 1,0 0-2,0 0 7,1 0-4,-1 0 5,1 0 11,-1 0-11,1 0 12,-1 0-8,1 0-5,-1 0 8,0 1-9,1-1 7,-1 0-4,1 0 3,-1 0-2,1 0-2,-1 0 2,0 0-2,1 0 1,-1 0-28,0 0 20,1 0-21,-1 1-5,1-1 23,-1 0-26,1 0 39,-1 0-9,0 0 8,1 0-13,-1 0 14,1 0-12,-1 0 12,1 0 0,-1 0 4,0 0 1,1 0-2,-1 0-22,0 0 10,1 0-7,-1 0-43,1 0 40,-1 0-43,1 0 52,-1 0-20,0 0 12,1 0-15,0 0 11,-1 0 30,1 0-26,-1 0 25,1 0-9,-1 0-12,1 0 10,0 0-15,-1 0 38,1 0-25,0 0 36,0 0-18,-1 0-9,1 0 12,0 0-13,-1 0 2,1 0 1,0-1 2,-1 1-6,0 0 1,1 0-2,-1 0 1,1 0-15,-1 0 9,0 0-9,1 0 13,-1 0-39,0 0 27,0 0-29,1 0 23,-1 0 10,1 0-14,-1 0 15,1 0 12,-1 0-9,1-1 8,-1 1-13,1 0 36,-1 0-26,1 0 31,-1 0-29,1 0 7,-1 0-2,1 0 5,-1 0-10,1 0 4,-1 0-2,1 0-1,-1 0-1,0 0 1,1 0 1,-1 0-14,0 0 9,1 0-11,-1 0 14,0 0-12,1 1 8,-1-1-9,1 0 10,-1 0-8,0 0 6,1 0-7,-1 0 8,1 0 3,-1 1-2,1-1 2,-1 0 1,1 0-3,-1 0 4,0 0-3,1 0-1,-1 0 2,1 0-2,-1 0 17,1 0-12,-1 0 15,1 0-18,-1 0 2,0 0-1,1 0 0,-1 0-3,1 0 2,-1 0-2,0 0 3,1 0-4,-1 0 3,1 0-3,-1 0 0,0 0 2,1 0-2,-1 0 2,0 0 0,1 0-1,-1 0 0,1 0-4,-1 0 4,1 0-4,-1 0 5,1 0-11,-1 0 8,0 0-8,1 0 8,-1 0 1,0 0-1,1-1 0,-1 1 5,0 0-4,1 0 4,-1 0-5,0 0 3,1 0-3,-1 0 4,0-1 1,1 1-2,-1 0 4,1 0-5,-1 0 3,1 0-2,-1 0 2,0 0-2,0 0 0,1 0 1,-1 0-1,0 0-7,1 0 5,-1 0-5,0 0 6,0 0-15,0 0 10,1 0-12,-1 0 16,0 0 0,0 0-1,1 0-5,-1 0 7,0 0-7,0 0 6,1 0-16,-1 0 9,0 0-10,0 0 13,1 0-20,-1 0 14,0 0-15,1 0 17,-1 0 17,0 0-12,1 0 13,-1 0 8,0 0-17,1 0 18,-1 0-16,0 0-5,1 0 6,-1 0-7,0 0 5,0 0-3,1 0 7,-1 0-4,0 0-59,0 0 41,0-1-49,1 1 60,-1 0 7,0 0-5,0 0 1,0 0 13,0 0-18,0-1 17,0 1 16,0-1-23,1 1 25,-1-1-33,0 0 12,0 1-8,0-1 15,0 0-13,0 1 12,0-1-8,0 1 7,0-1-7,0 1-5,0-1 3,0 1-3,0-1-10,0 1 10,0-1-11,0 1 14,0 0-33,0 0 21,0-1-26,0 1 38,-1 0-7,1-1 8,0 1-9,0 0 9,0 0-9,0 0 9,0-1-11,0 1 36,-1 0-25,1-1 27,0 1-23,0 0-6,0-1 11,0 1-11,0 0 3,0 0-2,0-1 3,0 1-7,0 0 6,0 0-7,0 0 6,0 0-4,0 0 2,0 0-3,0-1 2,0 1 1,0 0-2,0-1 1,0 1 1,0 0 0,0 0 0,0 0 0,0-1 0,0 1 1,1 0-1,-1 0 0,0-1 0,0 1 0,0 0 0,0-1 7,1 1-5,-1 0 5,0-1-6,1 1 9,-1-1-6,0 1 8,0 0-12,0 0 3,0 0-2,1-1-1,-1 1-13,0-1 10,0 1-10,0 0 8,1 0 5,-1-1-6,0 1 6,0-1-2,0 1 1,1-1-2,-1 1 2,0-1 3,0 1-2,0-1 3,1 1 2,-1 0-4,0-1 4,0 1 6,0 0-8,1-1 10,-1 1-12,0 0 10,0-1-7,0 1 6,0 0-7,0-1-4,0 1 3,0 0-2,0-1 4,0 1-8,0-1 6,0 1-5,0 0 6,0-1 0,0 1-1,0-1-5,0 0 4,0 1-4,0 0 5,0-1-3,0 1 2,0-1-2,0 1 2,0-1-29,0 0 21,0 1-23,-1 0 29,1-1-24,-1 0 17,1 1-22,-1-1 12,1 1 4,-1-1-6,0 0 8,1 0 12,-1 1-11,1-1 9,-1 1 9,0-1-12,0 0 15,1 1-18,-1-1 9,1 1-4,-1 0 6,0-1-3,1 1 30,-1 0-20,0-1 21,1 1-25,-1 0-5,1-1 8,-1 1-9,0-1 2,1 1-1,0-1 1,-1 1-5,1 0 5,-1-1-6,1 1 7,-1 0-6,0-1 4,1 1-5,-1 0 4,0 0 0,1-1-2,-1 1 2,1 0 20,-1 0-13,0 0 16,0 0-23,0 0 3,0 0-2,0 0 3,1 0 29,-1 0-21,0 0 22,0 0-26,1 0 35,-1 0-23,0 0 25,1 0-30,-1 1-4,0-1 8,1 0-6,-1 0-19,0 0 13,0 0-17,1 0 9,-1 1 0,0-1-5,0 0 6,1 0-13,-1 0 15,0 0-18,0 0 18,0 1 2,0-1-2,0 0-2,0 0 1,0 0 18,0 1-13,0-1 16,1 0-13,-1 1-2,0-1 3,0 0-8,0 0 3,1 1-2,0-1 4,-1 0 8,1 0-7,-1 0 7,1 0-6,-1 0-15,1 0 10,-1 0-12,1 0 14,-1 0-14,1 0 11,-1 0-13,0 0 13,1 0-2,-1 0 1,0 0 3,0 0-2,1 0 2,-1 0-2,1 0 12,-1 0-8,0 0 8,1 0-12,-1 0-4,0 0 3,1 0-2,-1 0 5,1 0-8,0 0 5,-1 0-5,0 0-1,1 0 5,0 0-6,-1 0 9,1 0-1,0 0 1,-1 0-2,1 0-3,-1 0 2,1 0-3,0-1 3,-1 1-1,0 0 1,1-1-1,-1 1 2,1 0-4,-1-1 3,0 1-2,0 0-1,1-1 2,-1 1-1,1 0 1,-1 0-1,0-1 0,1 1 1,-1 0 0,1-1 0,-1 1 0,1 0 0,-1-1 0,1 1 0,0 0 0,-1 0 0,1-1 0,0 1 0,0 0 0,0-1 17,0 1-12,0 0 14,0 0 20,0-1-26,0 1 28,0 0-33,0 0-13,0 0 12,0-1-10,0 1 13,0 0-44,0 0 33,0 0-35,0-1 43,0 1-9,0 0 4,0-1-5,0 1-12,0 0 13,0 0-20,-1-1 20,1 1-7,0 0 5,0-1-4,0 1 2,0 0-1,0-1 1,0 1 1,0 0 9,0-1-5,0 1 6,0 0-6,0 0 3,0-1-2,0 1 3,0 0-3,0 0-1,0-1 2,0 1 2,0 0-3,0 0 4,0 0-4,0-1 1,0 1 0,0 0 1,0-1-2,0 1-3,0-1 3,0 1-3,0 0 3,0-1-6,0 1 4,0 0-4,0-1 4,0 1 0,0 0 0,0-1 1,0 1 0,0 0 0,0-1-1,0 1-13,0-1 9,0 1-10,0 0 14,-1-1-7,1 1 5,0-1-4,0 1 4,0-1-15,0 1 11,-1 0-12,1-1 14,0 1 9,0 0-6,0-1 5,-1 1 4,1 0-11,0 0 12,0-1-12,-1 1 5,1 0-1,0-1 2,0 1 6,0 0-7,-1-1 9,1 1-8,0-1 2,0 1 0,0-1-1,0 1 0,0-1-12,-1 0 7,1 1-7,0-1 10,0 0-1,0 0-1,0 0 3,0 0-2,0 1 2,0-1-3,0 0-8,0 0 5,0 0-5,0 0 7,0 1-12,0-1 7,0 0-8,0 0 11,0 0-1,0 0-1,0 0 0,0 0 10,0 1-5,0-1 5,0 0-8,0 0 10,0 1-7,0-1 8,0 0-2,1 0-4,-1 0 5,0 0-5,0 0 0,0 1 2,0-1-1,0 0 1,0 0-11,0 0 7,0 0-7,0 0 5,0 0 2,0 0-3,0 0 5,0 0-8,0 0 5,0 0-6,0 0 10,0 0-3,0 0 4,0 0-6,0 0 26,0 1-19,0-1 20,0 0-7,0 0-12,0 0 15,0 0-15,1 0 11,-1 1-4,0-1 4,0-1-18,0 1 7,0 0-6,0 1 10,0-2-27,0 2 18,0-2-21,0 1 26,0 0-23,0 0 16,0 0-19,0 0 22,0-1-18,0 1 12,0 0-15,0 0 21,0 0-8,0 0 8,0 0 4,0 0-7,-1 0 8,1 0-10,0 0 31,0 0-22,0 0 25,0-1-30,0 1 34,0 0-24,0 0 28,0 0-26,0 0-1,0-1 3,0 1-13,0 0 5,0 0-5,1 0 8,-1 0-5,0 0 4,0 1-4,1-1 5,-1 0-9,0 0 6,0 1-7,0-1 7,0 1-4,0-1 2,1 0-4,-1 0 19,0 1-11,0-1 11,0 0-12,0 0-1,0 1 1,1-2 0,-1 1 2,0 0 0,0 0 1,0 1-1,0-1-7,0 0 5,0 0-4,0 0 24,1 0 2,-1 0 2,0 0-5,0 1-24,0-1 7,0 0-4,0 0-12,0 0 14,1 0-15,-1 1 19,0-1-19,0 0 13,0 0-14,0 1 16,0-1-7,0 0 2,1 0-3,-1 0-2,0 0 8,0 1-10,0-1 8,0 0-3,0 0 2,0 1 0,1-1-1,-1 0 0,0 0 0,0 0 1,0 0-2,0 0 2,0 1-2,0-1 2,0 0-20,0 0 14,0 0-15,0 0 18,0 1-8,0-1 4,0 0-5,0 0 11,0 1-3,0-1 2,0 0-4,0 1 0,0-1 0,0 1 0,0-1 3,0 1-3,0 0 4,0-1-3,0 1 8,0-1-5,0 1 7,0-1-9,0 1 6,0-1-4,0 1 5,0-1-20,0 1 11,0-1-12,0 1 19,0-1-4,0 1 4,0-1-4,0 1 4,0-1-3,0 1 2,0-1-4,0 1 5,0-1-3,0 1 4,0-1-5,0 0 4,0 1-2,1 0 3,-1-1-2,0 0 1,0 1-1,0-1-6,0 1 3,0-1-4,0 1 5,1-1-36,-1 1 25,0-1-29,0 1 37,0-1-9,0 1 5,0 0-7,0-1 6,0 1-2,0-1 2,0 1-3,0-1 21,0 1-16,0-1 16,0 1-17,0-1 16,0 0-10,0 0 15,0 1-12,0-1-2,0 1 3,0-1-5,0 1 8,0-1-4,0 0 5,0 1-4,0-1-2,0 0 3,-1 1-3,1 0 1,0-1-1,0 1 0,-1-1 0,1 1 6,0-1-4,0 1 5,-1 0-2,1-1-2,0 1 3,-1-1-5,1 1-1,0 0 3,0-1-3,-1 1 3,1-1-4,0 1 3,-1 0-4,1 0 13,0-1-6,0 1 7,-1-1 9,1 1-14,0 0 15,0-1-18,0 1 18,-1-1-11,1 1 12,0-1-14,-1 1-6,1 0 7,0-1-7,0 1 20,-1 0-11,1-1 11,-1 1-12,1 0-19,0 0 14,0-1-15,-1 1-1,1 0 12,0-1-13,-1 1 16,1 0-11,0-1 5,0 1-6,-1-1 9,1 1 33,0 0-23,-1-1 23,1 1 7,0 0-28,-1-1 30,1 1-32,0 0-10,-1-1 12,1 1-10,0-1-11,-1 1 13,1-1-11,-1 1 17,0 0-9,1-1 6,-1 1-11,1 0 12,-1-1-9,0 1 6,1 0-12,-1-1 11,1 1 37,-1 0-26,0-1 33,1 1-43,-1 0 47,1-1-33,-1 1 39,1 0-26,-1-1-4,0 1 8,0-1-6,1 1-30,-1-1 24,0 1-22,1 0-2,-1-1 14,0 1-18,0-1 23,0 1-36,1 0 25,-1-1-28,0 1 59,0 0-23,0 0 22,0-1-30,0 1 16,0 0-10,1 0 11,-1-1-16,0 1 3,1 0 0,-1 0 1,0-1 19,1 1-11,-1 0 10,0 0-10,0 0-1,1-1 1,-1 1 4,1 0-27,-1 0 2,0 0-9,1-1 9,-1 1-4,0 0 15,0 0-18,1 0-6,-1-1 14,0 1-18,0 0 22,1 0-7,-1 0-1,1 0-1,-1 0-3,1-1 0,-1 1 2,0 0-2,1 0-25,0 0 24,-1 0-28,1 0 34,-1 0-49,1 0 33,0 0-38,-1 0-17,1-1 41,0 1-45,0 0 55,-1 0-16,1 0 6,0 0-9,-1 0 9,1 0 20,0 0-20,-1 0 15,1 0 22,-1 0-26,1 0 32,0-1 10,-1 1-30,1 0 32,-1 0-37,1 0 28,-1 0-14,0 0 19,1 0-23,-1 0 12,0-1-8,1 1 10,-1 0-10,0 0-3,0 0 7,1 0-5,-1 0 1,1-1 0,-1 1-2,1 0 16,-1 0-12,0-1 12,1 1-15,-1 0 32,1 0-23,-1 0 27,0 0-31,1 0-3,-1 0 3,1-1-2,-1 1-11,0 0 13,0 0-13,1 0 16,-1 0-12,1 0 7,-1 0-8,1 0 1,-1 0 6,1 0-10,-1 0 9,1 0 49,-1 0-35,0 0 40,0 0-50,1 0 17,0 0-12,-1 0 17,0 0-18,1 0-15,-1 0 13,1 0-12,-1 0-7,1-1 19,-1 1-21,1 0 23,-1 0-11,1 0 5,0 0-7,-1 0 4,1 0 4,0 0-8,0 0 5,-1 0-22,1 0 17,0 0-15,-1 0 19,1 0-79,0 0 15,-1 0-68,1 0 72,-1 0-405,0 0 355,1 0-310,-1 1 419,0-1 0,1 1 0</inkml:trace>
  <inkml:trace contextRef="#ctx0" brushRef="#br0" timeOffset="188">528 1571 9502,'0'1'-93,"0"-1"45,-1 0-74,1 1 59,0-1-2,0 0 59,0 1 9,-1-1 61,1 1-4,0-1-5,0 0 6,-1 1 14,1-1-11,0 0 11,-1 1-15,1-1-18,-1 1 21,1-1-29,-1 1 36,1 0-13,-1 0 10,0-1 3,0 1-54,1 0-18,-1 0 0,0 0-42,0 0 40,0 1-11,0-1 18,0 1-16,0-1 41,1 0-53,-1 1 51,1 0-21,-1-1 18,1 1-26,-1-1 12,1 1-16,0 0 11,0 0 51,-1-1 24,1 1 1,-1 0-8,1-1-43,-1 1-3,1-1 12,-1 0 1,1 0-65,-1 1 50,1-1-58,-1 1 66,1-2-52,0 1 35,0 0-40,0-1-1,0 1 33,0 0-44,0-1 36,0 1-6,0-1 1,0 1-1,0-1 15,0 1-9,0 0 10,1 0-6,-1-1 31,0 1-22,0 0 24,0 0-39,0 0 6,0 0-3,0 0-24,0-1 25,0 1-26,-1 1 31,1-1-35,0 0 24,0-1-27,0 1 30,0 0-11,-1-1 4,1 1-7,0-1 5,0 1 10,0-1-11,0 1 10,0-1-7,0 1 2,0-1 0,0 0 9,0 1-8,0-1 9,0 1-9,0-1 2,0 1-1,0-1 0,0 1 1,0-1-24,0 1 17,0-1-18,0 1 21,0-1 6,0 1-6,-1-1 6,1 1-8,0-1 19,0 0-15,-1 0 7,1 0-11,0 1-6,-1-1 8,1 0-53,0 0 38,0 0-39,-1 0 52,1 0 9,0 0-7,0 0 1,0 0-6,0 0 52,0 0-37,0-1 41,0 1 4,0-1-41,0 1 45,0-1 20,0 0 19,0 0 15,0 0-22,0-1-6,1 1 4,-1-1 27,1 0-25,0 0-51,0-1 3,0 0 1,0 0 13,0-1-88,1 0 11,0-1-91,-1 1-344,1-1 322,0 0-283,0 1 424,1-1 0,-1 0 0</inkml:trace>
  <inkml:trace contextRef="#ctx0" brushRef="#br0" timeOffset="189">523 1580 8355,'0'1'-14,"0"-1"14,-1 0-8,1 0 78,0 0 42,0 0 161,0 0 30,0 0 28,0 0-83,0 0-118,0 0-9,0 0-63,-1 0-9,1 0 1,0 0-38,0 0 49,0 1-24,0-1 14,0 0-19,0 0 14,0 1-46,-1-1 33,1 0-36,0 1 7,0-1 27,0 1-37,0-1 12,0 0 16,0 1-18,0 0 24,0 0 32,0-1-26,0 1 25,0 0-29,0 0 10,0 0-6,0 0 7,0 0-9,0 0-11,0 1 15,0-1-13,0-1 24,0 2-12,0-1 10,0-1-34,0 2 22,0-2-21,0 1 23,0 0-28,0 0 15,0-1-17,1 1 21,-1-1-36,0 1 26,0 0-29,0-1 35,0 0-33,1 1 23,-1 0-29,0-1 33,0 1-8,0-1 5,0 1 39,1 0-26,-1-1 31,0 1-41,0 0 20,1-1-14,-1 1 19,0 0-20,0-1 14,1 1-9,-1-1 12,0 1-15,0 0-6,0-1 8,1 0-8,-1 1-34,0-1 30,0 0-36,0 1 20,0-1 19,1 0-25,-1 0 27,0 0-42,0 1 29,0-1-32,0 0 37,1 0 7,-1 0-5,0 1 3,0-1-10,0 0 41,0 0 15,1 0 4,-1 0-5,0 0-39,0 1 0,0-1-33,0 0 24,1 0-24,-1 1 34,0-1-52,0 0 36,0 0-37,0 0 45,0 1-40,0-1-27,0 0 4,0 1-19,0-1 56,0 0-23,0 0 19,0 0-3,0 0 7,0 1-4,0-1 29,0 0-22,1 0 22,-1 0-24,0 1 24,0-1-14,0 0 16,0 1-17,0-1 7,0 0-1,0 0 5,1 0-7,-1 0 2,0 1-2,0-1 3,0 0-4,0 0 0,0 0 1,0 0-65,0 1 47,0-1-50,0 0 60,0 0-34,0 0 21,1 0-26,-1 0 29,0 0 19,0 0-17,0 1 16,0-1-5,0 0-11,0 0 9,1 0-13,-1 0 49,0 1-33,0-1 40,0 0-11,0 0-20,1 0 24,-1 0-24,0 0-4,0 1 6,0-1 0,0 0-2,0 0-9,0 0 5,0 1-7,0-1 9,0 0-10,0 0 7,0 0-8,0 0 5,0 1 0,0-1-1,0 0-1,0 0 3,0 1-3,0-1 3,0 0 0,0 1 0,0-1 0,0 0 0,0 1 0,0-1 0,0 1 0,0-1 0,0 0 0,0 1 0,0 0 0,0-1 0,0 0 0,0 1 0,-1 0 0,1-1 0,0 1 0,-1 0 0,1-1 0,-1 1 0,1 0 0,0 0 0,0-1 0,-1 1 0,1-1 0,0 1 0,-1 0 12,1 0-8,0-1 9,0 1-13,0-1 1,-1 1-1,1-1 2,0 1 0,0 0 0,0-1 0,0 1-2,0-1 2,0 1-2,0 0 3,0-1-6,0 1 4,-1-1-4,1 1 1,0-1 2,0 1-3,0-1 3,0 1 17,0-1-12,-1 1 13,1-1-11,0 1-3,0-1 4,0 1-5,-1 0-6,1-1 6,0 1-7,0-1 9,0 1-27,-1-1 19,1 1-19,0-1 24,0 1-15,0-1 9,0 0-11,0 1 20,0 0-5,-1-1 2,1 1 41,0-1-36,0 1 38,0-1-45,0 1 36,0 0-22,-1-1 25,1 1-26,0-1-12,0 1 13,-1-1-10,1 1 2,0-1 3,0 1-4,0-1 7,0 1-29,-1-1 21,1 1-25,0-1 10,0 1 10,0-1-14,0 0 13,0 1-2,0 0 0,-1-1-3,1 1 5,0-1 12,0 1-8,0 0 10,0-1 12,-1 0-16,1 1 19,0 0-24,0-1-1,0 1 3,0 0-2,0-1-5,0 1 5,0-1-4,0 1 6,0-1-9,-1 1 7,1 0-9,0-1 11,0 1-11,0-1 7,0 1-10,0-1 8,-1 1-1,1 0-1,0-1 2,0 1-4,0-1 2,0 1-1,0-1 3,0 1 1,0-1-1,0 1 1,-1-1 0,1 1 0,0 0 0,0-1-1,0 1 10,0-1-8,0 1 9,0-1-10,0 1 1,0-1-1,0 1 2,0-1-27,0 1 19,0-1-20,0 1 10,0-1 11,0 0-13,0 1 15,0-1 1,0 1-3,0-1 1,0 1-2,-1-1 9,1 1-7,0-1 5,0 1 5,0-1-10,0 1 11,0-1-11,0 1 12,0-1-8,0 0 11,0 1-10,0-1 1,0 1 1,0-1-2,0 1-1,1-1 1,-1 0-1,0 1 0,0-1 1,0 1-1,0 0 0,0-1-4,0 0 3,0 1-4,0-1 5,0 1 0,0-1 0,0 0-1,0 0-32,0 1 23,0-1-23,0 0 29,0 1 5,0-1-5,0 0 4,0 0-6,0 1 30,0-1-23,0 0 23,0 0-10,0 1-12,0-1 14,1 0-18,-1 1 9,0-1-6,0 0 10,0 0-12,0 0 7,0 0-6,1 1 9,-1-1-14,0 0 10,0 0-11,0 0 10,1 1-9,-1-1 5,0 0-7,0 0 6,0 0-1,0 0 0,0 0 2,1 1 0,-1-1 0,0 0 0,1 0 0,-1 1 0,0-1 0,0 0 0,1 0-8,-1 0 6,0 1-6,0-1 8,0 0-11,0 0 7,1 1-7,-1-1 11,0 0-2,0 1 3,1-1-4,-1 0 5,0 0-4,0 0 4,0 1-2,0-1-2,1 0 2,-1 0-3,0 0 21,0 1-15,0-1 18,1 0-21,-1 0 11,0 0-7,0 1 8,0-1-23,0 0 13,1 0-13,-1 1 14,0-1-21,0 0 16,0 0-18,0 1 19,0-1 0,0 1-2,0-1 2,0 0-1,0 0 0,1 0-3,-1 0 2,0 1 11,0-1-8,0 0 10,0 0-7,0 1-3,0-1 4,0 0-2,0 0-1,0 1 1,0-1 0,0 0-15,0 0 10,0 1-10,0-1 13,0 0-6,0 1 4,0-1-4,0 0 3,0 1 3,0-1-4,0 1 3,0-1 2,0 0-2,0 1 3,0-1-5,0 0 5,0 1-3,0-1 5,0 1-6,0-1 3,0 1-2,0-1 2,0 1-1,0-1 0,0 1 0,0-1-1,0 1 1,0 0 0,0-1 0,0 1 0,0 0 0,0-1 0,0 1-1,0 0 2,0 0-1,0-1 0,0 1 0,0 0 11,0 0-8,0 0 9,0-1-13,0 1 3,0 0-3,0 0 3,0 0-6,0-1 4,0 1-4,0 0 6,0 0-3,0 0 2,0-1-1,0 1 13,0-1-9,0 1 10,0 0-13,0-1 25,0 1-17,0 0 20,0-1-30,0 1 5,-1-1-3,1 1 5,0-1-22,0 1 16,0 0-18,0 0 23,0 0-11,0-1 7,0 1-10,0 0 11,0-1-8,0 1 6,0 0-10,-1 0 11,1-1-7,0 1 7,0 0-4,0 0 2,0-1 0,0 1 0,0 0 0,0-1 1,0 1 0,0-1 0,0 1-19,0-1 13,0 1-16,0-1 19,-1 1-1,1-1 1,0 0-2,0 1-9,0-1 4,0 1-5,-1-1 5,1 0 3,0 1-3,0 0 3,0-1 7,-1 1-5,1-1 7,0 1 4,-1 0-8,1-1 9,0 1-11,0-1 14,-1 1-10,1 0 11,0 0-4,-1-1-7,1 1 10,-1-1-9,1 1 0,0-1 2,0 1-2,0-1 2,-1 0-30,1 1 21,0-1-22,0 0 27,0 1 0,-1-1-2,1 0 0,0 1 1,0-1 0,-1 1-1,1-1 7,0 0-8,0 1 8,-1-1-8,1 1 7,0-1-3,-1 1 4,1-1-4,-1 1 10,1-1-5,-1 1 6,1 0-9,0-1-1,-1 1 0,1-1 1,0 1-3,-1-1 2,1 1-1,-1-1-1,1 1 2,0-1-2,0 1 2,-1-1-2,1 1 1,0-1-1,0 1 1,-1-1-1,1 1 0,0-1 0,-1 0-3,1 1 2,0 0-2,0-1 3,0 0-9,-1 1 7,1-1-8,0 1 12,-1-1-3,1 1 3,0-1-4,-1 1 5,1-1-3,0 1 3,0-1-4,-1 1 3,1-1-3,0 1 4,0-1-5,0 1 2,0-1-2,-1 1 3,1 0 0,0-1-1,0 1 1,0 0 0,0-1 0,0 1 1,-1 0-2,1-1 1,0 1 0,0 0 1,-1-1-2,1 1 2,0 0-1,0-1 1,0 1-4,0 0 3,-1-1-3,1 1-3,0-1 4,0 1-4,-1 0 5,1-1 0,0 0 0,0 1 1,0 0-2,0-1 4,0 1-2,0 0 2,0-1-3,0 0 26,-1 1-19,1 0 21,0-1-1,0 1-17,0-1 19,0 1-21,0-1 1,0 1 1,0-1-1,0 0-4,0 1 3,0-1-2,0 1 5,0-1-7,0 0 5,0 0-6,0 1 6,0-1-17,0 0 9,0 1-11,0-1 3,0 0 9,0 1-9,0-1 11,0 1-7,0-1 4,0 1-5,0-1 11,0 0-5,0 1 5,0 0-6,0-1 23,0 0-16,0 1 17,0-1-20,0 1 1,0-1 1,0 1 0,0 0-8,0-1 5,0 1-3,0-1 5,0 1-9,0 0 7,0-1-8,0 1 0,0 0 6,1-1-6,-1 0 6,0 1-4,0 0 2,0-1-3,0 1 3,0 0 0,0-1 0,0 0 1,1 1 0,-1-1 0,0 1 0,0 0 0,1-1 0,-1 1 0,0-1 0,0 1 9,0-1-7,1 1 8,-1 0-9,1-1 0,-1 1 0,0-1 0,0 1 0,0 0 2,0-1-1,1 1 1,-1 0-5,0-1 4,0 1-4,0-1 4,0 1-2,0 0 1,0-1-1,0 1 1,1 0-4,-1-1 3,0 1-3,0-1 2,0 1 1,1-1 0,-1 0 0,0 1-1,0-1 1,1 0 0,-1 1 0,0-1 0,0 0 0,0 1 0,0-1 0,1 0 2,-1 1-2,0-1 3,0 0 11,0 0-10,0 1 11,0-1-7,0 0-5,0 0 6,1 1-5,-1-1-11,0 0 7,0 1-7,1-1-12,-1 0 17,0 0-18,0 1 20,0-1-18,1 0 11,-1 0-12,0 1 18,0-1-2,0 0 1,1 0-5,-1 1 7,0-1-5,0 0 5,0 1-6,1-1 12,-1 1-7,0-1 9,0 0-8,0 0-3,0 1 4,0-1-2,1 0-13,-1 1 9,0-1-10,0 0 17,0 1-4,0-1 3,0 1-5,0-1 7,0 0-5,1 1 4,-1-1-5,0 0 3,0 1-2,1-1 3,-1 0 2,0 1-3,1 0 5,-1-1-6,0 0-15,0 1 11,1-1-13,-1 1 7,0-1 5,0 0-6,0 1 7,1-1 5,-1 1-6,0-1 5,0 1-6,0-1 12,0 0-8,1 1 8,-1-1-6,0 0-2,0 1 4,0-1-4,0 0 2,1 1-2,-1-1 5,0 0-5,0 1 3,0-1-3,0 0 2,0 0-4,0 0 2,0 1-3,0-1 4,0 0-4,0 0 3,0 1-3,0-1-22,0 0 17,0 0-19,0 0 24,0 0-13,0 1 8,0-1-11,0 0 24,0 0-8,0 1 7,0-1-10,0 0 21,0 0-16,0 0 17,0 0-22,0 0 29,0 1-19,0-1 24,0 0-14,0 0-5,0 0 8,0 1-9,0-1-2,0 0 4,0 0-3,0 0-3,0 1 3,0-1-3,0 0 2,0 0-7,0 1 6,0-1-7,0 0 8,0 0-10,0 1 7,0-1-7,0 0 6,0 0 0,0 0 0,0 1 0,0-1-5,-1 0 3,1 1-4,0-1-1,0 0 5,0 1-6,0-1 7,0 0 1,-1 1-1,1-1 1,0 0-2,0 1-8,0-1 5,-1 0-5,1 1-1,0-1 7,0 1-8,-1-1 9,1 1 1,0-1-1,0 1 1,-1-1 7,1 1-6,0-1 7,0 1-10,0-1 9,-1 1-6,1-1 7,0 0-8,0 1 4,0-1-2,-1 0 2,1 1-13,0-1 7,0 1-5,0-1 9,0 1-12,0-1 8,0 0-11,0 1 11,0-1-2,0 0 1,0 1 0,0-1 10,0 0-7,0 0 7,0 0-10,0 1 16,0-1-11,0 0 11,0 0-9,0 0-3,0 1 6,1-1-5,-1 0 6,0 0-5,1 0 4,-1 0-3,0 0 0,1 1-1,-1-1 1,0 0-1,0 0 0,1 0 0,-1 0 0,0 1-6,0-1 5,1 0-6,-1 0 7,1 0-1,-1 0 1,0 0-1,1 0 1,-1 1-1,0-1 1,1 0 9,-1 0-8,0 0 9,1 0-10,-1 0 4,0 0-3,0 0 4,1 0-4,-1 0-6,0 1 5,0-1-4,0 0 2,0 0 4,0 0-4,0 0 3,0 0-3,0 1 2,0-1-1,0 0 1,0 0 0,0 0-1,0 1 1,0-1 13,-1 0-10,1 0 12,0 0-14,0 1 3,0-1-2,-1 0 3,1 1-7,0-1 4,-1 1-4,1-1 5,0 0-5,0 1 3,-1-1-3,1 0-2,0 1 4,0-1-4,-1 0 5,1 1-2,0-1 0,0 0 0,-1 0 0,1 1 1,0-1 0,0 0 0,0 1 7,-1-1-6,1 1 7,0-1-8,0 0 16,0 1-11,-1-1 13,1 1 4,0-1-14,0 1 16,0-1-18,0 0-7,0 1 7,-1-1-7,1 1 9,0-1-8,0 0 8,0 1-8,0-1-6,0 1 9,0-1-12,0 0 14,0 1-15,0-1 11,0 1-14,0-1 3,0 0 5,0 1-6,0-1 9,-1 1-3,1-1 1,0 1-2,0-1 3,0 1 5,0-1-5,0 0 4,0 1-4,0-1 2,0 1-2,0-1 2,0 1-15,0-1 10,0 0-10,0 1 13,-1-1-16,1 1 12,0-1-14,0 1-4,0 0 13,-1-1-16,1 0 20,0 1 6,0 0-6,-1-1 5,1 1 12,0-1-15,0 1 16,0-1-18,-1 1 8,1-1-4,0 1 6,-1-1 7,1 0-11,0 1 13,0-1-14,-1 1 9,1 0-6,0-1 7,0 0-7,0 1 10,0-1-7,0 1 6,-1-1-10,1 0 2,0 1-1,0 0 1,0-1-2,0 1 1,-1-1 0,1 1 0,0 0 0,0-1 1,0 0 0,0 1-3,-1 0 3,1-1-3,0 1 3,0-1 2,0 1-2,0 0 2,0-1 1,0 1-3,0-1 3,0 1-1,0-1-2,0 1 2,0-1-2,0 1 17,0-1-11,0 1 12,0-1-16,0 0 6,0 0-3,0 1 4,0-1-5,0 1 8,0-1-5,0 0 7,0 1-8,0-1-1,0 0 0,0 0 3,0 1-11,0-1 7,0 0-7,0 1 19,0-1-8,0 0 8,0 0-11,0 0-10,0 1 6,0-1-7,0 0 10,0 0-5,0 1 4,0-1-3,0 0-20,0 0 17,0 0-19,0 1-7,0-1 21,0 0-23,0 0 27,0 1-11,0-1 5,0 0-10,0 1 11,0-1 11,0 0-7,0 0 9,1 0-13,-1 1 17,0-1-12,0 0 13,0 0-8,0 1-6,0-1 9,0 0-5,0 0-4,0 0 5,0 1-8,1-1 8,-1 0-1,0 0 0,0 1-1,0-1-1,0 0 1,0 1-1,0-1 0,1 0-6,-1 0 5,0 0-5,0 0 9,0 0-2,0 0 3,1 1-4,-1-1 7,1 0-4,-1 0 5,0 0-4,1 0-2,-1 0 2,0 0-2,0 0-7,1 0 5,-1 0-4,0 0 6,1 0-12,-1 0 8,0 0-11,1 0 16,-1 0-3,0 0 2,1 0-4,-1 0 4,1 0-4,-1 0 3,1 0 4,-1 0-4,1 0 5,-1 0-7,1 0 7,-1 0-5,1 0 7,-1 0-7,1 0 6,-1 0-5,0 0 4,1 0-3,-1 0-1,1 0 0,-1 0-1,1 1 1,-1-1 0,0 0 1,1 0-1,-1 0 0,1 0 0,-1 0 0,0 0 0,1 0 0,-1 0 0,0 0-1,1 0 1,-1 0 0,0 0 0,1 0 0,-1 0 0,1 0 0,-1 0 0,0 0 1,1 0 0,-1 0 0,0 0 9,1 0-7,-1 0 8,1 0-10,-1 0-1,0 0 1,1 0 0,-1 0 1,1 0-2,-1 0 1,1 0 0,-1 0-2,1 0 2,-1 0-2,1 0-1,-1 0 3,0 0-3,1-1 3,-1 1-17,0 0 12,1 0-12,-1 0 14,1 0-8,-1 0 4,0 0-5,1 0 9,-1 0-1,1 0 1,-1 0-2,0 0 7,1 0-5,-1 0 4,1 0 2,0 0-7,-1 0 8,1-1-7,-1 1 1,1 0-1,-1 0 2,1 0-1,-1 0-22,1 0 16,0 0-19,-1 0 23,1 0 3,-1 0-3,0 0 2,1 0-2,-1 0-4,1 0 3,-1 0 0,0 0-1,0 0 1,1 0-1,-1 0-20,1 0 14,-1 0-13,0 0 18,0 0-15,1 0 11,-1 0-12,0 0 14,1 0-2,-1 0 1,0 0-3,1 0 22,-1 0-17,0 0 16,1 0-9,-1 0-7,1 0 8,-1 0-9,0 0 20,1 0-15,-1 0 19,1 0-20,-1 0 12,1 0-7,-1 0 6,0 0-5,1 0-1,-1 0 1,1 0-2,-1 0 0,0 0 1,0 0-1,1 0 0,-1 0 0,0 0 0,1-1 0,-1 1 0,0 0 0,1 0 0,-1 0 0,0 0 0,1 0 0,-1 0 0,0 0 0,1 0 0,-1 0 0,1 0 0,-1 0 0,0 0 0,0 0 0,1 0 0,-1-1 11,1 1-8,-1 0 9,0 0-5,0 0-4,1 0 5,-1 0-5,1 0-3,-1 0 3,0 0-1,1 0-6,-1 0-2,0 0 0,1 0 0,-1 0 4,1 0 2,-1 0-4,0 0 4,0 0-1,1 0 1,-1 0-3,0 0 4,0 0-3,1 0 3,-1 0-2,0 0 1,0 0 0,0 0 2,1 0-2,-1 0 1,0 0 0,0 0-1,0 0 0,0 0 0,0 0 0,0 0 0,1 0 0,-1 0 0,0 0-25,0 0 17,0 0 53,0 0-24,0 0 53,0 0-62,0 0-22,0 1 15,-1-1-16,1 0 2,0 0 11,0 1-15,0-1 16,0 0-11,0 0 8,-1 0-6,1 1 34,0-1-19,0 0 21,0 1-28,0-1 7,-1 0-3,1 0 5,0 1-5,0-1 14,0 0-7,0 0 8,0 0-8,0 0 2,0 0 1,0 1 1,0-1-27,0 0 14,0 0-16,0 0-25,0 0 32,0 0-34,0 1 39,0-1-1,0 0-1,0 0-2,0 0 0,0 0 2,0 0 37,0 0-24,0 0 54,0 1-49,0-1 14,0 0-18,1 0-17,-1 0 12,0 0-12,1 0 16,-1 0-20,0 0 16,1 0-17,-1 0 4,1 0 8,-1 0-12,1 0 12,-1 0-2,1 0-3,-1 0 1,1 0-6,-1 0 8,1 0-7,-1 0 7,1 0 0,-1 0 0,1 0 0,0 0-1,-1 0 1,1 0 0,-1 0 1,1 0-1,0 0 0,0 0 0,-1 0 0,1 0 0,0 0 0,0 0 1,-1-1-1,1 1 0,-1 0 0,1 0 0,0 0 0,-1 0 0,1 0 0,-1 0 0,1 0 1,0 0 0,-1 0 1,1 0-2,-1 0 0,1 0 0,-1 0 0,0 0-6,1 0 5,-1 0-5,0 0-6,1 0 9,-1 0-9,1 0 10,-1 0-2,0 0 1,1 0-2,-1 0 2,1 0-10,-1 0 7,1 0-8,-1 0 8,1 0 10,-1 0-8,1 0 8,-1 0-17,1 0 6,-1 0-6,1 0-17,-1 0 19,0 0-20,1 0 22,0 0 1,-1 0-2,1 0 0,-1 0 0,1 0 9,-1 0-8,1 0 7,-1 0 11,1 0-13,-1 0 14,1 0-20,0 0 21,-1 0-15,1 0 18,-1 0-31,1 0 12,-1 0-11,0 0 15,1 0-6,-1 0 5,1 0-6,-1 0 4,1 0-32,-1 0 21,0 0-23,1 0 34,0 0-3,-1 0-1,0 0-2,1 0-4,-1 0 3,0 0-3,1 0 23,-1 0-16,1 0 16,-1-1-18,0 1 4,1 0-2,-1 0 3,0 0-3,0 0 8,1 0-5,-1 0-77,0 0 36,0 0-52,0 0 68,0-1 15,0 1 24,0 0-17,0 0 21,1 0-3,-1 0-13,0 0 15,0 0-17,1 0 10,-1 0-5,0 0 7,1 0-6,-1 0-5,0 0 6,1 0-6,-1 0-18,0 0 13,1 0-13,-1 0 18,1 0-1,-1 0 0,0 0-3,1 0 11,-1 0-8,1 0 8,-1 0-10,1 0 10,0 0-7,-1 0 9,1 0-17,-1 0 6,0 0-5,1 0 7,-1 0 4,0 0-3,1 0 4,-1 0-4,0 0 44,1 0-32,-1 0 34,0 0-65,1 0 18,-1 0-17,0 0 23,0 0-33,0 0 23,1 0-33,-1 0 49,0 0-12,0 0 15,0 0-10,0 0-1,0 0-4,0-1 4,0 1-4,0-1-10,0 1 11,0-1-11,0 0 14,0 0-8,0 1 5,0-1-6,0 1 8,0-1-3,0 0 3,0 1-4,0-1-13,0 1 8,0-1-9,0 1 13,0-1 0,0 1-1,0 0 1,0-1 12,0 1-9,0 0 9,0-1-12,0 1 26,0 0 45,0 0-26,0 0 23,0 0-66,0 0 3,0 0-3,1 0 2,-1 0-4,0 0 2,0 0-2,0-1-24,1 1 20,-1 0-23,0-1 29,0 1-8,1 0 6,-1-1-8,0 1 6,1-1 2,-1 1-3,0-1 5,0 1 6,0-1-8,0 1 9,1-1-12,-1 1 8,0 0-5,0-1 7,0 1 2,0 0-4,0-1 6,0 1-7,0-1 1,0 1 0,0 0 1,0-1-2,0 1 8,-1-1-6,1 1 7,0 0 18,0 0-19,-1 0 22,1-1-26,-1 1 34,1 0-24,0 0 27,-1 0-39,1-1 7,0 1-6,-1 0 9,1 0-1,0-1 2,-1 1-1,1 0 1,-1 0-11,1 0 7,-1 0-9,1-1-6,-1 1 13,1 0-15,-1 0 16,1 0-4,0-1 3,-1 1-5,1 0 6,-1 0-3,1-1 4,-1 1-3,1 0-10,-1 0 7,1 0-6,-1-1 8,1 1-8,0-1 6,-1 1-7,1 0 5,0-1 1,-1 1-2,1-1 1,0 1 21,-1 0-15,1-1 15,0 1-6,0-1-8,-1 1 10,1-1-12,-1 1 17,1 0-12,0-1 14,-1 1-15,1 0-13,-1-1 8,1 1-8,-1 0-2,1-1 11,-1 1-11,0 0 11,1 0 1,-1 0-3,1 0 2,-1-1 5,0 1-3,0 0 3,1-1-6,-1 1-7,0 0 6,0 0-5,0-1 7,1 1-2,-1 0 1,0 0 1,0 0-8,0-1 5,1 1-6,-1 0 7,0 0 16,0-1-13,1 1 13,-1 0-13,1 0-1,-1 0 1,0 0-2,0-1-7,1 1 6,-1 0-5,1 0 8,-1 0-11,1-1 7,-1 1-6,1 0 1,-1 0 6,1-1-6,-1 1 5,1 0 23,-1-1-18,0 1 19,1 0-29,-1 0 5,1-1-3,-1 1 5,0 0-3,0 0 4,1-1-4,-1 1 6,1 0 4,-1-1-3,0 1 4,1 0-4,-1 0-3,0 0 3,1 0-3,-1-1-11,1 1 9,-1 0-9,0 0 2,1 0 7,-1-1-7,1 1 8,-1 0-8,1 0 5,0 0-5,-1 0 5,1 0-1,0 0-2,-1-1 0,1 1 5,-1 0-2,1 0 3,0 0-3,-1-1 5,1 1-4,-1 0 6,1 0-9,-1 0 2,1 0-1,-1-1 2,1 1-3,-1 0 2,1 0-3,-1 0 4,1 0-4,-1 0 3,1-1-4,0 1 3,-1 0 0,1 0-1,0 0 1,-1 0 1,1-1 0,0 1 0,0 0 0,-1 0-1,1 0 0,0 0 0,0 0-6,0 0 4,0 0-4,0-1 5,0 1 1,0 0-10,0 0 5,0 0-42,0 0 35,0 0-28,0 0 36,0 0-4,0-1 3,0 1-4,0 0 1,0 0 18,0 0-13,0 0 12,0-1 2,0 1-15,0 0 16,0 0-16,0-1 9,0 1-4,0 0 6,0 0-4,0-1-3,0 1 7,0 0-6,0-1-3,0 1 1,0 0-4,0 0 6,0-1-3,0 1 2,0 0-3,0-1 3,0 1-1,0 0 1,0-1-1,0 1 2,0 0-2,0-1 2,0 1-3,0 0 1,0-1-1,0 1 2,0 0-18,0-1 12,0 1-12,1 0 16,-1 0-16,0-1 10,0 1-11,0 0 13,0 0 1,0 0-2,0 0 0,0 0 12,0 0-9,0-1 10,0 1-1,0 0-8,0 0 11,0-1-11,0 1 7,0 0-3,1 0 4,-1 0-4,0-1 0,0 1 0,0 0 0,0 0-1,0 0 1,0-1 0,0 1-1,0 0 0,0 0 0,0 0 0,0 0-12,0-1 8,0 1-9,0 0 11,0 0 4,0 0-3,0 0 3,1-1-4,-1 1 4,0 0-3,0 0 3,0 0-13,0 0 6,0 0-5,0 0 8,0-1-14,0 1 10,0 0-11,0 0 18,0 0-4,0 0 4,0 0-7,0-1 4,0 1-3,0 0 2,0 0-2,0 0 6,0 0-4,0 0 6,0-1-7,0 1 1,0 0 0,0 0 2,0 0 0,0-1 0,0 1 3,0 0-5,0 0-5,0 0 2,0 0-15,0 0 16,0-1-9,0 1 10,0 0 1,0 0 0,0 0 0,0 0 5,0 0-6,0 0 6,0-1-7,0 1 0,0 0-3,0 0-38,0 0 25,0 0-68,0-1 18,0 1-86,0 0-124,0 0 49,0 0-13,0 0-44,0 0 217,0 0-128,0 0 200,0-1 0,-1 1 0</inkml:trace>
  <inkml:trace contextRef="#ctx0" brushRef="#br0" timeOffset="190">2275 1650 9038,'3'0'-84,"-2"0"447,0 0-128,0 0-147,0 0-42,0 0-120,1 0 35,-1-1 54,1-1 10,0 0-20,0 0 54,0-1-60,0 0 64,1-2-49,-1 1-6,1-1-8,0 0 15,0 0-31,0 0-25,0 0-2,0 1 6,-1 0 23,0 1-34,-1 0 9,1 0-159,-2 2 92,1 0-111,0 0 127,-1 1 39,-1 0 51,1 1 0,-1 0 0</inkml:trace>
  <inkml:trace contextRef="#ctx0" brushRef="#br0" timeOffset="191">523 1590 9502,'-1'-1'-397,"1"1"292,0 0 44,0 0-107,0-1 318,0 1-77,0 0 170,0 0-141,0 1-48,0-1 7,-1 1-6,1 0 0,0-1-13,0 1 16,0-1-14,0 1 14,0 0-8,0-1 3,0 1-4,0 0-20,0 0 14,0 0-19,0-1 22,0 1 27,0 0-20,0 0 27,0-1-81,0 1 40,0 0-42,0 0 36,0 0 8,0-1-5,0 1 7,1 0-23,-1 0 14,0 0-24,0 0 27,0 0-16,0 0 11,0 0-13,0 0 24,1 0-13,-1 0 11,0-1-7,0 1 13,0-1-5,0 1 4,1-1-49,-1 1 26,0-1-24,0 1 34,0 0-55,1-1 37,-1 1-45,0 0 59,0-1-27,0 1 19,1 0-26,-1-1 49,0 1-24,0-1 21,0 1-18,1-1-5,-1 1 7,0-1-8,0 1-14,1-1 17,-1 0-15,0 1 25,0-1-24,1 0 16,-1 1-17,0-1 17,1 0 33,-1 1-26,0-1 24,1 0-12,-1 0-14,1 0 20,-1 1-25,0-1 1,0 0 0,1 0 1,-1 0-23,1 0 27,-1 0-27,0 0 34,1 1-86,-1-1 15,0 0-72,0 0 59,0 1-12,0-1 40,0 1-9,1-1 26,-1 0 1,0 1-6,0-1-2,0 0 30,0 0 19,0 1 4,0-1 5,1 0-41,-1 0 9,0 0-1,0 0 5,0 0 6,1 0-3,-1 0 0,0 0-45,0 1 31,0-1-33,0 0-8,0 0-15,0 0-31,1 0 46,-1 0-78,0 0 91,0 0-53,0 0 56,0 1 26,0-1-23,-1 0 34,1 0-24,0 0 32,0 1-16,0-1-8,-1 0 10,1 1-9,0-1 28,0 1-15,-1-1 18,1 0-30,0 1-2,-1 0 1,1-1 1,0 1 21,-1 0-15,1 0 17,-1 0-19,1 0-12,-1 0 8,1 0-10,0-1 3,-1 1 7,1 0-7,0 0 6,0 0-14,-1 0 10,1 0-10,0-1 25,-1 1-8,1 0 8,0 0-12,0 0 22,0 0-15,-1 0 17,1 0-21,0 0-4,0 0 4,-1 0-2,1 0-8,0 0 11,-1 0-11,1 0 13,0 0 4,0 0-4,0-1 3,-1 1-22,1 0 12,0-1-14,0 1 16,0-1-8,0 0 6,0 1-6,-1-1 7,1 0 7,0 1-5,0-1 6,0 0 6,0 1-9,-1 0 9,1-1-12,0 1 19,-1-1-13,1 1 17,0 0-27,0 0 8,-1-1-7,1 1 9,0 0-22,0-1 16,-1 1-16,1 0 18,-1 0-17,1-1 10,0 1-12,0-1 15,0 1 2,0-1-6,0 1 4,-1-1 0,1 0 0,0 1 4,0-1-5,0 1-5,0-1 4,0 0-3,0 1 1,-1-1 4,1 1-4,0-1 5,0 1-9,0-1 5,-1 1-6,1-1-9,0 1 11,0 0-13,0-1 15,0 1-1,-1-1 0,1 1 0,0 0 0,0-1 0,0 1 0,0 0-1,0-1 3,0 1-2,0-1 2,0 1-3,0 0 5,0-1-2,0 1 2,0-1-1,0 1-2,0-1 3,0 0-3,0 1-2,0-1 1,0 0-4,0 1-10,0-1 11,0 0-11,0 1 13,0-1 4,0 0-3,0 1 1,0-1-3,0 1 16,0 0-11,0-1 12,0 0-9,0 1-4,0-1 5,0 1-4,0-1 7,1 1-3,-1-1 4,0 1 45,0-1-39,1 0 44,-1 1-53,0-1 18,1 0-11,-1 1 12,0-1-18,1 1 6,-1-1-6,0 0 9,0 1-9,0-1 9,0 1-8,1-1 9,-1 0-34,0 1 22,0-1-23,1 1 27,-1 0 2,0-1-8,0 1 3,0-1-15,0 1 12,0-1-9,1 0 12,-1 1-12,0-1 9,0 1-11,0-1 3,0 0 5,1 1-7,-1 0 7,0-1 1,1 1-2,-1 0 2,0 0 23,0 0-17,0-1 16,1 1-22,-1 0 4,0 0 0,0 0 3,0 0-4,1-1 68,-1 1-49,0 0 55,0-1-86,0 1 20,1-1-17,-1 0 23,0 1-19,0-1 16,0 0-13,0 0-88,0 0 67,1 0-92,-1 0 82,0 1 1,0-1 1,0 0 17,0 0 0,0 0 1,0 1-5,0-1 51,0 0-37,0 0 40,0 0-23,1 1-16,-1-1 21,0 0-17,0 1 4,0-1 4,0 0-2,0 1 2,0-1-54,0 0 41,0 0-42,0 0 17,0 0 16,0 0-25,0 0 30,0 1-4,0-1 17,0 0-14,0 0 10,0 0-12,0 0 8,0 0-4,0 1 5,1-1 0,-1 0-6,0 0 10,0 0-9,0 1 6,0-1-3,0 1 0,0-1 41,0 0-30,0 1 33,0-1-42,0 1 45,0-1-30,0 0 33,0 1-39,0-1-15,0 1 13,0-1-12,0 0 18,0 1-38,0-1 32,0 0-29,0 0-5,0 0 25,0 1-32,0-1 24,0 0 1,0 0-8,0 0 6,0 0 4,0 1 2,0-1 0,0 0-2,0 1 9,0-1-6,0 0 9,0 1-6,0-1 1,0 0 0,0 1 0,0-1-1,0 0 1,0 1-1,0-1-1,0 1 0,-1-1 1,1 1-1,0-1 10,0 1-7,0-1 9,0 1-12,0-1 20,0 1-14,0-1 16,-1 1-19,1-1-3,0 1 2,0-1-1,0 0-23,0 1 21,0-1-22,0 1 27,0-1-20,0 1 13,0 0-14,-1-1 13,1 1 3,0 0-7,0 0 5,0-1 2,0 1-1,0 0 2,0-1-5,-1 1 10,1 0-7,0-1 9,0 1-4,0-1-2,0 1 3,0-1-3,0 1-1,0-1 1,0 0 0,0 1 2,0-1-2,0 1 2,-1-1-3,1 1 7,0-1-4,0 1 5,0-1-6,0 1 0,0-1 1,-1 1-1,1-1-3,0 1 2,0-1-2,0 1 1,0 0 1,0-1 0,-1 1 0,1 0-3,0 0 2,0-1-3,-1 1 3,1 0-2,0-1 1,0 1-1,0-1 1,0 1 1,0 0-1,0-1 1,-1 1 0,1-1 0,0 0 0,0 1 5,0-1-4,0 1 5,-1-1-6,1 1 16,0 0-11,0-1 12,-1 1-14,1-1 4,0 1-1,0-1 2,0 1-2,0-1-9,-1 1 7,1 0-7,0-1 0,0 1 5,-1 0-7,1-1 9,0 1-9,0-1 6,0 1-7,0 0 35,0-1-22,0 0 23,-1 1-27,1-1-2,0 1 3,0-1-2,0 0 4,0 1-9,0-1 9,0 0-9,-1 1 12,1-1-4,0 0 3,0 1-6,-1-1-2,1 0 0,-1 1-1,1-1-3,-1 1 3,1-1-4,0 1 5,0-1-2,-1 1 2,1 0-2,0-1 3,-1 1-1,1 0 0,0-1-2,0 1 1,0-1-1,-1 1 1,1-1 1,0 1 0,0-1 0,0 0 0,-1 1 0,1-1 0,0 1 0,0-1 0,0 0 0,-1 0 0,1 1 0,0-1 0,-1 0 0,1 1 0,0-1 0,0 1-8,0-1 6,-1 1-6,1-1-8,0 1 10,0-1-12,0 1 15,-1-1-6,1 1 4,0-1-6,0 1 6,0-1 8,0 1-5,-1-1 5,1 1-8,0-1 12,0 1-9,0-1 11,0 1-8,0-1-1,0 1 2,0-1 2,0 1-4,0 0 5,-1-1-5,1 1 2,0-1-2,0 1 1,0-1 0,0 1-5,0 0 3,-1-1-3,1 0 4,0 1-32,0 0 23,0-1-26,0 1 32,0 0-2,-1-1 0,1 1-2,0-1 5,0 1-4,-1-1 2,1 1 11,0-1-11,0 1 10,0 0-11,0-1 11,0 1-6,-1 0 9,1-1-4,0 1-5,0 0 7,0-1-6,0 1 0,-1-1 0,1 1-1,0-1 0,0 1 0,0-1 0,0 0 0,0 1-11,0-1 8,0 1-8,0-1 9,0 0-7,-1 0 4,1 1-5,0-1 11,0 0-3,0 1 3,0-1 1,0 0-4,0 1 5,0 0-6,0-1 13,0 1-8,0 0 8,0-1-10,0 1 7,1 0-3,-1-1 4,0 1-3,0 0 7,0-1-5,0 1 6,0 0-43,0-1 24,0 1-25,0-1 20,0 1 7,0 0-8,0-1 8,0 1 1,0-1-1,0 1 0,0 0-3,0-1-3,0 1-1,0 0-1,0-1-5,0 1 8,0-1-7,0 1 10,0 0-10,0-1 7,0 1-6,0 0 8,0 0 12,0-1-10,0 1 7,0-1 5,0 1-12,0 0 13,0-1-14,0 1 8,0 0-6,0-1 8,0 0-13,0 1 3,0 0-2,1-1 3,-1 0 3,0 1-1,0 0 0,0-1-2,0 1-4,0-1 1,0 1-2,1-1 6,-1 1-1,0-1 2,0 1-2,0-1-3,1 1 1,-1-1 1,0 0 0,1 1-5,-1-1 4,0 1-5,0-1 6,1 1 10,-1 0-8,0-1 14,0 1-14,0-1 4,0 1-5,1-1-1,-1 1 0,0-1 0,0 0 1,0 1 10,1-1-7,-1 1 9,0-1-9,0 1-19,1-1 14,-1 1-16,0-1 18,0 0-24,0 1 17,1-1-19,-1 1 19,0-1 2,0 0-3,0 1 3,0 0 0,1-1 0,-1 0-1,0 1 19,1-1-13,-1 1 15,0-1-18,0 0 18,0 1-11,1-1 14,-1 1-16,0-1-15,0 1 14,0-1-15,0 0 23,1 1-6,-1-1 5,0 0-4,0 1-2,1-1 2,-1 0-5,0 1 5,0-1-5,0 1 5,0-1-4,1 0 8,-1 0-5,0 1 5,0-1 2,0 0-7,0 1 9,0-1-8,0 0 4,1 1-4,-1-1 3,0 0-3,0 0-1,0 0 1,0 0 0,0 1 1,1-1 0,-1 0 0,0 0 1,0 0-23,0 1 15,1-1-17,-1 0 19,0 0-46,0 0 30,0 1-34,0-1 48,1 0-3,-1 0 0,0 0 20,0 1-18,0-1 19,0 0-23,0 0 33,0 1-23,1-1 25,-1 0-26,0 0-18,0 1 17,0-1-16,1 0 30,-1 0-11,0 0 9,0 1-10,0-1 4,1 0-3,-1 0 4,0 1-31,0-1 19,0 0-19,0 0 23,0 0-16,1 1 10,-1-1-13,0 0 16,0 0-12,0 0 10,0 0-15,0 1 24,0-1-12,0 0 12,0 0-14,0 0 23,0 0-17,0 1 17,0-1 3,0 0-14,0 1 19,0-1-22,0 0 15,0 0-11,0 0 14,0 1-15,0-1 28,0 0-19,0 0 19,0 1-23,0-1 1,0 0-1,0 0 2,-1 0-6,1 1 6,0-1-5,0 0-8,0 0 9,0 1-10,0-1 12,0 0-5,0 0 3,-1 0-4,1 1 4,0-1-2,0 1 1,0-1-2,0 0 3,-1 1-1,1-1 2,0 0-2,0 1-16,0-1 11,-1 0-11,1 1 13,0-1 2,0 0-3,0 1 2,0-1 4,-1 1-3,1-1 2,0 0-4,0 1 7,0 0-5,-1-1 6,1 0-2,0 1-2,0-1 3,-1 0-3,1 1 2,0-1-1,0 0 3,0 1-1,0-1-3,0 0 4,-1 0-4,1 1 7,0-1-5,0 0 6,0 0-7,0 0 22,0 0-16,0 0 17,0 1-25,0-1 5,0 0-5,1 0-2,-1 0 6,0 0-6,0 0 7,0 0-4,0 0 2,1 0-3,-1 1-4,0-1 6,0 0-6,0 0 4,1 0-39,-1 0 25,0 1-28,0-1 41,0 0-1,1 0 3,-1 0-6,0 0 10,0 1-7,0-1 7,0 0 1,1 0-8,-1 0 9,0 0-9,0 0 41,1 1-27,-1-1 30,0 0-31,0 0-32,1 0 25,-1 0-26,0 0-7,0 0 23,1 0-26,-1 0 34,0 0-19,1 1 12,-1-1-15,0 0-24,0 0 27,1 0-28,-1 0 32,0 0 20,0 0-19,1 0 18,-1 0-18,0 0 13,0 1-12,1-1 12,-1 0 11,0 0-15,0 0 21,0 0-25,0 0 18,1 0-11,-1 0 12,0 0-4,0 0-8,0 0 13,0 0-32,0 0 19,0 0-20,0 0 20,0 0-8,0 1 5,0-1-8,0 0 8,0 1 2,0-1-2,0 1 0,0-1 24,0 1-21,0-1 22,-1 1-34,1-1 7,0 1-5,-1-1 8,1 1 7,-1-1-5,1 1 8,0 0-8,-1 0 4,1-1-3,0 1 1,0 0-6,-1-1 2,1 0-2,-1 1 5,1 0-1,0-1 1,0 1-2,0-1-9,-1 1 7,1-1-6,0 1 8,0-1-37,0 1 27,-1-1-30,1 0 36,0 0-5,0 1 3,0-1-6,-1 1-2,1-1 2,0 0-3,0 1 4,0 0 12,-1-1-11,1 0 11,0 1 12,-1-1-15,1 1 18,0-1-22,-1 1 62,1-1-45,0 0 50,0 0-61,0 1 28,-1-1-17,1 1 17,0-1-16,0 0-4,0 0 7,0 0-3,0 1-16,0-1 12,0 1-16,0-1 30,0 0-10,0 0 10,0 1-17,-1-1-19,1 1 10,0-1-13,0 1 20,0-1-5,0 1 3,-1-1-4,1 1 2,0-1 3,0 1-3,-1-1 4,1 1 40,0 0-29,0 0 31,0-1-54,0 1 12,0-1-12,0 1 18,-1-1-12,1 1 11,0 0-12,0-1 13,0 1-28,0-1 19,0 1-21,-1 0-7,1-1 23,0 1-29,-1-1 33,1 1-4,0 0 1,0-1 1,-1 1 11,1-1-10,0 1 11,0-1-13,-1 1 6,1 0-2,0-1 3,0 1-4,-1-1 14,1 1-9,0 0 10,0-1-11,0 1 2,-1 0 2,1-1 0,0 1-2,0-1-3,0 1 0,0 0 29,0-1-19,0 1 21,0-1-28,0 1 7,0-1-4,0 1 4,0-1-2,0 0-7,0 1 6,0-1-3,0 0-11,0 0-360,0 1 264,0-1-265,0 0 368,0-1 0,1 1 0</inkml:trace>
  <inkml:trace contextRef="#ctx0" brushRef="#br0" timeOffset="192">2308 1605 9502,'1'-2'-733,"-1"2"798,1-1 162,-1 1-148,1-1-39,-1 1-57,1-1 17,0 1 95,-1-1-23,1 1 27,0-1-33,0 1 65,0 0-45,1-1 58,-1 1-67,0 0-8,0-1 3,1 1-9,0 0-34,0 0 43,0 0-42,0 0 58,0 0-68,0 0 38,1 0-43,-1 0-9,1 0-16,-1 1-16,1-1 18,0 1-3,-1 0 1,1 0-15,0 0-51,-1-1 76,0 1-42,1-1 49,-1 0 20,0 0-19,1 0 17,-1 0-38,0 0 18,1 0-19,0 0 23,-1 0-53,1 0 39,0 0-41,-1 0 52,1-1-148,0 1 33,-1-1-103,0 0 62,1 0 85,-1 1 3,0-1 62,0 0 0,1-1 0</inkml:trace>
  <inkml:trace contextRef="#ctx0" brushRef="#br0" timeOffset="193">1470 1902 9502,'1'0'-126,"0"0"197,0 0-101,-1 0 85,1 0-109,-1 0 32,0 0-3,1 1 42,-1-1 7,0 0 29,0 1 7,0-1 21,0 0-34,0 0 20,0 0-45,-1 0 1,1 0 24,-1 0-33,1 0 23,0-1-23,0 1-8,0-1 25,0-1-25,0 0 31,0 1-22,0-1 14,0 0-21,0 0-3,0 0 18,0 0-19,1 0 21,0-1-56,-1 1 33,1-1-38,0 1 49,0 0-23,0 0 12,0-1-16,1 1 34,-1 0-6,0-1 6,-1 1-4,2 0-8,-1 0 8,0-1-7,0 1-5,0 0 6,0 0-5,0-1 9,0 1-14,1 0 11,-1 0-11,0-1 14,0 1-27,1 0 16,-1 0-19,1 0 17,-1 0 6,0 0-7,1 1 6,-1-1-5,0 0 2,0 1-2,0-1-4,1 1 4,-2 0-3,1 0 5,0 0 3,0 0-1,0 0 3,-1 0-4,1 1-2,0-1 2,0 0-3,0 0-2,0 0 1,0 0-2,1 0 20,-1 0-11,1-1 13,-1 1-17,1 0 37,-1 0-27,1 0 30,-1 0-36,1 0 6,-1 0-5,0 0 9,0 0-27,1 0 19,-1 1-19,0-1 16,0 0 3,0 0-2,0 1 4,0-1 15,0 0-12,1 0 7,-1 0-12,0 1 3,1-2-2,-1 1 4,0 0-5,1 0 6,-1 0-4,1 0 9,-1 1-5,1-1 1,-1 0-1,1 0-1,-1 0-12,0 0 10,0 1-10,0-1 6,0 1 2,1-1-5,-2 1 4,1-1-19,0 1 14,0-1-14,0 1 18,0-1-6,0 1 4,0-1-5,0 1 21,0-1-12,0 1 12,0-1-16,0 1 2,0-1 0,0 0 1,0 0 0,0 1-9,0-1 7,0 0-6,0 0-7,0 1 10,0-1-11,0 0 14,0 1-20,0-1 13,-1 0-17,1 0 17,0 1-9,0-1 2,0 0-2,-1 1 4,1-1 4,-1 0-3,1 1 3,-1 0-4,0-1 4,1 0-4,-1 1 5,1 0-2,-1-1 2,0 1-2,1-1 6,-1 1-3,0-1 3,0 1-5,0 0 20,0 0-14,0-1 15,1 1-18,-1-1-1,0 1 79,0 0-44,0 0 54,0 0-91,0 0 10,0 0-21,0 0 2,1 0 15,-1 0-17,1 0 21,-1 0 30,0 0-23,1 0 22,-1 0-9,0 0-17,1 0 18,-1 0-20,1 0-17,-1 0 15,1 0-11,-1 0 18,1 0-12,-1 0 6,1 0-7,-1 0-28,1 0 26,-1 0-30,1 0 29,0 0-8,0 0-1,-1 0-2,1 0 16,0 0-3,-1 0 5,1 0-8,0 0 29,-1 0-19,1 0 22,-1 0-28,1 0 28,-1 0-20,1 0 24,0 0-12,-1 0-6,1 1 9,0-1-9,0 0-2,-1 0 3,1 1-1,0-1-1,0 0-1,-1 0 0,1 0 0,0 0-21,-1 0 17,1 1-20,0-1 23,-1 0-27,1 0 18,0 0-22,0 0 19,-1 1 0,1-1-1,0 0 2,0 0 2,-1 0-3,1 0 2,-1 0 1,1 1 0,0-1 2,0 0-3,0 0-6,-1 0 5,1 0-4,0 0 6,0 0-8,0 0 6,0 0-6,0 0 0,0 0 5,0 0-6,0 0 6,-1 0-3,2 0 2,-2 0-2,2 0 1,-2 0 0,1 0 1,0 0 0,0 0-5,0 0 3,0 0-3,0 0 4,0 0-5,0 0 3,0 0-3,0 0 6,1 0-1,-1-1 1,0 1-1,0 0 2,1-1-3,-1 0 4,0 1-2,1 0-1,-1-1 2,1 0-2,-1 1 2,0 0 0,1-1 0,-1 0-1,0 1-33,0-1 24,0 0-25,0 1 17,0-1 9,0 0-12,0 1 14,1-1 6,-2 1-5,1-1 5,0 0 3,0 1-8,0-1 10,0 0-12,-1 1 8,1-1-6,0 1 7,0-1-3,-1 1 15,1-1-6,0 1 10,0 0-14,-1-1-1,1 1-1,0 0 0,0 0-3,-1-1 3,1 1-2,0 0 0,-1-1 0,1 1 0,-1 0 1,1 0 34,-1 0-24,1 0 26,0 0-35,-1 0 2,0 0-2,1 0 5,-1 0-10,0 0 9,0 0-8,1 0 32,-1 0-18,0 0 21,1 0-25,-1 0 9,0 0-7,0 0 6,0 0-6,1 0-18,-1 0 13,0 0-15,1 0 17,-1 0-3,1 0 3,-1 0-2,1 0 0,-1 0 2,1 0-4,0 0-1,0 0 25,-1 0-19,1 0 20,0 0-30,0 1 6,0-1-5,-1 0 9,2 0-6,-2 1 3,1-1-2,0 0-2,0 0 6,0 1-6,0-1 5,0 0 20,0 1-15,1-1 16,-2 0-22,2 0-3,-1 1 2,0-1 0,1 0 10,-1 1-1,0-1 1,1 0-1,-1 1-5,1-1 4,0 1-3,-1-1 2,1 0 4,-1 1-3,1-1 2,-1 0-14,1 0 7,0 1-9,-1-1-1,1 0 10,-1 1-10,1-1 10,-1 0 8,1 0-7,-1 0 6,0 1-8,1-1 13,-1 0-8,0 0 9,1 1-11,-1-1 0,0 1 0,0-1 1,1 1-16,-1-1 11,0 0-11,1 0-2,-1 0 13,1 0-14,-1 1 15,1-1-12,0 0 5,-1 0-7,1 0 8,-1 0 0,1 0-2,-1 0 1,1 0-1,-1 0 1,1 0-2,-1 0 1,1 0-13,-1 0 12,0 0-12,1 0 14,-1 0-22,0 0 15,0 0-16,1 0 12,0 0 4,-1 0-5,0 0 3,1-1 10,0 1-8,-1 0 5,1 0-4,-1-1 0,1 0-1,-1 1 2,1-1-2,0 0 2,0 1-1,0-1 10,0 0-15,-1 1 13,1-1-13,0 0 4,0 0 3,0 0-4,0 0 3,-1 1-11,1-1 8,0 0-7,0 0 9,0 1-9,0-1 6,-1 0-6,1 1 17,0-1-8,0 0 8,0 1 2,0-1-9,0 1 10,0-1-12,0 1 16,0 0-11,0-1 13,0 1-15,0 0 12,0-1-8,0 1 11,0 0-12,-1 0 21,1 0-16,0 0 16,-1 0-17,1 0 1,-1 0 1,1 0-1,-1 0-1,0 0 3,1 0-3,-1 0-3,0 0 2,1 0-2,-1 0 4,1 0-6,-1 0 4,0 0-5,1 0 6,-1 0 17,0 0-13,0 0 14,1 0-19,-1 0 2,1 0-1,-1 0 7,0 0-3,0 0 4,1 0-4,-1 0 6,0 0-2,0 1 3,0-1-5,1 0-3,-1 1 3,0-1-4,0 1 2,0 0-13,0-1 9,0 1-19,1 0 19,-1 0-7,0-1 8,0 1 7,0 0-6,0-1 5,1 0-8,-1 1 19,0-1-14,1 1 15,-1-1-18,1 0 56,-1 1-37,1-1 40,-1 0-33,1 1-21,-1-1 24,0 1-25,0-1-9,1 1 11,-1 0-12,1-1 21,-1 1-31,0-1 21,1 1-27,-1-1 13,1 1 7,-1 0-9,1-1 9,-1 1-1,1 0-5,-1 0 2,1-1-5,0 1 9,-1-1-6,1 0 6,-1 1 27,1 0-20,0-1 21,0 1-10,0-1-10,0 0 12,0 1-14,-1-1-7,1 1 5,0-1-3,0 0 6,0 0-14,0 1 10,0-1-11,0 1 13,0-1 0,0 0 0,0 1-3,0-1-9,0 1 2,0-1-3,0 1 6,0 0-7,1-1 3,-1 0-4,0 1-4,0-1 10,0 1-10,0-1 12,1 0 0,-1 0 0,0 1 0,0-1 2,0 0-3,0 0 4,1 0-5,-1 0 4,0 0-3,0 0 3,0 0 1,0 0-2,0 0 4,0 0-5,0 0 0,0 0-1,0 0 0,0 0 2,0 0-12,1 0 8,-2 0-9,1 0 3,0 0 5,0 0-6,1 0 7,-1 0-9,0 0 6,0 0-8,-1 0 9,2 0-9,-2 0 7,2 0-6,-1 0 19,-1 0-9,1-1 8,0 1-11,0 0 12,0-1-8,0 0 10,0 1-11,0-1-1,-1 1 1,1-1 1,-1 0-1,1 1 1,-1-1-1,1 0 1,-1 1 2,0-1-2,1 1 1,-1-1-15,0 0 7,0 0-8,0 1 10,0-1 13,1 0-9,-1 1 9,0-1 0,0 0-7,1 0 8,-1 0-9,1 0 9,-1 0-6,1 0 8,0 0-9,-1 0 7,1 1-6,0-2 9,-1 2-9,1-1 3,0 0-3,-1 0 2,1 0-3,0 1 1,-1-1 0,1 0-5,-1 0 4,1 0-3,-1 0 4,1 0-8,0 0 6,-1 0-7,1 0-1,-1-1 5,1 2-6,0-2 8,-1 1 0,1 0 0,-1 0-1,1-1 1,-1 1 3,0 0-4,1 0 3,-1 0-1,0-1-2,1 1 4,-1 0-3,0 0-22,0 0 16,0-1-16,0 1 10,0 0 7,0 0-8,0-1 9,-1 1-4,1 0 2,0 0-4,-1 0 11,0 0-6,1 0 6,0 0-9,-1 0 11,0 0-7,1 0 8,-1 0-6,1 0 14,-1 0-8,0 0 9,0 1-17,0-1 1,1 0-2,-1 0 4,0 0-4,0 1 4,1-1-3,-1 0 4,0 0-4,0 0 2,1 0-5,-1 1 10,0-1-4,0 0 4,1 1-6,-1-1 6,0 0-4,0 0 5,1 1-5,-1-1 9,0 0-4,1 1 5,-1-1-1,0 1-6,1-1 6,-1 1-6,0 0 3,0-1-2,0 1 4,1-1-4,-1 1 1,0-1 0,1 1-1,-1-1 0,0 1 0,0-1 0,1 1 0,-1 0 0,1-1 0,-1 1 0,0 0 3,1 0-3,-1-1 4,0 1-4,1 0 0,-1 0 0,0 0 0,1 0-23,-1 0 17,0-1-18,1 1 23,-1 0 9,0 0-8,1 0 7,-1 0-5,0 0-4,1 0 5,-1-1-6,1 1 12,-1 0-9,1 0 9,0 0-9,-1 0 2,1-1 1,-1 1 1,1 0-2,0 0-1,-1 0 2,1 0-1,-1 0-18,1 0 12,0 0-16,-1 0 20,1 0-2,-1 0 0,0 0-1,1 0 5,-1 0-5,1 0 4,-1 0-4,1 0 8,0-1-6,-1 1 7,1 0-8,-1 0 5,1 0-2,0-1 3,-1 1-1,1 0-1,0 0 1,-1 0-2,1-1-2,0 1 1,0 0 1,-1-1-2,1 1 1,0 0-1,0-1 1,0 0 0,-1 1-1,1-1 1,0 0 0,0 0 0,0 0 0,0 0 0,0 0 0,0-1 0,-1 1 0,2 0 0,-1-1 0,0 0 0,-1 1 0,1 0 0,0-1 0,0 1 0,0 0 0,-1-1 0,1 1 0,0 0 0,0 0 0,-1-1 0,1 1 0,0 0-20,-1 0 14,1-1-15,-1 2 19,1-2 2,0 1-1,-1 1 0,1-1-2,-1 0 4,1 0-3,0 0 4,0 1 2,-1-1-6,1 0 6,0 1-6,0-1 4,-1 0-2,1 1 3,0 0 7,0-1-8,-1 1 9,1-1-10,0 1 35,0 0-25,-1 0 27,1-1-32,0 1 30,-1 0-18,1 0 18,0 0-36,-1 0 7,1 0-5,0 0 10,0 0-18,-1 0 12,1 0-15,0 0 14,0 1 3,0-1-3,0 0 0,0 1-4,1-1-2,-2 1-1,2-1 1,-1 0-3,0 1 2,1-1-2,-1 1 18,1-1-8,-1 1 10,1-1-12,-1 1 20,1-1-14,-1 1 16,1-1-6,0 1-8,-1-1 9,0 0-12,0 1-13,1-1 12,-1 0-10,0 1 14,1-1-11,-1 0 8,0 0-10,0 0 20,1 0-6,-1 0 3,0 0-7,0 0 38,0 0-29,1 0 32,-1 0-33,0 0-2,0 0 3,0 0-2,0 0-24,0 0 19,0 0-17,0 0 25,0 0-28,0 0 20,0 0-23,1 0 10,-1 0 8,0 0-12,0 0 7,0 0-10,1 0 7,-1 0-13,1 0 15,-1 0-13,0 0 8,1 0-6,0 0 9,-1 0 1,1 0 0,0 0 0,-1 0 0,1 0 1,-1-1 0,1 1 0,0 0 0,-1-1 1,0 1-2,0-1-23,1 1 17,-1-1-18,0 1 23,1-1-9,-1 1 5,0-1-6,0 1 7,0-1 0,0 1-3,1-1 3,-1 1 7,0 0-4,1-1 6,-1 1-10,0 0 15,0-1-10,0 1 13,0 0-9,0 0 0,0-1 1,0 1-3,0 0-1,0 0 1,0 0-1,0 0-2,0 0 1,0 0 0,0 0 1,0 0-9,0 0 7,0 0-8,0 0 3,0 0 3,0 0-4,0 0 5,0 0 12,-1 0-10,1 0 10,1 0-12,-1 0 6,0 0-5,0 0 6,-1 0 1,1 0-4,0 1 5,0-1-4,0 0 9,0 0-4,0 1 4,-1-1-5,1 0-9,0 1 7,0-1-6,0 0 5,0 0 0,0 1 0,-1-1 12,1 1-8,0-1 9,0 1-12,-1-1-2,2 0 2,-2 1-1,1-1 2,0 1-8,0-1 6,-1 1-6,1-1 9,0 1-26,-1-1 20,1 0-21,0 1 23,-1-1-9,1 1 4,-1-1-5,1 0 5,-1 1 2,0-1-4,1 1 6,-1-1-3,0 0 3,1 0-1,-1 1 0,0-1-1,1 0 2,-1 1-1,0-1-7,0 1 7,0-1-7,0 0 8,0 0-2,0 0 1,0 0-1,0 1 2,0-1-2,1 0 2,-1 1 1,0-1-3,0 0 3,0 0-3,0 0 2,1 1-2,-1-1 3,0 0-2,0 0 1,0 1 0,0-1-23,0 0 15,1 0-16,-1 0-54,0 0-57,0 1-36,0-1-475,0 0 451,0 0-321,0 0 515,1 1 0,1-1 0</inkml:trace>
  <inkml:trace contextRef="#ctx0" brushRef="#br0" timeOffset="194">2233 1668 9502,'0'-1'-402,"1"0"493,-1 1-22,0 0 25,1 0-18,-1-1 15,1 1-8,-1 0-19,1 0 16,1 0-18,-1-1 13,0 1-24,0 0 26,1-1-24,0 1-12,0-1 22,1 1-31,-1-1-28,1 0-10,0 0-20,0-1 26,1 1-25,-1-1-9,1 0-18,0 0 26,-1 0-40,1 0 31,-1 0-101,0 0 92,0 0-167,-1 0 86,0 1-121,0 0 16,-1 0 49,0 0 34,-1 0 59,1 1 88,-2-1 0,1 1 0</inkml:trace>
  <inkml:trace contextRef="#ctx0" brushRef="#br0" timeOffset="195">2185 1728 9502,'0'-2'-162,"0"1"125,0 0 44,0 0-29,0 0 78,0-1-90,1 1 62,-1 0-94,0-1 85,1 1 3,0-1 40,1 1 0,-1-1 16,1 0-12,0 0 12,0 0-15,1-1-24,-1 1 17,0 0-21,1-1 5,0 1 14,-1 0-14,1-1 25,-1 2-34,1-1 22,-1 0-25,0 0-24,0 0-13,1 0-9,-1 0 14,0 0-2,-1 1-18,1-2 2,1 1 2,-1 0 0,-1 0-11,2-1-15,-1 2-51,0-1 17,0 0-7,0 0 19,0 0 3,-1 1-10,1 0-16,-1 0-140,0 0 167,0 1-103,0 0 167,-1 0 0,1 0 0</inkml:trace>
  <inkml:trace contextRef="#ctx0" brushRef="#br0" timeOffset="196">2162 1737 9134,'0'0'368,"0"1"-290,0-1-13,0 0 21,0 0-22,0 1 50,0-1-39,0 0 53,1 0-22,-1 0 7,1 0-1,0 0-13,0 0 7,1 0-9,0-1 11,1 0-39,1-2 10,0 0-13,1-1 18,1-1-72,0 0 51,1-1-49,0 0 25,0-1-12,-1 1-6,1-1-5,-2 1-89,0 2 17,-1 0-119,0 0 104,-1 1-194,-1 1 81,-1 0-120,0 0-153,-1 2 140,0-1-174,0 1 287,-1 0 75,-1 0 129,0 0 0,-2 0 0</inkml:trace>
  <inkml:trace contextRef="#ctx0" brushRef="#br0" timeOffset="197">876 1668 9502,'0'1'282,"0"-1"-39,0 0 653,-1 0-779,1 0-102,0 0 15,-1 0-94,1 0 10,0-1 17,-1 1-42,1 0 86,-1 0-74,0 0 101,0-1-69,1 1 90,-1 0-31,1-1 26,-1 1-36,0 0 22,1-1-15,-1 1 16,1 0-20,-1-1 6,0 1-1,0 0 7,1 0-47,-1-1 33,1 1-37,-1 0 49,0 0-59,1 0 40,-1 0-50,0 0 59,1 0-44,-1 0 31,0 0-38,1 0 33,0 0-5,-1 0 3,1 0-3,-1 0 15,1 0-10,0 0 10,0 0 43,0 0-37,0 0 42,-1 0-52,1 0 15,0 0-9,0 0 15,-1 0-15,1 0 5,0 0-4,-1 0-21,0 0 15,1 0-15,0 0 22,-1 0-17,1 0 12,-1 0-17,1 0 18,-1 0-37,1 0 26,0 0-32,-1 0 36,0 0-12,1 0 9,-1 0-8,0 0 3,1 0 10,-1 0-8,1 0 11,-1 0-5,1 0-2,-1 0 3,1 0-2,-1 0 0,1-1 1,-1 1-1,0 0-11,1 0 9,-1 0-9,1 0 9,-1 0-5,0 0 3,1 0-4,-1 0 4,0 0-7,1 0 3,-1 0-4,1 0 13,-1 0-4,0 0 4,1 0 3,-1 0-5,1 0 6,-1 0-8,1 0 4,-1 0-1,0 0 2,1 0-3,-1 0-20,0 0 15,0 0-15,1 0 19,-1 0-92,0 0 18,0 0-84,1 0 93,-1 0 14,0 0 52,1 1 0,-1-1 0</inkml:trace>
  <inkml:trace contextRef="#ctx0" brushRef="#br0" timeOffset="198">669 1680 8670,'0'1'25,"0"-1"0,0 0-3,0 0 3,0 1-13,0-1 5,0 0-6,-1 0 6,1 0-1,0 0 75,0 0-51,0 0 59,0 1-45,-1-1-20,1 0 23,0 0-29,0 0 69,0 0 33,0 0 54,0 0-9,0 0-47,0 0 539,-1 0-487,2 1 469,-1-1-598,0 0-22,0 0-22,1 0-6,-1 0 26,1 0-3,0 0-6,0 0-30,-1 0 20,1 0 24,1 0 26,-2 0-34,2 0 27,-1 0 11,0 0-10,1-1 18,-1 1-22,0 0-23,1 0 19,-1 0-14,0 0-24,0 0 37,0 0-33,0 0-11,0 0-11,0-1-15,0 1 16,0 0-13,1 0-7,-2 0-19,2 0 20,-2 0-11,1 0-3,0 0-17,0 0 17,0 0-18,0 0 43,0 0-47,0 0 35,0 0 4,0 0-9,0 0 12,0 0-31,0 0 18,0 0-19,0 0-9,-1 0 25,1 0-26,0 0 28,0 0 28,0 1-18,0-1 15,0 0-25,-1 0 64,1 0-48,0 1 126,0-1-109,0 0 52,-1 0-60,1 0 51,0 0-28,0 0 37,0 0-42,0 0-4,-1 0 11,1 0-6,0 0 9,-1 0-19,1 1 17,0-1-16,0 0 0,-1 0 6,1 0-10,0 0 66,0 0-40,-1 0 42,1 0-55,0 0 58,-1 0-41,1 1 43,0-1-48,0 0 6,-1 0 2,1 0 2,-1 0 5,1 0-34,0 0 29,0 0-26,-1 0-19,1 0 30,0 0-37,-1 0 3,1 0 25,-1 0-28,1 0 29,-1 0-15,1 0 6,-1 0-11,1 0 13,0 0 2,0 0-4,-1 0 3,1 0 10,0-1-6,0 1 7,-1 0-9,1 0 5,0 0-2,-1 0 4,1 0-10,0 0 4,0 0-3,-1 0 5,1 0-7,0 0 5,-1 0-5,1 0 5,0-1-5,0 1 4,0 0-6,-1 0 6,1 0-3,-1 0 3,1 0-4,0 0 3,-1 0-1,1 0 1,-1 0-14,1 0 10,0 0-11,-1 0 14,1 0-19,-1 0 13,1 0-14,-1 0 17,1 0-3,-1 0 2,1 0-5,-1 0 15,1 0-9,0-1 9,-1 1-12,1 0 19,-1 0-14,1 0 15,-1 0-12,1 0-3,0 0 5,-1-1-4,1 1 2,-1 0-1,1 0 3,-1 0-2,1 0 0,0 0-1,-1 0 0,1 0 0,-1 0-1,1-1 1,-1 1-1,1 0 1,-1 0 0,1 0-1,-1 0-1,0 0 1,1 0-1,-1 0 2,1-1-20,-1 1 14,1 0-15,-1 0 19,0 0-18,1-1 12,-1 1-14,1 0 17,-1 0-16,1 0 10,-1 0-11,1 0 25,-1-1-7,1 1 8,-1 0-12,1 0 15,-1 0-10,1-1 13,-1 1-7,1 0-3,-1 0 5,0-1-5,1 1 4,-1 0 0,1 0 2,-1-1-3,0 1-27,1 0 20,-1 0-22,1 0-21,-1-1 32,0 1-37,1 0 45,-1 0-30,1-1 22,-1 1-27,0 0 47,1 0-18,-1-1 17,0 1-23,1 0 19,-1 0-16,0 0 17,1-1 3,-1 1-13,0 0 17,1 0-19,-1 0-33,1-1 25,-1 1-24,0 0-36,1 0 49,-1-1-53,0 1 62,0 0 20,1 0-19,-1 0 16,0 0-28,1-1 39,-1 1-32,0 0 32,0 0-7,1 0-17,-1-1 18,0 1-23,0 0 6,0 0 2,0 0 2,1 0-23,-1-1 13,0 1-14,0 0 22,0 0-31,0 0 22,0-1-30,1 1 33,-1 0-76,0 0 53,0 0-59,0-1 68,1 1-5,-1 0-1,0 0 0,0 0 22,0-1-18,1 1 21,-1 0 49,0 0-54,0 0 60,0 0-73,0 0 47,0 0 9,0-1 309,0 1-206,0 0 196,0 0-272,0 0-8,0 0-26,0 0 13,-1 1-11,1-1 20,-1 0-26,1 1 16,0-1-28,-1 0 33,1 1-31,0-1 22,-1 0-28,1 1-17,0-1 27,-1 1-31,1-1 20,-1 0 16,1 1-17,-1 0 17,0-1-28,1 0 19,-1 1-24,0 0 25,0 0-15,0-1 6,0 1-7,0 0 8,-1 0-39,1 0 26,-1 0-29,1 0-126,-2 0 39,2 0-116,-1 0-292,0 0 376,0 0-271,0 0 437,1 0 0,-1 0 0</inkml:trace>
  <inkml:trace contextRef="#ctx0" brushRef="#br0" timeOffset="199">588 1823 8355,'-1'-1'-74,"1"1"75,0 0-38,0 0 42,0 0 4,0 0-3,0 0 4,0 0-6,-1 0 79,1-1 27,0 1 47,0 0 28,0 0 109,0 0-128,0 0 83,0 0-197,0 0-24,0 0 6,0-1-9,0 1-16,0 0 27,0-1-30,0 1 34,1 0 9,-1-1-6,0 1 11,1-1 3,-1 0-11,1 1 11,0-1-15,-1 1 14,1-1-5,-1 1 7,1-1-29,-1 0-11,1 1 3,0-1 9,-1 1-8,1-1 20,0 0-24,-1 1-25,1 0 33,-1-1-37,1 1 44,-1-1 20,1 1-17,0 0 13,-1 0-21,0-1 22,1 1-16,-1 0 19,1 0-23,-1-1-27,0 1 21,0 0-15,1 0-38,-1 0 48,0 0-52,1 0 31,-1-1 20,0 1-23,0 0 28,0 0-53,1 0 36,-1 0-50,0-1 53,1 1-13,-1 0 10,0 0-9,1-1 6,-1 1 33,0 0-23,1 0 30,-1-1-31,1 1 0,-1 0 3,0 0-13,0 0-15,1-1 12,-1 1-11,0 0 10,0-1 8,0 1-11,1 0 14,-1 0-21,0 0 10,0-1-14,1 1 16,-1 0-7,0-1 6,0 1-10,1 0 12,-1-1-5,1 1 5,-1 0-3,0-1-11,1 1 9,-1-1-7,0 1 7,1 0 2,-1-1-3,0 1 2,1-1 2,-1 1-2,0 0 2,0-1-3,1 1 13,-1-1-9,0 0 10,1 1 4,-1 0-11,0-1 14,1 1-17,-1-1 26,0 1-17,0-1 21,1 1-28,-1-1 5,1 1-4,-1-1 5,0 1-9,0-1 8,1 1-9,-1-1 9,0 1-2,0 0 1,1-1-1,-1 1-11,0-1 8,0 1-11,0-1 12,0 1 14,0-1-9,0 1 12,1-1-8,-1 1-5,0-1 7,0 1-7,0-1 15,0 1-10,0 0 11,0-1-15,0 1 14,0 0-8,0-1 12,0 1-7,0-1-3,0 1 3,0-1-5,0 1 1,0 0 1,0-1-1,0 1-27,0 0 18,0-1-18,0 1 26,0-1-61,0 1 44,0 0-52,0-1 61,0 1-35,0 0 24,0 0-28,0-1 34,0 1-10,0 0 8,0 0-9,0-1 10,0 1-9,0 0 8,0-1 8,0 1-10,0 0 13,0 0-15,0 0 195,0 0-140,0 0 149,0 0-215,0 0 21,1 0-22,-1 0 24,0 0 2,0 0-3,0 0-2,0 0 56,1 0-43,-1 0 45,0 0-51,0 0 5,0 0 1,0 0 2,1 0 1,-1 0-32,0 0 28,1 0-28,-1 0 1,0 0 18,1 0-22,-1 0 28,0 0-28,0 0 19,1 0-26,-1 0 15,1 0 2,-1 0-5,0 0 7,1 0-13,-1 0 9,1 0-11,-1 0 16,1 0 1,-1 0-1,1 0 0,-1 0-4,1 0 3,-1 0-3,1 0-12,-1 0-3,1 0-1,-1 0 2,0-1-6,1 1 13,-1 0-16,1 0 18,-1 0 4,1 0-3,-1 0 4,0-1-7,1 1 22,-1 0-16,1-1 16,-1 1-9,1 0-7,-1 0 9,0-1 8,0 0-11,1 1 15,-1-1-19,0 1 14,0-1-10,1 1 11,-1-1-11,0 0 4,0 0-3,0 0 3,0 1-3,1-1 14,-1-1-10,0 2 11,0-2-13,1 1 1,-1 0 0,0 0-3,1 0 2,-1 0-2,0-1 3,0 1-6,0 0 4,1-1-3,-1 1 5,0 0-30,0 0 20,0-1-22,0 1 28,0 0-19,0 0 13,1 0-17,-1 0 25,0 0-8,0 0 8,0 0-3,0 0-3,0 1 3,0-1-5,0 0 13,1 0-8,-1 0 10,0 1-13,0-1 12,0 0-8,1 1 12,-1-1-12,0 0 5,0 0-4,0 0 4,1 0-7,-1 1 2,0-1-2,0 0-6,0 0 6,0 1-7,1-1 9,-1 0 0,0 1 0,0-1-1,0 1-1,0-1 5,1 1-4,-1-1 4,0 1-5,0-1 5,0 0-2,1 1 2,-1-1 1,0 1-4,0-1 4,0 0-2,1 1 0,-1-1 0,0 1-1,0-1-29,0 1 21,1-1-22,-1 0 27,0 1-20,0-1 13,0 1-13,0 0 14,0-1-19,0 1 10,0 0-12,0-1 34,0 1-10,0 0 9,0 0 8,0-1-19,1 1 21,-1 0-23,0-1 20,0 1-13,0 0 15,0-1-13,0 1 4,0-1 1,0 1 0,0 0-2,1-1-19,-1 1 14,0 0-14,0-1-45,0 1 44,0 0-51,1 0 43,-1-1 9,0 1-11,0 0 12,0 0-14,0-1 4,0 1-9,0 0 12,0 0 28,0 0-26,0 0 25,0 0 2,0-1-5,0 1 19,0 0 0,0 0-25,0 0 20,0 0-9,0-1-6,0 1 10,0 0-11,0 0 4,0 0-3,0 0 2,0 0 43,0 0-17,1-1 23,-1 1-10,0 0-29,0 0 46,0 0-30,0 0 16,0 0 12,0 0-32,0 0 28,1 0-32,-1 0-19,0 0 14,0 0-16,0 0 20,0 0 0,1 1 2,-1-1 56,0 0-40,1 0 41,-1 0-56,0 0 15,1 0-8,-1 0 11,0 0-12,1 0 63,-1 1-47,1-1 56,-1 0-62,1 0 0,-1 0 2,1 1 1,-1-1-33,1 0 36,-1 0-35,1 0 30,-1 0-1,1 0-8,-1 1 7,1-1 27,0 0-22,-1 0 22,1 0-31,0 0 16,-1 0-11,1 0 16,0 0-11,-1 0-1,1 0 4,0 0-7,0 0-54,-1 0 44,1 0-45,0 0 19,-1 0-16,1 0-3,0 0 1,-1 0-24,1 0 35,-1 0-41,1 0 48,0 1-17,-1-1 6,1 0-10,0 0 12,0 0 19,0 0-19,-1 0 17,1 0 30,0 0 15,0 0 4,-1 0-10,1 0-37,0 1-3,-1-1 8,1 0-31,-1 0 25,1 0-25,0 0 32,0 0-73,0 0 51,-1 1-57,1-1 46,-1 0 4,1 0-14,0 0 15,-1 0-2,1 0 1,0 0-3,0 0 13,-1 0-5,1 0 8,0 0-11,-1 0 6,1 0-3,0 0 6,-1 0-7,1 0-25,0 0 19,0 0-20,-1 0-28,1 0 37,-1 0-40,1 0 48,0 0-19,0 0 9,-1 0-13,1 0 30,1 0-7,-2-1 6,1 1-12,0 0 37,0 0-27,0 0 32,0 0-40,1 0 52,-2 0-35,2-1 43,-1 1-19,0 0-17,-1 0 22,2 0-23,-1 0-1,-1 0 5,1 0-3,0 0 3,0 0-54,0 0 39,-1 0-39,1 0 12,0 0 25,0 0-28,-1 0 33,1 0-43,0 0 24,-1 0-29,1 0 54,-1 0-13,1 0 16,0 0-26,-1 0 35,1 0-26,-1 0 29,1 0-1,0 0-19,0-1 23,-1 1-24,1 0 11,0 0-5,-1 0 8,1 0-7,0 0-1,-1 0 2,1 0-2,0 0 0,0 0-2,-1 0 1,1 0-1,0 0-1,0 0 2,0 0-2,0 0 1,-1 0 0,1 0 0,0 0 0,0 0 6,0 0-4,-1 0 4,1 0-5,0 0-2,0 0 2,-1 0-1,1 0 10,-1 0-7,1 0 8,0 0-9,0 0 42,-1 0-30,1 0 33,0 0-51,-1 0 10,1 0-9,0-1 13,-1 1-18,1 0 15,0 0-16,0 0 18,0 0-9,0-1 7,-1 1-7,1 0-1,0-1-1,0 1-3,0 0 3,-1 0-1,1 0 4,0-1-5,0 1 2,0 0 3,0 0-2,-1-1 2,1 1-3,0 0 3,0-1-3,-1 1 3,1 0-3,0 0 2,-1-1-1,1 1 1,-1 0 0,1-1 0,0 1 0,-1 0-10,1-1 7,-1 1-7,1 0 6,-1-1 2,1 1-4,-1 0 5,1 0 1,-1-1-1,1 1 0,-1 0-1,1 0-8,-1-1 6,1 1-7,-1 0 8,0 0-38,1 0 27,-1-1-31,0 1 38,1 0-3,-1 0 1,0-1 7,1 1-5,-1 0 3,0-1-6,0 1-18,1-1 15,-1 1-14,0 0 16,0-1-24,0 1 18,0 0-17,0-1 6,0 1 11,1 0-13,-1 0 12,0-1-1,0 1-1,0 0 0,0 0 15,0-1-9,0 1 6,0 0-10,0-1 13,0 1-7,0 0 12,0 0-12,0-1 10,0 1-6,0 0 7,0 0-126,0 0-31,0 0-115,0 0 0,0 1 1</inkml:trace>
  <inkml:trace contextRef="#ctx0" brushRef="#br0" timeOffset="200">877 1668 9950,'0'0'430,"0"1"-350,0-1 73,1 0-114,-1 0 28,0 0-30,0 0 35,1 0-11,-1 0 22,0 0-17,0 0 18,0 1-51,1-1 25,-1 1-29,0-1-19,0 0-15,0 1-7,0-1 11,0 1-11,0-1-8,0 0-11,0 1-5,0 0 57,0-1-11,0 1 6,0 0 23,0-1-21,0 1 19,0 0-24,0-1 56,0 2-42,0-2 45,-1 1-45,1 0 45,0 0-22,0 0 27,0-1-16,0 1-22,0 0 31,0 0-28,-1-1 13,1 1-11,0 0 7,0 0-51,0-1-2,-1 1-10,1-1 11,0 1-24,0-1 37,0 0-40,0 1 46,0-1-18,-1 0 0,1 1-9,0-1 7,0 0-22,0 1 16,0-1-27,0 1 39,0-1-7,-1 0 5,1 1-4,0-1 1,0 1-1,0-1 5,0 0 34,0 1-24,0-1 26,-1 1-34,1-1 38,0 1-27,0-1 32,0 1-38,0-1 11,0 1-8,0-1 12,0 1 3,-1-1-3,1 1 6,0-1-32,0 0 13,0 1-14,0-1 20,0 1-37,0-1 26,-1 0-32,1 1 38,0-1-16,0 0 11,0 1-14,0-1 87,0 0-55,0 1 58,0-1-72,-1 0 26,1 1-17,0-1 20,0 0-41,0 1 12,0-1-6,0 0 15,0 1-43,0-1 30,-1 1-31,1-1 43,0 0-44,0 1-17,0-1-11,0 1 15,0-1 2,0 0 29,-1 1-43,1-1 41,0 1-15,0-1 14,0 0 4,0 1-3,0-1 4,0 1-7,0-1 36,0 0-26,0 1 31,0-1-31,-1 1 45,1-1-26,0 1 28,0-1-28,0 0-8,0 1 11,0-1-24,0 0 11,0 1-13,0-1 16,0 0-19,0 1 14,0-1-15,0 1 15,0-1-6,0 1 1,0-1-3,0 1 0,0-1 23,0 1-19,0-1 17,0 0-17,0 1 2,0-1 0,0 0-6,0 1 6,0-1-6,0 0 8,0 0 3,0 1-2,0-1 3,0 0-5,0 0-5,0 1 4,0-1-4,0 0 3,0 1 3,0-1-5,0 0 4,0 1 48,0-1-35,0 0 39,0 0-27,0 0-12,0 1 15,0-1-15,0 0-4,1 0 4,-1 0-2,0 1 3,0-1-32,0 0 26,0 0-27,0 0 33,0 0-13,0 1 5,0-1-7,0 0 15,0 1-4,0-1 1,0 0-6,0 0-3,0 1 2,0-1 1,0 0 10,0 0-6,0 1 7,1-1-10,-1 0 46,0 1-31,0-1 35,0 0-43,0 0-5,0 0 3,0 1-3,0-1 15,0 0-4,0 0 5,0 1-3,1-1-29,-1 0 22,0 0-21,0 0-19,0 1 32,0-1-39,0 1 44,1-1-38,-1 0 28,0 1-33,0-1 35,0 0-2,0 1 1,1-1 0,-1 0-2,0 1 0,0-1 1,0 1 0,0-1-3,0 0 2,0 1-1,1-1-6,-1 0 5,0 1-6,0-1 8,0 0-6,0 1 5,0-1-6,0 0 30,0 1-18,1 0 19,-1-1-26,0 0 1,0 1-1,0-1 1,0 0 3,0 1-1,0-1 2,1 1 0,-1-1-7,0 1 6,0-1-6,0 0 7,0 1-37,0-1 25,1 1-28,-1-1 25,0 0 2,0 1-4,0-1 1,0 1 21,1-1-14,-1 1 12,0-1 2,0 1-13,0-1 14,1 0-15,-1 1 8,0-1-3,0 0 4,0 1-1,0-1-5,0 0 7,1 1-6,-1-1-4,0 0 3,0 0-6,0 1 8,0-1-9,0 0 7,0 0-9,1 1 4,-1-1 3,0 0-3,0 0 3,0 0-1,1 1 0,-1-1 0,0 0 1,0 0 0,1 1 0,-1-1 0,0 0 0,0 1 0,0-1 0,1 0 0,-1 1 11,0-1-9,0 0 10,0 1-11,1-1 40,-1 0-28,0 1 32,0-1-47,1 1 7,-1-1-7,0 0 11,0 0-15,0 1 12,0-1-12,1 0 14,-1 0-8,0 1 5,0-1-7,0 0 7,0 0-2,1 0-1,-1 1-37,0-1 24,0 0-26,0 0 35,0 1-40,1-1 29,-1 0-33,0 0 41,0 1-3,0-1 0,0 1-3,0-1 1,1 1 24,-1-1-17,0 0 16,0 1-4,0-1-16,0 0 18,0 0-15,0 1 22,1-1-10,-1 0 14,0 0 18,0 0-30,0 0 33,0 0-39,0 1-3,1-1 2,-1 0-4,0 0-35,0 0 32,0 0-34,0 0 41,0 0-59,0 0 40,1 1-44,-1-1 51,0 0 3,0 1-9,0-1 6,1 0 8,-1 1-6,0-1 4,0 0-11,0 1 24,0-1-17,0 0 23,0 0-26,0 1 25,0-1-19,0 0 24,0 0-15,0 0-1,0 1 3,1-1-4,-1 0-3,0 0 3,0 0-3,0 0-4,0 1 3,0-1-4,0 0 5,0 0-8,0 0 5,0 0-4,0 1-7,0-1 9,0 0-10,0 0 11,0 0-13,1 1 10,-1-1-12,0 0 21,0 0-7,0 0 6,0 1-8,0-1-11,0 0 7,0 0-8,0 1 9,0-1 15,0 0-11,0 0 11,0 1 2,0-1-10,0 0 12,0 0-14,1 0-1,-1 0 1,0 0 0,0 1-23,0-1 17,0 0-18,0 0 24,0 0 6,0 0-5,0 0 5,0 1-9,0-1 6,0 0-6,0 0 5,0 0-7,0 0 0,0 1-2,0-1 1,1 0-1,-1 0 4,0 0-1,0 0 2,0 1-20,0-1 15,0 0-17,0 0-15,0 0 24,0 0-26,0 0 29,0 1 4,0-1-7,0 0 6,0 0-5,0 0 19,1 0-18,-1 0 16,0 1-22,0-1 44,0 0-27,0 0 53,0 0-47,0 0 15,0 0-1,0 1-15,0-1 19,0 0-20,0 0-15,0 0 11,0 0-13,0 0 18,0 1-8,0-1 5,0 0-8,0 0 8,0 0 3,0 0-3,0 0 7,0 1-1,0-1-1,0 0 0,0 0 15,0 0-14,0 1 16,0-1-19,0 0 8,0 0-6,0 1 9,0-1-10,0 0 5,0 0-4,0 0 2,0 0-2,0 1 1,0-1-1,0 0-1,0 0 1,0 0-2,0 0 3,0 1-7,0-1 5,-1 0-5,1 0 5,0 0-3,0 0 2,-1 1-2,1-1 4,0 0-1,0 0 2,0 0-2,0 0-7,-1 1 5,1-1-6,0 0-1,0 0 7,0 0-8,-1 0 9,1 1 13,0-1-9,0 0 9,0 0 19,0 0-23,0 1 25,0-1-17,0 0-6,0 0 0,0 0-4,0 0-8,0 0 11,0 0-14,0 0 12,0 1-12,0-1 10,0 0-9,0 0 4,0 0-5,1 0 2,-1 1-50,0-1 33,0 0-36,0 1 47,1-1-20,-1 0 11,0 1-15,0-1 26,1 0-1,-1 1 0,0-1-5,1 1-13,-1-1 9,0 1-9,0-1 41,1 0-22,-1 1 22,0-1-24,0 0 9,1 0-2,-1 1 6,0-1-9,1 0 23,-1 0-16,0 0 18,1 1-21,-1-1 9,0 0-2,0 0 10,1 0-11,-1 0 2,0 1-3,0-1 51,0 0-36,0 0 39,1 0-50,-1 0 17,0 1-9,0-1 12,0 0-22,0 0 4,0 0-1,0 0 4,1 0-37,-1 0 26,0 1-28,0-1-3,0 0 30,0 0-34,0 0 36,0 1-33,0-1 18,0 0-28,0 0 32,0 0 7,0 0-2,0 0 3,0 1-8,0-1 22,0 0-15,0 0 18,0 1-7,0-1-8,0 0 9,-1 1 7,1-1-15,0 0 20,0 1-22,0-1 0,0 1 1,0-1-2,-1 1 4,1-1-17,0 1 12,0-1-14,0 1 18,-1 0-14,1-1 9,0 1-12,0 0 14,0-1-4,-1 1 2,1 0-16,0-1 11,-1 1-11,1 0 14,0-1-14,0 1 10,0-1-11,0 1 13,-1-1-44,1 1 32,0-1-35,0 1 42,0-1-22,0 1 14,0 0-19,-1-1 48,1 1-23,0-1 22,0 1-28,0-1 19,0 1-13,0 0 17,0-1 36,0 1-37,0 0 42,0-1-43,0 1 9,0 0-5,0-1 13,0 1-12,0-1-1,0 1 3,0-1-8,0 1-11,-1-1 10,1 0-11,0 1 14,0-1-5,0 0 3,0 1-6,-1-1 6,1 1-4,0-1 3,0 0-3,0 1-14,0-1 12,0 1-12,0-1 14,-1 1-19,1 0 13,0-1-14,0 0 17,0 1 1,0 0-2,0 0 30,0-1-23,0 1 23,0-1-29,0 1 17,0 0-11,0-1 14,0 1-15,0-1 4,0 1 2,0 0-1,0-1 4,0 0-7,0 1 7,0-1-7,0 1 6,0-1-10,0 0 7,0 1-12,0-1 9,0 0-3,0 0 2,0 1-15,0-1 10,0 0-10,0 0 15,0 1-22,0-1 15,0 0-17,0 1 19,0-1 1,0 1-2,0-1 2,0 1 0,0-1-2,1 1 1,-1-1 11,0 1-8,0-1 10,0 1-13,0-1 34,0 0-24,0 1 29,0-1-35,0 0 9,0 1-6,0-1 7,0 0-6,0 1-3,0-1 2,0 0 0,0 1-32,0-1 26,0 0-28,1 0 22,-1 0 7,0 1-10,0-1 11,0 0-12,0 0 8,0 1-11,0-1 12,0 0 5,0 0-2,1 1 4,-1-1-8,0 0 14,0 0-9,0 0 12,0 1-9,0-1-2,0 0 2,0 0-3,1 1 6,-1-1-2,0 0 2,0 0 0,0 0-5,0 1 5,0-1-4,0 0 1,0 0-1,0 0 1,0 0-1,0 0-20,0 0 14,0 1-15,0-1 21,1 0-3,-1 0 3,0 0-3,0 0 0,0 0-2,0 0-1,1 0-10,-1 0 7,0 0-6,1 0 11,-1 0-49,0 1 32,0-1-35,1 0 42,-1 0-18,0 0 13,0 0-18,1 0 13,-1 0 4,0 0-9,1 0 9,-1 0-5,1 0 4,-1 0-6,0 0-17,0 0 14,1 0-14,-1 0 25,1 0-27,-1 0 16,0 0-18,1 0 16,-1 0-5,0 1 2,1-1-4,-1 0 32,1 0-16,-1 0 17,0 0 9,1 0-23,-1 0 26,1 0-32,-1 0 36,0 0-23,0 0 27,1 0-27,-1 0 14,0 0-7,1 0 10,-1 0-9,0 0 21,0 0-10,1 0 11,-1 0-4,0 0-15,0 0 15,1 0-10,-1-1-1,0 1 3,1 0-5,-1 0 1,0 0 0,1-1 1,-1 1-2,0 0 1,0 0 0,0 0-1,1 0-1,-1 0 1,0 0 0,0 0 0,1-1 0,-1 1 0,1 0 0,-1 0 2,0 0-1,0 0 1,1-1-1,-1 1 10,0 0-8,0 0 9,1-1-11,-1 1 20,0 0-13,1-1 16,-1 1-23,1 0 4,-1-1-3,0 1 5,1 0 35,-1-1-23,0 1 24,1 0-29,-1-1-4,1 1 5,-1 0-1,0 0-24,1 0 17,-1-1-19,0 1 23,1 0-23,-1-1 16,1 1-17,-1 0 21,1 0 8,-1-1-7,0 1 3,1 0-5,-1-1-5,0 1 4,1 0-4,-1 0 1,1 0 4,-1 0-2,1 0 12,-1-1-8,0 1 7,1 0-8,0 0-14,-1 0 10,1 0-13,-1-1 16,0 1-17,1 0 12,-1 0-14,1 0 12,-1-1-3,1 1 0,-1 0 6,0 0 0,1 0 2,-1 0-4,1 0-2,-1 0 2,1 0 0,-1 0 0,0 0 0,1 0 2,-1 0-1,1 0-2,-1 0-32,1 0 22,-1 0-23,0 0 28,1 0 1,0 0-4,-1 0 10,1 0-7,0 0 7,-1 0-8,1 0 6,-1 0-5,1 0 5,-1 0-5,1 0-3,-1 0 4,1 0-3,-1 0 6,1 0-22,0 0 18,-1 0-18,1 0 14,-1 0 3,1 0-6,0 0 5,0 0 28,-1 0-21,1 0 21,-1 0-12,1 0-11,0 0 13,-1 0-14,1 0 10,-1 0-2,1 0 4,-1 1-2,1-1-33,-1 0 26,0 0-26,1 0 14,-1 0 9,0 0-14,1 0 17,-1 0-4,0 0 2,1 0-6,-1 0 20,1 0-16,-1 0 16,1 1-17,-1-1 11,1 0-7,-1 0 9,1 0-2,-1 0-5,1 0 10,-1 0-20,0 0 11,1 0-10,0 0 10,-1 0 5,1 0-4,-1 1 3,1-1-5,0 0 7,-1 0-5,1 0 5,0 0-7,-1 0-50,1 0-12,0 0-4,-1 0 14,1 0-75,0 0 26,0 0-40,0 0 72,0 0 68,0 0 0,1-1 0</inkml:trace>
  <inkml:trace contextRef="#ctx0" brushRef="#br0" timeOffset="201">666 1682 8746,'0'0'431,"0"1"-228,0-1 77,0 0-124,0 0-85,0 0 33,0 1-45,0-1 16,0 0-15,0 0 20,0 1-58,0-1 44,0 0-48,0 1 46,0-1-37,-1 1 29,1-1-36,0 1 43,0 0-42,0 0 26,-1 0-28,1 0 11,0 0 7,-1 0-11,1 0-12,-1 0 22,1 0-22,0 0 31,-1 0-46,1 1-5,0-1-13,0 0 13,-1 1-11,1-1 37,0 0-41,0 0 47,0 0-37,-1 1 25,1-1-33,0 0 5,0 0 6,-1 0-10,1 0-24,0 0 38,0 0-39,0 0 47,0-1-51,-1 1 37,1 0-41,0 0 46,0-1 3,0 1-4,0-1 2,0 1 11,0 0-14,0-1 15,0 1-17,0-1 9,-1 1-5,1-1 6,0 1-4,0 0 9,0-1-1,0 1 3,0 0-15,0-1 3,-1 1-7,1-1 9,0 1 12,0-1-9,0 1 8,0 0-11,0-1 66,0 1-48,0 0 53,0-1-21,0 1 13,0 0 2,0-1-9,0 1-40,0 0 11,0-1 8,0 1-48,0-1 39,0 1-49,0 0 55,0-1-60,-1 0-17,1 1-4,0-1-3,0 1 14,0-1-34,0 0 11,-1 1-19,1-1 65,0 1-23,0-1 74,0 1-46,-1-1 44,1 1-53,0-1 58,0 0-37,0 1 42,0-1-43,0 1 65,0-1-33,0 0 42,0 1-46,0-1-20,-1 0 22,1 0-16,0 1-19,0-1 15,0 0-18,0 0 4,0 1 14,0-1-15,0 0 12,0 0 8,-1 1-11,1-1 8,0 0-9,0 1-1,0-1 1,-1 0-1,1 1 4,0-1 18,0 0-11,-1 1 12,1-1-15,0 0-1,0 1 1,0-1-7,-1 1 0,1-1 0,0 0-1,0 0 14,0 1-8,0-1 7,0 0-7,-1 1 38,1-1-26,0 0 27,0 0-36,0 0-8,-1 1 7,1-1-2,0 0 52,0 0-28,0 1 30,-1-1 28,1 0-53,0 0 62,-1 0-72,1 0 38,-1 0-27,1 0 28,-1 0-32,1 0-40,-1 0 30,0 0-30,1 0 41,-1 0-60,0 0-19,1 0-8,-1 0 7,0 0 54,0 0-8,1 0 0,-1 0 0</inkml:trace>
  <inkml:trace contextRef="#ctx0" brushRef="#br0" timeOffset="202">2111 1765 9502,'2'0'-15,"-1"0"70,0 0-84,0 0 90,0 0-78,0 0 118,0 1-17,0-1 68,0 0-36,0 0-12,0 0 8,0 0 4,1 0 1,-1 0-17,1 0 6,0 0-19,0 0-18,1-1 2,0 0-27,0 0 27,1-1-32,0 0-1,-1-1-8,2 0-51,-1 1 44,0-1-54,1 0 45,-1-1-59,1 0 38,0 1-66,-1-1 68,1 0-46,-1 0 15,0 0 5,0 0-172,-1 0 84,0 1-111,-1 0 48,-1 0-89,1 1 12,-2 1-58,1-1-34,-1 1 107,0 1 15,-1-1 117,0 1 112,-1 0 0,-1 0 0,0 1 0</inkml:trace>
  <inkml:trace contextRef="#ctx0" brushRef="#br0" timeOffset="203">1682 1739 9502,'3'-1'-39,"-2"0"54,0 1-37,1 0 107,-1-1 4,1 0 43,-1 1 6,1-1 7,-1 1-49,1-1 39,0 1-45,0-1-10,0 1-13,-1-1 9,2 1 2,-1-1 6,0 1-24,1 0-4,-1-1-103,0 1 76,1 0-116,0 0 114,0 0-99,0 0 75,0 0-106,0 0 101,-1 0-82,2 0 45,-1 0-35,0 0-26,0 1 75,0-1-20,0 1 32,0-1 12,0 1 19,0 0-14,0-1 73,-1 1-66,0 0 40,1 0-51,-1 0 48,0-1 13,0 1 11,0 0-14,-1-1-54,0 1 9,1 0-3,-1-1 13,1 1-37,-1-1 27,0 1-33,0-1 12,0 1 18,0-1-24,0 0 20,1 0 48,-1 0-39,1 0 35,-1 0 2,1 1-32,0-1 35,0 0-33,0 0 2,0 0 8,0 1-4,1-1-42,-1 0 25,1 0-24,-1 0 37,1 0-70,0 0 47,0 0-60,0 0 73,1 0-53,-1 0 37,1-1-48,0 0 51,0 0-31,0 0 22,-1 0-27,1-1 37,0 1-15,-1 0 15,1 0-13,-1 0 22,1 0-16,-1 0 16,0 0-22,0 0 4,-1 0 0,0 0 3,0 0-40,0 1 29,0-1-33,-1 0 41,0 1-48,0-1 33,0 1-40,0-1 35,0 1 0,-1-1-2,1 0-2,0 0 30,-1 0-26,1 0 25,-1 0 9,1 0-20,0 1 25,-1-1 7,1 1-24,-1-1 27,1 0-32,0 1-52,-1 0-27,0 0 7,0 0-1,0 0 62,0 1-20,-1 0 12,-1 0-23,0 1-5,0-1 8,-1 1-13,1-1 11,-1 0 45,0 0-36,-1 0 37,1 0 4,0 0-24,-1-1 28,0 1-33,1-1 18,-1 1-11,0-1 16,0 0-18,0 0 62,0 0-45,0 1 50,1-1 6,0 0-38,0 0 44,0 0-56,1 0 69,1 0-8,-1 0 64,1 0 6,0 0 36,1 0-48,0 0 54,1 0-80,1 0 23,0-1-19,1 0 14,1 0-41,0 0 41,0 0-81,0 0-3,0 0-7,0 0 15,0 0-22,0 0 37,1 0-44,-1 0 0,-1 1-7,1-1-10,-1 1 13,0 0-12,0-1-9,0 1-18,0 0 18,0 0-8,-1 0-13,0 0 2,0 0-21,0 0 62,0 1-18,0-1 15,0 1-4,-1 0 1,1 0-8,0 1 40,-1-1-29,1-1 29,0 1-30,-1 0 43,2-1-27,-1 1 30,0-1 23,0 1-44,0 0 52,0-1-60,0 1-11,1 0 6,-1-1-7,-1 1-2,1-1 15,1 0-15,-2 1 16,1-1 6,0 0-4,0 1 4,0-1-9,0 0-12,0 0 3,-1 1-5,1-1 31,1 1-13,-1 0 17,-1-1-22,2 1 16,-1-1-12,0 1 18,0 0 0,0 0-8,1-1 8,-1 1-13,1 0-24,-1 0 20,0 0-20,1 0 24,-1-1-20,0 1 13,1 0-13,-1-1 22,1 1-7,-1 0 5,0-1-7,1 1 6,-1 0-4,0 0 6,0-1 9,0 1-10,0 0 10,0 0-15,0-1-8,0 1 10,0-1-6,0 1 8,0 0-18,0-1 10,1 1-12,-1 0 16,1-1-1,-1 1 0,1-1-4,0 0-24,-1 1 15,1-1-16,0 1-4,0 0 21,0-1-22,0 1 25,-1 0-70,1-1 51,0 1-57,0 0 70,1-1-55,-1 1-8,0-1-12,1 0 13,-1 0-18,1 0-10,0 0-16,0 0 21,0 0-2,1-1-9,-1 0-20,1 0-191,-1 0 67,1-1-120,-1 0-115,0 0 110,0 0-112,0 0 250,-1 0 107,1 0 120,-1 0 0,0-1 0</inkml:trace>
  <inkml:trace contextRef="#ctx0" brushRef="#br0" timeOffset="204">1632 1743 9502,'2'-2'-667,"0"2"735,-1-1-10,0 1 152,1-1-95,0 1 93,0 0-61,0 0 102,0-1-88,1 1-7,-1 0-49,1-1-4,0 1-77,1 0-9,-1 0-13,1-1 25,0 1 20,0-1-9,0 1-11,1-1-68,-1 1 39,0-1-70,1 0 38,0 1-56,0-1 25,-1 0-49,0 0-58,0 0 41,0 0-54,0 0 66,-1 0-47,0 1 24,0-1-69,-1 1-18,-1-1 17,1 1 50,-2 0 69,0 0 93,0 0 0,0 0 0,-2 1 0,-1-1 0</inkml:trace>
  <inkml:trace contextRef="#ctx0" brushRef="#br0" timeOffset="205">1534 1778 9502,'-2'0'-882,"1"1"653,0-1 141,0 1 18,-1-1 70,1 1 0,0-1 0,0 1 0,0 0 0,0 0 7,-1 0-5,1-1 6,0 1 33,0 0 11,0-1 4,0 1-11,0 0 5,1-1 8,-1 1 3,1-1 429,-1 0-303,1 0 365,1 0-362,0-1 14,1 0-21,0 0-32,0 0-80,1-1 25,-1 0-15,2-1 37,-1 1-49,0 0-34,1-1-14,0 0 19,0 1 1,0-1 41,1 0-58,-2 1-7,2-1-9,-1 0-46,0 1-10,0 0-12,0 0 20,0 0 18,0 1-14,0-1-5,0 1-16,-1 0 18,1 0 4,-1 1-7,1-1-18,0 1-24,-1 0 16,0 0 10,0 0-43,0 0 76,-1 0-44,0 0 37,0 0-78,-1 1 14,0-1-68,0 1 78,-1 0-148,1-1 59,-1 1-91,-1 0 37,0 0 135,0-1-2,-1 2 96,-1-1 0,-1 2 0</inkml:trace>
  <inkml:trace contextRef="#ctx0" brushRef="#br0" timeOffset="206">1580 1744 9502,'2'0'-550,"0"1"601,-1-1-27,0 0 60,-1 1 12,2-1 11,-2 0-16,2 0 15,-1 0-42,-1 0 53,1 0-52,0 0-2,0 0 3,0 0-9,0 0 32,0 1-16,0-1 20,1 0-21,-1 0-1,1 0 5,0 0-2,1 0-17,-1 1 5,1-1-11,0 0 15,-1 0-63,2 0-16,-1 0-4,2 0 9,-1 0-35,1 0 15,0 0-92,0 0-34,0 0 24,0 0-43,1-1 57,-2 1-173,1-1 57,0 1-129,-1-1 109,-1 1 135,0-1 17,1 1 100,-2-1 0,2 0 0</inkml:trace>
  <inkml:trace contextRef="#ctx0" brushRef="#br0" timeOffset="207">1472 1876 9502,'-3'-1'-161,"2"1"228,0-1-135,1 1 97,-1-1-140,1 1 121,0-1 1,0 0 77,0 1-19,0 0 12,0-1-6,0 0-3,0 0 46,0 0-21,1 0 26,-1 0-34,1 0-49,0 0-9,0 0-15,1 0 25,-1-1-46,1 0 65,-1 1-61,1 0 11,0-1 34,0-1-35,0 1 37,1 0-39,0-1 18,0 0-31,0 0 34,1-1-13,0 0 2,0 0-6,1 0 27,1-2-3,-1 1 7,1 0-13,0-1-37,0 1 24,0-1-26,-1 1-13,1-1-31,-1 2-63,-1-1 49,0 2-175,0 0 109,-2 0-128,0 2-83,-1 0 88,0 0-99,-1 0 115,0 1 134,-1 1 27,0 0 80,-2 0 0,0 2 0</inkml:trace>
  <inkml:trace contextRef="#ctx0" brushRef="#br0" timeOffset="208">629 1767 9502,'0'-1'171,"0"1"9,0 0 285,0 0-311,0 0-42,1 0 72,-1 0-134,0 0 56,0 0-59,0 0-29,0 0-24,0 0 0,1 0 13,-1 0 0,0 0-23,1 0-24,-1 0-25,0 0 81,1 0-24,-1 0 20,1 0-11,-1 0-7,1 0 1,-1 0 7,1 0-46,0 0 28,-1 0-32,1 0 49,-1-1-38,1 1-18,-1 0 1,1 0-64,-1 0 28,1 0-16,-1 0-109,1 0 76,-1-1-107,0 1 99,0 0-89,0 0 163,1 0-70,-1 0 143,0-1 0,0 1 0</inkml:trace>
  <inkml:trace contextRef="#ctx0" brushRef="#br0" timeOffset="209">586 1818 9502,'0'1'-974,"0"-1"919,0 1 76,0-1 11,0 0-4,0 1 4,0-1-7,0 0 304,0 0-220,0 0 239,0 0-306,0 0 10,0 0-10,0-1 5,1 1-35,-1 0 30,0-1-33,0 1 39,0 0-6,1 0 1,-1 0-2,1-1 11,-1 1-10,0 0 10,1 0-15,-1-1 13,0 1-10,1-1 16,-1 1-14,1 0 7,-1 0-4,1-1-1,0 1-22,-1 0 19,0-1-18,1 1 24,-1 0-69,1 0 45,-1 0-54,1-1 5,-1 1 36,0 0-42,1-1 50,-1 1-20,1 0 7,-1-1-10,1 1-19,-1-1 31,1 1-37,-1-1 38,1 1 19,-1-1-13,1 1 15,-1 0-22,1-1 38,-1 1-27,0-1 35,1 1-26,-1 0 6,1-1 1,-1 1-1,1-1-48,-1 1 30,0-1-27,1 1 13,-1 0 16,1-1-19,-1 1 19,0 0-47,1-1-17,-1 1-1,0 0-3,0-1 30,1 1 2,-1 0-7,0-1 21,0 1 0,1 0 0,-1-1 15,0 1-17,1 0 18,-1 0-19,0-1 8,1 1-2,-1 0 5,0-1 2,0 1 7,1-1-2,-1 1 3,0 0-7,0-1-5,1 1 3,-1 0-2,0-1-4,0 1 4,1 0-3,-1-1-29,0 1 22,0 0-24,0-1 30,0 1 1,1 0-3,-1-1 2,0 1-3,0-1 4,1 1-5,-1 0 5,0 0 4,0-1-5,0 1 6,0 0-8,0-1 3,1 1-1,-1 0 4,0-1-7,0 1 4,0 0-4,0 0 4,0-1-20,0 1 14,0 0-16,0-1 18,1 1 7,-1 0-6,0-1 5,0 1-1,0 0-4,0 0 3,0-1-4,1 1 4,-1 0-2,0-1 4,0 1-3,0 0-12,0 0 9,0 0-9,0-1 5,0 1 3,0 0-4,0-1 5,0 1-13,0 0 10,0 0-12,1-1-3,-1 1 9,0 0-11,0-1 10,0 1 4,0-1-4,0 1 4,1 0-4,-1-1 3,0 1-6,0 0 6,0-1-1,0 1 2,0 0 0,0-1-1,0 1 9,0 0-7,0-1 9,1 1-10,-1-1 0,0 1 0,0 0 0,0-1-9,0 1 6,0 0-5,0 0-2,0 0 7,0 0-8,0-1 10,0 1-3,0 0-5,0 0 20,0 0-15,0 0 21,0-1-5,0 1 3,0 0 2,0 0-3,0 0-68,0 0 42,0 0-125,0 0 37,0-1-84,0 1 1</inkml:trace>
  <inkml:trace contextRef="#ctx0" brushRef="#br0" timeOffset="210">1314 2068 9502,'4'0'-292,"-2"-1"238,0 1 131,1-1 25,0-1 115,0 1-72,0-2-24,0 0-32,0 0-23,1 0-73,-1-1 59,0 1-61,0-1 28,-1 0-18,2 0-11,-2 0 17,0 1-18,1-1 45,-1 1-43,0-1 49,1 0-23,-1 1 8,0-1-25,0 1 23,1-1-8,-1 1 9,1 0-2,-1-1 1,2 0-1,-2 0 0,1 1-15,-1 0 13,1-1-10,-1 1 14,1 0-38,-2 0 26,1 1-30,0 0 37,-1-1-39,1 1 27,-2 0-31,1-1 36,1 1-29,-2 0 21,1-1-25,0 1 15,0-1 4,0 1-6,0-1 5,0 0 4,1 0-7,-1 0 7,1 0-23,0 0 16,0 0-17,0 0 21,-1 0-19,1 0 13,0 0-15,0 0 18,-1 1 7,0 0-5,1-1 27,-1 2-24,0-1 17,0 0-22,-1 1 9,1 0-5,0-1 8,0 0-9,0 1 17,0 0-12,0-1 13,0 1-14,1-1 6,-1 0-3,0 1 2,1-1-9,-1 0 4,0 1-6,0-1 8,0 0-8,0 0 5,1 1-7,-1-1-2,0 1 5,1-1-6,-1 1 9,0 0-13,0 0 8,-1-1-9,2 1 11,-1 0-16,0 0 9,0 0-11,1 0 8,-1 0 6,0-1-8,0 1 15,1 0 7,-1 0-4,0-1 3,0 1 28,1-1-29,-1 0 33,0 1-39,0 0 45,1-1-29,-1 0 33,1 0-38,0 0 28,-1 0-12,1 0 16,0 0 42,0-1-52,1 1 56,-1-1-66,1 1-24,1-1 17,-1 0-17,0 0-213,1-1 55,0 1-98,1 0 141,0-1 117,0 1 0,1-1 0</inkml:trace>
  <inkml:trace contextRef="#ctx0" brushRef="#br0" timeOffset="211">954 1805 9502,'1'0'12,"-1"0"38,0 0-5,1 0-28,-1 0 78,0 0-35,0 0 32,0 0 7,0 0 5,1 0-3,-1 0-30,0 0 12,0 0-23,0 0 30,0 1-47,0-1 33,0 0-39,0 0 47,0 0-48,0 0 34,1 1-36,-1-1-4,0 0 30,0 0-35,0 0 37,0 1-60,0-1 44,0 0-51,1 1 64,-1-1-10,0 0 5,0 1-10,0 0-34,0-1-27,0 1 9,0-1-7,0 1-5,0 0 26,1-1-30,-1 1 39,0-1-25,0 1 12,0 0 4,0 0 14,0-1 24,0 1-28,1 0-4,-1 0 2,0-1-4,0 1 8,0 0-33,0-1 24,0 1-25,0 0 32,0-1-18,0 1 13,0-1-12,0 1-16,0-1 23,0 0-29,0 1 32,0-1-25,0 0 18,0 1-24,0-1 43,0 0-20,0 1 19,0-1-18,0 0 17,0 0-11,0 0 12,0 1-14,0-1 52,0 0-36,0 0 41,1 1-42,-1-1-6,0 0 10,0 0-11,1 0 18,-1 0-11,0 0 14,0 0-28,0 0 12,0 0-14,1 1 19,-1-1-29,0 0 21,0 0-24,0 0 25,0 0-10,1 0 6,-1 0-10,0 0 29,0 1-17,1-1 17,-1 0-20,1 0 12,-1 0-9,1 0 9,-1 0-8,0 0 8,1 0-2,-1 0 7,1 0-8,-1 0 0,1 0 0,-1 0-2,1 0 2,-1 0 0,1 0-2,0 0 3,-1 0-19,1 0 11,-1 0-13,1 0 14,0 0 0,-1 0-1,1 0-30,-1 0 23,0 0-25,1 0 33,0 0-29,-1 0 20,1 0-23,-1 0 25,0 0 15,1 0-10,0 0 10,-1 0-16,1 0 2,0 0-1,-1 0 2,1 0-13,-1 0 8,1 0-9,-1 0 5,1 0 5,-1 0-5,1 0 8,-1 0-18,1 0 13,-1 0-17,1 0 18,-1 0 8,0 0-7,1 0 7,-1 0-11,1 0 42,-1 0-29,1 0 34,-1 0-44,1 0 4,-1 0-1,0 0 2,0 0-1,1 0 3,-1 0 1,1 0-14,-1 0 14,0 0-17,1 0 14,-1 0-13,0 0 6,1 0-8,-1 0 6,0 0-5,1 0 2,0 0-2,-1 0 20,0 0-8,1 0 9,0 0 8,-1 0-15,1 0 16,-1-1-18,1 1 19,-1 0-12,1 0 15,-1 0-17,1 0 0,-1 0 3,1 0-2,-1 0 4,0 0-32,1 0 26,-1 0-25,1 0-9,-1 0 25,1 0-31,-1 0 19,0 0 8,1 0-9,-1 0 9,1 0 36,-1 0-29,0 0 29,1 0-34,-1 0 33,1 0-22,-1 0 25,0 0-28,0 0 11,1 0-3,-1 0 13,1 0-35,-1 0 18,0 0-19,1 0 12,-1 0 8,1 0-8,-1 0 7,1 0-8,-1 0 5,1 0-10,-1 0 10,0 0 66,1 0-48,-1 0 52,1 0-69,-1 0 5,0 0-3,1 0 18,-1 0-10,0 0 14,1 0-14,-1 0-24,0 0 17,0 0-17,1 0 24,-1 0-37,0 0 25,1 0-33,-1 0 40,0 0-7,1 0 4,-1 0-11,0 0 34,1 0-25,-1 0 25,0 0 9,0 0-25,1 0 27,-1 0-34,0 0 25,0 0-16,1 0 23,-1 0-24,0 0-28,0 0 19,0 0-22,1 0 32,-1 1-42,0-1 29,1 0-33,-1 0 5,0 0 23,0 0-26,0 0 9,1 0 17,-1 0-22,0 1 21,0-1-8,1 0 6,-1 0-6,0 0 5,0 0 26,0 1-19,1-1 21,-1 0-26,0 0-2,0 0 2,1 1 1,-1-1 1,0 0-8,0 0 5,1 1-4,-1-1-30,0 0 28,0 0-30,0 0 25,1 1 6,-1-1-9,0 0 7,0 0 5,0 0-8,1 1 7,-1-1-9,0 0 15,1 1-10,-1-1 11,0 0-11,0 0 13,0 0-8,0 0 9,1 0-4,-1 0-3,0 1 5,0-1-5,1 0-34,-1 0 23,0 0-26,0 0 9,0 0 16,0 1-17,0-1 18,0 0 8,0 0-8,0 0 8,0 1-13,1-1 25,-1 0-21,0 0 22,0 0-3,0 0-11,0 1 15,0-1-4,0 0-8,0 0 9,0 0-8,0 1 1,0-1 2,1 0-1,-1 0-1,0 0-2,0 0 1,0 1-1,0-1 0,0 0 0,0 0 0,0 0 0,0 1-6,0-1 4,0 0-3,0 0 1,0 0 3,0 0-3,0 1 3,0-1 0,0 0 0,0 1 1,0-1-2,0 0 3,0 1-2,0-1 3,0 0-4,0 1 2,0-1-1,0 1 2,0-1-1,0 0 0,0 0 0,0 1-7,0-1 4,0 0-5,0 1 7,0-1 1,0 0 0,0 0 0,0 1-1,0-1 2,0 0-2,0 1 2,0-1-2,0 0 26,0 0-19,0 0 21,0 1-25,0-1 1,0 0-1,0 1 4,0-1-8,0 0 7,0 0-6,-1 1 9,1-1-4,0 0 4,0 0-2,0 1-10,0-1 6,0 0-7,0 1 9,0-1-9,0 0 6,0 0-8,0 0-5,0 0 9,0 1-9,0-1 0,0 0 9,0 0-12,0 1 14,0-1-11,0 0 7,0 0-8,0 0 9,0 1 0,0-1 0,0 0 0,0 1 5,0-1-5,0 0 5,-1 0 3,1 1-6,0-1 7,0 0-8,0 0 4,0 1-2,0-1 2,0 0-1,0 0 3,0 0-2,0 1 2,0-1-4,0 0-11,0 1 8,0-1-7,0 0-25,0 1 24,0-1-27,0 0 22,0 0 7,0 0-8,0 0 7,0 1-39,0-1 26,0 0-29,0 0 36,0 1-1,0-1-4,0 0 0,0 0 2,0 1 1,0-1-1,0 0 2,0 0 35,0 1-27,0-1 29,0 0 10,0 0-30,0 0 35,0 0-41,0 0 13,0 1-5,0-1 8,0 0-7,1 0-45,-1 0 34,0 0-35,0 1 43,0-1-13,0 0 8,0 0-8,0 0-19,0 0 19,0 0-26,0 0 31,0 0-8,1 1 7,-1-1-9,0 0-33,0 0 24,0 0-26,0 0 35,0 1-18,0-1 13,0 0-17,0 1 20,0-1-7,0 0 6,0 0-7,0 1 26,0-1-21,0 0 20,0 0 24,0 1-31,0-1 38,0 0-46,0 0 41,0 0-28,0 0 36,-1 1-40,1-1-21,0 0 14,0 0-15,0 0 8,0 0-6,0 1 0,0-1-40,0 0 47,0 0-163,0 0 127,0 0-101,0 0-363,0 0 110,0 0-158,0 0 299,-1 1 272,1-1 0,0 0 0</inkml:trace>
  <inkml:trace contextRef="#ctx0" brushRef="#br0" timeOffset="212">585 1826 9502,'1'0'-465,"-1"0"431,0 0-52,1 0 95,-1 0-30,0-1 74,0 1-34,0 0-4,1 0 25,-1 0 26,0 0-6,0 0 28,0 0-49,0 0 19,0 1-14,0-1 46,0 1-39,0-1 13,0 1-15,0 0-6,0-1-17,-1 1 15,1 0-3,0 0-49,0 0 52,0 0-58,0-1 55,-1 1-23,1 0 8,0 0-12,0 0 10,0 0-27,0 0 15,0 0-16,-1 0-20,1-1 41,0 1-44,0 0 48,0 0-38,0 0 29,0 0-30,0-1 34,0 1-7,0 0 3,0 0-9,0-1 33,-1 1-27,1 0 27,0 0-29,0 0 35,0 0-22,0-1 26,0 1-46,0 0 12,0 0-10,0 0-4,0-1 16,0 1-15,0 0 18,0 0 18,0 0-15,0-1 14,0 1-22,0 0 9,0 0-8,0-1 7,0 1-8,-1 0-11,1 0 10,0-1-7,0 1 0,0 0 8,0 0-9,0 0 12,0-1 10,0 1-6,0 0 5,0 0 3,-1-1-11,1 1 9,0 0-13,0 0 12,0 0-8,0-1 11,0 1-10,0 0-10,0 0 7,-1 0-5,1-1-22,0 1 24,0 0-27,0 0 14,-1 0-14,1-1 5,0 1-5,0 0-20,-1 0 31,1 0-40,0 0 45,0 0-5,-1 0 3,1 0-2,0 0 0,-1 0 4,1 1-2,0-1 1,0 0 13,0 0-14,-1 0 15,1 0-2,0 0-10,-1 0 13,1 0-13,0-1-26,-1 1 19,1 0-21,0 0 28,0-1-41,-1 0 29,1 1-34,0-1 32,0 0 1,0 0-5,0 0 68,0 0-44,0-1 49,0 0-61,0 0 60,0 0-42,0 0 53,0 0-59,0 0 36,0 0-25,0-1 29,0 1-55,1-1 25,-1 0-23,0 0 25,0 1-28,0-1 17,1 0-21,-1 0 12,0 1 8,0-1-9,1 0 5,-1 1-7,0-1 2,0 0-5,1 1 10,-1-1-4,0 1 4,0-1-6,0 1-7,0-1 7,0 1-8,1 0 13,-1 0 1,0-1-1,0 1 0,1 0 22,-1-1-17,0 1 18,0 0-22,1 0 1,-1-1 1,0 1-1,0 0 2,0 0-12,0 0 11,0 0-11,0 0 7,0 0 3,0 1-4,1-1-26,-1 0 21,0 1-22,0-1 26,0 1-1,0-1-2,0 1 0,0-1-1,0 1-6,0 0 4,0-1-4,0 1 5,0 0 6,0-1-6,0 1 5,0 0-5,0-1 0,0 0-2,0 1 2,1 0 16,-1-1-9,0 1 12,0-1-3,0 0-9,0 1 9,1-1-11,-1 1-1,0-1 4,0 1-3,1 0 2,-1-1 1,0 1 1,0 0-1,0-1-10,0 1 1,0 0-5,0 0 4,0-1-40,0 1 31,1 0-33,-1-1 40,0 1-33,0 0 19,0-1-22,0 1 45,1-1-8,-1 1 5,0-1-11,0 1 31,1-1-22,-1 0 28,0 1-18,1-2-12,-1 2 14,1-1-119,-1 0 24,0 0-90,1 0 108,-1 1 15,0-1 59,0 1 0,0 0 0</inkml:trace>
  <inkml:trace contextRef="#ctx0" brushRef="#br0" timeOffset="213">588 1820 8467,'0'0'387,"0"0"-375,0 1 5,0-1 4,0 0 55,1 0-62,-1 0 63,0 0-35,0 0 40,0 0-22,0 0 30,0 1-35,0-1 72,0 0-52,0 0 50,0 0-68,0 0 18,0 0-8,0 1 13,0-1-4,-1 0-31,1 0 25,0 0-16,0 1-45,0-1 49,0 1-60,0-1 12,-1 1 31,1-1-34,0 1 44,0-1-52,0 1 36,0 0-50,-1 0 56,1 0-68,0 0 49,0 0-52,0 0 75,-1 0-17,1 0 15,0 1-15,-1-1-4,1 0 0,0 0-3,0 0-11,-1 1 11,1-1-8,-1 0 12,1 0 17,-1 0-13,1 1 14,0-1-18,-1 0 2,1 0-1,0 0 1,0 0-4,-1 0 2,1 0-2,0 0 5,0 0-51,0 0 38,-1 1-41,1-2 45,0 1 3,0 0-6,0 0 6,0 0-46,-1 0 32,1 0-37,0 0 44,0 0-35,0 0 25,0-1-30,0 1 18,0 0 2,0 0-4,0 0 9,0-1 15,0 1-10,0 0 10,0 0-18,0 1 4,0-1-4,0 0 5,0 0-18,-1 0 14,1 1-15,-1-1 19,0 0-42,1 1 29,-1 0-32,0 0 38,1-1-1,-1 1-4,1-1 2,0 1 3,-1 0-1,1-1 3,0 1 14,-1-1-15,1 0 16,0 0-18,0 0 7,0 1-2,-1-2 4,1 2-2,0-2-23,0 1 19,0-1-19,-1 1-1,1 0 13,0-1-18,0 1 22,0-1 9,0 1-7,-1 0 6,1-1 5,0 1-14,0 0 14,0 0-14,0-1 34,0 1-23,-1 0 25,1-1-28,0 1 1,0 0 4,0 0-2,0-1 5,-1 1-6,1-1 6,0 1-6,0-1 6,0 1-5,0-1 4,0 1-3,0-1 17,0 1-13,0-1 14,0 1 0,0 0-13,0-1 15,0 1-16,0-1-14,0 1 12,0-1-11,0 1-39,-1-1 39,1 1-41,0 0 22,0-1 20,-1 1-25,1-1 29,0 1-17,0-1 11,-1 1-19,1-1 17,0 1 39,0 0 16,0-1 2,0 1-11,0-1 27,0 1-48,0 0 60,0-1-42,0 1-9,0 0 14,1 0-11,-1-1-182,1 1 46,-1-1-117,0 1-147,1-1 261,-1 1-170,0-1 279,1 1 0,0-1 0</inkml:trace>
  <inkml:trace contextRef="#ctx0" brushRef="#br0" timeOffset="214">1268 2062 9381,'2'0'364,"-1"0"-259,0 0 0,-1 0-1,1-1 11,0 1-75,0 0 56,0 0-63,0-1 65,0 1-54,1 0-18,0-1-4,0 0-43,0 1 38,1-1-16,0 0-43,1 0 80,0-1-39,0 1 50,0-1-28,1 0 9,1 0-15,-1-1 23,0 0 5,0 0-6,0 1 3,1-2-7,-1 1-9,0 0 11,-1 1-10,1-1-17,-1 0 20,-1 0-25,1 1-32,-1 0 45,-1-1-47,1 1 56,0 0-33,-1 0 16,-1 1-20,1-2 25,0 2-30,-1-1 18,1 1-22,-1-1 15,1 0 13,-1 0-15,1 0 10,-1 0-10,1 0 6,0 0-5,-1 0 9,1 0-6,0 0 5,0 0-5,0 0-4,-1 0 7,1 0-9,0 0 10,-1 1-11,1-1 7,-1 0-6,0 1 8,0-1-38,0 1 28,0 0-30,0 0 37,0 0-21,0-1 15,1 1-20,-2 0 6,1 0 4,1-1-6,-1 1-9,0 0 17,1 0-21,-1-1 23,1 1-35,-1 0 26,1-1-25,-1 1 30,1 0 10,-1 0-7,1-1 8,-1 1-15,0 0-7,0-1 5,0 1-8,0 0 11,0 0-2,0 0 3,0 0-12,0 0 9,-1 0-12,1 0 13,-1 0 18,1 0-12,-1 0 15,1 0-19,-1 0-5,1 1 4,-1-2-3,1 2-6,-1-2 7,1 1-6,0 1 4,0-1 3,-1 0-3,1 0 5,0 0 6,0 0-5,-1 0 2,1 0-7,-1 0 4,1 1-4,0-1 7,-1 0-60,1 1 38,-1-1-40,0 1 52,0-1-65,0 1 48,1-1-55,-1 1 63,0 0-35,0-1 22,0 1-30,0-1 91,0 1-48,0-1 42,0 1-55,0-1 31,0 1-20,0 0 26,1-1-24,-1 1 16,1-1-1,-1 1 7,0-1 3,1 1-15,-1 0 17,1-1-23,-1 1 11,1-1-10,-1 1 6,1-1 44,-1 0-37,1 1 37,-1-1-47,1 1 58,0-1-37,-1 1 41,0-1-48,1 0 20,-1 1-9,1-1 13,-1 0 58,0 0-57,1 1 65,-1 0-76,0-1 59,0 0 8,0 1 10,0-1 36,0 1-23,0-1 1,0 1-9,0-1 29,0 0-58,0 1 59,0 0-25,0 0-22,0-1 32,0 1-25,-1 0 39,1 0-23,-1 0 35,0 0-46,-1 1-2,1-1 1,-1 2-6,0-1-15,0 2 19,0-1-19,-1 1 23,0 1 26,0-1-24,0 2 23,-1-1-63,-1 2-17,0-1 5,0 1-1,-1 1-19,0 0 37,0 0-35,-1 1 3,0-1-4,1 0-18,-1 0 14,1-1-12,0 0-4,1 0-21,-1-1 21,2 1-32,-1-1 52,2 0-59,-1 0 28,0-1 13,1 1-18,-1 0 31,0 0-16,1-1 10,0 1-12,-1 0-47,1-1 46,-2 1-52,1 0 64,0 0-75,-1-1-19,1 1-11,0-2 20,-1 1-61,1 0 33,0-1-124,0 0 93,0-1-183,1 0 75,1-2-8,0 1 117,0-1 149,1-1 0,1 0 0</inkml:trace>
  <inkml:trace contextRef="#ctx0" brushRef="#br0" timeOffset="215">577 1880 9502,'0'1'-653,"0"-1"606,0 1-34,0-1 83,0 0 8,0 1 37,0-1 3,0 0-3,0 1-2,0-1 3,0 0-4,0 1-17,0 0 12,0-1-8,0 1 14,0 0-8,0-1 3,0 1-12,0 0 15,0 0 1,0-1-2,0 1 3,-1 0-12,1 0 5,0-1-6,0 1-26,0 0 21,-1-1-23,1 1 30,0 0-24,0 0 14,-1 0-14,1 0 16,0 0-21,0 0 10,-1-1-16,1 1 17,0 0 7,0 0-9,0 0 8,-1-1 28,1 1-21,0-1 26,0 1-13,0 0-9,0 0 11,0-1-16,0 1-26,-1 0 24,1-1-23,0 1 31,0 0-36,0-1 25,-1 1-26,1 0-14,0-1 29,0 1-36,0 0 43,0-1-25,0 1 18,0 0-24,-1-1 28,1 1-10,0-1 9,0 1-8,0-1 9,0 1-3,0-1 4,-1 1-5,1 0-12,0-1 10,0 0-9,0 1 7,0-1 2,0 1-2,-1 0 3,1-1-15,0 1 10,0 0-11,0-1 20,0 1 12,0-1-7,0 1 5,0 0-5,0-1-7,0 1 11,0-1-12,0 0 1,0 1-1,0-1 3,0 1 0,0-1-26,0 1 18,0-1-19,0 1 1,-1-1 15,1 1-17,0 0 24,0-1-1,0 1-3,0-1-1,0 1 25,0 0-17,0-1 21,0 1-26,0-1-7,-1 1 5,1 0-1,0-1-5,0 1 10,0-1-9,0 1 12,0-1-13,0 1 8,0-1-8,0 1-15,0-1 17,0 0-21,0 1 23,-1-1-32,1 1 24,0-1-27,0 1 32,0-1-16,0 1 11,0-1-12,0 1 1,0-1 6,0 0-8,0 1 9,-1-1 7,1 1-9,0-1 9,0 1-5,0-1 1,0 1 1,0-1-2,-1 1-17,1-1 12,0 1-11,0-1 15,0 0-18,0 0 13,0 1-15,0-1 68,-1 0-36,1 0 71,0 0-68,0-1 21,0 0-20,0 0 46,0-1-25,0 1 31,0 0-27,0-1-16,0 1 19,0-1-17,0 1-5,0-1 4,0 0-5,0 0-15,0 1-4,0-1-2,0 0 1,1 1-18,-1-1 24,0 1-30,0-1 35,0 1-7,0-1-1,0 1-2,1 0 0,-1 0-11,0 0 4,0 0-5,0 0 10,0 0 4,0 0-2,1 1 2,-1-1 0,0 0 0,0 1 0,0-1 4,0 0-3,0 0 3,0 1-3,1-1-12,-1 0 8,0 1-8,0-1 11,0 0-6,1 0 4,-1 0-5,0 0 0,0 1 2,0-1-3,1 0 6,-1 0 7,0 0-6,0 1 6,0-1 0,0 0-4,1 0 6,-1 1-9,0-1 25,0 0-18,0 1 21,1-1-24,-1 0 21,0 0-15,0 1 18,0-1-23,0 1 5,0-1-4,1 0 5,-1 1-12,0-1 10,0 0-10,0 0 0,0 0 7,0 1-9,0-1 10,0 0-28,0 0 20,0 0-24,0 0 29,0 0-28,0 0 19,0 0-21,0 0 20,0 1 1,0-1-2,0 0 0,0 1-26,0-1 16,0 1-18,0-1 23,0 1 55,0 0-39,0 0 43,0 1-50,0 0 47,0 0-33,0 0 38,0 0-2,0 0-24,0 1 28,0-1-4,-1 1-19,1-1 22,0 1-22,0 0 20,-1-1-16,1 1 21,0-1-24,-1 1-16,1 0 16,0-1-19,0 1-26,0 0 31,-1-1-34,1 1 44,0-1-12,0 1 6,0-1-13,0 0 5,0 0 2,0 0-3,0 0 1,-1 0-3,1 0-1,0 0-1,0 0 4,0 0-11,0 0 10,0 0-10,0 0-2,0 0 11,0 0-13,0-1 15,0 1 6,0 0-6,0 0 5,0 0-8,0-1 1,0 1 0,0 0 0,0 0-2,0-1 1,0 1-1,0-1 4,0 1-6,0-1 5,0 1-4,0 0-6,0-1 6,0 1-6,0-1 8,0 1 4,0-1-3,0 1 1,0-1 2,0 1-4,0-1 4,0 1-4,0-1-5,0 1 4,0-1-3,0 0 4,0 1-6,0-1 6,0 1-6,0-1 3,0 0 2,0 1-2,0-1 1,0 0-11,0 0 7,0 1-9,0-1 12,0 0-35,0 1 24,0-1-26,0 0 37,0 0-3,0 0 2,0 1-4,0-1 8,0 0-6,0 0 8,0 0-10,0 0 10,0 1-7,0-1 9,0 0-6,0 0 0,0 0 1,0 0-2,0 1-1,0-1 1,0 0-1,0 0-30,0 1 22,0-1-24,0 0 29,-1 0-7,1 1 5,0-1-9,0 0 9,0 0 4,0 1-3,0-1 2,0 0-4,0 0 6,0 0-4,0 0 5,0 1 7,0-1-8,0 0 9,0 0 1,0 0-11,0 1 13,0-1-13,0 0 7,0 0-6,0 0 4,0 1-3,0-1-6,0 0 4,0 0-3,0 1-19,0-1 17,0 1-17,0-1-6,0 0 18,0 0-19,-1 1 21,1-1 14,0 0-13,0 0 10,0 1-14,0-1 33,0 0-25,0 0 26,0 1-29,0-1 43,0 0 16,0 0 0,-1 0 66,1 0 44,0 0-43,0 0 32,1 1-166,-1-2 16,0 1-20,0 0 20,0 0-8,1 0 1,-1 0-3,0 0 7,0-1 9,0 1-8,0 0 7,1 0 26,-1 0-21,0 0 23,0 0-35,1 0 6,-1 0-5,0 0 8,0 0-11,0 0 8,0 0-9,1-1 11,-1 1-11,0 0 8,0 0-9,0 0 9,1 0-7,-1 0 3,0 0-4,0 0 2,1 0 3,-1 0-3,0 0 3,0 0-18,0 0 13,1 0-13,-1 0 9,0 0 5,0 0-6,0 0 7,0 0-6,0 0 4,0 0-5,1 0 14,-1 0-8,0 0 9,0 0-10,0 0-18,0 0 13,1 0-13,-1 0-7,0 0 19,0 0-24,0 0 29,0 0 3,0 0 6,0 0 37,0 0-18,0 0 100,1 0-86,-1 0 54,0 0-73,0 1-5,0-1 4,0 0-5,0 0 1,0 1 3,0-1-2,0 0 0,0 1-22,0-1 14,0 0-15,0 1 25,0 0-4,0-1 2,0 1-2,0 0-6,0-1 5,0 1-6,-1-1 7,1 1-3,0 0 3,0-1-4,0 1-6,0-1 7,0 1-7,0 0 10,0-1-3,0 1 2,0-1-2,0 1-5,0-1 4,0 1-5,0-1-2,0 1 4,0 0-3,0 0 5,0-1-11,0 1 7,0-1-9,0 1 11,0-1-8,0 1 4,0-1-5,0 1-6,0 0 10,0-1-12,0 1 15,0 0-41,0-1 29,0 1-33,0 0 18,0-1 12,0 1-17,0 0 20,0-1-35,0 1 25,0-1-25,0 1 28,0-1-10,0 1 6,0-1-10,1 1 13,-1-1-34,0 0 24,0 0-28,0 0 33,0 0-25,1 0 20,-1 0-39,0 0 36,0-1-23,0 1 24,1-1 9,-1 0-5,0 0 8,0 0-14,0 0 43,1 1-30,-1-1 33,0 0-41,0 0 52,0 1-37,0-1 43,0 0-51,0 1 47,0 0-32,0-1 54,0 1-51,0 0 18,0 1-18,0-1 6,-1 1-4,1 0 5,0 0-5,0 0 17,-1 0-13,1 0 12,0-1-15,0 1 21,0 0-14,0 0 17,0-1-28,0 0 8,0 1-7,0-1 9,0 1-56,0-1 38,0 0-41,0 0 45,0-1 4,0 0-10,0 1 19,0-1-14,0 0 12,0 0 18,0 0-21,0 0 23,0 0-25,0 0 6,0 0-3,0 0 9,0 0-5,0 0-3,0 0 3,0 0-7,0 1-11,0-2 10,0 1-11,0 1 16,0-1-17,0 1 12,0-1-15,0 1 18,0-1-5,0 0 3,0 1-3,0 0 0,0-1 0,0 1 1,0-1-1,0 1 0,0 0 1,0 0 0,0 0-15,0 0 11,0-1-11,0 1 14,0 0-2,0 0 2,0 0-3,0 0 9,0 0-8,0 0 7,0 0-7,-1 0 11,1-1-7,0 1 8,0 0-11,0 0 9,0 0-5,0 0 7,0 0-5,-1 0-2,1-1 4,0 1-4,0 0 23,0 0-17,0 0 20,0 0-24,0 0 9,0-1-6,0 1 7,0 0-14,0 0 6,0 0-5,-1 0 7,1-1-9,0 1 7,0 0-8,0 0 9,0 0-8,-1-1 5,1 1-7,0 0 6,0-1-2,0 1 0,0 0 1,0 0 0,0 0 1,-1 0 0,1-1 0,0 1 0,0 0 0,0 0 0,-1 0-2,1 0 1,0-1 0,-1 1 1,1 0-18,0 0 13,0 0-14,-1 0 17,1 0-39,0-1 28,0 1-30,-1 0 6,1 0 18,0 0-20,0 0-80,-1 0 26,1 0-104,0-1 102,0 1-198,0 0 99,0 0-101,-1 0 115,1 0 79,0 0 0,0 0 0</inkml:trace>
  <inkml:trace contextRef="#ctx0" brushRef="#br0" timeOffset="216">1035 1887 8428,'0'0'251,"0"0"-107,0 0-30,0 0 153,0-1-182,0 1 112,0 0-150,0 0-38,-1 0-14,1 0 4,-1 0-61,-1 0 24,1 0-8,-1 0 5,0 1 21,0-1-29,0 1 9,-1-1-70,1 1 34,0 0-25,-1 0 24,2-1 27,-1 1 26,1 0-31,-1-1 25,2 0 48,-1 1-51,1-1 75,0 0-73,0 0 25,1-1-3,0 1-24,0-1 21,0 0-17,0 1 1,0-1 8,0 0-12,0 0 17,1 1 17,-2-1-13,1 1 8,0 0-15,-1-1 65,1 1-46,-1 0 51,0 0 9,0 0-45,0 0 97,0 0-48,0 1 3,-1-1-21,0 1-20,0 0-19,-1 0 19,1-1-41,-1 1 27,1-1-26,0 1 36,-1 0-55,1-1 34,0 0-37,0 1 16,0-1-3,0 0-12,0 0 11,1 0-14,-1 0 21,1 0-53,0 0 48,0 0-20,0 0 29,0 0-4,0-1 13,0 1-4,0 0 14,0 0-7,0 0 2,0 0-2,0-1-10,0 1 7,0 0-8,0 0 5,0 0 3,0 0-8,0-1 7,0 1 12,0 0-6,0 0 12,-1 0-14,1 0 1,0 0 1,0 0-1,-1 0 22,1 0-16,0 0 15,-1 0-20,1 0 0,0 0 1,0 0 1,-1 0-3,1 0 2,0 0-3,0 0 4,0 0-9,-1 0 7,1 0-6,-1 0 0,1 0 6,0 0-6,-1 0 5,1 0-1,-1 0-2,1 0 1,0 0 17,-1 0-11,1 0 13,-1 0-16,1 0-3,0 0 3,-1 0-2,1 0 2,-1 0-3,1 0 2,-1 0-2,1 0 4,0 0-6,-1 0 4,1 0-7,-1-1 8,1 1-3,-1 0 2,1 0-4,-1 0 3,1 0-4,-1 0 4,1 0 2,0 0-1,-1 0 2,1 0-3,-1 0 17,1 0-12,-1 0 14,1 0-3,0 0-10,-1 0 12,1 0-14,-1 0-2,1 0 2,0 0-2,-1 0 3,1 0 0,0 0 3,-1 0-1,1 0-6,-1 0 3,1 0-5,0 0 4,-1 0-8,1 0 4,0 0-6,-1 0 7,1 0-3,0 0 2,-1 0-5,1 0 4,-1 0 0,1 0 1,-1 0 0,1 0 1,-1 0-1,1 0 0,-1 0 12,0 0-9,1 0 9,-1 0-10,1 0 53,-1 0-36,1 0 40,-1 0-22,1 0-22,-1 0 27,1 0-28,0 0 1,-1 0 0,0 0 1,1 0-23,-1 0 21,1 0-20,-1 0 23,0 0-67,1 0 46,-1 0-52,1 0 60,-1 0-64,0 0 44,0 0-46,0 0 63,0 1 0,0-1 0</inkml:trace>
  <inkml:trace contextRef="#ctx0" brushRef="#br0" timeOffset="217">970 1897 9627,'0'0'123,"0"0"-74,0 0 51,0 0-5,0 0 193,1 1-161,-1-1 149,0 0-171,0 0-19,0 0 28,0 0-72,0 0-14,-1 0 2,1 1-49,0-1 23,-1 0-3,1 0-25,-1 0 66,1 0-21,0 1 5,-1-1-40,0 0 15,1 0-20,-1 1 32,1-1 21,-1 0-21,0 0 15,1 1-55,-1-1 42,1 0-40,-1 1 26,1-1-8,-1 1-2,0-1 5,0 1-12,1 0 19,-1-1-23,1 0 25,-1 1-12,1-1 4,-1 1-7,1-1 2,0 1 0,-1 0-4,1-1 3,0 1 19,-1-1 18,1 1-8,-1 0 7,1-1 20,0 1-32,0-1 38,-1 1-43,1-1 4,0 1-2,0-1 5,0 1-29,-1-1 24,1 1-23,0 0 28,0-1-12,0 1 8,0-1-8,0 1 50,0 0-32,0-1 30,0 1-55,0-1 8,0 1-7,0-1 14,-1 1 1,1 0 0,0-1 0,0 1 2,0 0 16,0-1-8,0 1 10,0-1-16,0 1 15,0 0-12,0-1 13,0 1 0,0-1-11,0 1 13,0 0-27,0-1 8,0 1-3,0 0 10,0-1-42,0 1 30,0-1-36,0 1 43,0 0-41,0-1 30,0 1-36,0 0 17,0-1 10,0 1-15,0-1 16,0 1 29,0 0-25,0-1 23,0 1-16,0 0-5,-1 0 7,1-1-8,0 1 10,0 0-6,0 0 9,0-1-10,0 1-15,0 0 12,0-1-12,0 1 17,-1 0-52,1 0 35,0 0-41,0-1 42,0 1 0,-1 0-4,1-1-1,0 1 10,0 0-9,0 0 7,0-1 18,0 1-15,0 0 18,0-1-22,0 1 31,0-1-22,0 1 28,0-1-33,0 1 7,0 0-5,0-1 8,0 1-14,0-1 9,0 1-9,0-1 9,0 1-18,0-1 13,0 0-16,0 1 8,0-1 4,0 1-5,0-1 8,0 1-6,0 0 2,0-1-4,0 1 4,0 0 66,0-1-47,-1 1 50,1 0-61,0-1 60,0 1-38,-1 0 43,1 0-58,0-1 3,0 1 2,0 0-29,-1-1 28,1 1-30,0-1 35,0 1-30,-1-1 19,1 1-21,0-1 18,-1 1-16,1-1 2,0 1-7,0-1 24,-1 0-2,1 1 4,-1-1-9,1 1 39,-1-1-27,1 1 32,-1-1-30,1 0-4,-1 1 6,1 0-3,-1-1-22,1 1 19,-1-1-19,1 1 22,-1-1-15,0 1 10,0-1-10,1 1-11,-1-1 16,1 1-22,-1-1 23,1 1-4,-1 0 3,1-1-6,-1 1 14,1-1-11,0 0 10,-1 1-9,1-1 9,-1 0-5,1 1 7,0-1-9,-1 0-6,1 0 5,0 1-10,-1-1 11,1 0-3,0 1 4,-1-1-1,1 0-10,-1 0 6,1 0-7,0 1 3,-1-1 4,1 0-6,-1 0 7,1 1-4,-1-1 3,1 0-1,-1 0 1,1 1 0,-1-1 0,1 1 0,-1 0 0,1-1 0,-1 0 0,1 1 0,0-1 0,-1 1 0,1-1 0,-1 1-5,1-1 3,-1 1-3,1-1 5,-1 0-33,1 1 24,-1-1-27,1 1 33,-1-1-63,1 0 44,0 0-51,0 0 62,-1 0 4,1 1-3,0-1-1,-1 0 7,1 0-12,0 0 12,-1 0 20,1 0-23,0 0 26,-1 0-30,1 0 27,0 1-14,0-1 17,-1 0-15,1 0 0,0 0 5,-1 0-3,0 0-15,1 1-1,-1-1-5,1 0 8,0 0-9,-1 1 10,1-1-11,-1 0 17,0 0-6,1 0 5,0 0-7,-1 1 13,1-1-10,-1 0 11,1 0-11,-1 0 11,1 1-7,0-1 9,-1 0-3,1 1-6,-1-1 8,1 0-8,-1 0 2,1 1-1,-1-1 0,1 1-16,0-1 11,0 0-11,-1 1 13,1-1 3,0 1-3,-1 0 2,1-1-3,0 1 11,0 0-9,-1-1 10,1 1 15,0 0-18,0-1 21,0 1-7,0-1-11,0 1 13,0 0-14,-1-1-11,1 1 11,0-1-9,0 0 10,0 1-16,0-1 12,0 1-12,0-1 12,0 0-5,0 1 3,0-1-4,0 1-5,0-1 7,0 0-8,0 1 10,0 0-11,0-1 7,0 1-7,0-1 8,0 1 0,0-1 1,0 0-1,0 1-19,0-1 14,0 1-15,0-1 20,0 0-2,0 1 1,0-1 7,0 0-5,0 1 5,0-1-9,0 0 16,0 0-11,0 1 12,0-1-15,0 0 5,0 0-3,0 1 5,0-1-5,0 0-20,0 1 14,0-1-14,0 0 6,0 0 8,-1 1-10,1-1 13,0 0 1,0 0-3,0 1 0,0-1 7,0 0-5,0 0 5,0 0 1,0 0-7,0 1 8,0-1-14,0 0-29,0 0 18,0 0-19,1 0 28,-1 0 5,0 1-5,0-1 3,0 0 3,0 0-2,0 0 4,1 0 16,-1 0-14,0 0 15,1 0-19,-1 0 39,1 0-27,-1 0 32,1 0-37,0 0 4,0 0-1,-1 0 4,1-1-10,0 1 9,0 0-6,0 0 8,-1-1-39,1 1 28,0 0-30,0 0 26,0 0 6,0-1-9,0 1 31,0 0-21,0 0 21,-1 0-26,1 0 33,0 0-22,0-1 25,0 1-28,0 0-6,-1 0 8,1 0-6,0 0 10,0 0-20,-1 0 18,1 0-17,0 0-57,0 0 52,-1 0-61,1 0 64,0 0 1,0 1-5,-1-1 0,1 0 22,0 0-20,0 0 18,0 0-19,0 0 35,-1 0-25,1 0 26,0 0-30,-1 0 17,1 0-7,0 0 9,0 0 4,-1 1-10,1-1 10,0 0-10,-1 0-26,1 0 17,0 0-17,0 0 20,0 0 0,0 0-1,-1 0 1,1 0-62,0 0 45,0 0-49,0 0 61,0 0-18,0 0 12,0 0-16,0 0 18,0 0-6,0 0 3,0 0-17,0 1 12,0-1-15,0 0 14,0 0 18,-1 0-13,1 0 15,1 0-19,-1 0 37,0 0-27,0 0 35,0 0-39,-1 0 36,1 0-26,0 0 26,0-1-19,0 1-3,0 0 5,-1 0-22,1 0 9,0 0-6,-1 0 11,1 0-21,-1 0 15,1 0-20,0 0 24,0 0 3,-1 0-4,1 0 2,0 0-4,0 0 33,0 0-23,0 0 26,1 0-34,-2 0 21,1 0-14,0 0 20,0 0 6,0 0-15,0 0 17,0 0-26,0 0 1,0 0 1,0 0 1,0 0 66,0 0-48,-1 0 49,1 0-61,0 0-21,0 0 15,-1 0-12,1 0 24,0 0 25,-1 0-17,1 0 16,0 0-84,0 0 44,0 0-45,-1 0 31,1 0 16,0 0-17,0 0 17,-1 0 6,1 0-9,0 0 8,0 0-7,0 0 19,0 0-10,0 0 12,-1 0-14,1 0 2,0 0-4,-1 0 3,1 0-20,0 0 15,-1 0-15,1 0 18,-1 0-67,1 0 47,-1 0-51,1 0 28,-1 0 17,1 0-21,-1 0 22,1 0 4,0 0-4,0 1 3,-1-1-6,1 0-32,0 0 18,0 0-18,0 0 56,0 0-18,1 0 18,-1 0-6,0 0 4,0 0 3,0 0-6,0 0-14,0 0 0,0 0 2,-1 0 2,1 0-10,0 0 9,-1 0-10,1 0 14,-1 0-25,1 0 22,0 0-21,0 0-22,-1 0 23,1 0-31,-1 0 53,1 0-8,0 0 12,0 0-19,-1 0 23,1 0-17,0 0 18,0 0-19,0 0 55,-1-1-38,1 1 43,0 0-53,-1 0 20,1 0-15,-1 0 25,1 0-12,-1-1 2,1 1-1,-1 0-6,1 0-7,-1 0 9,0 0-8,0 0 4,1 0 0,-1 0-2,0 0 3,1 0-4,-1 0 2,0 0-6,1-1-3,-1 1 6,1 0-6,-1 0 11,1 0 8,0 0-7,-1 0 8,1 0-22,-1 0 8,1 0-9,-1 0 12,1 0-68,-1 0 48,1 0-53,-1 0 67,1 0 10,0 0-8,-1 0 2,1 0-10,-1 0 16,1 0-10,-1 0 20,1 0-4,-1 0-12,1 0 12,-1 0-10,0 0-5,1 1 11,-1-1-13,0 0 7,1 0-4,-1 0 8,1 0-4,-1 1-17,1-1 10,-1 0-17,0 0 19,1 0-26,-1 0 19,1 0-23,-1 1 10,1-1 9,-1 0-14,1 0 18,-1 0-21,1 0 16,-1 1-21,1-1 25,-1 0-8,0 0 8,1 0-6,-1 0 10,0 0-9,1 0 9,-1 0-8,0 0 21,0 0-15,0 1 17,0-1-24,1 0-1,-1 0 2,0 0-1,0 0 3,0 0 4,0 0-3,0 0 5,1 0 21,-1 0-18,0 0 17,0 0-22,0 0 15,0 0-6,0 0 8,1 0 5,-1 0-13,0 0 14,0 0-43,0 0 22,1 0-22,-1 0 25,0 0 10,0 0-8,0 0 8,0 0-5,1 0-3,-1 0 2,0 0-4,0 0-1,0 0 14,0-1-9,0 1 10,0 0-3,1-1-6,-1 1 10,0-1-44,0 1 28,0-1-28,0 0 33,0 1-26,0-1 17,0 1-20,0-1 23,0 1 2,0-1-3,0 1 1,0-1-5,0 1 10,0-1-6,-1 1 6,1 0 15,0-1-17,0 1 19,0 0-2,0-1-14,0 1 17,-1-1-19,1 1 11,0 0-7,0-1 8,0 1-8,0-1 2,0 1-2,0-1 2,0 1-2,0-1-5,0 1 3,0-1-4,-1 1 2,1-1 2,0 1-2,0 0 2,0-1 3,0 1-3,0 0 3,0-1 0,0 1-2,-1-1 2,1 0-2,0 1 0,0-1 0,0 1 0,0-1 0,0 0-15,0 1 11,0-1-27,0 1 25,0-1-12,0 0 14,-1 0-5,1 1 4,0-1-7,0 1 7,0-1-9,0 0 7,0 1-6,-1-1 6,1 1-22,0-1 16,0 0-18,0 1 30,-1-1-7,1 1 7,0-1-11,0 1 20,-1-1-15,1 0 15,0 1 3,0 0-15,-1-1 15,1 1-16,0-1 6,0 1-1,-1-1 4,1 1-1,0-1 2,0 1 1,0 0 0,-1-1-1,1 1-5,0-1 4,0 1-3,-1 0-30,1 0 22,0-1-24,-1 1 16,1-1 7,0 1-9,-1 0 10,1-1 5,0 1-6,0 0 5,-1 0-8,1-1 15,0 1-12,0-1 11,0 1 6,-1 0-12,1 0 14,0-1-17,-1 1 16,1 0-11,0 0 15,0-1-10,0 1-1,0 0 2,0 0-4,-1 0 1,1 0 0,0 0 0,0 0-1,0-1 0,0 1 1,-1 0-1,1 0 0,0 0 0,0 0 0,-1-1 0,1 1 5,0 0-4,-1 0 5,1 0 30,0-1-25,-1 1 28,1 0-35,-1 0 20,0 0-14,1-1 15,-1 1-15,1 0-4,-1 0 5,0-1-2,1 1 1,-1 0 1,0 0 0,0-1-3,0 1 6,0 0-5,1-1 3,-1 1-9,0 0 7,1-1-7,-1 1 7,0-1-20,0 1 14,1-1-14,-1 1 17,1-1-15,-1 1 12,0-1-14,1 1 15,-1-1-12,0 1 8,1 0-11,-1-1 10,0 1-2,1-1 0,-1 1-2,0 0 4,1-1-2,-1 1 2,0 0 0,0-1 0,0 1 0,1-1 0,-1 1 0,0 0 0,0-1 0,0 1 0,1 0 0,-1-1 0,0 1 0,0 0 21,1-1-15,-1 1 16,0 0-18,1 0-1,-1-1 2,1 1-2,0 0 19,-1 0-14,1 0 15,0-1-15,0 1 12,0 0-8,0 0 10,0 0-4,0-1-4,0 1 8,0 0-10,0 0-17,0-1 11,0 1-13,0 0 15,0 0 3,0 0-2,0-1 2,-1 1-22,1 0 12,0-1-14,0 1 17,0 0-11,0-1 5,0 1-7,0 0 4,0-1 6,0 1-6,0 0 3,-1-1 2,1 1-2,0-1 2,0 1-1,0 0 1,0 0-1,0-1 1,0 1 0,0-1 0,0 1 0,-1 0 0,1-1 0,0 1 0,0-1 0,0 1 0,0-1 0,0 1-1,0-1 7,0 0-5,0 1 5,0-1-5,0 1-1,0-1 0,-1 1 0,1-1 1,0 0-7,0 1 6,0-1-5,0 0 5,-1 0 0,1 1 0,0-1 0,0 1-3,0-1 2,0 0-2,-1 1-5,1-1 5,0 1-5,0-1 6,0 0 3,0 1-3,0-1 4,0 0-4,0 1 3,0-1-2,0 0 4,0 1-4,0-1 2,0 0-1,0 0 2,0 1-2,0-1 0,0 0 0,0 1-3,0-1 2,0 1-3,0-1 4,0 0-9,0 0 6,0 1-7,0-1 9,0 0-14,0 1 9,0-1-10,0 0 12,0 1 5,0-1-2,-1 0 1,1 1 5,0-1-7,0 1 7,0-1 11,0 1-13,0-1 15,0 1-19,0-1 11,0 1-8,0-1 11,0 1-11,0 0 0,0-1 0,0 1 0,0 0-2,-1-1 0,1 1-1,0 0 1,0-1-4,-1 1 5,1 0-4,0-1 1,0 1 4,-1 0-6,1-1 4,0 1-2,0-1 2,-1 1 0,1 0 0,0-1 25,0 1-17,0-1 19,0 1-23,0-1 7,-1 1-5,1-1 7,0 1-8,0-1-6,0 1 5,0 0-4,0-1 2,0 1 4,-1 0-6,1-1 1,0 1 2,0 0-3,0 0 1,0-1 9,-1 1-9,1 0 8,0-1-7,0 1 8,0-1-5,0 1 5,0-1 12,-1 1-13,1-1 14,0 1-16,0-1-2,0 1 1,-1-1 2,1 1-6,0 0 6,0-1-5,0 1 4,0-1 5,-1 1-4,1 0 4,0 0-6,0-1 5,-1 1-3,1-1 3,0 1-10,0-1 4,-1 1-5,1 0 7,-1-1-5,1 1 4,0 0-3,-1-1 24,1 1-14,0-1 14,0 1-20,-1-1 0,1 1 1,0 0 0,-1-1 1,1 1-9,0 0 7,-1-1-6,1 1-8,0 0 11,0 0-12,-1-1 15,1 1-10,0 0 6,-1 0-8,1 0 13,0 0-4,-1-1 4,1 1-8,0 0 4,-1 0-4,1 0 5,-1 0-2,1-1 4,-1 1-3,1 0 3,-1 0 7,1 0-6,0 0 6,0-1-8,-1 1-8,1 0 6,0 0-7,-1 0 30,1 0-15,-1 0 14,1 0-19,0 0 2,-1 0-1,1 0 3,-1 0-2,1 0 12,-1 0-9,1 0 9,-1 0-24,1 0 10,-1 0-10,0 0 13,0 0 5,1 0-3,-1 0 3,0 0-6,0 0 1,1 0-2,-1 1 1,0-1-53,0 0 40,0 0-42,0 0 52,0 0-4,0 0 1,0 1-3,0-1 0,0 0 0</inkml:trace>
  <inkml:trace contextRef="#ctx0" brushRef="#br0" timeOffset="218">575 1962 9093,'0'-1'-21,"0"1"36,0 0-31,0 0 16,1 0 27,-1 0 21,0 0 5,0 0-12,0 0-2,0-1-13,0 1 18,0 0-20,0 0 5,0 0-6,0 0 7,0 0-15,-1-1 17,1 1-15,0 0 13,-1 0-46,1 0 28,0-1-30,-1 1 12,0 0 20,1 0-24,0 0 26,-1 0-9,1 0 5,-1 0-6,1 0 2,0 0-49,-1 0-19,1 0 1,-1 0 9,1 0 52,-1 0-2,0 0 0,0 0 0</inkml:trace>
  <inkml:trace contextRef="#ctx0" brushRef="#br0" timeOffset="219">1273 2059 9502,'-14'2'0,"6"-1"-288,1 0 74,-1 1-181,1-1 162,-1-1 364,1 2-18,-1-2 221,1 1-103,0 0-127,-1-1 10,1 0-123,0 0 16,0 0-5,0 0 17,0 0 0,1 0 34,-1 0-37,0 0 38,1 0-62,0 0-17,0 0-7,1 0-2,-1 0 9,2 0-23,0 0-5,0 0 5,2 0 21,0 0 9,1 0-5,0 0 11,1 0 11,0 1-13,0-1 18,1 0-12,1 0 11,0 0-8,2 1 40,1-1-27,0 0 28,0 0-30,2 0 51,0 1-30,0-1 34,0 0-43,1 1 43,0-1-26,0 1 30,0-1-38,-1 1-6,0-1 11,1 0-39,-1 0 31,0 1-32,1-1 33,-1 0-44,1 0 31,-1 0-34,1 0 37,0 0-18,0 0 7,1 0-9,-2 0 7,1-1-1,-1 1-4,1 0 1,-1-1-16,-1 0 18,1 0-17,-2 1-49,0-1 47,0 0-50,-1 0 63,0 0-42,-1 0 26,-1-1-30,0 2 34,-1-1-8,0 0-1,-1 1-3,1-1-5,-1 1 12,-1-1-15,1 1 14,-2 0 42,0 0-30,0 0 34,-2 0 4,1 0-32,-1 0 37,0 1-37,-2 0 37,1 0-22,-2 0 31,1 0-42,-1 1 62,0-1-45,-1 0 50,1 0-58,0 0 3,-1 0-2,0 0 4,0 0-14,0 0 15,0-1-12,1 1-29,-1-1 30,1 1-34,-1-1 40,1 1-77,0-1 55,1 0-63,0 0 76,1 0-42,1 1 29,1-1-36,0 0 37,2 0-21,0 0 4,1 0 13,0 0-12,1 0 28,1 0 36,0 0-36,1-1 46,1 1-58,-1 0 59,1-1-42,0 0 49,0 1-56,0 0 45,-1 0 7,1 0 10,0 0 12,-1 0-45,1 0 12,0 0-22,-1 0 1,1 0 2,-1 0 1,1 0-7,0 0 5,-1 0-7,1 0 9,-1 0-37,1 0 23,0 0-28,0 0 35,0 0-26,0 0 19,0 0-23,-1 0 42,1-1-13,0 1 11,0-1-15,0 0 14,0 0-8,0 0 11,-1 0-32,1-1 13,-1 1-13,0-1 19,1 0-12,-1 1 10,0-1-9,0 0 10,0 0-24,0 0 14,0-1-14,0 1 11,0-1 65,-1 1-47,1-1 47,0 0 17,0 0-51,0 1 58,0-1-29,0 0-24,0 0 28,1 0-28,-1 0-35,0 0 31,1 0-29,0 0 36,0 0-37,0 0 29,-1 0-26,1 0 25,-1 0-63,0 0-31,1 0 2,-1 0-121,-1 1 95,1 0-96,-1 0-63,0-1 57,0 2-71,0 0 55,-1 0-4,-1 0 93,1 1-8,-1-1 127,0 1 0,0 0 0,0 0 0,-1 1 0</inkml:trace>
  <inkml:trace contextRef="#ctx0" brushRef="#br0" timeOffset="220">570 1991 9502,'1'0'-489,"-1"0"445,1 0 51,-1 0-13,0 1 68,0-1 7,0 0-5,1 0 4,-1 0 0,0 0-5,0 1 6,0-1-1,1 0 8,-1 0-4,0 0 3,0 0 0,0 1-13,0-1 26,0 0-25,1 0 18,-1 1-15,0-1 5,0 0-4,0 0-10,1 1 7,-1-1-8,0 0-13,0 0 16,1 0-16,-1 1 26,0-1-43,0 0 28,1 0-33,-1 1-7,0-1 37,1 0-42,-1 0 47,0 0-45,1 1 29,-1-1-31,0 0 40,1 0-58,-1 0 41,1 0-46,-1 1-2,1-1 33,0 0-33,-1 0 17,0 0 24,1 0-31,-1 0 30,1 0-31,-1 0 24,1 0-27,-1 0 28,1 1-13,0-1 8,-1 0-9,1 0 10,-1 0 38,1 0-27,0 0 32,0 0 19,0 0-41,-1 0 47,1 0-52,0 0-14,0 0 13,-1 0-12,1 1 5,0-1 10,-1 0-10,1 1 14,0-1-51,0 0 33,-1 0-37,1 1 36,0-1-13,-1 0 3,0 1-4,1-1-28,0 0 31,-1 0-33,1 0 38,-1 1-29,0-1 21,1 0-23,0 0 16,-1 0 3,1 0-5,-1 0 7,0 0-9,1-1 3,-1 1-5,0 0 4,1 0-1,-1 0 0,1 0 0,-1-1 6,0 1 0,1 0 0,-1 0-1,0 0 0,0 0 0,1 0 0,-1-1-3,0 1 1,0 0-1,1 0 3,-1 0 1,0 0 0,1 0 1,-1 0-2,0 0 4,0 0-3,0 0 3,0 0 0,1 0-3,-1 0 3,0 0-2,0 0 1,0 0 0,1 0 0,-1 0-2,0 0 0,0 0 1,0 0 0,0 0-23,1 0 17,-1 0-19,0 0 25,0 0-4,0 0 2,0 0-3,0 0 7,1 0-7,-1 0 6,0 1 2,0-1-5,1 0 6,-1 0-7,0 0 22,0 0-16,0 0 19,0 0-23,0 0 22,0 0-16,1 0 19,-1 0-9,0 0-6,0 0 8,0 1-10,0-1-3,1 0 4,-1 0-3,0 0 0,0 0 1,0 0-3,0 0 4,0 0-9,0 0 6,1 0-9,-1 0 11,0 1-13,0-1 10,0 0-10,0 0 10,1 0 0,-1 0-1,0 0 0,0 0 4,0 1-2,0-1 3,1 0 11,-1 0-12,0 0 13,0 0-15,0 0 9,0 0-6,0 0 8,1 0-9,-1 0 0,0 0 0,0 0 1,1 0-14,-1 0 12,0 1-12,0-1 6,0 0 0,1 0-2,-1 0 2,0 0-1,0 0 5,0 0-9,0 0 9,1 1-9,-1-1 6,0 0-4,1 0 3,-1 0 0,0 1 0,0-1 0,1 0 2,-1 0-1,0 0 2,1 0-2,-1 0 0,0 0 0,0 0 0,1 1-11,-1-1 8,0 0-8,0 0 10,1 0 1,-1 0-1,0 1 1,0-1-1,1 0 0,-1 0 0,0 0 1,0 0 1,0 0-2,1 1 3,-1-1-4,0 0-10,0 0 7,1 0-7,-1 0 1,0 0 7,0 1-7,0-1 8,1 0 5,-1 0-5,0 1 5,0-1-7,1 0 5,-1 0-5,0 1 5,1-1 4,-1 0-6,0 0 7,1 0-2,-1 0-3,0 0 4,1 1-3,-1-1 5,0 0-3,0 0 4,1 0-6,-1 1-1,0-1 1,0 0 0,1 0 0,-1 0-2,0 0 1,1 1 0,-1-1 1,0 0-1,0 1 0,1-1 0,-1 0-69,0 0 49,1 1-52,-1-1 64,0 1-270,1-1 50,-1 1-86,0-1 159,1 1 155,-1 0 0,1 0 0</inkml:trace>
  <inkml:trace contextRef="#ctx0" brushRef="#br0" timeOffset="221">511 2042 8939,'0'1'601,"0"-1"-471,0 0 68,0 0-71,0 0-42,0 0 11,0 0-15,0 1-13,0-1-46,0 0 28,0 0-30,0 0 33,0 0-43,0 1 17,0-1-22,0 0 33,0 0 7,0 0-6,0 1 4,0-1 24,1 0-18,-1 0 25,0 1-27,0-1 1,0 1-2,0-1-2,0 0 9,1 0 2,-1 0 0,1 1 3,-1-1-26,1 0 17,-1 0-17,1 0-51,-1 1 47,0-1-54,1 0 25,-1 0-16,1 0 0,0 0 2,-1 0 4,1 0-19,-1 0 2,1 1-4,0-1 29,0 0-5,0 0-1,-1 0-5,1 0 24,0 0-22,0 0 21,0 0 40,0 0-35,0 0 43,0 0-44,0 0-3,0 0 6,0 0-3,0 0-31,0 0 25,0 0-25,0 0 33,0 0-44,-1 0-6,1 0-9,0 0 11,0 0 7,0 0 14,0 0-29,0 0 27,-1 0-11,1 0 14,0 0-13,0 0 40,-1 0-31,1 0 31,0 0-4,-1 0-17,1 0 25,-1 0-29,1 0 22,-1 0-15,1 0 19,-1-1-19,1 1-9,-1 0 5,1 0-8,-1 0 13,1 0-1,-1 0 1,1 0-3,-1 0 6,1-1-5,-1 1 5,1 0 14,-1 0-13,1-1 14,-1 1-18,1 0 5,-1 0-3,0 0 5,0 0-5,1 0 1,-1 0-1,0 0 2,1 0-3,-1 0 3,1 0-3,-1 0 2,0 0-4,1 0 2,-1 0-4,1 0 2,-1 0 2,0-1-4,1 1 4,-1 0-1,1 0 1,-1 0 0,1 0 0,-1 0 0,0 0 0,1-1 0,-1 1 0,0 0 0,0 0 0,1 0 0,-1 0 0,1 0 0,-1 0 0,0 0 0,0 0 0,1 0 0,0 0 0,-1 0 0,0 0 0,1 0 0,0 0 9,-1 0-6,1 0 8,-1 0-10,0 0-1,0 0 0,1 0 1,-1 0 0,0 0-32,1 0 23,-1 0-25,0 0 28,0 0 2,0 0-3,1 0 1,-1 0-4,0 0-2,0 0-33,0 0 23,0 0-21,0 0 14,0 0 12,0 0-19,1 0 21,-1 0-7,0 0 8,0 0 20,0 0-14,0 0 16,0 0-25,1 0 17,-1 0-11,0 0 13,0 0-9,0 0 18,1 0-10,-1 0 12,0 0-16,0 0-4,0 0 8,0 0-5,1 0 3,-1 0-3,0 0 2,0 0-27,0 0 19,0 0-21,0 0 23,0 0 6,0 0-7,1 0 0,-1 0 10,0 0-12,0 0 25,0 0-10,0 0 22,0 0-15,1 0 5,-1 0-4,0 0-9,0 0 28,0 0-23,0 0 14,0 0-19,0 0 1,0 1 0,0-1 1,0 0-25,0 0 19,0 0-21,0 1 27,0-1-52,0 0 37,0 0-43,0 0 51,0 1-19,0-1 12,0 0-16,0 1 17,0-1 8,-1 0-7,1 0 7,0 1-12,0-1 24,0 0-16,0 0 54,0 0-49,0 1 32,0-1-36,-1 0 11,1 0-8,0 0 11,0 1-9,0-1-2,0 0 1,0 0-3,0 0-3,0 0 7,0 1-8,0-1 14,0 0-5,1 0 4,-1 1-7,0-1 35,0 0-24,0 0 27,1 0-34,-1 0-2,0 1 1,1-1 1,-1 0 3,0 0 0,1 0 0,0 0 0,-1 0-10,1 0 10,0 0-11,0 0 7,-1 0 0,2 0-2,-2 0 4,1 0 12,0 0-10,0 0 9,-1 0-12,1 0 17,0 0-11,-1 0 13,1-1-15,0 1-2,-1 0 4,1 0-4,-1 0-10,1 0 9,0 0-10,-1 0-4,0 0 12,1 0-13,0 0 14,-1 0-11,1 0 7,-1 0-9,1 0 10,0 0-3,-1 0 0,1 0-1,-1 0 0,1 0-8,-1-1 5,1 1-6,-1 0 9,1 0-13,0 0 8,-1 0-9,1 0-5,-1 0 13,1 0-16,-1 0 18,1 0 4,-1 0-3,1 0 2,-1 0 10,1 0-12,-1 0 12,1 0-14,-1 0 7,1 0-2,-1 0 3,1 0-2,-1 0 4,1 0 0,0 0 2,-1 0-5,0-1-1,1 1 1,-1 0-13,1 0 10,0 0-10,-1 0 12,0 0-15,1 0 10,0 0-10,-1 0 11,1 0-19,-1 0 13,0 0-15,1 0 18,-1 0 0,1 0-2,-1 0 9,0 0-7,1 0 8,-1 0-10,1 0 16,-1 0-11,0 0 12,0 0-13,1 0 13,-1 0-8,0 0 12,1 0-14,-1 0 3,0 0-3,1 0 3,-1 0-36,1 0 26,-1 0-27,0 0 29,1 0 3,-1 0-5,0 0 3,1 0-15,-1 0 11,0 0-14,1 0 15,-1 0 3,1 0-3,-1 0 3,0 0-6,1 0 2,-1 0 0,1 0 1,-1 0 18,1 0-12,-1 0 14,0 0-26,0 0 6,1 0-6,-1 0 7,0 0 0,1 0 0,-1 0 0,0 0 2,0 0 14,1 0-12,-1 0 13,0 0-16,1 0 16,-1 0-10,1 0 11,-1 0-14,0 0 11,0 0-8,1 0 9,-1 0-14,0 0 5,0 0-6,0 0-5,1 0 7,-1-1-8,0 1 12,0 0-17,0 0 11,0 0-14,0 0 15,0 0 9,1 0-5,-1 0 4,0-1 40,0 1-35,0 0 37,0 0-46,0 0 12,0-1-6,0 1 11,0 0-11,0 0 5,0-1-4,0 1 6,0-1-16,0 1 14,0 0-15,0-1 14,0 1-14,0-1 7,0 1-8,0 0 6,0-1 2,0 1-4,0 0 3,0-1 3,0 1 0,0-1 3,0 1 0,0-1-2,0 1 3,0-1-5,0 1 7,0-1-3,0 1 4,0-1-6,1 1 25,-1-1-16,0 1 17,0-1-14,0 1-2,0-1 5,0 1-5,1 0-13,-1-1 6,0 1-4,0 0 7,0-1-14,0 1 10,0-1-14,0 1 30,1 0-9,-1 0 9,0 0-14,0 0-7,0-1 3,1 1-3,-1 0 5,0 0 35,0 0-23,0 0 24,1 0-18,-1 0-8,0-1 12,0 1 6,0 0-11,1 0 11,-1-1-15,0 1-28,0 0 20,0-1-21,0 1 27,1-1-157,-1 0 34,0 1-108,0-1 126,-1 0 44,1 1 45,-1-1 0,0 0 0</inkml:trace>
  <inkml:trace contextRef="#ctx0" brushRef="#br0" timeOffset="222">1051 2051 9502,'1'0'-911,"-1"1"747,1 0 92,-1-1 72,1 1 0,-1-1 0,1 1 0,-1-1 0,1 1 0,-1-1-69,1 1 52,-1-1-51,1 1 69,-1 0 42,0-1 11,1 1 2,-1-1-5,0 1 21,0 0-37,1-1 45,-1 1-4,0-1-40,0 0 47,0 1-29,0-1-5,0 0 15,0 1-13,0-1 45,0 0 25,0 0 152,0 0-114,0 1 112,0-1-179,0 0 29,0 0-32,-1 0 3,0 0 5,-1 0-1,-1 0 1,-1 0-75,0 0 55,-1 0-48,0 0 57,-2 0-39,-1 0 15,-1-1-29,0 0-45,-1-1 29,0 0-91,-1 0-35,1 0 14,-1 0-64,1 0 96,0 0-130,1 0 71,1 0-87,-1 0 46,2 0-55,0 0 9,1 0-44,0 1 37,1-1-14,0 1 100,1 0-4,0 0 134,0 1 0,2-1 0,-2 1 0</inkml:trace>
  <inkml:trace contextRef="#ctx0" brushRef="#br0" timeOffset="223">1084 2064 9502,'-7'0'-271,"4"0"60,-1 0 92,0 0 172,0 0-4,-1 0 123,1 0-67,-1 0 16,0 0-50,-1 0 17,0 0-71,1-1-11,0 1 2,-1 0 6,0-1-14,1 0 37,0 1-46,1-1-7,-1 1-13,2 0-13,0 0 21,0 0-4,1 0-10,1 0-19,1 0-39,0 0 75,0 0-45,2 0 57,1 1 24,2 0-18,0-1 25,0 1 18,2-1 14,-1 1 4,1-1 31,0 1-77,0-1 39,0 0-42,0 0 65,0 0-46,-1 0 55,0 0-58,1 0 24,-1 0-17,0 0 20,1 0-21,-1 0-19,1 0 15,-1 0-23,0 0-22,1 0 31,0 0-38,-1 0 15,1 0 22,-1 0-24,1 0 22,0 0-20,0 0 8,-1 0-10,0 0 14,0 0-18,1 0 8,-1 0-12,0 0 17,0 0-13,0 0 7,0 0-9,1 0 4,-1 0 10,1 0-8,-1 0-33,0 0 29,0 0-31,1 0 37,-1-1-11,0 0 5,0 0-8,0-1 8,-1 1-65,0-1 42,-1 1-46,1-1 55,-2 0-50,1 1-23,-1-1-94,0 0 28,-1 0-31,0 1 76,0-1-65,-1 1 124,0-1-46,1 0 108,-1 1 0,2-1 0</inkml:trace>
  <inkml:trace contextRef="#ctx0" brushRef="#br0" timeOffset="224">1022 2054 9502,'-2'0'-182,"1"0"155,0 0-11,-1 1 68,0-1 20,0 0-2,0 0 50,-1 0-59,-1 0 57,0 0-10,-1 0 16,0 0-15,-1 0 17,-1 0-87,0 0 54,0 0-58,0-1 81,-1 0-49,1 1 21,-1-1-33,0 1-14,1-1 50,-1 1-47,2-1 53,-2 1-56,1 0-2,0-1-8,0 1-33,1 0 12,-1 0 6,0 0-3,0 0 7,0 0 20,1 0-22,-1 0-40,0 0 60,1 0-73,0 0 75,0 0-12,2 0 11,-1 0-10,0 0 72,1 0-56,0 0 56,0 0-64,1 0 38,0 0-24,0 0 28,0 0-29,0 0-2,1 0 9,-1 0 2,1 0-3,-1 0-14,1 0 7,-1 0-50,1 0 43,-1 0-28,0 0 35,0 0-39,0 0 26,0 0-35,0 1 39,-1-1-15,1 0 10,-1 0-12,1 1 13,0-1-2,0 0 1,-1 0 0,1 0-2,0 0 1,-1 0 0,1 0 1,0 0-13,-1 0 10,1 0-10,-1 0-11,0 0 15,0 0-17,1 0 22,-1 0-20,1 0 13,0 0-17,0 0 20,-1 0-14,2 0 10,-1 0-13,0 0 13,1 0-6,-1 0 5,0 0-3,1 0-1,-1 0 3,0 0-2,0 0 2,0 0-15,1 0 11,-1 0-11,0 0-13,1 1 20,-1-1-22,1 0 26,-1 0-9,1 0 6,-1 0-9,1 0 14,0 1-7,0-1 7,0 0-9,0 0 22,1 0-17,-1 1 18,0-1-5,1 0-7,-1 1 10,0-1-11,0 0-6,1 1 6,-1-1-5,0 0 6,0 1-13,-1-1 10,1 0-10,0 1 13,0-1 1,-1 1-1,1 0 0,-1-1-20,1 1 13,-1 0-14,1-1 13,-1 1 2,1-1-3,-1 1 3,1-1 0,-1 1-1,1 0 2,-1 0-1,1 0 4,-1-1-5,1 1 4,-2 0-6,2 0 11,-1 0-8,-1-1 9,1 1-44,0 0 26,0 0-26,-1 0-4,0 0 27,1-1-30,-1 1 33,1 0-55,-2 0 35,2 0-38,-2 0 47,1 0-10,0 0-4,0 0-10,-1 0-43,0 0 41,0 1-41,0-1 57,1 1-35,-1-1 21,0 1-22,1-1 42,0 1-10,0-1 13,0 1-25,1-2 63,1 2-47,-1-1 52,0 0-56,1 0 40,1 0-31,-1 0 38,1-1-12,0 1-7,0 0 14,1-1 5,0 0 31,0 0 37,0 0-15,2 0-16,0 0 42,1-1-22,0 0 87,1 0-85,1-1 89,0 1-61,0-2 96,2 2-50,-1-2-18,1 2-27,0-1-14,1 0-46,-1 0 48,1 1-43,1-1-9,-1 1-22,1-1-8,0 1 21,-1 0-11,1-1-6,0 2-25,0-2 19,-1 1-35,0 0 61,-1 1-68,1-1 21,-1 0 21,0 0-30,-1 1 41,0-1-32,0 1 22,-1-1-24,1 0 21,0 1 10,0-1-16,0 1 10,0-1-9,-1 1 1,2-1 0,-1 0 7,0 1 5,0 0-3,0-1 3,0 1-5,0-1 6,-1 1-3,1-1 5,-1 1-5,1-1-1,-1 0 3,0 0-2,0 1-3,0-1 2,-1 0-2,1 1 0,-1-1 3,0 1-3,0-1 2,1 1-22,-2 0 15,2 0-17,-1 0 4,0 0 12,1 0-13,-1 0 16,0 0-28,1 0 19,0 0-22,0 0 24,0 0-2,0 0-1,-1 0 1,1-1 2,0 1-2,0 0 3,0 0 6,0 0-7,0 0 7,-1-1-8,1 1-5,-1 0 5,0 0-4,1 0-14,-1 0 17,0 0-17,1 0 18,0 0-44,-1 0 30,0 0-33,1 0 39,0 0-33,0 0 21,0 0-23,-1 0 28,1 0-2,0 0 0,0 0-4,0 1-19,0-1 13,0 1-15,-1-1 25,1 1-2,-1-1 4,0 0-5,0 1 13,0-1-8,0 0 7,-1 1-11,0-1 10,0 1-5,0-1 8,-1 0-35,1 0 14,-1 0-15,0 0 24,1 0-59,-1 0 46,0 0-47,1 0 8,-1 1-7,0-1-15,1 0 18,0 1 4,0-1 25,-1 0-38,0 0 36,1 0-8,-1 1 9,0-1-3,0 0-40,0 0 52,-1 0-16,1 1 65,-1-1 0,1 0 0,-1 1 0,0-1 0,1 1 0,1 1 0</inkml:trace>
  <inkml:trace contextRef="#ctx0" brushRef="#br0" timeOffset="225">896 2064 9502,'-7'0'-355,"3"-1"74,-1 1 113,1 0 154,-1-1 28,-1 1 60,0-1 42,-1 0-34,-1 1 9,0 0-11,-1-1 12,-1 0-38,0 1 42,0-1-50,-1 1 69,0-1-47,1 0 58,-1 1-107,0-1 33,1 0-24,-2 1 33,2-1-51,0 1-19,0-1-11,0 1-29,0 0 30,-1 0 1,1 0-4,0 0-8,1 0 26,-1 0-36,0 0 41,0 0-3,1 0-10,0 0 6,-1 0-40,1 0 41,-1 0-41,0 1 46,0-1-23,1 1 14,0 1-13,-1-1 12,1 0 0,0 0 0,1 0-3,0 0-45,1 1-14,0-1-4,1 0 14,0 1-140,2-1 147,-1 0-136,2 0 191,0 1 0,0-1 0</inkml:trace>
  <inkml:trace contextRef="#ctx0" brushRef="#br0" timeOffset="226">906 2066 13907,'-4'0'585,"1"0"-467,-1 0-34,-1 0-63,-1 0 42,-2 0-45,-1 0 62</inkml:trace>
  <inkml:trace contextRef="#ctx0" brushRef="#br0" timeOffset="227">709 2057 15438,'0'0'1,"-9"-1"-172,-1 0 61,0 0-121,1 0-17,1 1 94,2-1-13,0 1 97,2 0 62,0-1 0,0 1 0</inkml:trace>
  <inkml:trace contextRef="#ctx0" brushRef="#br2" timeOffset="228">855 2052 9502,'-1'0'-1228,"1"0"1156,-1 0 72,0-1 0,1 1 34,-1 0-23,0 0 26,1 0-42,-1 0 8,1 0-8,-1 0 10,0 0-5,0 0 4,0 0-5,-1 0-26,1 0 23,-1 0-26,0 0 32,0 0-2,-1 0 0,-1 0 0</inkml:trace>
  <inkml:trace contextRef="#ctx0" brushRef="#br2" timeOffset="229">844 2054 10250,'0'0'2,"2"0"5,0 0-1,-1 0 2,1 0 0,0 0-3,-1 0 4,1 0-4,-1 0 7,1 0-5,-1 0 4,1 0-5,0 0 1,0 0-1,-1 0 0,1 0 3,0 1-3,0-1 3,0 0-3,0 0 6,0 0-3,-1 0 3,1 1-5,0-1-8,0 0 8,-1 0-7,1 1 4,-1-1 1,1 0-3,-1 0-6,1 0 8,-1 1-8,1-1 9,-1 0-5,1 0 1,-1 1-2,1-1 4,0 1-3,-1-1 1,1 0-2,-1 0 3,1 0-5,0 0 2,-1 1-4,1-1 7,-1 0-2,1 0 3,-1 1-2,1-1 3,-1 0-3,0 0 4,1 0-6,-1 0 1,0 0 0,0 0 1,0 1 4,0-1-3,1 0 3,-1 0 6,0 0-6,0 0 6,0 0-8,1 0-4,-1 0 3,1 0-4,-1 0 6,1 0 8,0 0-6,-1 0 7,0 0-4,1 0-3,-1 0 4,1 0-4,-2 0-15,1 0 10,0 0-10,0 0 13,0 0-61,0 0-15,0 0-7,-1 0 19,2 0 56,-1 1 4,1-1 0,1 1 0</inkml:trace>
  <inkml:trace contextRef="#ctx0" brushRef="#br2" timeOffset="230">368 2088 8206,'1'0'0,"-1"0"20,1-1-14,-1 1 15,1 0 42,0-1-42,-1 1 47,1 0-58,0-1 13,0 1-8,-1 0 11,1-1-2,0 1-2,-1 0 4,1-1 0,0 1 13,-1 0-3,1-1 6,0 1-12,-1 0-12,1-1 6,-1 1-6,1-1 20,0 1-12,0 0 13,-1 0-15,1-1-14,0 0 11,0 1-7,0-1 10,0 1-3,0 0 1,1-1-5,0 1-2,-1-1 6,1 1-6,0-1 9,0 1-17,1-1 9,-1 1-9,1-1-19,0 1 23,0 0-26,0 0 31,0-1-32,0 1 23,0 0-24,0 0 20,1 0 3,-1 0-5,1 0 3,-1 0 15,1 0-12,-1 0 10,1 0-11,-1 0 6,0 0-4,1 0 6,0 0 7,-1 0-8,1 0 10,0 0-8,0 1 5,0-1-2,-1 0 5,1 0-19,-1 0 7,1 0-9,-1 0 10,0 0-18,0 0 15,0 0-16,-1 0 18,0 0-20,1 0 13,-1 0-15,0 1 22,0-1-5,0 0 4,0 0-8,1 0 27,-1 0-21,0 0 22,0 0-5,0 0-13,0 0 17,1 0-19,-1 0-1,0 0 1,0 0 0,1 0 2,-1 0-22,1 0 16,-1 0-16,0 0 9,2 0-2,-2 0-3,1 0 1,-1 0 4,1 0 0,0-1-2,0 1-6,0-1 9,0 1-10,0 0 11,0-1 5,0 1-4,0-1 5,0 0-7,0 0 20,0 0-14,0 1 16,0-1-12,-1 0-4,1 1 5,-1-1-2,0 0-6,0 1 5,0-1-5,0 0-3,0 1 6,0-1-6,0 0 7,0 1-3,0-1 0,0 1 0,-1 0 1,1-1 0,0 1 1,-1-1-2,1 1 10,-1 0-6,2 0 5,-2 0-8,1 0 17,1-1-11,-2 1 14,1 0-17,0 0 3,0 0-3,0 0 4,-1 0-6,1 0 4,0 0-4,0 0 5,-1 0 5,2 0-2,-2 0 4,1 0-11,0 0 3,0 0-5,0 1-6,0-1 7,1 0-7,-2 0 9,1 0-15,1 1 10,-1-1-12,0 0 15,-1 1-7</inkml:trace>
  <inkml:trace contextRef="#ctx0" brushRef="#br0" timeOffset="231">658 2065 10825,'-6'0'5,"-3"0"-92,0 0 63,-2 1-112,-1-1 25,2 1 3,-1 0-10,2 1 50,0-1-33,0 0 43,0 0-15,1 0 11,6 0 51</inkml:trace>
  <inkml:trace contextRef="#ctx0" brushRef="#br0" timeOffset="232">529 2077 9788,'-6'0'-32,"-1"1"-7,4-1 18</inkml:trace>
  <inkml:trace contextRef="#ctx0" brushRef="#br0" timeOffset="233">489 2080 9555,'-4'0'-17,"-1"0"-18,-1 0-32,1 0 28,-1 1-24,1-1 30,0 1-38,1-1 27,0 1-28,0-1 29,0 1 2,1-1-6,0 1-40,2-1 72</inkml:trace>
  <inkml:trace contextRef="#ctx0" brushRef="#br0" timeOffset="234">404 2088 9769,'5'-2'75,"1"-1"-36,1 1 25,-1-1-9,2 1 9,-1-1-9,1 1 8,1 0-61,0 0 35,0 0-38,-1 1-14,1 0 51,0 0-56,0 0 26,0 0-17,0 0 2,0 1 2,0-1 34,1 1-5,-2 0 1,2 0-14,-3 0-23,1 0 12,-1 0-15,0 0-7,0 0 30,-1 0-34,1 0 39,-2 0-69,2 0 50,-1 1-55,0-1 13,1 1-20,-1-1 0,1 0 2,0 0 9,1 1 17,-1-1-24,-1 0 38</inkml:trace>
  <inkml:trace contextRef="#ctx0" brushRef="#br0" timeOffset="235">1051 2066 9502,'-2'0'0,"0"0"4,1 0 1,-2 1 58,1 0 91,-2-1-4,-2 1 57,0-1-76,-2 1-45,-2-1 4,1 0-40,0 0 23,2 0 2,0 0-35,-1 0-10,-1 0-8,0 0 9,0 0 33,0-1 1,-1 1-1,1 0 1,0 0-54,0-1-12,-1 1-24,1 0 9,0 0 23,0-1 0,0 1 5,0-1 5,1 1-7,-1 0-4,2 0-23,-1 0-1,0-1 24,1 1 8,1 0 16,-1 0-2,0 0-69,1 0-13,-1 0-58,-2 0 1,-1 0-139,-2 0 61,1 0-85,0 0 102,0-1-154,1 1 65,-1 0-123,2-1 221,-1 1 58,1-1 105,0 1 0,0-1 0</inkml:trace>
  <inkml:trace contextRef="#ctx0" brushRef="#br0" timeOffset="236">1274 2096 9392,'-2'0'308,"0"0"-208,0 0 12,-1 0-1,-1 0-82,-2-1 60,-1 1-66,-1-2-9,-2 0-1,2 0-73,-1 0 58,2 1 11,1 0 35,-2-1-1,1 1-40,-1-1-7,0 0-24,0 1 5,0-1 13,1 1 0,-1 0 11,1 0 3,0 0-77,0 0-20,0 0-101,-3 0 46,2 0-177,-3 0 107,3 0-119,1 1 197,3 0 54,1 0 86,1 0 0,0 1 0</inkml:trace>
  <inkml:trace contextRef="#ctx0" brushRef="#br0" timeOffset="237">867 2073 8648,'1'0'69,"0"0"46,0 0-19,-1 0-15,1 0 40,-1 0-13,0 0 69,-1 0-53,-1 0 6,1 0-109</inkml:trace>
  <inkml:trace contextRef="#ctx0" brushRef="#br0" timeOffset="238">604 2072 11200,'-9'0'-53,"0"-1"-1,-1 1 20,1 0-1,1 0-73,1 0-15,0 0-24,0 0 11,0 0 57,0 0 5,0 0-12,-1 0-179,-2 0 35,0 0-95,1 0-58,1 0 117,1 0-13,1 0 144,0 0 135,2 0 0,0-1 0,1 1 0</inkml:trace>
  <inkml:trace contextRef="#ctx0" brushRef="#br0" timeOffset="239">414 2110 9502,'0'1'573,"-1"-1"-413,1 1-29,0-1-12,0 0 10,-1 0-9,1 1-8,-1-1 14,1 0-15,-1 0 35,0 0-52,0 0 42,0 0-45,-1 0 40,0 0-44,0 0 45,0 0-45,0 0-16,0 0 32,-2 0-62,1 0 14,0 0-19,-1 0 2,0 0 9,-1 1-8,0-1 29,-1 1-37,0 1 49,0-1-78,0 1 7,-1 0-75,0 0 7,0 1 0,1 0 15,-1-1 28,0 0-3,0 1 1,1 0-18,-1 0 18,2-1-17,-1 1 41,0 0-43,0-1-1,6-2 35</inkml:trace>
  <inkml:trace contextRef="#ctx0" brushRef="#br0" timeOffset="240">269 2141 11836,'5'-3'-41,"3"0"-13,0 0 47,-1 1-47,1-1 53,0 0-25,-1 0 17,0 1-18,0-1-8,-1 1 14,0 0-15,0 0 23,-1 0-36,1 0-13,-1 1-4,0-1 10,0 1 29,-1 0 7,1 1-11,-1-1-58,1 0 32,-1 0-38,0 0 53,0 1-22,-1-1 13,2 0-19,-2 0-44,1 1 52,0-1-54,-1 0 67,1 1-21,0-1 14,-1 1-25,0-1 63,1 1-37,-1-1 38,-1 1-40,1-1 17,-1 1-17,0 0 16,-1-1 10,0 1-13,0 0 27,0 0-30,0-1-22,-1 1 16,0 0-15,0 0 23,0-1 75,0 1-55,-1 0 51,-1 0-23,-1 0 5,0 0 9,-2 0-9,0 0 24,0 0-40,-1 1 45,-1 0-30,-1-1-18,0 2 32,-1-1-32,0 1 37,0 0-27,-2-1 30,0 1-30,2 0 7,0 0-17,2 0-1,0-1-1,0 1 3,0 0 9,0-1 0,0 1-14,-1 0-2,1 0-30,-1 0-2,4-1 30</inkml:trace>
  <inkml:trace contextRef="#ctx0" brushRef="#br0" timeOffset="241">467 2086 9425,'1'0'193,"0"0"-192,-1 0 94,0 0-125,-1 0 100,-2 0-42,-1 0 3,-1 0-6,-1 0-15,-2 0 13,0 1-29,-2-1 6,1 1-71,1 0 46,1 0 6,0 0 30,0 0 3,0 0-39,-2 0-12,2 0-26,-1 1 6,0-1 16,0 1-1,0 0-15,0 0-1,1-1-2,-1 2 3,0-1 7,1 0 1,0 0 7,0 0 2,0-1-150,-1 2 133,0-1-115,0 1 172,1-1 0,0 1 0</inkml:trace>
  <inkml:trace contextRef="#ctx0" brushRef="#br0" timeOffset="242">312 2110 9502,'0'-2'164,"-1"2"-14,0-1 24,0 1 13,-1 0 35,-1 0-29,-1 0-42,-1 0-28,-1 1-21,-2 0 29,3 1-93</inkml:trace>
  <inkml:trace contextRef="#ctx0" brushRef="#br0" timeOffset="243">269 2138 12600,'0'0'0,"11"-4"-18,-1 1 17,0-1-61,-1 1 20,-1 0-118,1-1-64,-1 1 53,0 1-70,-1-1 90,1 1-107,-2 0 49,2-1-90,-1 2 87,0-1-9,0 0 2,-1 1-13,1 0-22,0 0 7,0 0 31,-1 0 1,0 1 126,0 0-46,0 0 50,-1-1 2,-1 1-3,0 0 11,-2 0 36,-1 0 15,1 0 47,-3 1-42,-1-1 150,-3 2-103,-1-1 145,-2 2-28,-2-1-67,2 0 42,-1 0-62,2-1 1,0 1 55,0-1 16,-1 1 16,0 0-8,-1 0-50,0 0-2,0 0-10,0 1 0,-1-1 20,0 1 6,0-1 3,0 1-3,-2 0-22,2 0-1,2 0-16</inkml:trace>
  <inkml:trace contextRef="#ctx0" brushRef="#br0" timeOffset="244">417 2093 9502,'-4'2'-46,"2"-1"119,-1 0-31,0 0 78,0 0-32,-1 0 43,0 0 39,0 0-30,-2 0 45,0 0-110,-1 0-4,-1 1-15,-1-1 15,-1 1-60,0 1 36,-1 0-110,2-1 63,1 1-38,2-1-6,-1 0-4,1 0 7,0 1 24,0-1 1,1 1 4</inkml:trace>
  <inkml:trace contextRef="#ctx0" brushRef="#br0" timeOffset="245">35 2201 9502,'-8'6'-155,"3"-4"53,1 1-82,1-1 60,-1 1 79,1-1-32,1-1 82,-1 0-57,2 0 28,0-1-17,0 0 14,1 0 15,0 0 26,1 0-30,1-1 156,0 0-29,1-1 108,1 0-115,0 0 130,1 0-91,-1 0 106,1-1-13,1 1-43,-1-1 53,1 1-50,-1-1-39,1 0 11,0 1-48,0-2 40,0 1-84,0 0 15,-1 0-26,2 0-93,0 0 63,1 0-125,0-1 121,0 1-89,1 0 81,0-1-105,1 1 22,1-1 28,0 0 13,0 0 44,-1 1-8,2-1-9,-1 0 1,1 0-4,-1 1-43,0-1 31,0 1-34,-1 0 55,0 0-136,0 0 24,-2 1-122,-1 1-108,-1-1 71,-2 1-104,0 0 123,-1 0-153,-2 0 67,0 0 4,-1 1 156,-1-1 164,-2 1 0,0 0 0,-2 1 0</inkml:trace>
  <inkml:trace contextRef="#ctx0" brushRef="#br0" timeOffset="246">289 2113 9502,'1'1'-49,"0"-1"57,-1 0-32,1 1 68,-1 0 191,1 0-15,-1-1 124,0 1-160,-1-1-32,-1 1-74,0 0 38,-2 0 14,0-1-11,-2 1 11,0 0-55,-1 0-10,0 0-4,-1-1 22,-1 2-12,-1-1-2,-1 0-14,0 1-96,-1-1 60,0 1-100,-1 0 82,4-1 2,-1 1-29,4-1-15,0 0-34,-1 1 8,1-1-6,-3 1 62,0-1-174,-3 2 102,2-1-120,0 1 58,2-1 30,1 1-15,2-1 7,1 0-14,1-1 19,1 1 10,0 0 7,1-1 81,0 0-23,1 0 34,-1 0 62,1-1-50,0 1 89,1-1-86,-1 0 85,1 0-66,2 0 90,0-1 73,2 1-23,0-2 50,1 0-48,0-1-24,1 1 12,0-1 5,1 0-23,-1 0 36,1 0-2,0 0 27,0 0-96,0 1 19,1-1-57,0 1 41,1 0-76,-1-1-3,2 1-81,-1 1-55,1-2 32,0 2-75,1-1 102,-2 0-85,2 1 73,-1 0-109,0-1 112,-1 0-52,0 1 95,-1 0-62,-2 0 85,0-1-55,-2 1 51,-1 0-52,-2 1 86,0-1-58,-2 0 64,0 1-60,0 0-2,0 0 11,-1 0-6,-1 0 30,0 0-21,-1 0 22,-1 0-12,-1 0-8,0 1 7,-1 0-12,-1 1-8,-1 0 5,1-1-6,-1 1 6,0 1-39,-1 0 27,1-1-29,-1 1-8,-1 0 35,1 1-40,-2-1 52,3 0-3,0 0-31,2-1-8,-1 0-40,1 1 0,-1-1 31,1 0 9,0 1-23,-1-1-13,0 0-34,1 1 7,-1-1 23,1 0 1,-1 1 23,1-1 5,-1 1-26,2-1-10,-1 0-73,-3 1-6,2 0-6,-3 2-39,2-2 52,0 0-12,1 1 99,3-2 36,-1 1 52,2 0 0,0 0 0</inkml:trace>
  <inkml:trace contextRef="#ctx0" brushRef="#br0" timeOffset="247">326 2123 9502,'1'1'-432,"-1"-1"532,1 0-6,-1 1-46,0-1 176,0 0-34,0 1 155,-2-1-132,-1 1-13,-1-1-70,-2 0-2,-1 0-54,-1 1 30,-2 0-31,0 0-6,1 0-12,0 0-52,3 0 0,-1 0 18,0 0 7,-1 0 27,1 0 1,0 1-30,-1-1-8,1 1-36,-1 0 0,1 0 31,-1-1 10,1 2-46,0-1-19,0 0-47,0 1 9,0-1 46,0 0 3,1 1 4,-2 0-145,-1 1 43,0 1-100,0-1 90,2-1-118,0 0 52,2 0-97,1-1 11,2-1-14,1-1 95,0 1 30,0-1 180,1-1 0,1 1 0</inkml:trace>
  <inkml:trace contextRef="#ctx0" brushRef="#br0" timeOffset="248">74 2191 9502,'4'-1'-233,"-2"0"55,0 1 83,1-1 245,-1 1-23,1-1 190,0 1-107,1-1-37,0 0-39,-1 1-17,2-1 22,-1 0-12,1 0 12,0 0-25,0 0-2,1-1 15,0 1-11,1-1-16,0 1 7,3-1-11,0-1-23,-1 1-3,-1 0-30,-1 1 7,1 0 13,-1-1-1,2 0-7,0 0 1,1 1-47,1-1-11,-1 0-26,2 0 7,1 0 19,-3 0 0,1 1-3,-3 0 20,1 0 6,0-1 20,0 1-88,0 0-21,0 0-87,0 0 23,1 1 6,0-1 46,1 0 6,0 0 23,-2 1 1,0 0-450,0 0 361,1 0-330,0-1 472,-1 1 0,0-1 0</inkml:trace>
  <inkml:trace contextRef="#ctx0" brushRef="#br0" timeOffset="249">1774 1359 9502,'1'-1'-1075,"-1"1"1003,0 0 72,0 0 0,0 0 0,1 0 0,-1 0 0,0 0 0,0 0 0,0 0 0,0 0 0,0 0 0,0 0 0,1 0-11,-1 0 78,0 0-10,0 0 79,0 0-55,0 0 98,0 0-67,0 0 102,0 0 78,1 0 42,-1 0 174,0 0-129,0 0 1556,0 0-1349,0 0 1146,0 0-1601,-1 0-56,1 0-14,-1 0 14,1 0 4,-1 0 30,0 0-24,1 0-1,-1 0-122,0 0 58,0-1-93,1 1 52,-2 0-42,2 0 5,-1 0-58,0 0 46,0 0 41,0 0 8,0 0 46,0 0-3,0 0 4,0 0 7,0 0-11,0 0-64,1 0 47,-1 0-46,0 0 2,0 0 46,1 0-48,-1 0 55,0 0-75,1 0 7,-1 0-64,1 0 6,-1 0-3,0 0 12,1 1 24,-1-1-24,0 0-3,1 0-24,-1 0 23,1 1 85,-1-1-19,0 0 26,1 1 16,0-1 6,-1 0 10,0 1-11,1-1-1,-1 1-25,1-1 31,0 1 10,-1-1-9,1 1 31,0 0-29,-1-1 4,1 1-1,0-1 10,0 1 2,-1-1-19,1 1-3,0 0-3,0-1-16,0 1 11,-1-1-12,1 1 13,0 0-11,0-1 7,-1 1-8,1-1 11,0 1-2,0 0 2,0 0-4,-1-1 53,1 1-37,0-1 39,0 1-49,0 0 37,0-1-23,-1 1 27,1-1-27,0 1-5,0 0 9,0-1-30,-1 1 22,1-1-22,0 0 26,0 1-4,0-1 1,0 1-2,0-1-4,-1 1 28,1-1-23,0 1 22,0-1-34,0 0 8,0 1-8,0-1 11,0 1-25,-1-1 18,1 1-17,0-1-24,0 1 33,0-1-36,0 1 42,0-1 4,0 1-7,0-1 3,-1 1-8,1 0 52,0-1-41,0 1 42,0-1 7,-1 1 16,1-1 7,0 1-16,0 0-64,0-1 18,0 1-13,-1-1-12,1 1 24,0-1-27,0 1 42,0-1-19,0 1 13,0-1-18,0 1 13,0-1-21,0 1 16,0-1-20,0 1 9,0-1-6,0 1-1,0-1 9,0 1-66,0-1 55,0 0-58,0 1 28,0-1 27,0 0-34,0 1 39,0-1 2,0 1-2,0-1-1,0 1-5,0-1 18,1 0-13,-1 1 18,0-1-15,0 1-3,0-1 7,1 1-3,-1-1 3,0 0 5,1 1-2,-1-1-29,0 0 16,1 1-21,-1-1 26,0 1-28,0-1 20,1 0-22,-1 1 26,0-1-8,0 0 6,1 1-8,-1-1-31,0 0 24,1 1-27,-1-1 33,0 1 19,1-1-16,-1 0 16,0 1 0,0-1-11,1 1 11,-1-1-17,0 1 47,0-1 16,1 0 1,-1 1-7,1-1-6,-1 0 17,0 1 1,0-1 11,1 1-60,-1-1 26,1 0-20,-1 0-10,1 1 13,-1-1-17,0 0 22,1 1-69,-1-1 50,1 0-59,-1 1 50,1-1 2,-1 1-9,0-1 6,1 1-35,-1-1 19,0 0-23,1 1 32,-1-1 26,1 0-22,-1 1 19,1-1 49,-1 0-48,1 0 53,-1 1-66,1-1 73,-1 0 19,1 0 15,-1 0-21,1 0-5,0 0-44,-1 0 54,1 1-77,-1-1 36,1 0-32,0 0 42,-1 0-76,1 0 55,0 0-54,0 1 38,-1-1 12,1 0-25,-1 0 21,1 0-43,0 0 27,0 0-26,-1 0 44,1 0-7,0 0 11,0 0-14,0 0 46,0 0-33,0 0 37,0 0-45,-1 0 51,1 0-37,0 0 44,0 0-26,0 0-8,-1 0 13,1 0-12,0 0-24,0 0 27,0-1-26,0 1 23,-1 0-8,1 0 0,0 0 0,0-1-15,-1 1 11,1 0-15,0 0 21,0 0-9,0 0 11,-1 0-9,1-1 2,0 1-2,0 0-1,0 0-14,0 0 15,-1 0-14,1 0 17,0 0 17,0 0-15,-1 0 15,1 0-16,0-1 59,0 1-42,0 0 47,0 0-50,-1 0-4,1 0 11,0 0-8,0 0-74,0 0 54,-1-1-60,1 1 33,0 0 30,0 0-32,0 0 35,0 0-40,0 0-15,0 0-10,0 0 3,0 0-2,0 0 14,0 0-12,0 0 40,0 0-4,0 0 7,0 0-12,0 0 34,0 0-23,0 0 29,0 0-48,0 0 13,0 0-12,0 0 17,0 0-13,0 0 12,0 0-12,0 0 16,0 0-30,0 0 20,0 0-22,0 0-6,0 0 21,0 0-27,0 0 30,0 0-29,0 0 21,0 0-23,0 0 10,0 0 8,0 0-10,0 0 14,0 0-40,0 0 27,0 0-29,0 0 34,0 0-16,0 0 7,0 0-10,1 0 0,-1 0 14,0 0-19,0 0 19,0 0 0,1 0 1,-1 0-1,0 0 11,0 0-15,0 1 14,1-1-13,-1 0 10,0 0-4,0 0 6,0 0-7,0 0-27,0 0 20,0 0-21,0 0 15,0 1 6,0-1-10,0 0 8,0 0 2,0 0-3,0 0 4,0 0 29,0 0-21,0 0 23,0 0-31,1 0 16,-1 0-11,0 0 13,0 0-14,1 0 42,-1 0-28,0 0 35,1 0-49,-1 0 9,0 0-8,0 0 10,0 0-3,1 0 4,-1 0-4,0 0-29,0 0 22,0 0-26,0 0 32,0 0-3,1 0 2,-1 0-4,0 0 3,0 0 10,0 0-7,0 0 7,0 0 18,0 0-22,0 0 22,0 0-25,0 0-17,0 0 15,0 0-14,0 0-11,0 0 19,-1 0-19,1 0 27,0 0-53,0 0 37,0 0-46,0 0 50,0 0 2,0 0-6,0 0 7,1 0 37,-1 0-32,0 0 34,0 0-46,0 0 52,0 0-34,0 0 42,0 0-69,0 0 23,0 0-20,-1 0 29,1 0-23,0 0 19,0 0-20,0 0 20,0 0-37,-1 0 22,2 0-24,-1 0 24,-1 0-25,1 0 12,0 0-16,0 0 59,1 0-21,-2 0 23,1 0-34,1 0 8,-1 0-5,0 0 11,0 0-12,0 0 6,0 0-8,0 0 9,0 0 6,-1 0-1,1 0 5,0 0 17,0 0-22,0 0 22,0 0-27,-1 0 12,1 0-7,-1 0 7,1-1-10,0 1 25,-1 0-18,1 0 23,-1 0-14,1 0-3,-1-1 7,0 1-11,1 0 4,-1 0-3,1-1 3,-1 1-3,0 0 0,1-1 1,-1 1 1,1-1 7,-1 1-4,0 0 4,1-1-8,-1 1 36,0 0-25,1-1 28,-1 1-31,0 0-2,1-1 4,-1 1-3,1-1-3,-1 1 2,0-1-1,1 1 4,-1 0-4,0-1 2,0 1-4,1-1 39,-1 1-26,0-1 26,0 1-35,0 0 16,0-1-11,1 1 12,-1-1 7,0 1-18,0-1 21,0 1-22,0 0 5,0-1-1,0 0 1,0 1 2,0-1-3,0 1 1,0-1-3,0 0 1,0 1-3,0-1 4,0 0-3,0 1 24,0-1-15,0 0 16,0 0-16,0 1-3,0-1 5,0 0-4,0 1-15,0-1 9,0 1-12,0-1 21,0 0-3,0 1 1,0-1-4,0 0 14,0 1-10,0-1 12,0 1-15,0-1 3,0 0-2,0 1 4,0-1-21,0 1 17,0-1-17,0 1 22,0 0 0,0-1 0,-1 1 0,1-1-3,0 1-2,0 0-1,-1-1-1,1 1-26,0-1 20,-1 1-18,1-1 4,-1 1 14,1 0-16,-1-1 19,1 0 12,-1 1-8,1 0 8,-1-1-2,1 1-10,-1 0 8,0-1-11,1 1-10,-1-1 9,1 1-9,-1 0 11,0-1-15,1 1 12,-1 0-11,1-1 8,-1 1 4,0 0-5,1-1 3,-1 1 4,0 0-4,0-1 4,1 1 11,-1 0-11,0 0 12,1 0-13,-1-1 41,0 1-27,1 0 29,-1 0-34,0 0-1,0-1 6,1 1-3,-1 0-28,0 0 17,0-1-21,0 1 29,0 0-23,0 0 16,0 0-20,1 0 22,-2 0-20,2 0 14,-1-1-19,0 1 20,0 0-10,0 0 7,0 0-10,0 0 16,0 0-6,0 0 7,1 0-5,-1 0 9,0 0-6,0 0 5,1 0-11,-1 0 2,0 0-3,1 0 4,-1 0-8,1 0 6,-1 0-6,1 0-6,-1 0 10,1 0-11,0 0 12,-1 0-2,1 0 0,0 0-139,0 0 127,0 0-124,0 0 157,0-1-13,1 1-3,-1-1 6,0 1-12,0-1 33,1 1-22,-1-1 25,0 1-26,1-1 2,-1 0 3,0 1-1,1-1-13,-1 0 4,0 1-7,0-1 10,0 1-11,1-1 8,-1 1-11,0-1-9,0 0 13,0 1-17,0-1 19,0 1-12,1-1 6,-1 0-7,0 1 0,0-1 12,0 1-12,0-1 12,0 0 5,0 1-5,0-1 6,0 0-9,0 1 11,0-1-7,0 0 8,0 1 3,0-1-8,0 1 9,0-1-10,0 0 0,0 1 1,0-1-1,0 0-9,0 1 6,0-1-7,0 0 10,0 0-3,0 0 1,-1 1-1,1-1 1,0 0 3,0 1-3,-1-1 2,1 0 1,0 0-2,0 1 3,-1-1-4,1 0 4,-1 0-2,1 0 3,-1 1-20,1-1 12,-1 0-13,1 1 16,-1-1 1,1 0-2,-1 0 2,0 1-3,0-1 6,1 1-5,-1-1 5,0 1-6,0-1-10,0 1 6,0-1-6,0 1-2,0 0 8,0-1-8,0 1 11,0 0 8,0-1-5,0 1 5,1 0 1,-1-1-7,0 1 8,0 0-11,1-1 13,-1 1-9,0-1 10,1 1-9,-1 0 31,0 0-18,1-1 20,-1 1-12,1 0-13,-1 0 16,1 0-17,-1 0 7,1 0-2,-1-1 1,0 1-17,0 0 9,1 0-12,-1 0 16,0 0-30,0 0 21,1 0-25,-1 1 29,0-1-9,0 0 7,0 0-9,1 0 9,-1 0-5,0 0 4,0 1-4,0-1 6,0 0-6,1 0 6,-1 0-4,0 0-18,0 1 13,0-1-13,0 0 14,1 0 1,-1 0-2,0 1 4,0-1-8,0 0 4,1 0-6,-1 1 11,0-1-5,0 0 5,1 0-6,-1 1-19,0-1 13,1 0-15,-1 1 21,1-1-20,-1 0 15,1 0-17,-1 1 11,1-1 6,0 0-10,-1 0 10,1 1-34,0-1 23,0 0-26,-1 0 40,1 0-15,0 0 39,0 1-27,0-2 33,0 1-19,0 0 5,0-1-6,0 1 4,0 0-4,0-1 3,0 1-17,0-1 11,0 1-13,0-1 13,0 1 3,0-1-5,0 1 4,0-1 14,0 1-10,0-1 12,0 1-15,0-1 20,0 1-15,0-1 17,-1 1-23,1-1 5,0 1-4,-1-1 6,1 0-6,-1 1 7,1-1-7,-1 1 6,1-1-46,-1 1 33,0-1-35,1 1 2,-1 0 29,0-1-36,1 1 41,-1-1 3,0 1-2,0-1 1,1 1 19,-1 0-21,0-1 22,1 1-26,-1-1 28,0 1-20,1 0 24,-1-1-25,0 1 6,0-1 1,0 1 6,1 0-45,-1-1 30,0 1-37,0 0 25,1-1-12,-1 1 3,0 0-3,0 0 10,0-1 8,0 1-14,1 0 13,-1 0 14,0-1-10,1 1 13,-1 0-3,0 0-14,1 0 14,-1-1-12,1 1 29,-1 0-14,1 0 17,-1 0-9,1 0-13,-1-1 17,1 1-18,-1 0-19,1 0 14,-1 0-17,1 0 8,-1 0 11,1 0-12,-1 0 12,1-1 7,-1 1-8,1 0 7,-1 0-9,1 0 7,-1 0-6,1 0 5,-1 0 6,0 0-7,1 0 9,-1 0-10,0 0-12,0 0 9,1 0-7,-1 0 10,0 0-5,1 0 3,-1 0-7,0 0 9,0 0-3,0 0 3,0 0-4,0 0 5,0 0-3,0 0 3,0 0 0,0 0-2,-1 0 4,1 0-4,0 0 10,0 0-6,0 1 7,0-1-7,0 0-20,0 0 13,-1 0-15,1 1 18,1-1-34,-2 0 23,2 0-25,-1 1 17,0-1 11,0 0-15,0 0-7,0 1 12,0-1-14,0 0 17,0 1 18,1-1-14,-1 1 11,0-1-15,0 0 36,0 1-24,1-1 28,-1 1-32,0-1 53,1 1-32,-1-1 36,1 1-31,-1-1-15,1 1 20,-1-1-19,1 1 6,0-1-4,-1 1 2,1 0 31,0-1-21,-1 1 23,1 0-31,-1-1 12,1 1-7,0 0 8,-1 0 8,1 0-13,0-1 17,-1 1-20,1 0 27,-1 0-20,1 0 26,0 0-27,-1 0 45,1 0-34,0 1 35,-1-1-30,1 0-1,0 0 4,-1 0-7,1 1-54,0-1 37,0 0-38,0 1 12,0-1-13,0 0 0,0 0 2,0 0-271,0 0 54,0 0-198,0 0 247,1 0 99,0 0 93,0 0 0,0 0 0</inkml:trace>
  <inkml:trace contextRef="#ctx0" brushRef="#br0" timeOffset="250">1861 1461 9502,'-1'0'-351,"1"0"86,0 0 128,-1 0 57,1 0 56,0 0 11,0 0 55,0 0-5,-1 0 1,1 0-1,0 0 45,0 0 156,0 0-46,0 0 148,0 0-33,0 0-23,-1 0 38,1 0 25,0 0-58,0 0 45,0 0-70,0 0-9,0 0-29,-1 0 31,1 1-62,0-1 31,0 0-67,-1 0 26,1 1-2,0-1-39,-1 1 53,1-1-62,0 1 20,-1-1-22,1 1 8,-1-1-74,1 1 62,-1 0-58,0 0 75,0 0-84,1 0-17,-1 0-18,1 0-10,-1 0 3,0 0-33,1 0 7,-1 0-40,0 0 80,1 0-18,-1 0-17,1 1 7,-1-1-34,1 0 23,-1 0-37,1 0 68,0 0-68,-1 0 75,1 0-72,-1 0 50,1 0-53,0 0 64,0 0-51,-1 0 38,1 0-43,0 0 22,0 0 9,-1 0-12,1 0 15,0 0 13,0 0-14,-1 0 11,1 0 45,0 0-36,0-1 41,0 1-52,-1 0 36,1 0-26,0 0 34,0 0-53,0 0 16,-1 0-11,1 0 13,0 0-31,0-1 22,0 1-25,-1 0 10,1 0 15,0-1-18,0 1 15,0 0 29,0-1-26,0 1 25,0-1-7,0 1 17,0-1-4,0 1 0,0 0-12,0-1-11,0 0 19,0 1-18,0-1-27,0 1 20,0-1-20,0 1-25,0-1 42,1 0-45,-1 1 49,0-1-42,0 1 24,0-1-30,1 0 30,-1 1 7,0-1-14,0 0 11,1 1 20,-1-1-14,0 0 18,1 1-25,-1-1 26,1 0-18,-1 0 23,1 1-32,-1-1 8,1 0-7,0 0 12,-1 1-53,1-1 39,-1 0-40,1 0 46,-1 0 10,1 0-11,-1 0 5,1 0 24,-1 0-27,1 1 25,-1-1-29,1 0 34,-1 0-21,1 0 26,-1 0-43,1 0 8,0 0-3,0 0 8,-1 0-34,1 0-13,0 0-2,0 0 3,0 0 35,-1 0-2,1 0-6,0-1 5,0 1-12,0 0 8,-1 0-11,1 0 44,0-1-34,0 1 35,0-1 12,-1 1 14,1-1 9,-1 1-14,1-1 18,0 1-43,-1-1 52,1 1-62,-1-1 14,0 1-11,1-1 15,-1 1-43,1-1 33,-1 0-33,0 1 36,1-1-22,-1 1 15,0-1-17,1 0-16,-1 1 25,0-1-35,0 1 37,1-1-21,-1 0 16,0 1-15,0-1 15,1 1-5,-1-1 4,0 1-4,0-1 4,0 1 0,0-1 0,0 1 0,0-1 8,1 1-6,-1-1 7,0 1 8,0-1-12,0 1 13,0-1-16,0 1 0,0-1 2,0 1-1,0-1 3,0 1-10,0-1 8,0 1-7,0-1 8,0 0-11,0 1 7,0-1-8,0 1 6,0-1 3,0 1-5,0-1 4,0 0 23,0 0-16,0 1 18,0-1 4,0 0-18,0 1 19,0-1-22,0 0 29,0 1-15,-1-1 20,1 0-3,0 1-20,0-1 23,0 0-26,-1 1-5,1-1 3,0 1-4,0-1 9,-1 0-22,1 1 15,0-1-17,-1 1 8,1-1 7,-1 0-9,1 1 8,0-1 13,-1 0-11,1 1 11,-1-1 17,1 0-19,-1 0 21,1 1-28,-1-1 5,0 0-1,0 0 4,1 1-36,-1-2 23,0 2-25,0-1 35,0 0-89,0 0 22,0 0-85,1 0 84,-1 0-158,1 0 77,-1 0-116,1 0-49,0 1 66,0-1-68,0 0 78,0 1-416,0-1 131,1 1-283,0-1-147,0 1 281,1 0-29,0 0 354,0-1 328,0 1 0,0 0 0</inkml:trace>
  <inkml:trace contextRef="#ctx0" brushRef="#br0" timeOffset="251">1790 1463 9500,'0'1'294,"0"-1"-248,0 0 85,0 0-51,1 0 141,-1 0-74,0 0 74,0 1-10,0-1 81,0 0 143,0 0-58,0 0 7,0 0-183,0 0 37,0 0-28,0 0-11,0 1 69,-1-1-48,1 0-1,0 0-17,0 0-77,-1 0 5,1 1-4,0-1 5,-1 0-75,1 0 19,-1 1-50,1-1-54,0 0 49,-1 1-72,1-1 59,-1 1-37,1 0 34,-1-1-54,1 1-3,-1 0-7,0-1-39,1 1 41,-1 0 25,1 0 15,-1-1 29,1 1 63,-1 0-41,1 0 53,-1-1-67,1 1 65,-1 0-44,1 0 55,0 0-64,-1-1-14,1 1 15,0 0-11,-1-1 20,1 1-38,0 0 24,-1-1-29,1 1-16,0 0-22,0 0 0,0-1-8,0 1 12,-1 0-38,1-1 15,0 1-37,0-1 85,0 1-41,0 0 59,0-1 28,0 1-16,0-1 17,0 1 24,0-1 19,0 1 7,0-1-7,0 1-28,0-1-11,0 1 21,0-1-25,0 1-13,0 0 20,0-1 6,0 1-57,0-1 45,0 1-59,0-1 17,0 1 24,0-1-33,0 1 36,0-1-7,0 1 4,0-1-10,0 1 6,0-1-8,0 0 7,0 1-2,0-1 6,1 0 0,-1 1 1,0-1 2,0 0-5,0 0 6,1 1-6,-1-1-13,1 0 12,-1 1-13,0-1 16,1 0-36,-1 0 25,1 1-29,-1-1 35,1 0-30,-1 0 22,1 0-23,-1 0 75,1 0-40,0 0 40,-1 0-52,1 0 45,0 0-32,0 0 33,0 0-37,0 0 63,0 0-37,0 0 44,-1 0-80,2 0 14,-2 0-11,1 0 25,0 0-54,-1-1 38,1 1-46,0 0 55,0 0-60,-1-1 35,1 1-44,-1-1 40,1 1 35,-1-1-33,1 1 32,-1-1 16,1 1-29,-1-1 37,1 1-46,-1-1 50,1 1-34,-1-1 46,0 1-51,1-1 15,-1 1-12,0-1 14,0 0-54,1 1 42,-1-1-43,0 0 12,0 0 20,1 1-31,-1-1 33,0 0-6,0 1 4,0-1-4,0 0 2,0 1-10,0-1 7,0 1-6,0-1 3,0 0 4,0 1-3,0-1-13,0 1 11,0-1-13,0 1 18,0-1-18,0 1 12,0-1-16,0 1 2,0-1 9,0 1-11,0-1 13,0 1 21,0-1-17,0 1 16,0-1-19,0 1 27,0-1-19,0 1 20,0-1 5,-1 1-22,1-1 29,0 1-28,-1-1 14,1 1-8,0-1 10,-1 0-21,1 1 11,-1-1-6,1 1 7,-1-1-35,1 0 22,-1 0-25,1 1 30,-1-1-51,0 0-15,1 0-6,-1 1-58,1-1 56,-1 0-61,1 0 51,-1 1-320,0-1 84,1 1-207,-1-1-377,1 0 258,0 1-319,-1-1 419,1 1 296,0-1 107,0 1 131,0-1 0,1 0 0</inkml:trace>
  <inkml:trace contextRef="#ctx0" brushRef="#br0" timeOffset="252">1918 1472 8849,'0'-1'307,"0"1"-229,0 0 60,0 0-16,0 0 33,0-1-5,0 1 92,0 0-98,0 0 98,0 0-95,0 0 167,0 0 3,0 0 614,0-1-483,0 1 307,0 0-620,0 0-20,0 0 8,0 0-22,-1 0-26,1 1 1,0-1-11,-1 1 25,1-1-55,-1 1 13,1 0-86,-1-1 80,1 1-37,-1 0 13,1-1 7,0 1-93,-1 0 79,1 0-97,-1 0 87,1 0-54,-1 0 38,1 0-23,-1 0-24,1 0 58,-1-1-20,1 1 30,0 0-15,-1 0 6,1 0-8,0-1 14,0 1-9,-1 0 6,1-1-8,0 1 40,0 0-20,0-1 20,0 1-27,-1-1 48,1 1 14,0-1 6,0 1 13,0-1-61,0 1 24,0-1-26,0 1-17,0-1 12,0 0-8,0 1 18,0-1-46,0 1 31,0-1-41,0 1 50,0-1-26,0 0 17,0 1-28,0 0 22,0-1-7,0 0 5,0 1-4,0-1 54,0 1-37,0-1 39,0 1-44,1-1 45,-1 1-25,0-1 30,0 0-50,0 1 4,1-1-2,-1 1-25,0-1 30,0 0-30,1 0 34,-1 1-25,1-1 14,-1 1-17,1-1 17,-1 0 13,1 0-14,-1 1 11,1-1-11,-1 1 1,1-1 1,-1 0-2,1 0 2,-1 0-2,1 1 6,-1-1-32,1 0 23,-1 0-22,1 0 28,-1 0-36,1 0 24,0 0-27,-1 0 29,1 0 15,0 0-13,0 0 9,-1 0-11,1 0-2,0 0 2,0 0-2,-1 0 49,1-1-34,0 1 36,-1 0-24,1-1-14,-1 1 19,1-1-20,0 1 24,-1 0-17,1-1 18,-1 1-18,1-1 0,-1 1 0,0-1-2,1 1 31,-1-1-20,0 1 24,1-1-30,-1 0 10,0 1-9,1-1 7,-1 0 11,0 1-5,0-1 10,0 0-12,0 1-35,0-1 19,0 1-20,0-1 32,0 1-44,0-1 32,0 1-39,0-1 49,0 0-9,0 1 7,0-1-11,0 1 60,0-1-46,0 0 47,0 0-46,0 1-4,0-1 6,0 0-8,0 0 15,0 1-11,0-1 23,0 1-13,0-1-67,0 0 49,0 1-59,0-1 4,0 0 44,0 1-55,0-1 65,-1 0-74,1 1 52,0-1-59,-1 0 67,1 0-43,0 1 31,-1-1-36,1 0 39,0 0-10,-1 1 7,1-1-6,-1 0 15,1 1-10,-1-1 11,1 0-52,-1 0 29,1 0-30,-1 1 39,0-1-183,1 1 42,-1-1-123,0 1-434,1-1 170,-1 0-329,0 1 353,0-1 287,1 1 89,-1-1 136,0 1 0,0-1 0</inkml:trace>
  <inkml:trace contextRef="#ctx0" brushRef="#br0" timeOffset="253">3407 623 8847,'-1'0'-89,"0"0"433,1 0-44,0 0-156,0 0 34,-1 0-152,1 1 100,0-1-60,0 0 55,0 0 36,-1 0-22,1 0 1092,0 0-845,0 0 800,0-1-1068,1 1 17,-1 0-47,1 0 2,0 0-12,-1 0 25,1 0-40,0-1 55,0 1-54,0 0 72,0 0-54,0 0 12,0 0-29,1 0-43,-1 0 0,0-1-13,0 1 16,1 0 14,-1 0-9,1 0-12,-1 0-29,0 0 71,1 0-32,-1 0 35,0 0-46,1 0-24,-1 0 6,0 0 1,0 0-1,1 0-23,-1 0 2,0 0-54,0 0 94,0 0-54,0 0 62,0 0-68,0 0 46,0 0-59,0 0 41,0 0 5,0 0-15,0 0 24,0 0-10,0 0 8,0 0-6,-1 0 5,1 0-41,0 0-7,0 0-4,1 0-22,-1 0 56,0 0-23,0 0 22,0 0 2,0 0-9,0 0 4,0 0-12,0 0 57,0 0-45,0 0 47,0 0-23,0 0-14,0 0 19,0 0-22,0 0-10,0 0 10,0 0-3,0 0-32,0 0 31,0 0-34,-1 1 35,1-1 4,0 0-7,0 0 4,0 0-24,0 0 17,0 0-21,0 0 23,0 0-22,0 0 17,0 0-20,0 0 22,-1 0 13,1 0-8,0 0 13,0 0-17,0 0 31,0 1-22,0-1 24,-1 0 5,1 0-23,0 0 25,0 0-32,0 0 15,-1 0-9,1 0 17,-1 0-26,1 0 12,0 0-12,-1 0 12,1 0-5,-1 0 5,1 0-6,-1 0 4,1-1 45,-1 1-33,1 0 35,-1 0-1,1 0 11,-1 0 6,1-1-13,-1 1 12,1 0-36,-1 0 45,0 0-31,0 0 2,0 0 20,1 0 2,-1 0 61,0 0-50,0 0 84,-1-1-55,1 1 8,0 0-10,-1 0-77,0 0 22,0 0-17,0 0 2,0 0 25,0 0-20,0 0 27,0 0-26,-1 0 16,1 0-22,-1-1 20,1 1-42,-1 0-24,0 0 5,0 0-45,0 0 38,0 0-12,0 0-38,0 0 70,0 0-34,-1 0 43,1-1-6,0 1-3,0 0-7,0 0 8,-1 0 12,1 0-5,1 0 8,-1-1-12,0 1 8,0 0-6,0 0 12,1 0 14,-1 0-13,1 0 15,0 0-16,-1 0-6,1 0 6,-1 0-5,1 1-52,0-1 38,0 0-42,0 0 52,0 1-47,0-1 34,0 0-41,0 0 49,0 0-7,0 1 4,0-1-7,0 0 0,0 0-5,0 0 2,-1 1-28,1-1 22,0 0-20,-1 0 27,1 0-16,0 0 10,0 1-8,-1-1 12,1 0 13,0 0-9,0 0 4,0 0 15,0 0-20,0 0 20,1 0-22,-1 0 37,1 0-19,0 0 28,0 0-26,0 0 68,1-1 25,-1 1-1,1 0 98,0 0-94,0 0 110,0 0-45,0 0-40,1 0-12,-1 0-31,0 0-54,1-1 53,-1 1-49,1 0 55,-1 0-41,1 0 44,0 0-41,-1 0 34,1 0-73,-1 0 31,1 0-40,-1 0 37,1 0 16,0 0-21,-1 1-46,1-1 37,-1 0-39,1 0 62,-1 0-66,1 1 46,-1-1-51,1 0 57,-1 0-35,1 1-21,0-1 5,-1 0-25,1 0 60,-1 0-31,0 0 31,1 1-5,-1-1 4,0 0-7,0 0 45,1 0-40,-1 0 42,-1 0-42,1 0 16,0 0-9,0 0 11,0 0-11,0 0-23,-1 0 19,1 0-15,0 0 19,-1 0-45,1 0 31,0 0-36,-1 0 2,1 0 25,0 0-30,-1 0-10,1 0 36,0 0-43,0 0 47,0 0-12,-1 0-16,1 0 6,0 0-9,0 0 44,0 0-15,-1 0 18,1 0-25,0-1 64,0 1-46,-1 0 53,1 0-15,-1 0-30,1 0 36,0 0-39,-1-1 15,1 1-2,-1 0 6,1 0-21,-1 0 1,0-1-2,1 1 8,0 0-20,-1 0 14,1 0-17,-1 0 21,1 0-27,-1-1 19,1 1-24,-1 0 26,1 0-15,-1 0 11,1 0-12,0 0 26,-1 0-14,1-1 13,-1 1 18,1 0-22,0 0 26,-1 0-32,1 0 73,-1-1-48,1 1 53,-1 0-67,1-1 61,-1 1-44,1 0 58,-1 0-37,1-1-11,-1 1 19,0 0-27,1 0-36,0-1 29,-1 1-32,0 0-21,1 0 41,-1-1-49,1 1 56,-1 0-22,1-1 8,-1 1-12,1-1 3,-1 1 14,0 0-19,1-1 17,-1 1-14,1 0 55,-1-1 1,1 1 11,-1-1 55,0 1-86,1-1 59,-1 1-81,0-1 21,1 1-17,-1-1 27,1 1-64,-1-1 50,0 0-52,1 1 55,-1-1-33,0 0 22,0 1-26,0-1 19,1 1-39,-1-1 13,0 1-20,0-1 31,0 1 11,0-1-10,0 1 16,0-1-12,0 1 12,0-1-9,0 1 15,0-1-10,0 1 10,0-1-11,0 1-1,0 0 4,0-1 0,0 1-9,0-1 6,0 1-7,0-1 8,0 1 7,-1-1-7,1 1 6,0-1-14,0 1 5,-1-1-4,1 1 6,0-1-32,-1 1 24,0-1-27,1 1 31,-1-1-15,1 0 10,-1 1-13,0-1 16,1 0-2,-1 1 1,0-1-5,1 1 10,-1-1-10,0 1 10,1 0-7,-1-1 0,1 0 3,-1 1-3,0 0-14,1-1 10,-1 1-9,0 0-32,1-1 34,-1 1-37,1 0 42,-1-1-65,1 1 43,-1-1-48,0 1 21,1 0 28,-1-1-35,0 1 40,1 0 2,-1-1-1,0 1-3,0 0-6,0 0 8,1-1-6,-1 1 10,0 0 6,0 0 0,0 0 5,1 0-6,-1 0 39,0 0-34,1 0 37,-1 0-11,0 0-24,0-1 29,1 1-31,-1 0 9,0 0-3,1 0 4,-1 0-2,0 0 10,1 0-2,-1 0 4,0 0-5,0 0-7,1 0 6,-1 0-6,0 1-10,0-1 7,0 0-8,1 0 11,-1 0 0,1 0 1,-1 0-2,0 1 61,1-1-43,-1 0 46,0 0-58,1 1 13,-1-1-6,1 0 9,-1 1-1,0-1-7,1 0 12,-1 1-11,0-1 4,1 0-3,-1 1 3,1-1-11,0 0 10,-1 1-10,1-1 9,-1 0 12,1 0-12,0 1 12,-1-1-18,1 0 6,0 1-4,0-1 4,0 1-8,-1-1 8,1 0-6,0 1 8,0-1-34,0 1 23,0-1-24,0 1 3,-1-1 19,1 1-22,0 0 25,0-1-55,0 1 39,0-1-48,0 1 56,0-1-39,0 1 28,0-1-30,0 1 35,0-1-59,0 0 41,0 0-45,0 1 3,0-1 33,0 0-44,0 0 54,0 0 55,1 0 23,-1 0 4,0 0-15,0 0 8,1-1 16,-1 1 15,0-1-18,0 1-75,1-1 12,-1 1-10,1-1-34,-1 1 44,0-1-46,1 0 43,-1 1-2,1-1-10,-1 1 4,0-1-1,1 0 7,0 1-4,-1-1 0,0 1 22,1-1-14,0 1 19,-1-1-24,1 1 6,-1-1-3,1 1 8,0-1-16,0 1 12,-1-1-11,1 1 10,0-1 4,0 0-4,0 1 4,0-1 33,0 1-29,0 0 32,0-1-41,0 1 51,0 0-32,0 0 36,0 0-38,0 0 16,0 0-4,0 0 7,0 0-8,-1 0-41,1 0 35,0 0-77,0 0 26,0 0-9,0 0 7,-1 0 12,1 1 13,0-1-17,0 0 16,0 1 4,0-1-10,0 1 7,0-1-12,0 1 23,-1-1-19,1 1 19,0-1 0,0 1-9,0-1 13,-1 1-14,1-1-20,0 0 16,0 1-15,-1-1 18,1 1 1,-1-1-4,1 1 2,-1-1 10,1 1-8,-1-1 7,0 0-11,1 1 8,-1-1-7,1 1 8,-1-1 60,0 1-48,1-1 54,-1 1-62,0-1 35,1 1-16,-1-1 20,0 1-36,1-1 2,-1 1-2,0 0 7,0-1 6,0 1-6,1 0 5,-1 0-33,0 0 21,0 0-23,0 0 24,-1 0 2,1 0-58,-1 1 43,0-1-48,0 0-173,0 1 38,0-1-142,0 0-550,0-1 215,0 1-401,0 0 454,0-1-465,0 1 730,0-1-467,0 0 813,0 0 0,1 0 0</inkml:trace>
  <inkml:trace contextRef="#ctx0" brushRef="#br0" timeOffset="254">3382 662 9522,'0'-1'262,"0"1"-218,0 0 15,1 0-65,-1 0 20,0 0 8,0 0 18,0 0 9,0 0 92,1-1 23,-1 1-6,0 0-4,1 0-21,-1 0-6,0 0 12,1 0 96,-1 0-52,1 0 106,-1 0-85,1 0-19,-1 0-38,1 0 2,0 0-69,-1 0 52,1 0-56,0 0 56,0 1-62,0-1-1,0 0-23,0 0 32,0 0-36,0 0 57,1 0-82,-1 0 55,1 0-19,-1 0 9,1 0 22,-1 0 4,1 0 3,0 0 0,-1 0-27,1 0 23,0 0-19,0 0 15,0 0-35,0 0-20,0 0 4,0 0-60,0 0 24,0 0-3,0 0 11,1 0 18,-1 0 14,0 0-23,0 0-15,0 0 0,0 0-16,0 0 14,0 0 27,0 0 6,0 0-8,0 0 2,-1 0 0,1 0 1,0 0 5,-1 0-46,1 0 31,-1 0-31,1 0 43,-1 0-49,1 0 35,-1 1-39,1-1 32,0 0 9,-1 0-14,1 0 5,-1 0 39,1 1-32,-1-1 30,1 0-33,-1 0 12,1 0-5,-1 0 11,0 0-17,0 0 3,0 0 0,1 0 4,-1 0-4,0 0 3,-1 0-3,2 0-10,-1 0 11,-1 0-11,1 0 9,1 0-7,-1 0 0,0 0-3,0 0 4,0 0-16,1 0 12,-1 0-13,0 0 2,1 0 12,-1 0-14,1 0 16,-1 0 20,1 0-15,-1 0 15,0 0 7,1 0-20,-1 0 23,0 0-26,0 0 39,1 0-26,-1 0 28,0 0-32,0 0 1,0 0 6,0 0-3,0 0 5,0 0-51,0 0 38,0 0-38,-1 0 0,1 0-12,0 0-9,0 0 12,0 0-14,0 0 33,-1 0-35,1 0 41,0 0 4,0 0-2,0 0-9,0 0 67,0 0-52,0 0 55,0 0-26,1 0-20,-2 0 23,1 0-19,0 0 47,0 0-25,0 0 31,0 0-58,0 0 5,0 0-2,0 0 10,0 0-56,0 1 38,-1-1-45,1 0 58,0 0-46,0 0 33,0 0-43,0 0 19,0 0 10,0 0-14,-1 0 19,1 0 3,0 1-7,0-1 4,-1 0 29,1 0-21,0 0 25,0 0-31,-1 0 55,1 0-39,0 0 44,-1 0-53,1 0 7,0 0-4,-1 0 7,1 0-34,0 0 26,0 0-26,-1 0 32,1 0-27,0 0 17,0 0-20,-1 0 16,1 0 1,0 0-4,0 0-3,-1 0 40,1 0-32,0 0 32,0 0-35,-1 0 69,1 0-44,0 0 48,0 0-46,-1 0-11,1 0 18,0 0-16,-1 0-20,1 0 14,0 0-16,-1 0-7,1 0 25,0 0-26,-1 0 27,1 0-13,-1 0 3,1-1-6,0 1 0,-1 0-9,1 0 2,0 0-5,-1 0 11,1 0-14,0 0 9,-1 0-11,1 0 21,-1 0-1,1 0 1,0 0 1,-1 0 0,1 0 0,-1-1 0,1 1 3,-1 0-4,1 0 5,-1-1-6,0 1 2,1 0 1,-1 0 0,1 0 2,-1-1-2,0 1 3,1 0-3,-1-1 9,1 1-8,-1 0 8,1-1-4,-1 1-3,0-1 3,1 1-4,-1-1 5,1 1-3,-1-1 3,1 1-4,-1-1-4,0 1 3,1-1-3,-1 1 19,0-1-10,1 0 11,-1 1-14,0-1 48,1 0-34,-1 1 37,0-1-8,1 1-28,-1-1 34,0 0-40,1 1 21,-1-1-15,0 0 19,1 1-17,-1-1-4,0 1 1,1-1-3,-1 0 7,0 1 41,1-1-31,-1 0 30,0 1-32,0-1-6,1 0 7,-1 1-3,0-1 3,1 0 2,-1 1-1,0-1-15,0 1 8,1-1-3,-1 0 8,0 1-56,1-1 37,-1 1-46,0-1 58,0 0-55,0 1 39,1-1-50,-1 1 35,0-1 5,0 1-9,0-1 12,0 1-6,1-1 3,-1 0-4,0 1 12,0-1-2,0 0 2,0 1-3,0-1 45,0 0-31,0 1 34,1-1-41,-1 1 21,0-1-11,0 1 14,0-1-16,0 0-4,0 1 5,0-1-2,0 1-28,0-1 20,0 1-23,0-1 14,0 0 8,0 1-9,0-1 7,0 1-18,0-1 7,0 1-10,-1-1 13,1 1-4,0-1 1,0 1-2,-1 0 1,1-1 6,-1 0-4,1 1 4,0-1-1,-1 1 1,1-1 0,-1 1 7,1-1-6,-1 0 7,1 1-8,-1-1 2,1 0-1,-1 1 2,0-1-2,1 0-2,-1 1 3,0-1-2,1 1-1,-1-1 2,0 1-2,1-1 2,-1 1-3,0-1 3,0 1-3,1-1 1,-1 1 1,0-1-2,1 1 2,-1-1-24,0 1 17,0 0-17,1-1 6,-1 1 11,0 0-12,0-1 12,1 1-22,-1 0 14,0 0-18,0-1-5,0 1 21,0 0-25,0-1 29,0 1-17,0 0 11,1-1-14,-1 1 14,0 0 7,0 0-3,0 0 6,0-1-10,0 1-15,1 0 10,-1 0-12,0 0 32,0 0-12,1 0 10,-1 0-18,0 0 3,0 0-1,1 0 5,-1 0 10,0 0-10,1 0 8,-1 0-11,0 0 38,1 0-26,-1 0 31,0 0-39,0 0 36,1 0-26,-1 0 28,0 0-13,0 0-9,1 0 10,-1 0-6,0 0-7,0 0 12,1 0-9,-1 1-10,0-1 5,0 0-9,0 0 12,1 1-16,-1-1 12,0 1-14,1-1 14,-1 1 9,0-1-8,1 1 8,-1-1 57,1 1-46,-1-1 50,1 1-60,-1 0 1,1-1 0,0 1 5,-1 0-13,1-1 16,0 1-13,-1 0 16,1 0-24,0-1 17,0 1-18,0 0 18,0 0 5,-1 0-8,1 0 7,0-1-9,0 1 2,0 0 0,0 0-1,0-1-8,0 1 6,-1 0-5,1 0 1,0-1 8,-1 1-7,1 0 7,0 0-36,0-1 24,0 1-26,0 0 28,-1 0-1,1-1-4,0 1 2,0-1 20,0 1-12,0 0 15,0-1-2,0 1-11,0-1 12,0 1-14,0-1-1,0 0 2,0 1 1,0 0 0,0-1-3,0 1 3,0-1-3,0 1-19,0-1-16,0 0 4,0 1-5,0 0-22,0-1 30,0 1-35,0-1 9,0 1 31,0-1-34,0 1 38,0 0 20,0-1-15,0 1 14,0-1-22,0 1 9,0-1-6,0 1 10,0-1 0,0 0-5,0 1 8,0-1-22,0 0 23,0 0-19,0 0 53,-1 0-31,1 0 24,0-1-19,0 0 0,0 1 3,0-1-2,0 0-5,0 0 10,-1 1-6,1-1 21,0 0-17,0 0 10,0-1-15,0 1 19,0 0-13,0 0 16,1 0-19,-1 0 11,0 0-8,0 0 12,0-1-45,1 1 27,-1 0-26,0 0-8,0 0 28,1 0-30,-1 0 34,0 0-22,1 0 9,-1 0-12,1 0 11,-1 0 8,0 0-11,1 0 7,-1 0 2,0 0 42,1 0-28,0 0 27,-1 0 13,1 0-38,-1 1 47,1-1-53,-1 0 8,1 0-5,0 1 10,-1-1-32,1 1 25,-1-1-26,1 1 30,-1-1-31,1 1 20,-1 0-22,1-1 21,0 1-35,-1 0 16,1 0-20,-1-1 19,1 1 13,0 0-12,0 0 11,-1 0 22,1 0-16,0 0 19,0 0-25,-1 0 73,1 0-52,0 0 61,0 0-36,0 0-18,0 0 22,0 0-26,0 0-15,-1 0 20,1 0-11,0 0 12,-1 1-33,1-1 17,0 0-24,0 0-12,-1 1 28,1-1-32,0 0-2,0 1 30,0-1-35,0 1 40,0-1 5,0 1-4,0-1 3,0 1 6,0-1 13,0 1-5,0-1 5,0 1 17,0-1-26,-1 1 28,1-1-18,0 1-12,0-1 17,0 0-16,-1 1 1,1-1-2,0 0 3,-1 1 1,1-1 3,0 0-2,-1 1-2,1-1-16,-1 0 10,1 1-9,-1-1 10,1 0-15,-1 1 8,1-1-11,-1 1 25,1-1-4,-1 1 7,0-1-10,1 1 41,-1-1-29,0 1 29,0 0-38,1-1 49,-1 1-33,0-1 40,0 1-49,1-1-31,-1 1 25,0-1-25,0 1-8,0-1 31,1 1-34,-1-1-3,0 1 30,0 0-33,1-1 32,-1 1-21,0-1 8,1 1-12,-1 0 9,0-1 4,0 1-7,1-1 6,-1 1 0,0 0-22,0 0 16,1 0-18,-1-1 12,0 1 10,0 0-13,0 0-5,1-1 12,-1 1-13,0 0 15,0 0 27,0-1-20,0 1 19,0-1-26,0 1 11,0 0-7,0 0 9,0-1 9,0 1-15,0-1 20,0 1-20,0 0-20,-1-1 15,1 1-17,0 0 18,0 0 4,-1-1-4,1 1 4,0 0 0,-1 0-2,1-1 1,-1 1-5,1 0-9,-1-1 6,1 1-6,-1 0 21,1-1-8,-1 1 9,1 0-12,-1-1 26,1 1-18,-1-1 21,1 1 4,-1-1-19,1 1 22,-1-1-28,0 1 29,1-1-21,-1 1 24,0-1-28,1 1 47,-1-1-33,0 0 39,0 1-45,1-1 54,-1 0 6,0 1 12,0-1-17,1 0 0,-1 1-31,0-1 44,0 0-31,0 1 6,0-1-3,0 0 24,0 0-27,0 1 35,-1-1-37,1 0 64,0 0-49,-1 0 42,1 0-52,-1 0-26,1 0 20,-1 0-17,1 0-23,-1 0-11,0 0-6,1 0 17,-1 0-20,1 0 42,-1 0-48,1 0 8,-1 0-7,1 0-16,0 0 15,-1 0 14,1 0 18,0 0-28,0 0 22,-1 0 37,1 0 21,-1 0 6,1 0 37,-1 0-23,1 0-2,-1 0 5,0 0 17,0-1-41,0 1 58,0 0-100,0 0 40,0 0-34,0 0 46,-1 0-71,1-1-4,0 1-13,0 0 12,1 0 2,-1 0-21,0 0-1,0 0 1,1 0 49,-1 0-11,1 0 4,0 0 35,-1 0 14,1 0 1,0 0 24,0-1-57,0 1 25,0 0-18,0 0-37,0-1 34,0 1-31,0 0 49,0 0-57,0 0 4,-1 0-17,1-1 5,-1 1-27,1 0 37,-1 0-64,1 0 49,-1 0 3,0-1-9,0 1 18,0 0-7,1 0 5,-1 0 3,0 0-1,0 0 2,1 0-2,-1 0 3,1 0 1,-1 0-1,1 0 1,-1 0 15,1 0-11,0 0 12,-1 0-15,1 0 51,0 0-36,0 0 40,0 0-44,0 0 1,-1 0 4,1 0-4,0 0-19,-1 0 12,1 0-12,-1 0 19,1 0-45,0 0 33,-1 0-38,0 0 44,1 0-30,0 0 21,-1 0-32,1 0 21,0 0-4,-1 0 1,1 0 14,-1 0-2,1 0 4,0 0-7,0 0 20,-1 1-14,1-1 17,-1 0-21,1 0 23,-1 0-16,1 0 21,0 1-75,-1-1 42,1 0-42,0 0 52,0 0-52,0 0 34,0 1-37,0-1-3,0 0-13,0 0-11,-1 0 14,1 0 35,0 0 8,0 1-14,0-1 3,0 0 25,0 0-17,0 0 21,0 0-70,0 0 26,0 1-23,0-1 39,-1 0-41,1 0 32,0 0-37,-1 0-31,1 0 15,-1 0-69,1 0 54,0 1-52,-1-1 60,1 0-42,0 0 41,0 0 64,1 0-4,-1 0 25,1 0-23,-1 0 31,1 0-56,0 0 78,0 0-67,0 0 66,1 0 8,-1 0 7,1 0-9,0 0 58,1 0-16,-1 0 84,1 0-75,1 0 21,-1 0-50,1 0 13,1 0-23,-1 0-6,1 1 12,1-1-4,0 0-33,1 0-17,0 1 0,1-1-151,0 0 72,1 1-107,1 0 64,-2-1-268,1 1 63,-1 0-179,-1 0 198,0 0-640,-2 0 222,0-1-192,-1 1 496,1 0 443,-1 0 0,0 0 0</inkml:trace>
  <inkml:trace contextRef="#ctx0" brushRef="#br0" timeOffset="255">3417 702 9502,'1'0'-121,"0"0"180,-1-1-32,0 1 60,0 0-12,1 0 24,-1 0 48,0 0-11,1-1 26,-1 1 3,0 0-12,0 0 9,0 0-31,0 0 47,1 0 26,-1 0-10,0 0 52,0 0-49,1 0 1,-1 0-14,0 0 11,1 0-48,-1 0 48,1 0-64,0 0-47,-1 0 35,1 0-20,0 0-9,0 0-1,1 1-15,-1-1 12,0 0-16,1 0 47,0 0-49,0 0-10,-1 1-20,1-1-32,0 0 28,0 0 8,0 0-1,0 0-14,-1 0 10,1 0-46,0 0 62,0 0-54,0 0 33,-1 1 24,1-1-29,0 0 27,-1 0-68,1 0 49,-1 0-59,0 0 48,1 0 5,-1 0-12,0 0 11,0 0-22,1 0 11,-1 0-15,0 1 20,0-1-35,0 0 20,0 0-21,0 0 11,0 0 21,0 0-24,0 0 7,0 0 8,0 0-8,0 0 12,0 0-26,0 0 17,0 0-21,0 0 25,0 0-7,0 0 2,0 0-4,0 0 2,0 0 6,0 0-8,0 0 7,1 0 41,-1 0-30,0 0 33,0-1-45,1 1 2,-1 0 0,0 0 6,0 0-3,0 0 4,0 0-5,0-1 6,0 1 10,0 0-7,-1 0 7,2 0 1,-2 0-9,1 0 8,0 0-10,0 0 3,-1 0-1,1 0 2,0 0-25,0 0 17,-1 0-13,1 0 19,0 0-66,0 0 46,0 0-52,0 0 64,0 0-52,0 0 35,0 0-47,0 0 98,0 0-42,0 0 39,-1 0-49,1 0 38,0 0-28,0 0 30,0 0 26,0 0-40,-1 0 50,1 0-58,0 0-1,-1 0 1,1 1 5,0-1 4,-1 0-49,1 1 34,-1-1-42,1 0-8,-1 0 39,1 0-44,0 1 47,-1-1 2,1 0-8,-1 0 4,1 0-7,-1 1 14,1-1-15,-1 0 14,1 1 30,-1-1-26,1 0 33,-1 0-40,1 1 33,-1-1-23,0 0 30,1 1-33,-1-1 3,0 0-2,0 1 0,1-1-20,-1 1 17,0-1-18,0 1 11,1-1 7,-1 1-7,0-1 6,0 1 18,0-1-16,0 1 15,0 0-21,0-1 63,0 1-43,0-1 47,0 1-53,0-1-13,0 1 15,0 0-13,0-1-13,0 1 17,0-1-18,0 1 25,0-1-42,0 1 29,0 0-38,0-1 37,0 1-1,-1 0-3,1-1-1,0 1 9,-1-1-11,1 1 10,0-1 4,-1 1-5,1 0 8,0-1-10,0 1 3,-1-1-2,1 1 5,-1-1-4,1 1 35,0 0-26,-1-1 26,1 1-17,0 0-9,-1-1 11,1 0-12,0 1 35,-1-1-23,1 0 25,0 1-31,-1-1 35,1 0-19,0 0 22,-1 0-1,0 1-26,1-1 28,-1 0-65,1 0 30,-1 0-28,0 0 34,0 0-51,0 0-14,0 0-4,0 0 12,0 0-5,0 0 35,-1 0-49,1 0 54,0 0-23,0 0 15,-1 0-18,1-1 24,-1 1-15,1-1 13,0 1-14,-1-1-8,1 0 9,0 0-8,0 1 7,0-1 5,0 0-9,-1 0 11,1 1 8,0-1-6,0 1 8,1-1-11,-1 1-16,0-1 11,1 1-13,-1 0 0,1 0 9,0 0 7,-1-1 50,1 1-18,1 0 25,-1 0-47,1 1 21,-1-1-15,1 0 21,0 1-23,0-1 9,0 1-8,0-1 11,0 1-13,1-1 10,-1 1-12,0 0-3,0-1 9,1 1-17,-1-1 14,0 1-6,0-1 5,0 1 1,0-1 1,1 1-2,-1-1 2,-1 1-2,1-1 0,0 0 1,0 1-1,0-1 24,0 0-17,0 0 19,0 1-24,0-1 2,0 0-1,0 0 2,0 0 1,0 0-3,0 0 4,0 0-4,0 0 4,0-1-13,-1 1 10,1-1-11,0 0 3,0 1 6,-1-1-8,1-1 52,-1 1-34,1 0 34,0 0-42,-1-1-30,0 1 24,0 0-24,0-1 33,0 1-128,0-1 26,-1 0-112,0 1-437,0 0 143,-1-1-323,1 1 482,-1 0 153,0 0 190,1 0 0,-1 0 0</inkml:trace>
  <inkml:trace contextRef="#ctx0" brushRef="#br0" timeOffset="256">4407 483 8279,'0'-1'714,"0"1"-484,0 0-126,0 0 133,0 0-98,0 0 79,0 0-14,0 0 35,0-1-19,0 1 15,0 0 7,0 0 16,0 0 53,0 0-91,0 0 19,0 0-5,0 0-65,0-1 50,0 1-18,0 0-116,0 0 51,0 0-75,0 0 7,0 0 0,0 0-28,0 0 4,-1-1-58,1 1 98,0 0-63,-1 0 52,1 0-27,0 0 6,-1 0 1,1 0-23,-1 0 31,1 0-22,-1 0 28,0 0-52,1 0 33,-1 0-43,1 0 54,-1 0-53,0 0-17,1 0-5,-1 0 11,1 0-13,-1 0 46,0 0-58,1 0 4,-1 0 21,1 0-29,-1 0 34,1 0 14,-1 0-15,0 0 13,1 0 34,0 0-25,-1 0 31,1 0-39,-1 0 51,1 0-36,-1 0 44,1 1-50,0-1 26,-1 0-18,1 1 25,-1-1-52,1 0 29,0 0-29,-1 1-18,1-1-13,0 0-5,-1 1 11,1-1-7,0 0-11,-1 0-14,1 1-43,0-1 73,0 0-46,-1 1 56,1-1 13,0 0-11,-1 0 9,1 1-17,0-1 42,0 0-26,-1 0 34,1 1-15,0-1-15,0 1 19,0-1-17,-1 0 24,1 0-10,0 1 15,-1-1-16,1 0 6,0 1 0,-1-1 2,1 0-10,0 1-5,-1-1 9,1 0-7,0 1 20,-1-1-16,1 0 13,-1 1-28,1-1 10,0 0-11,-1 1 13,1-1 4,0 1-3,-1-1 3,1 0-5,0 1 33,-1-1-23,1 0 24,0 1-35,-1-1 4,1 0 2,0 1 0,-1-1-21,1 0 15,-1 1-18,1-1 17,0 1 7,-1-1-9,1 1 5,0-1 5,-1 1-7,1-1 6,0 0-6,-1 1-4,1-1 1,0 1-1,-1 0 3,1-1-12,0 0 13,0 1-11,-1 0-8,1-1 16,0 0-19,0 1 5,0-1 10,0 1-14,-1-1 15,1 1 1,0-1 0,-1 1 1,1-1 46,0 1 12,0-1 3,-1 1-9,1 0-33,0-1-4,-1 1 8,1-1-2,0 1-3,0 0 10,-1-1-8,1 1-21,0-1 16,0 1-16,0-1 23,-1 1-31,1-1 20,0 1-27,0-1 7,0 1 11,0-1-15,0 1 13,0 0 70,0-1-53,0 1 55,0-1-63,0 1 35,0 0-24,0-1 26,0 1-3,0 0-21,0 0 28,0-1-28,0 1-28,0 0 20,0-1-15,0 1 27,0 0-61,0-1 40,0 1-52,0 0 1,0-1 40,0 1-55,0 0 63,0-1-25,0 1 20,0 0-15,0-1 42,0 1-23,0-1 21,0 1-31,0-1 57,1 1-37,-1-1 41,0 1-44,0-1 36,0 1-19,0-1 23,0 1 22,1-1-40,-1 0 45,0 1-52,0-1 49,0 0-38,1 0 42,-1 1-44,0-1 2,0 0 0,0 1 1,1-1-5,-1 0 6,0 1-1,0-1 3,1 0-48,-1 1 35,1-1-41,-1 0-28,0 1 56,1-1-65,-1 0 77,1 1-31,-1-1 20,1 0-26,-1 1 39,1-1-19,0 0 18,-1 1-20,1-1 54,-1 0-39,1 1 42,-1-1-47,1 0-1,0 1 6,-1-1-4,1 0-35,0 1 30,-1-1-32,1 0-5,-1 1 29,1-1-35,-1 1 42,1-1-50,0 0 34,-1 0-44,1 1 51,0-1-5,-1 0 3,1 0-5,-1 1 1,1-1 13,0 0-8,0 0 13,-1 1-4,1-1-6,0 0 7,-1 1-7,1-1-11,0 0 11,-1 0-10,1 0-2,0 1 6,-1-1-9,1 0 13,0 0-16,0 0 10,0 0-12,-1 0 14,1 0-7,0 1 4,-1-1-4,1 0 5,0 0 18,-1 0-13,1 0 15,0 0-19,-1 0 1,1 0 0,-1 1-3,1-1 2,0 0-2,0 0 4,0 0-27,-1 0 19,1 0-20,0 1 26,0-1-9,0 0 6,0 0-7,0 0 12,0 1-4,0-1 3,1 0-8,-1 0 25,0 0-19,0 0 21,0 0-16,0 0-2,0 0 4,0 1-1,0-1-36,0 0 28,0 0-28,0 0 33,0 0-29,0 1 18,0-1-21,0 0 21,0 0-5,1 0-1,-2 0-9,2 0 16,-1 0-8,0 0 9,0 0-7,0 0 0,0 0 0,0 0 3,1 0-5,-1 1 4,0-1-4,0 0 5,1 0-12,-1 0 9,1 0-9,-1 0 16,1 0-3,-1 0 2,1 0-4,-1 0 23,0 0-17,1 0 16,-1 0-1,0 0-14,0 0 16,0 1-17,0-1-7,1 0 7,-1 0-6,0 0 8,0 0-4,0 0 5,0 0-5,0 0-1,0 0-2,1 0-2,-1 0 2,0 0-14,0 0 14,0 0-16,0 0-21,0 0 26,1 0-29,-1 0 38,0 0-22,0 0 13,0 0-17,0 0 19,1 0 27,-1 0-18,0 0 19,0 0-20,1 0-6,-1 0 7,0 0 12,0 0-13,1 0 18,-1 0-22,0 0 7,1 0-5,-1 0 9,0 0-5,0 0-21,0 0 14,0 0-18,1 0 24,-1 0-22,0 0 16,0 0-22,0 0 20,0 0-2,0 0 1,0 0 0,0 0 19,0 0-18,0 0 17,0 0 5,0 0-13,1 0 19,-1 0-24,0 0 18,0 0-12,0-1 17,0 1-19,0 0-25,0 0 19,0 0-22,0 0 0,0 0 20,0-1-21,-1 1 23,1 0-16,0 0 5,0 0-13,-1 0 15,1 0-2,0 0 5,0 0-1,-1 0 41,1 0-28,0 0 30,0 0 2,-1 0-29,1 0 37,0 0-44,0 0 33,-1 0-23,1 0 28,0 0-29,0 0-10,0 0 7,-1 0-7,1 0 7,0 0 5,0 0-6,0 0 4,-1 0-16,1 0 10,0 0-11,0 0 12,0 0 13,0 0-12,0 0 11,-1 0-34,1 0 16,0 0-16,0 0 38,0 0-12,0 0 11,-1 0-14,1 0 12,0 0-8,0 0 9,0 0-12,0 0 8,0 0-4,0 0 5,0 0-7,0 0 16,0 0-10,0 0 13,-1 0-5,2 0-9,-2 0 13,1 0-12,0 0 3,0 0-2,0 0 0,-1 0-16,1 0 11,0 0-11,0 0 13,-1 0 2,1 0-1,-1 0 0,1 0-1,0 0 9,-1 0-7,1 0 19,-1 0-17,1 0 9,-1 0-12,1 0 3,-1 1-1,1-1 3,-1 0-3,1 0-30,-1 0 22,1 0-25,0 0 32,-1 0-3,1 0 2,-1 0-4,1 0 2,0 0 30,-1 0-22,1 0 23,-1 0-30,1-1 7,-1 1-4,1 0 8,-1 0-6,1 0 3,-1 0-2,0 0-8,1 0 4,0 0-4,-1 0 8,1-1-15,-1 1 9,1 0-14,-1 0 17,1 0 64,-1-1-45,1 1 47,0 0-53,-1 0-6,1 0 8,-1-1-3,1 1-8,-1 0 7,0-1 0,1 1-25,-1 0 25,1 0-27,-1-1 31,1 1-39,-1 0 24,0 0-27,1-1 21,-1 1 6,1-1-11,-1 1 8,1-1 31,-1 1-20,1-1 25,-1 1-31,1-1 22,-1 1-15,1-1 19,-1 1-28,1-1 9,-1 0-8,1 1 15,-1-1 6,1 1-3,-1-1 3,1 1-31,-1-1 13,1 0-14,-1 1 19,1-1-4,-1 0 2,1 0-5,-1 1 5,1-1 0,-1 0 0,0 0 0,1 1-7,-1-1 4,1 1-4,-1-1 5,0 1-5,0-1 3,1 1-4,-1-1-5,0 1 8,0-1-7,0 0 4,1 1-2,-1-1-1,0 1-1,0-1 1,0 1 2,1-1-3,-1 1 4,0-1 22,0 1-15,0-1 16,1 1-21,-1-1-3,0 1 3,0-1-1,0 1-1,0-1 5,0 1-5,0-1-22,0 0 18,0 1-19,1-1 25,-1 1-26,0-1 17,0 1-21,0-1 25,0 1-9,0-1 7,0 1-11,0-1 10,0 1 8,0 0-5,0-1 8,0 1-12,0-1 6,0 1-3,0 0 6,0-1-9,-1 1 6,1 0-4,0-1 10,0 0-6,0 1 5,0-1-6,-1 1-2,1-1 0,0 1 1,0-1 0,0 1-1,0-1 0,-1 1 1,1-1 0,0 1 5,0-1-3,-1 1 4,1-1-20,0 1 11,-1-1-11,1 1 13,0-1-19,0 0 13,-1 1-14,1 0-31,-1-1 35,1 1-41,-1-1 46,1 0 0,-1 1-5,1-1 5,-1 1-9,1-1 57,-1 1-42,1-1 44,0 1-6,-1-1 12,1 1 8,-1-1 12,1 1-49,-1 0 13,1-1-10,-1 1-14,1 0 17,-1 0-12,1-1 18,-1 1-65,1 0 44,-1 0-48,0 0 50,1-1-34,-1 1 18,0 0-26,1 0 29,-1 0 3,0 0-5,0 0 14,1 0-12,-1 0 13,0 0-12,1 0 13,-1 0-8,0 0 9,0 0-8,0 0 1,1 0 2,-1 0 0,0 0 2,0 0-4,1 0 4,-1 0-4,0 0 1,1 0-1,-1 0 0,0 0 0,0 0 0,1 0 0,-1 0 0,0 0 10,1 0-7,-1 0 9,0 0-11,0 0-1,1 0 1,-1 0-2,0 0 1,0 0 1,1 0 0,-1 0-3,0 0 3,0 0-3,0 0 4,1 0-32,-1 0 23,1 0-25,-1 0 31,1 0-12,-1 0 8,1 0-9,0 0 8,-1 0-10,1 0 7,0 0 7,0 0 0,0 0 15,1-1-16,-1 0 13,0 1-10,1-1 10,-1 0-10,1 1 6,-1-1-4,1 0 4,-1 0-5,1 0-2,-1 0 2,1 0-2,0 0-29,-1 1 22,0-1-23,0 0 29,1 1-3,-1-1 0,0 0-1,0 1 7,0-1-6,0 0 5,1 1-9,-1-1 15,0 0-10,0 1 11,0-1-12,0 1 10,0-1-5,0 1 7,0-1-1,0 0-6,0 1 7,0-1-2,-1 0-2,1 1 4,0-1-6,-1 0-9,1 0 7,-1 1-6,1-1 8,-1 0-50,0 1 34,1-1-36,-1 0 43,1 0-40,-1 1 25,0-1-29,0 0 31,1 0 7,-1 0-12,0 0 40,0 1-28,1-1 28,-1 0-31,0 0 40,0 1-29,1-1 32,-1 1-33,0-1 9,1 0-1,-1 1 3,0-1 1,1 1 5,-1-1 2,0 0 1,1 1-25,-1-1 8,0 0-12,0 1 16,0-1-12,0 0 8,1 1-11,-1-1 13,0 1-1,0-1-1,0 1 0,0-1 12,0 1-8,0 0 9,1-1-13,-1 1 22,0 0-15,0 0 20,0-1-20,1 1 3,-1 0-2,0 0-3,1 0 1,-1-1-2,0 1 4,1 0-6,-1 0 3,0 0-4,1 0 6,-1-1-7,0 1 5,0 0-7,0 0 7,1 0-4,-1 0 3,0 0-1,0 0 1,0 0 0,-1 0 0,1 0 6,0 0-4,0 1 5,0-1-7,0 0 21,0 1-14,0-1 16,0 0-21,0 1 21,1-1-15,-1 0 17,0 1-19,1-1 10,-1 1-7,1-1-50,0 0 34,-1 1-41,1-1 54,0 0-35,0 0 24,0 1-30,0-1-38,0 0 43,0 0-91,0 0 93,0 0-38,0 0-10,0 1-23,0-1 57,0 0-24,0 0 129,0 0-70,0 0 25,0 0-26,1-1 59,-1 1-35,0-1 41,0 1-6,0-1-40,0 0 48,0 0-16,0 1-16,0-1 21,0 0-26,0 0 34,0 0-23,0 1 24,0-1-31,0 0 7,0 0-2,0 0 4,0 0-13,-1 1 1,1-1 3,-1 0 2,1 1-34,-1-1 22,0 0-30,1 0 28,-1 0 6,0 1-7,0-1 5,0 0-7,0 1 1,0-1-3,0 0 5,-1 1 0,1-1 0,0 1 0,0-1 1,-1 1-16,1-1 15,0 0-12,0 1-18,0 0 22,0-1-27,0 1 8,0-1 16,0 1-21,0 0 25,0-1-19,0 1 14,0 0-16,1-1 16,-1 1 11,0 0-8,1 0 11,-1-1-14,0 1-2,1 0 2,-1 0-1,1 0-6,-1-1 7,0 1-7,1 0-27,-1 0 26,0 0-28,0 0 35,0 0-39,1 0 27,-1 0-33,0 0 38,0-1 5,0 1-4,0 0 0,0 0-4,0 0 14,-1 0-10,1-1 14,0 1 0,0 0-12,0 0 14,0 0-9,0-1-6,0 1 12,0 0-11,0 0 11,0 0-8,0 0 7,0 0-7,0 0 2,0 0-2,0 0 0,0 0-4,0 0-4,0 0 2,0 0-1,0 1 9,1-1-4,-1 0 4,0 1-4,0-1 3,0 0-2,1 0 2,-1 1-1,0-1-2,0 0 3,0 1-3,1-1 21,-1 1-13,0-1 15,0 0-17,1 1-5,-1-1 6,0 0-6,0 1 6,0-1 35,0 1-24,0-1 27,1 1-27,-1-1-6,0 0 9,0 1 12,0-1-13,0 1 16,1-1-19,-1 1 14,0-1-8,0 1 9,1-1-7,-1 0-33,0 1 25,0 0-26,1-1 29,-1 1 9,0-1-10,1 1 10,-1 0-14,1-1 3,-1 1-2,0 0 7,1 0-5,-1 0 7,1 0-7,-1-1-29,1 1 21,-1 0-23,1 0 15,-1 0 13,1 0-13,-1 0 15,1-1-40,0 1 27,0 0-35,-1 0 36,1 0-15,0-1 11,0 1-13,-1 0-23,1 0 21,0 0-25,-1 0 35,1 0-10,0 0 8,-1 1-10,1-1 11,-1 0-27,1 0 20,0 0-23,-1 0 26,1 0-14,-1 1 10,0-1-16,1 0 16,-1 0-7,0 0 6,1 0 31,-1 0-23,1 0 25,0 0-30,-1 0-17,1-1 13,0 0-14,0 1 9,0-1 6,0 0-10,0 0 64,0-1-38,0 1 41,0-1 18,0 0-48,0 1 58,0-1-67,0 0-3,0 0 3,0 0 6,1 0 3,-1 0 22,0-1-17,1 1 24,0 0-75,-1-1-8,1 1-14,0 0 1,-1 0 55,1-1-11,0 1 9,-1 0-17,1-1 12,0 1-11,0 0 14,0 0-27,0-1 22,0 1-22,0 0 29,0-1-68,0 1 44,1 0-50,-1 0 77,0 0-10,0 0 5,0 0-13,1 0 31,-1 0-22,0 0 28,0 0-2,0 0-24,0 1 26,0-1-27,0 1 10,0-1 1,1 0 3,-1 1 5,0-1-29,0 1 23,0-1-23,0 1 19,0-1-2,0 1-1,0-1 25,0 1-20,0 0 21,0-1-26,0 1 17,-1 0-11,1 0 13,0-1-14,-1 1-3,1 0 4,-1 0-4,1 0 7,0 0-7,0-1 8,-1 1-7,1 0-5,0 0 6,0 0-9,0-1 7,0 1 1,-1 0-1,1 0-2,0 0 1,0 0-2,-1 0 2,1-1 2,0 1-2,0 0 2,0 0-2,0 0 2,0 0-2,0 0 2,0 0-2,0 0 1,-1 0 0,1 0 0,0 1 1,0-1 6,0 0-5,0 0 6,0 0 28,-1 0 4,1 0 8,0 1-13,0-1-33,0 0 4,-1 0-2,1 0 8,0 0-8,-1 0 6,1 1-6,0-1 79,0 0-49,0 0 54,-1 0-68,1 0-4,0 0 3,0 0-4,-1 0-25,1 1 24,0-1-22,-1 0 28,1 1-31,0-1 21,0 0-22,0 1 31,-1 0-36,1-1 26,0 0-36,-1 1 37,1-1 42,0 1-30,-1-1 30,1 0 24,0 1-48,-1-1 52,1 1-57,-1-1-5,1 1 12,0-1-8,-1 1 3,1-1-2,-1 1 7,1-1 6,-1 1-62,1 0 43,-1 0-55,1-1 10,-1 1 34,0-1-47,1 1 52,-1 0-34,0-1 25,0 1-27,1-1 18,-1 1 2,0-1-4,0 1 5,1-1-9,-1 1 6,0-1-7,0 1-33,0-1 32,0 1-36,0-1 44,0 1-5,0 0-14,0-1 7,0 1-9,0-1 0,0 1 12,0 0-15,0-1 30,0 1 1,0-1 2,0 1-1,0-1 36,0 1-35,0-1 37,0 0-42,0 1 4,1-1 3,-1 0 0,0 0 29,0 0-26,0 0 31,1 0-34,-1 1 19,0-1-15,1 0 16,0 0 13,-1 0-19,0 0 21,1 0-27,-1 0-30,0 0 22,1 0-20,-1 0 27,0 0-71,0 0 50,1 0-54,-1 0 66,0-1-53,1 1 36,-1 0-59,1-1 63,-1 1-22,1-1 20,0 0 14,-1 1-10,1-1 11,-1 1-19,1-1 46,0 1-32,0-1 40,-1 1-48,1-1 29,0 1-20,0 0 28,0-1-36,-1 1 14,1 0-12,0-1 11,0 1-11,0 0 8,0 0-9,0-1 7,0 1 1,0 0-3,0 0 2,0 0 15,0 0-12,0 0 13,0 0 5,0 0-14,0 0 16,0 1-18,0-1 13,0 0-6,0 0 8,1 1-9,-1-1-14,0 0 11,-1 0-9,2 1 6,-1-1 3,0 0-4,-1 0 4,1 1-12,0-1 7,0 0-9,0 1 7,-1-1-2,1 0 1,0 1-2,-1-1-6,1 0 9,0 1-9,-1-1-30,0 1 27,1-1-29,0 0 36,-1 1 4,0-1-6,1 0 5,-1 1-8,1-1 8,-1 1-9,0-1 8,1 1-9,-1-1 19,1 1-14,-1-1 14,0 1 25,1-1-28,-1 1 34,0-1-21,1 0-8,-1 1 10,1-1-12,-1 1-8,0-1 6,1 1-4,-1 0 5,0-1-5,0 1 7,1 0-7,-1-1 7,0 1-13,0 0 7,0-1-9,1 1 35,-1 0-18,0-1 18,0 1-25,0-1 50,0 1-35,1-1 43,-1 1-33,0-1-7,0 1 10,0-1-11,0 1-23,0-1 21,0 1-21,0 0 27,0 0-31,0 0 21,0 0-21,0 0-38,1-1 38,-1 1-45,0 0 46,0 0-22,0 0 16,0-1-24,0 1 25,0 0 11,0 0-12,0-1 16,0 1 12,0 0-16,0-1 18,0 0-24,0 1 15,1-1-9,-1 1-6,0-1 0,0 1-9,0-1 15,0 1-54,0-1 38,0 1-44,0-1 55,0 0-48,0 1 33,0-1-40,0 1 47,0-1-37,0 1 26,0-1-33,0 0 35,0 1 33,0-1-23,0 1 24,0-1-96,1 0 42,-1 0-42,0 1 60,0-1-34,0 0 22,0 0-24,1 0 50,-1 0-13,1 0 12,-1 0-20,1 0 62,-1 0-46,1 0 48,0 0-18,0-1 14,-1 1 2,1 0 49,0-1-75,0 1 42,-1-1-37,1 1-29,0-1 28,0 1-26,0 0 29,-1-1-47,1 1 33,0 0-35,0-1 38,-1 1-50,1 0-20,0 0 0,0 0-27,0 0 74,-1 0-35,1 0 49,0 0-20,0 0 18,0 0-23,0 0 52,0 0-37,0 0 36,-1 0-40,1 1 31,0-1-15,-1 1 22,1-1-23,0 1-15,-1-1 17,1 1-15,-1-1 11,0 1-1,1-1 1,-1 0 17,0 1-10,1-1 10,-1 1-17,0 0 4,0-1-3,1 1 3,-1-1-4,0 1 9,0 0-6,0 0 8,1-1-6,-1 1 6,0 0-3,0-1 5,1 1-2,-1 0-4,0 0 5,1-1 2,-1 1-5,1 0 6,-1-1-8,1 1 10,0 0-6,-1-1 8,1 1-9,0 0 3,0-1-4,-1 1 5,1-1-4,0 1 2,-1-1-2,1 1 1,0-1 32,-1 1-23,1 0 25,0-1-32,-1 0 8,1 1-3,0-1 4,-1 1-24,1 0 13,-1-1-13,1 1 19,-1-1-37,0 1 26,0 0-28,1-1 36,-1 1-11,0 0 6,0 0-10,0 0 10,0 0-8,0 0 5,0 0-8,0 1 7,0-1 3,0 0-1,0 0 6,0 0-7,-1 0 2,1 0-2,0 0-2,-1 0 1,1 0 0,0 0 2,-1-1 6,1 1-4,-1 0 2,1-1-4,-1 1 7,1-1-4,0 1 6,-1 0 31,1-1-28,-1 1 31,1-1-38,-1 1 11,0 0-6,1-1 10,-1 1-7,0 0 1,0-1 1,1 1 1,-1-1-21,-1 1 17,1-1-17,0 1 19,0-1-21,0 1 14,0-1-16,0 1 52,-1-1-25,1 1 24,-1-1-16,1 1-11,0-1 14,-1 1-15,1-1 26,0 1-17,0-1 19,0 1-20,0-1 18,0 0-7,0 0 9,0 1 2,0-1-17,0 0 21,1 0-21,-1 0 22,0 0-18,0 0 16,0 0-46,0 0 25,0 1-24,-1-1 32,1 0-14,0 0 8,0 0-9,-1 0 8,0 1-34,1-1 24,-1 0-27,0 0 29,1 0 4,-2 1-5,2-1-1,-1 0 50,0 1-39,0-1 41,0 0 12,0 0-42,0 0 51,0 0-61,0 1-4,0-1 4,1 0 3,-1 0 3,1 0-34,-1 0 24,0 0-28,0 0 38,1 0-62,-1 0 43,0 0-53,0 0 40,0 0 4,0 0-8,0 0 31,1 0-8,-1 0 7,0 0-16,0 0-9,0 1 8,1-1-1,-1 0 3,0 0 23,1 0-17,-1 0 19,0 0-22,0 0 46,1 0-33,-1 0 37,0 0 16,0 0-40,1 0 44,-1 0-53,1 0 7,-1 0 2,0 0 0,0 0-31,1 0 16,-1 0-12,0 0 22,0 0-59,0 0 39,0 0-52,0 0 7,0 0 38,1 0-43,-1 1 15,0-1 25,0 0-35,0 0 39,0 0-17,0 0 7,1 1-7,-1-1 2,0 0 34,0 0-23,1 0 24,-1 0-25,0 0 6,1 0-3,-1 0 4,1 0 20,-1 0-18,1 0 21,-1 0-36,1 0 10,-1 0-9,1 0 11,-1 0-18,0 0 14,1 0-15,-1 0 17,0 0-23,0 0 14,1 0-15,-1 0 18,1 0-2,0 0-1,-1-1-1,1 1-6,0 0 8,0 0-10,0 0 12,1-1-5,-1 1 5,0 0-4,0 0 36,0 0-26,0 0 28,0-1-34,0 1 1,0 0 2,0 0 0,0 0 1,0-1-6,0 1 5,-1 0-7,1 0 10,0 0-8,-1 0 6,1-1-6,0 1-9,-1 0 11,1 0-13,0 0 6,0 0 5,0 0-8,0 0 8,0 0 14,0 0-10,0 0 12,1 0-15,-1 0 0,0-1 1,1 1 0,-1 0 1,1 0-4,-1 0 2,1 0-3,-1 0 3,1 0 1,-1-1 1,1 1 3,-1 0-2,0 0 2,1 0-4,-1-1-6,0 1 6,0 0-7,0 0 7,-1 0-74,1 0 53,0 0-56,0 0 71,0-1-9,0 1 6,0 0-10,0 0 25,0 0-18,1 0 16,-1-1-9,0 1-6,1 0 6,-1-1-8,0 1 74,1 0-53,-1 0 61,0-1-74,1 1 8,-1-1-5,0 1 12,0 0-6,0-1-5,0 1 3,0 0-8,0-1-2,0 1 9,1 0-11,-1 0 7,0-1 3,0 1-6,1-1 6,-1 1-23,1 0 14,-1 0-15,1-1 19,-1 1 15,1 0-10,0-1 11,0 1-14,-1-1 3,1 1-3,0-1 4,0 0-16,0 1 9,-1-1-9,1 1-43,0-1 38,0 1-41,0-1 53,0 0-39,0 1 23,-1-1-26,1 1 25,0-1-37,0 1 20,0-1-24,-1 0 53,1 1-8,0-1 7,0 0-15,0 0 47,0 0-36,0 1 43,0-1-7,0 0-24,0 0 31,0 0-34,0 0 0,0 1 5,0-1-2,0 0 4,0 0-32,1 0 25,-1 0-26,0 0 27,1 0-61,-1 1 40,0-1-44,0 0-18,0 0 46,1 0-52,-1 1 57,0-1 7,0 0-5,1 1-3,-1-1 34,0 0-25,0 1 24,0-1-26,0 0 46,0 1-31,0-1 37,0 1-39,0-1-1,0 1 5,0-1 7,0 0-10,0 1 12,0-1-10,0 1 19,0-1-14,0 0 14,0 1-17,0-1 18,0 0-12,0 0 13,1 0-1,-1 1-11,0-1 12,0 0-15,0 0 26,0 0-16,1 0 18,-1 0 13,0 0-27,0 1 30,1-1-36,-1 0 49,0 0-35,1 0 39,-1 1-46,0-1 9,0 0-5,1 0 9,-1 0-26,0 1 18,1-1-18,-1 0 22,1 1-23,-1-1 16,0 1-19,1-1 3,-1 1 12,1-1-16,-1 1 16,1 0-5,-1 0 2,0-1-4,1 1 6,-1 0-21,1 0 15,-1-1-13,1 1 16,-1 0-3,1 0 1,-1 0-1,1 0 0,0-1 42,-1 1-30,1 0 47,-1 0-48,1-1 11,0 1-12,0 0-9,-1 0 8,1-1-7,-1 1 10,1 0-26,0 0 22,0 0-22,-1-1-18,1 1 29,0 0-36,-1 0 43,1 0-70,0 0 49,-1 0-57,1 0 86,0-1-24,0 1 22,0 0-27,-1 0 27,1 0-18,0 0 19,0 0-23,-1 0-27,1 0 21,0 0-19,-1 0 32,1 0-4,-1 0 4,1 0-3,0 1-44,0-1 32,-1 0-37,1 0-10,0 0 31,-1 0-42,1 0 51,-1 0 21,1 0-12,0 0 11,-1 0-22,1 0 61,-1 0-44,0 0 51,1 1-60,-1-1 51,0 0-37,1 0 44,-1 0-77,0 0 33,0 0-27,0 0 63,1 0-19,-1 0 36,0 0-29,-1-1 5,1 1-7,-1-1-3,1 1 9,0-1-3,-1 0 13,1 1-51,0-1-2,0 1-10,-1-1-33,1 0 29,0 0-16,0 0 15,0 0 3,0 0 23,0 0-27,0 0 41,1 0-18,-1 0 19,1 0-19,-1 0 34,1 0-25,-1-1 27,1 1-15,0 0-10,0 0 17,-1 0-13,1 0 28,0 0-15,-1 0 14,1 0-19,0-1-1,-1 1 2,1 0-1,0 0-8,-1 0 3,1 0-4,0 0-13,0 0 14,0 0-16,-1 1 18,1-2-31,0 2 22,-1-1-25,1 0 29,0 1 5,0-1-8,-1 1 7,1-1-10,0 1 40,0-1-29,0 1 29,0-1-34,0 0 17,-1 1-10,1-1 21,0 1-19,0-1 4,0 0-4,-1 0 57,1 1 20,1-1 0,-2 0-7,2 0-19,-1 0 18,0 0-2,0 0 1,0 1-27,0-1 1,0 0 4,1 0-54,-1 0 29,1 1-26,-1-1-71,1 1 30,-1-1-105,1 1 99,0 0-237,-1-1 94,1 1-180,0 0 124,-1 0-573,1 0 174,0 1-153,-1-1 420,1 1 381,0 0 0,0 1 0</inkml:trace>
  <inkml:trace contextRef="#ctx0" brushRef="#br0" timeOffset="257">4393 605 9271,'0'0'-175,"0"-1"187,0 1 49,0 0 18,0 0 28,0 0 135,0 0 931,0-1-640,0 2 631,0-1-1017,0 0-12,0 1 12,0-1-12,0 1-3,0 0 4,0 0-48,0 0 33,0 0-32,0 0 42,0 0-45,0 1-17,0-1 5,-1 1 3,1 0-35,0-1 12,0 1-74,-1 0 60,1 0-71,0 0 39,0-1-84,-1 1 20,1-1-29,0 1 59,0-1-53,0 1 58,0-1-28,0 1 22,0-1-51,-1 0 30,1 0-95,0 0 88,1 0-75,-1 0 99,0 0-68,0-1 70,0 1 10,1-1-7,-1 0 8,0 1-79,0-1-26,1 0 0,-1 0 12,0 0 60,0 0 0,0 0 0,0-1-40,1 1 24,-1-1-29,0-1 36,0 1 58,0-1-39,0 1 34,0-1-59,0 0 46,0-1-33,0 1 44,0 0-45,0 0 32,0-1-26,0 1 40,0 0 18,0 0-22,0 0 31,0 1 17,0-1-51,0 1 56,0 0-68,0 0 31,0 0-20,0 1 24,0-1-20,0 1-6,0 0 14,0-1-12,0 1 18,0 0-66,0 0 48,0 0-49,0 0 315,0 0-171,0 0 190,0 0-145,0 0-31,0 1 106,0 0-97,0 0 85,0 0-40,0 0 26,0 1 25,0-1-68,0 1 11,0 0-17,0-1-75,0 1 1,0 0-11,0 0 28,0 0-95,0 0 38,0 1-127,0-2 107,0 1-95,-1 0 70,1-1-101,0 1-189,0-1 73,-1 0-158,1 0-374,0-1 164,0 1-296,0-1 497,0 0 214,0 1 205,-1-1 0,1 0 0</inkml:trace>
  <inkml:trace contextRef="#ctx0" brushRef="#br0" timeOffset="258">4488 607 9502,'1'-1'-991,"0"1"1023,-1 0 104,0 0-5,1-1-87,-1 1 22,0 0-33,1 0 25,-1 0 8,0 0 2,1 0 1,-1 0-1,0-1 682,0 1-505,0 1 629,0-1-687,0 0 110,0 0-99,0 0 33,0 1-57,0-1 3,0 0-17,0 1-31,0-1-6,0 1-37,0-1 34,-1 1-34,1-1 60,0 1-71,0 0-5,0-1-27,0 1 22,0 0-8,0 0 7,0 0-35,0 0-27,0 0 55,0 0-26,0 0 115,0 0-37,0 0 44,0 0-63,0 1-30,0-1 17,0 0-12,0 1 37,0-1-36,0 0 31,0 1-38,0-1 30,0 0-47,0 1-21,0-1 4,0 0-67,0 1 37,0-1-16,0 0-16,0 0 30,0 1 12,0-1-16,0 0-17,0 0 34,1 0-38,-1 0 47,0 0-15,1-1-1,-1 1-8,0 0-11,1 0 29,-1 0-27,0-1 29,0 1-34,0 0 23,0 0-29,0 0-8,0 0 22,0 0-25,0 1 36,0-1-19,0 0 12,0 1-15,0-1 15,0 0 29,-1 0-23,1 0 24,0 0-29,0 1 12,0-1-11,0 0 10,0 0 24,0 0-23,0-1 30,0 1-28,0 0-18,0 0 15,1 0-15,-1 0-48,0 0 49,0-1-53,0 1 63,0 0-15,0-1 9,0 1-15,0-1 13,0 1-28,0-1 21,0 0-38,0 1 149,0-2-39,0 1 123,0 0-110,0-1 77,0-1-77,0 1 92,0-1-84,0 1-8,0-1-38,0 0 6,0 0-66,0 0 1,0 0-20,0 0 30,0 0-17,0 0 18,0 0-76,0 1 23,0-1-3,0 0 9,0 1 22,0-1-36,0 0 55,0 0-66,0 0 62,0 1-25,0-1 22,0 1-12,0-1 11,0 0 35,0 1-25,0 0 32,0 0 21,0-1-39,0 1 44,0 0 3,0 1-42,0-2 50,0 2-58,0-2-14,0 2 14,0-1-14,0 0 28,0 0-79,0 0-11,0 0-10,0 0-43,0 0 66,0 0-25,0 0 28,0 0-9,0 0 34,0 1-50,0-1 72,0 0-37,0 1 35,0-1-33,0 1 60,0-1-46,0 1 49,0-1-49,0 1 43,0 0-18,0-1 22,0 1-29,0-1 33,0 1 22,0 0-6,0 0 44,0-1-32,0 1 10,0 0 24,0 0 89,0 0-81,0 0 86,0 0-151,0 0 10,0 1-9,0 0 13,0-1-7,0 1 11,0 0-8,0 0 6,-1 0-13,1 0 7,0 0-14,0 1 15,0 0-13,-1-1 10,1 1-9,0 0 54,0 0-34,0 0 36,-1 0-1,1 1-30,0-1 36,0 0-44,0 1-24,-1 0 21,1-1-21,0 1 29,0 0-11,0 0 6,0 0-8,0 0 13,0-1-60,0 1 44,0 0-51,0 0-16,0-1 45,0 1-49,0-2 59,0 2 8,0-2-58,1 1-7,-1-2-12,0 1-206,1-1 83,-1 0-137,0 0-494,1 0 214,-1-1-160,1 0 400,-1 0 366,1-2 0,0 1 0</inkml:trace>
  <inkml:trace contextRef="#ctx0" brushRef="#br0" timeOffset="259">4591 614 9502,'1'0'-1237,"-1"0"1165,0 0 72,1 0 0,-1 0 0,0 0 0,0 0 0,0 0 0,1-1 0,-1 1 0,0 0 0,0 0 0,0 0 0,1-1 0,-1 1 158,0 0-30,0 0 102,0 0 36,0-1-74,0 1 69,1 0-70,-1 0 36,0 0-31,0-1 80,0 1-92,0 0 13,0 0-60,0 0 586,0 0-448,0 0 443,0 0-640,0 1 38,0-1-40,0 1 67,0 0-69,0 0-3,0 1-20,0-1-70,0 1 69,0 0-65,0 0 54,0 1-28,0-1-8,-1 0 13,1 1-37,0 0 40,0-1-16,-1 0 11,1 1-41,0-1-4,-1 0-16,1 0 5,0-1 21,0 1-16,0 0-1,0-1 15,0-1-31,0 1 41,-1-1-42,1 1-151,0-1 157,0 0-167,1-1 201,-1 0-26,0 0 12,0 0-29,1-1 19,-1 1-39,1-1 86,-1 1-10,1-1 32,-1 0 72,1 0-27,-1 0 60,0 0-12,1 0-120,-1 0 28,0 0-65,0 0-9,0 1-7,0-1-12,0 0 3,0 0-5,0 0 30,0 1-40,0-1 39,0 1 25,0-1-33,0 1 29,0-1 29,0 1-33,0 0 41,0 0-53,0 0 69,0 0-46,0 1 60,0-1-41,0 1-7,0 0-59,0 0 29,0 0 8,0 0 21,0 1 69,0-1-74,0 1 14,0 0-17,0 0 46,0 0-32,0 0 40,0 1-46,0 0 63,-1 0-45,1 0 54,0 0-61,-1 0 4,1 1-3,0-1-2,0 0-14,-1 0 15,1 1-15,0-1 22,0 0-44,0 0-7,0-1-7,0 1-62,0-1 23,0 1-17,0-2 23,0 1-196,0-1-122,0 1-361,0-1 89,0-1 187,0 0 238,0 0 234,0-1 0,-1 0 0</inkml:trace>
  <inkml:trace contextRef="#ctx0" brushRef="#br0" timeOffset="260">4372 612 9502,'1'0'30,"-1"0"58,1 0-62,-1 0 41,0 0-74,0 0 80,0 0 99,0 1-24,1-1 68,-1 0 103,0 0-98,0 0 124,0 0-80,0 0-53,0 0 61,1 0 13,-1 0-35,0 1 59,0-1-112,0 0 36,0 0-56,1 0 1,-1 1-10,1-1 16,-1 0-1,1 1 12,0-1-66,-1 1-9,1-1-17,0 1-71,0 0 35,0-1-104,0 1 103,1-1-113,-1 1 77,0 0-109,0 0 59,1 0-47,0 0 16,-1 0-41,0 0 31,1 0-24,-1 0 56,1 0-41,0 0 12,-1 0 11,0 0-18,0 0 7,0 0-3,0 0-10,0 0 15,0 0-23,-1-1 41,0 1-49,1-1 56,-1 0-91,0 1 66,0-1-70,0 0 144,-1 0 14,1-1 1,-1 1 36,0-1-49,0 0 21,0 0-17,0 0 18,0 0 4,0-1 16,-1 1-17,1 0-9,0 0-23,-1-1 32,1 1-25,-1 0-40,1 0-20,0 0-11,-1 0-57,1 0 86,0 0-47,-1 0 58,1 0 6,0 0-11,0 1 8,0-1 3,0 1-4,1-1-1,-1 1-7,1 0 44,0-1 30,0 1 8,0 0-9,0 1-67,0-1 12,1 1-14,0 0 82,0 0-43,0 0 42,1 0-55,-1 0 11,1 0-3,0 1 5,0-1-7,-1 1 23,1-1-16,0 0 19,0 0-21,-1 1-103,1-2 27,-1 1-91,1 0-310,-1-1 101,0 1-238,-1-1-426,1 0 686,0 0-442,0 0 771,-1 0 0,2 0 0</inkml:trace>
  <inkml:trace contextRef="#ctx0" brushRef="#br0" timeOffset="261">4576 614 8519,'-1'0'-181,"1"0"202,0 0-34,0 0 20,0 0 39,0 0-11,-1 0 43,1 0 578,0 0-456,0 0 585,0 0-633,0 1 122,0-1-109,0 0 73,0 0-102,0 0 60,0 1-28,0-1-14,0 0 11,0 0-34,1 1 43,-1-1-18,1 0 22,-1 1 8,1-1-5,1 1 0,-1 0-10,1-1-57,-1 1 12,1 0-11,0 1-59,0-1 19,-1 0-65,1 1 89,0-1-142,0 0 78,0 0-119,0 1 37,0-1 29,0 0-20,0 0 13,-1 0-25,1 0 2,-1 0-27,0 0 24,0 0-41,0-1 48,-1 1-19,0-1-47,1 0-85,-1 0 39,0 0-42,-1 0 227,1-1-59,-1 1 53,0-2-70,0 1 61,0 0 11,0 0 11,0 0-11,0-1 2,0 1-26,0-1 33,-1 1 12,1-1 7,-1 1 29,1 0-23,0 0-6,-1-1-34,1 1 24,0 0-60,0 0 30,-1 1-28,1-1 36,0 1-41,1-1-12,-1 1-3,0 0 5,1-1 42,0 1 11,0 0-9,0 0 3,0 0-21,0 0-97,0 0 20,0 0-82,0 0-513,1 0 471,-1 0-404,0 0 609,0 0 0</inkml:trace>
  <inkml:trace contextRef="#ctx0" brushRef="#br0" timeOffset="262">4413 621 10333,'-1'-1'759,"1"1"-540,0 0-55,0 0-20,0 0 0,-1 0 9,1 0-46,0 0 7,-1 0-14,1 0 28,-1 0-85,0 0 6,0 1-86,-1-1 89,0 1-118,0 0 78,-1 0-89,1 0-9,-1 0 45,0 0-64,1 0 63,-1 0-45,1 0 67,0 0-27,0 0-5,1 1 50,-1-2-60,1 1 63,1-1-59,-1 1-2,1-1-69,0 0 54,0 0-10,0 0 124,1 0 9,0 0 10,0 0-20,0-1 31,0 0-21,0 1 89,0-1-30,1 0 10,-1 0-30,0 0 3,1 0-77,-1 0 42,1 0-42,-1 0 59,0 0-94,1 0 9,-1 0-29,1 0-54,-1 0 38,1 0-22,-1 0 25,1 0-6,-1 1 52,0-1-64,1 1 79,-2-1-27,2 1 23,-2 0-29,1-1 79,-1 1-56,0 0 60,0 0-62,0 0-16,0 1 20,0-1-16,-1 1 31,0 0-12,-1 0 12,1 0-12,-1 0 58,0 0-43,0 1 41,0-1-53,1 1 71,-1-1 18,0 0 10,0 0-52,1 1-32,-1-1-30,1 0 45,0 0-233,0-1 59,0 1-155,1-1-87,0 0 125,-1 0-132,1 0 136,-1 0 138,1 0 23,0 0 92,-1 0 0,0 0 0</inkml:trace>
  <inkml:trace contextRef="#ctx0" brushRef="#br0" timeOffset="263">4612 622 8519,'0'-1'-75,"0"1"162,0 0-78,0-1 16,0 1-15,0 0 78,0 0 177,0 0-15,0 0 46,0 0-145,0 0 85,1 0-102,-1 0 187,0 0-161,0 0 347,0 0-304,0 0 229,0 0-420,-1 0-12,0 1-26,0-1-23,0 1 33,0 0 4,-1 0-11,0 0 51,0 0-5,0-1 11,0 2-37,0-1-23,0 0 3,0 0-13,0 0 7,0 0 17,0 0-22,0 0 37,1 0-18,0 0 8,0-1-85,0 1 71,0-1-51,1 1 98,0-1 27,0 0-14,0 0 7,0 0-49,1-1 37,-1 1-21,1-1 25,0 1-23,0-1 67,-1 1-40,1-1 48,0 1-40,0-1-21,-1 1 28,1-1-52,0 1 27,0-1-24,0 0 19,1 1-14,-1-1 6,0 0-11,0 1 17,0-1 10,0 0-8,1 0 8,-1 0 30,1 1-30,-1-1 29,1 0-59,-1 0 15,0 0-13,0 1 20,1-1-74,-1 1 53,0-1-52,0 1 69,0 0-60,0 0 41,0-1-56,0 1 64,-1 0-60,0 0 42,1 0-103,-1 0 91,0 0-36,-1 0 46,1 1 4,-1-1-9,-1 1 62,1 0-44,-1 0 51,0 0-64,1 0 49,-1 0 11,0 0 9,-1 0-14,1 0-26,0 0-11,-1 0 21,0 1-16,0-1 10,1 0-8,-1 0 29,0 0-22,1 0 24,0 0-28,-1 0 32,2 0-23,-1 0 27,1-1-33,1 1-41,0-1-7,-1 0-67,2 0 2,-1 0 30,1-1 10,0 0-185,1 0 44,-1 0-153,1 0-247,-1 0 171,0 1-241,0-1 384,0 0 118,-1 1 159,1-1 0,0 1 0</inkml:trace>
  <inkml:trace contextRef="#ctx0" brushRef="#br0" timeOffset="264">4526 624 9502,'0'-1'-970,"0"1"1165,1 0 120,-1 0-39,0-1-103,0 1 0,0 0-50,0 0 2,0 0 801,0-1-607,0 1 620,0 0-851,0 0 44,0 0-48,-1 1 44,1-1-64,-1 0-5,0 1-12,1-1-23,-1 1 37,0-1-16,0 1 17,0-1-15,0 1-14,0-1-13,0 1-52,-1 0 14,1 0 10,-1 0-3,0 0 22,1 0-29,-1 0 7,0 0-7,0 0 14,0 0-23,-1 0-1,1 1-34,0-1 18,0 0 3,0 0 8,0 1 11,0-1 13,0 0-20,0 0-11,0 1 29,1-1-31,-1 0 31,1 0-43,0 0-8,0 0-6,0 0 12,0-1-49,1 1 17,0-1-79,-1 0 79,1 1-11,0-1 54,0 0-30,0 0-9,0 0 5,0 1-9,-1-1 34,1 0-4,0 0-5,0 0-3,-1 0 38,1 0 24,0 0 8,0 0-14,-1 0 3,1 0 10,0 0 141,0 0-50,0 0 79,0 0-110,0 0 50,1-1-65,-1 1 33,1-1-1,0 0 2,0 0 19,0 1-19,1-1 9,-1 0-31,0 0 30,1 0-21,-1-1-36,1 1 24,0 0-18,-1 0-37,1 0-7,0 0-15,0 0 14,-1 0-3,1 0-6,0 0-16,-1 0-46,1 1 72,0-1-39,-1 0 42,1 0-53,-1 1-40,1-1 13,-1 1-15,1-1 18,-1 0 19,1 0-31,-1 0 88,1 1-18,-1-1 22,1 0-31,-1 0 52,0 1-39,-1-1 46,2 1 11,-2-1-41,1 1 50,-1-1-53,0 1 19,0 0-3,0 0 66,0-1-58,0 1 72,0 0-76,0 0 29,-1 0-33,1 1 40,-2-1-27,2 1 32,-1-1-17,0 1-11,0-1 11,-1 1-16,1 0-36,0-1 27,0 1-28,0 0 36,-1-1-16,1 1 11,0 0-10,-1 0 12,1 0-14,-1 0 9,0 0-16,0 0-18,0 0 20,0 1-23,0-1 8,-1 1 17,1 0-22,-1 0 26,1-1-1,0 1 1,-1 0 1,1 0-4,0-1 45,0 0-31,1 1 34,-1-1-44,1 0-1,-1 0 1,1 0 6,0-1 2,1 1 4,-1-1-2,0 1-28,1-1-192,0 0 74,0 0-157,0 0-130,0 0 69,0-1-154,1 1 278,-1-1 109,1 1 113,0-1 0,0 0 0</inkml:trace>
  <inkml:trace contextRef="#ctx0" brushRef="#br0" timeOffset="265">4461 627 8847,'-1'-1'-271,"1"1"494,0 0-92,0 0-54,0 0-53,-1 0 37,1 0 17,0 0 40,0 0-50,0 0 80,0 0-55,0 0 60,0-1 46,0 1-27,0 0 108,0 0-10,0 0-43,0 0 44,0 0-102,0-1 137,1 1-83,-1 0 137,0 0-143,1 0 26,-1 0-105,1 0 25,-1 0-32,1 0 1,0 1 0,-1-1 1,1 0 8,0 1-7,0-1 8,0 1 2,0-1-10,1 1 11,-1-1-14,1 1-66,-1 0 43,1 0-32,0 0 43,-1-1-37,1 2-37,0-1 3,0 0 3,0 0 2,-1 0-43,1 0 16,0 0-99,0 0 91,-1 0-101,1 0 29,-1 0-34,1 0 59,0 0-16,-1 0-4,1 0-1,-1-1-61,0 1 58,0 0-46,0 0 58,0-1-28,0 1 29,0 0-37,0 0-47,0-1 21,0 1-53,-1 0 55,1-1-22,0 1 15,-1-1 43,1 0 4,0 1-4,-1-1-36,1 1 12,-1-1-15,1 1 29,0-1-40,-1 1 32,1 0-36,-1-1 38,1 1 10,-1 0-10,0-1 10,1 1 38,-1-1 9,0 0-5,0 1 46,0-1 74,0 0 14,0 0 68,-1 0-79,1-1 28,-1 1-28,0-1 62,0 1-88,0-1 50,0 0-80,0 0 9,-1-1-17,1 1-5,-1 0 24,1 0-44,-1 0-18,1 0-12,-1 0 14,0 0-3,0 0-4,1 0-24,-2 0 20,1 0-12,0 0 35,0 0-34,-1 0 37,1 0-16,0 0 11,0 0-12,-1 0 14,1 0-4,0 0 4,0 0-1,0 0 0,0 1 1,0-1-1,0 0-72,1 0 51,0 0-57,-1 0 72,1 0-69,0 0 50,1 1-57,-1-1 57,1 0-62,0 1-28,0 0-8,0 0 5,0 0 67,0 0-3,1 0 16,0 0-8,-1 0 29,1 0-25,0 1 26,0 0-27,1-1 53,-1 2 25,0-2-5,1 2 65,0-1-36,-1 0 16,1 0-20,0 0-10,0 0 5,0 1 13,0-1 45,1 0-71,-1 1 36,1-1-37,-1 1 19,1-1-2,-1 1 8,1-1-17,0 1-17,-1-1 13,1 0-12,-1 0 15,0 0-45,0 0-7,-1 0-6,1 0-230,-1-1 91,0 1-162,-1-1-460,1 0 187,-1 0-149,1 0 375,-1-1 363,0 1 0,1-1 0</inkml:trace>
  <inkml:trace contextRef="#ctx0" brushRef="#br0" timeOffset="266">2736 694 9281,'0'0'123,"-1"0"-58,1 0 241,0 0 225,0 0-137,0 0 92,0 1-357,0-1 32,0 0-21,0 1 35,0 0-40,0 0-31,0 0-25,0 1 0,0 0 11,0 1 6,0 0-22,0 1 1,0 1 1,0-1-33,0 1-12,0 0-13,0 0-69,0-1 74,0 0-77,1 0 26,-1-1 0,1 0 25,-1-1 17,1 0-76,0 0 31,-1-1-118,1-1 87,-1 1-53,0-1 14,1 0 23,-1 0-24,0-1 12,0 1-19,0-1-44,0 0 92,0 0-11,0-1 54,0 1-78,0-1 23,0 0-26,0-1 39,0 1 22,0-1-11,0 0 11,0-1-19,-1 1 46,1-1 10,0 1 5,-1-2 101,1 1-66,0 0 96,-1 0-98,1 0 95,0 1-73,0 0 108,0 0-12,0 1-6,0 1 20,0 0-50,0 1 55,0-1-36,0 2 58,0-1-46,0 1-65,-1 0-17,1 1-32,0 0 30,-1 0-92,1 0 40,0 1-114,-1-1 23,1 1 23,-1 1-43,1-1 93,0 1-17,0-1 57,0 1-38,0 0 84,0 0-11,0 0 27,0 0-20,0-1-70,1 0 15,0 0-9,-1 0 28,1-1-41,0-1 53,0 0-37,-1-1-138,1 0 29,-1 0-125,1-1 13,-1 0 14,0-1-39,1-1 1,-1 0 50,0 0 2,1 0 24,-1-1 17,0 0 80,0 1-26,0-1 33,0 0-46,0 0 27,-1 1-26,1 0 49,-1-1-107,0 1 77,1 0-58,-1 0-73,1 1 7,-1 0-123,1 1 172,0 0 34,0 0 115,1 1 0,-1 0 0</inkml:trace>
  <inkml:trace contextRef="#ctx0" brushRef="#br0" timeOffset="267">2831 783 9502,'-1'0'-92,"1"0"85,0 0 378,0 0-197,0-1 230,0 1-180,0 0-68,0-1 20,1 0-30,0 0-63,1 0-11,-1 0 0,1-1 26,1-1-64,-1 1 34,1-1-95,0 0-9,0 0 34,0 0-37,0 0 14,0 0 3,-1 0 2,0 0 28,0 1-27,-1 1-8,0 0-5,0 0-65,-1 1 46,0 0-23,-1 0-48,-1 2 98,1-1-51,-1 2 71,-1-1-77,1 1-14,-1 0-21,1 0 80,-1 0 10,0 1 54,-1-1-67,2 1 46,-1 0 0,0-1 10,0 0-7,0 1 66,1-1-12,0-1 90,0-1-13,2 1 31,-1-2-57,2 0 26,-1 0-103,1-2 40,1 0-104,1 0 72,-1 0-74,1-1 75,1 0-13,-1 0 6,0 0-8,0 0-6,0 0 43,0 0-43,0 0 41,0 0 35,-1 1 19,0-1 8,-1 1-22,0 0-58,0 0-1,-1 1 25,0 1-76,0-1 4,-1 1-21,0 1 22,-1-1-78,0 2 32,-1 0-123,1 1 110,-1-1-82,0 1 58,1 0-84,-1 1 41,1-1-265,0-1 84,1 1-56,-1 0 185,1-1 176,0 0 0,0 1 0</inkml:trace>
  <inkml:trace contextRef="#ctx0" brushRef="#br0" timeOffset="268">2609 745 9469,'0'0'830,"1"1"-631,-1-1-17,0 0-9,0 0 0,0 0-70,0 0 29,1 0-24,-1 0 28,0 0-13,0 1-1,1-1 1,-1 0 12,1 1-56,-1-1-2,1 1-16,0 0 12,0 1-33,0-1-9,1 1-28,-1 0-37,1 1 90,0 0-38,0 0-17,0 0-3,0 0-30,0 0 32,1 0-24,-1 0-5,0-1-26,0 0 29,0 0-29,0-1 68,-1 1-69,0-2 62,1 1-2,-1-1-6,-1 0-17,1 0 17,-1 0-17,1 0 25,-1-1 14,0 1-9,0-1 9,0 1-13,0-1 20,0 1-14,0 0 15,-1-1-18,1 1 60,-1-1-40,-1 0 44,1 1-69,-1-1 8,0-1-2,0 1-58,0-1 53,0 1-55,0-1 66,0 0-71,0 0-21,1 0-2,-1 0 6,0 0 28,1 0 12,-1 0-21,1 0 11,1 0 21,-1 1-28,1 0 24,-1 0 58,1 0-44,0 1 51,0 0-43,0 0-15,1 0 22,-1 0-16,1 1-53,0 0 44,0 0-42,1 1 56,0 0-39,-1 0 28,2 0-33,-1 1 28,0-1 42,1 1-36,0-1 37,0 1 7,-1-1 15,1 0 5,0 0-56,-1 0-11,1 0-32,-1-1 53,0 0-357,-1-1 87,0 0-240,0 0 296,-1 0 103,0-1 109,1 0 0,-1-1 0</inkml:trace>
  <inkml:trace contextRef="#ctx0" brushRef="#br0" timeOffset="269">2728 790 13789,'-1'1'397,"1"-1"-324,-1 0-55,1 1 68,-1-1-94,0 0 50,1 1-95,-1-1-1,0 1 32,0-1-80,0 1 60,0-1-4,0 1 48,0-1 27,0 0-36,0 1-25,0-1 1,0 1-7,0-1 22,0 0 17,0 1-21,0-1 30,0 1 4,0-1-5,0 1 3,0-1-25,0 1 17,0-1-21,0 1 24,0-1 13,0 0-9,1 1 15,-1-1 5,0 1-14,0-1 16,0 0-22,1 1 7,-1-1-2,1 1 2,-1-1-3,0 0-22,1 1 16,-1-1-16,0 1 18,1-1 2,-1 1-2,1-1 2,-1 0 7,1 1-6,-1-1 5,1 1-5,-1-1-3,1 1 4,-1-1-5,1 0-20,-1 1 15,1-1-14,0 1 22,-1-1-14,1 0 11,-1 1-12,1-1-9,0 1 11,-1-1-14,0 1 5,1-1 9,-1 1-9,1-1 8,0 1-2,-1-1 1,1 1-3,-1-1 5,0 1-4,1-1 3,-1 1-2,1 0 3,-1-1 25,0 1-18,1-1 20,-1 1-14,0 0-7,1-1 8,-1 1-8,0 0 13,1-1-7,-1 1 10,0-1-12,1 1-1,0-1 3,-1 1-3,0-1-21,1 1 15,-1 0-18,1-1 25,0 1-22,-1-1 14,1 1-17,0-1 17,-1 1-2,1-1 0,0 1 3,-1 0-1,1 0 0,0-1-1,-1 1 17,1 0-12,0 0 16,0 0-20,-1 0 0,1-1 0,0 1 1,0 0 20,-1 0-12,1 0 12,0-1-16,-1 1 56,1 0-39,0 0 42,0 0-53,0 0 5,-1 0 3,1-1 4,0 1 29,0 0-21,-1 0 20,1 0-21,0 0 10,-1 0-2,1 0 6,0 0-11,-1 0-24,1 0 16,0 0-14,-1 0 28,1 0-7,0 0 6,-1 0 31,1-1-30,0 1 36,0 0-44,-1 0 23,1 0-17,0 0 16,0 0-17,0-1 12,0 1-5,0 0 7,0-1-3,0 1-4,0 0 7,0-1 0,0 1-37,0 0 25,0 0-30,0 0-22,0-1 37,0 1-35,0 0 42,0 0-16,0-1 5,1 1-12,-1 0 14,0 0-17,0-1 8,0 1-10,0 0 34,1 0-11,-1-1 12,0 1-17,0 0 54,1-1-39,-1 1 44,1 0-44,-1-1-3,0 1 15,1 0-13,-1-1-58,1 1 38,0 0-47,-1-1 62,1 1-61,-1 0 43,1-1-50,0 1 59,-1-1-32,1 1 22,0-1-30,-1 1 22,1-1-7,-1 1 3,1-1-5,-1 1 0,1-1 1,0 1-1,-1-1-22,1 0 23,-1 1-24,1 0 30,0-1-6,-1 1 3,1-1-5,0 1 5,0-1-1,0 1 0,-1 0-2,1-1 8,0 1-8,0 0 8,0 0-4,0-1-1,0 1 2,0 0-2,0 0-37,-1-1 26,1 1-28,0 0 36,-1 0-2,1 0 1,-1-1-3,1 1 18,-1 0-14,1-1 12,0 1-15,-1 0 58,1-1-40,-1 1 45,1 0-55,-1-1 21,1 1-13,-1 0 26,1-1-19,0 1 6,-1 0-3,1-1 0,-1 1-29,1 0 22,-1-1-23,1 1 14,-1 0 6,1 0-8,-1-1 25,1 1-14,-1 0 12,1 0-17,-1-1-14,1 1 11,-1 0-10,0-1 15,1 1-9,-1 0 6,1 0-7,-1-1 11,1 1-3,-1 0 3,1 0-4,0-1-14,0 1 11,-1 0-13,1 0 5,0-1 4,0 1-6,-1-1 8,1 1-7,0-1 5,0 1-5,-1-1 7,1 1-7,0-1 5,0 1-5,0-1 4,-1 0 2,2 1-3,-2-1 1,1 0 2,0 0-1,0 1 2,0-1 7,0 0-7,0 0 8,0 0-9,0 1-4,1-1 4,-1 0-2,0 0 2,0 0-54,0 1 39,0-1-40,1 0 49,-1 0-17,0 0 10,0 0-16,0 0 20,0 0 2,0 0-3,0 0-1,0 0 24,0 0-23,0 0 25,0 0-26,0 0 0,0 0 3,0 0-1,0 0-3,0 0 3,0 0-2,0 0 4,0 0-37,0 0 25,0-1-33,0 1 62,0 0-21,0-1 18,0 1-24,-1 0 17,1-1-14,0 1 16,0 0 11,-1-1-18,1 1 24,0 0-28,0-1 16,-1 1-10,1 0 14,0-1-14,0 1-16,0-1 11,0 1-15,-1 0 19,1-1-35,0 0 25,0 1-30,-1-1 50,1 1-14,0-1 12,0 0-7,0 1-6,0-1 5,0 1-7,0-1 23,-1 0-16,1 1 18,0-1-18,0 1 5,-1-1 1,1 1 0,0-1-55,0 1 34,-1-1-38,1 1 44,0-1 4,0 0-6,0 0 2,-1 1 21,1-1-17,0 0 16,0 0-21,0 1 15,0-1-13,-1 0 12,1 0-13,0 0 41,0 1-25,0-1 30,-1 0-14,1 0-18,0 0 22,-1 0-23,1 1 5,0-1-4,-1 0 4,1 0-40,0 0 28,-1 0-29,1 0 35,0 0-1,-1 0-2,1 0 0,0 0-2,-1 0 5,1 0-6,-1 0 5,1 0 5,-1 0-6,1 0 6,0 0-33,-1 0 18,1 0-18,-1 0 24,1 0-48,-1-1 36,1 1-38,0 0 46,-1 0-34,1-1 21,-1 1-30,1-1 33,-1 1-18,1-1 15,-1 1-16,1-1 15,-1 1-20,0-1 15,1 1-16,-1-1 25,0 1-7,1 0 7,-1-1-5,0 1 0,0 0 2,0 0-2,0 0 19,0-1-14,0 1 11,0 1-16,0-1 21,0-1-14,0 1 21,0 0-17,0 0-1,0 0 2,0 0-3,0 0-2,0 0 3,0 0-5,0-1 1,0 1 0,0 0-1,0 0 5,0 0 16,0 0-14,0 0 12,0 0 15,0 0-21,0 0 25,-1 0-31,1 0 20,-1 0-11,1 1 13,0-1-13,-1 0-4,1 0 5,-1 0-3,1 1 8,0-1-6,-1 0 9,1 0-9,-1 1 10,1-1-9,0 0 6,-1 1 0,1-1-5,-1 1 6,1-1-7,-1 1-2,1-1 3,0 1-2,-1-1 0,1 1 1,-1-1-1,1 1 3,-1-1 18,1 1-14,-1-1 15,1 0-20,-1 1 13,1-1-8,-1 0 9,0 1-11,1-1 1,-1 1 1,0-1 0,1 1-4,-1-1 2,1 0-2,-1 1-7,1-1 9,-1 1-9,1-1 10,-1 1-7,1-1 4,-1 0-4,1 1 2,-1-1-4,0 1 2,1-1-3,-1 0 6,1 1 1,-1-1-1,0 1 2,0-1 1,0 0-2,1 0 3,-1 1 12,0-1-12,0 0 12,0 0-14,0 0 19,0 1-14,0-1 15,0 0-17,0 0 49,0 1-32,0-1 36,0 0-19,0 0-20,0 1 24,0-1-28,0 0 9,0 1-14,0-1 16,0 1-14,0-1-1,0 1 6,0-1-6,0 1-26,0 0 28,0-1-34,0 1 37,-1 0-42,1-1 29,0 1-37,0 0 42,0 0-19,-1-1 13,1 1-13,0 0 10,0 0-1,0 0 0,-1 0 1,1 0 2,0 0-1,0-1 0,0 1 43,0 0-31,0 0 35,1 0-43,-1 0 67,0 0-48,0-1 55,0 1-66,0 0 40,0 0-28,0 0 38,0 0-41,0 0-9,0 0 6,0 0-7,0 0-42,0-1 46,0 1-47,0 0 54,0 0-28,0 0 11,0 0-15,0 0-12,0 0 26,0 0-32,0 0 34,-1 0 27,1 0-19,0 0 22,0 0-32,0 0 8,0 0-4,0 0 10,-1 0-17,1 0 10,0 1-7,0-1-21,0 0 22,0 1-25,0-1 28,0 0-7,0 1 3,-1-1-5,1 0-2,0 1 34,0-1-28,0 1 28,0-1-31,0 1 49,0 0 12,0-1 3,0 1-3,0 0-46,0 0 15,0 0-51,0 0 40,0 0-41,0 0 45,1 0-37,-1-1 26,0 2-29,0-1 29,0 0 0,0 0-6,0 0 4,1 0-15,-1 1 27,0-1-26,1 0 25,-1 0-13,0 0 1,1 0 5,-1 0-17,1 0 10,-1 1-10,0-1 13,1 0 4,-1 0-3,0 0 2,1 0-4,-1 1 4,1-1-4,-1 0 5,0 0-6,1 1 12,-1-1-9,1 0 10,-1 1-6,0-1-2,1 0 4,-1 1-22,1-1 12,-1 0-13,1 1 19,-1-1-15,1 1 9,-1-1-12,1 1 13,-1-1-10,1 0 8,0 1-9,-1-1 21,1 1-11,-1-1 10,1 1-13,0-1-1,0 0 2,-1 1-1,1-1 3,0 1 14,0-1-8,0 0 10,0 0 10,0 1-17,0-1 21,0 0-26,0 0 13,0 0-8,0 1 11,0-1-2,0 0-4,0 0 3,0 1-6,0-1-1,0 0 3,0 0-1,1 1-7,-1-1 4,0 0-5,0 0 7,0 1-16,0-1 11,0 1-13,0-1-4,0 0 12,0 0-12,0 0 16,0 0 17,0 1-15,0-1 13,1 0 17,-1 0-21,0 0 24,1 0-31,-1 0 2,0 0-2,1 1 6,0-1 2,-1 0 16,1 0-7,0 0 6,-1 0-47,1 0 21,0 0-21,-1 0 29,1 0-3,-1 0 0,1 0-7,0 0-21,-1 0 18,1 0-20,-1 0 25,1 0 16,0 0-14,0 0 14,0-1-18,0 1 33,1 0-23,-1-1 24,0 1-27,0-1 59,1 1-33,-1 0 38,0-1-80,1 1 16,-1-1-18,0 1-21,0 0 41,0-1-42,0 1 50,1 0-50,-1 0 31,0 0-33,0-1 32,1 1-54,-1 0 30,1 0-38,-1 0 45,1 0-3,-1-1 1,1 1-7,0 0 5,-1-1 3,1 1-5,0-1 5,-1 1-53,1-1 35,0 0-36,0 1 70,-1-1-13,1 0 12,-1 0-19,1 0 29,0 0-19,-1 0 24,1 0-31,-1 0 12,1 0-7,-1 0 11,1 0-32,-1-1 18,0 1-17,0 0 28,1-1-28,-1 1 21,0 0-23,0-1-54,1 1 54,-1 0-63,0 0 77,0-1-8,1 1 5,-1 0-7,0-1 3,0 1 36,0 0-26,0-1 30,0 1 6,0-1-32,1 1 35,-1-1 5,0 0-35,0 1 42,1-1-49,-1 0 45,0 0-31,0 0 45,0 1-46,1-1 2,-1 0-4,0 0 0,0 0 6,0 0-27,0 0 17,0 0-22,1 0 26,-1 0-5,0 0 2,0 0-7,0 0 9,0 0-4,0 0 1,0 0-2,1-1 1,-1 1-2,0 0 4,0-1-8,1 1 7,-1-1-7,0 1 9,0-1 4,0 1-3,0 0 2,0-1-5,1 1-2,-2 0 0,1 0-30,0-1 23,0 1-22,-1 0 28,1-1-17,0 1 12,0 0-14,-1-1 16,1 0-2,0 1-2,0-1 1,-1 0-5,1 0 17,0 1-14,0-1 14,0 0-15,-1 0 2,1 0-4,0 0 0,0 0 2,-1 1 0,0-1 8,1 1-36,-1-1 24,0 1-26,0 0 28,1-1-15,-1 1 9,0-1-13,0 1-10,0-1 15,0 1-18,0-1 42,0 0-11,0 1 15,0-1-26,0 1 39,0-1-29,0 0 35,0 0-37,0 1 48,0-1-35,-1 1 38,1-1-45,0 0 36,-1 1-24,1-1 29,0 1-25,-1-1 1,1 1 1,-1 0-2,1 0-31,-1-1 24,1 1-24,-1 0-10,0 0 27,1 0-33,-1 0 39,0 0-12,0 0 6,1 0-10,-1 0 9,0 0 37,0 0-26,1 0 28,-1 0 3,0 0 11,0 0 2,1 0 43,-1 1-73,0-1 43,0 0-48,0 0 9,0 0-5,0 0 10,0 0-6,0 0 18,0 0-12,0 0 10,-1 0-10,1 0-5,-1 0 1,1 0-4,-1 0 6,0 0-3,0 1 3,0-1-2,0 0-29,0 0 20,0 0-21,1 1 20,-2-1 7,2 1-8,-1-1 7,0 1 9,0 0-9,1 0 9,-1 0-12,0 0 11,0 0-11,0 0 11,0 0 9,1 0-13,-1 0 18,0 0-22,0 0-4,0 1 4,1-1-3,-1 0 72,0 1-44,0-1 47,0 1-63,0-1 16,0 1-9,0-1 12,0 1-12,0 0 1,0-1 5,0 1 1,0 0-31,1-1 20,-1 1-23,0 0 28,1-1-1,-1 1 3,0 0-4,0-1 37,1 1-30,-1-1 26,0 1-38,1 0-3,-1-1 3,1 1-2,-1 0 9,1 0-47,0-1 36,-1 1-33,1 0 12,0 0 24,0 0-26,0 0 29,0-1-6,0 1-7,0 0 1,0 0-73,0-1-10,0 1-27,0 0 28,0 0-20,0 0 3,0 0-17,0-1 21,0 1 103,0 0-32,0 1 34,0-1-8,0 0 9,0 0 7,0 0 16,0 1-52,0-1 27,0 0-27,0 1 46,0-1-33,0 1 38,0-1-39,1 1 30,-1-1-23,0 1 21,0-1-24,1 1 20,-1-1-15,1 1 18,-1-1-29,1 1 9,-1-1-10,1 1-12,0-1 16,-1 1-16,1 0 22,0-1-13,0 1 8,0 0-12,-1-1 14,1 1-22,0 0 15,0 0-19,0-1 21,0 1-14,0 0 10,-1 0-11,1-1 10,0 1-1,0-1 1,0 1 1,0-1 0,0 1 0,0-1 0,0 1 14,0-1-11,0 1 12,0-1-14,0 1 0,0-1 1,0 1-1,0 0 2,1-1-4,-1 1 3,1 0-2,-1 0-2,1 0 4,-1 0-4,1 0 45,0 0 11,-1 0 3,1 0-9,-1 0 14,1 0-35,0 0 38,-1 0-43,1 0 59,0 0-35,0-1 40,0 1-47,0 0-6,0-1 17,0 1-11,1 0-57,0-1-24,1 1-4,-1 0-401,2-1 143,-1 1-266,1 0 245,0-1-1048,0 1 984,0-1-851,0 0 1240,1 0 0,0 1 0</inkml:trace>
  <inkml:trace contextRef="#ctx0" brushRef="#br0" timeOffset="270">2795 807 14471,'0'0'-5,"-2"-1"-54,1 0 74,0 0-38,0 0 38</inkml:trace>
  <inkml:trace contextRef="#ctx0" brushRef="#br0" timeOffset="271">2818 832 14690,'0'-1'1,"-1"1"-27,0-1 20,0 0-21,0 0 28</inkml:trace>
  <inkml:trace contextRef="#ctx0" brushRef="#br0" timeOffset="272">2914 879 9502,'1'0'0,"0"-1"26,0 1 21,0 0 51,0 0-7,-1-1 103,1 1 15,0 0 16,-1 0-28,1 0-27,-1 0-33,1 0 19,-1-1-25,0 1-28,0 0-20,0 0 10,0 0-3,0 0 16,-1 0 18,-1 0 12,0-1-105,0 1 34,-2 0-126,1-1-21,-1 1 37,0 0-61,-1 0 111,1-1-50,-1 1 49,0 0-23,0 0 19,0 0-14,1 0 39,0 0-48,0 0 48,1 0-31,0 0 26,2 0-20,-1 0 20,2 1-3,-1-1 2,1 0 3,1 1-37,-1-1 29,2 0-30,-1 1 4,1-1 21,1 0-29,-1 1 33,0-1 18,1 1-13,0-1 16,0 0-24,1 0 43,-1 0 12,1 0 2,0 0 19,0 0 14,1 0-33,-1 0 40,0-1-50,0 0 1,0 1 7,-1-1 16,0 0-30,-2 0 33,1 0-17,-2 1-121,1-1 31,-1 1-120,-1-1 113,0 1-53,-1 0 29,0 0-2,-2 0-124,1 0 92,0 0-98,-1 0 45,1 0-2,-1 0 38,1 1-18,-1-1 96,1 0-45,0 1 39,0-1-48,1 0 115,-1 1-30,2-1 99,-1 1-94,1-1 191,1 0-82,0 0 133,1 0-94,1 1-141,0-1 57,1 0-94,1 1-288,0 0 60,0 0-237,0 0-292,1 1 538,-1 0-339,1 0 579,-1 1 0,1 1 0</inkml:trace>
  <inkml:trace contextRef="#ctx0" brushRef="#br0" timeOffset="273">2630 877 9502,'-1'0'-911,"0"-1"1088,1 1 35,0 0 306,-1 0-142,1 0-90,-1 0 10,1 0-86,-1 0-15,1 0-41,-1 0-3,0 0 5,-1 0-12,0-1-13,0 1-1,-1 0 1,0 0-57,0 0 43,-1-1-42,1 1-43,-2 0 24,1 0-89,0 0 109,0 0-143,0 0 87,0 1-130,1-1 69,0 1-46,1-1 23,0 0-53,0 0 13,1 0 17,1 1-16,-1-1 44,2 0-29,-1 0 13,1 0-2,1 0-2,1 0 39,-1 0-2,2 1-1,-1-1 36,1 1-33,1 0 31,-1 0-33,1-1 76,0 1-57,0 0 59,0-1 2,-1 1 20,1-1 17,-1 1 45,0-1-54,-1 0 11,0 0-14,-2 0-4,0 0 28,0-1-10,0 1 11,-2 0-11,0-1 34,0 0-16,-1 0-5,-1 1-45,-1-1 13,1 0-1,-1 0-45,0 0-28,0 1-4,0-1-38,0 1 42,0-1-6,1 1 6,0-1-11,-1 1 29,2 0-37,0 0 35,0 0-135,1 0 13,0 0-82,0 0 59,1 0-146,1 0 177,0 1-120,1-1 234,1 1 0,1 0 0</inkml:trace>
  <inkml:trace contextRef="#ctx0" brushRef="#br0" timeOffset="274">2682 944 15496,'1'1'1,"-1"-1"-2</inkml:trace>
  <inkml:trace contextRef="#ctx0" brushRef="#br0" timeOffset="275">2686 946 15495,'0'1'0,"2"0"-2</inkml:trace>
  <inkml:trace contextRef="#ctx0" brushRef="#br0" timeOffset="276">2690 949 15467,'0'0'-7,"2"1"-3,-1-1 5</inkml:trace>
  <inkml:trace contextRef="#ctx0" brushRef="#br0" timeOffset="277">2782 951 15977,'1'-1'-3,"0"0"-45,0 1 37</inkml:trace>
  <inkml:trace contextRef="#ctx0" brushRef="#br0" timeOffset="278">2782 949 15307,'1'0'0</inkml:trace>
  <inkml:trace contextRef="#ctx0" brushRef="#br0" timeOffset="279">2694 951 15419,'0'0'-5,"3"2"4,-1-1-4,0 0 3,1 0-5,-1 0 20,0 0-15,0 0 16,-1-1-10,1 1-6,0-1 8,-1 0-11,1 1 2,0-1 0,-1 0 2,1 0-1,0 0 7,-1 0-5,1 0 5,0 0-23,0 0 13,-1 0-15,1 0-29,0 0 34,0 0-40,-1 1 46,1-1-29,0 0 22,0 0-25,0 0 27,-1 0 21,1 0-16,0 0 17,-1 0-13,1 0-9,-1 0 9,1 0 5,-1 0 21,1 0-8,-1-1 10,1 1 11,-1-1-30,1 0 34,-1 0-41,1 0 18,0 0-12,-1 0 18,1 0-12,0 0-4,-1 0 6,0 0-11</inkml:trace>
  <inkml:trace contextRef="#ctx0" brushRef="#br0" timeOffset="280">2705 951 16750,'1'1'-9,"0"-1"19,0 1-17,0-1 17,0 1-21,-1-1 0,1 0 1,0 1 1,0-1 20,0 1-13,0-1 16,-1 0-19,1 0-30,0 0 22,0 1-23,-1-1 30,1 0-38,-1 0 27,1 0-31,-1 0 37,1 1-5,0-1 3,-1 0-8,1 0 34,-1 0-24,1 0 23,0 1-16,0-1-10,-1 0 11,1 0-7,0 0-42,0 0 36,-1 1-36,1-1 45,0 0-37,0 0 25,0 1-26,-1-1 47,1 0-13,0 0 7,0 1-15,0-1 17,0 0-11,0 0 14,-1 1 16,1-1-25,0 0 27,0 0-29,0 0 12,-1 0 0,1 0 3,0 0-2,0 0 5,0 0-2,0 0 4,0 0-2,0 0-6,0-1 7,0 1-14,0 0 6,0-1-8,0 1 8,0 0-56,0-1 40,1 1-43,-1 0 52,0 0 0,0-1-3,0 1 1,0 0-5,0 0-1,0 0-3,1-1 1,-1 1-3,0 0 24,0-1-20,0 1 20,0 0 6,0-1-16,0 1 24,0-1-32,0 0 8,0 1-4,0-1 4,0 1 4,0-1-4,0 0 3</inkml:trace>
  <inkml:trace contextRef="#ctx0" brushRef="#br0" timeOffset="281">2652 962 9502,'2'-1'-268,"-2"1"247,1 0 27,0-1 42,-1 1 1,1 0 155,-1-1-19,1 1 99,-1-1-97,1 1 40,-1 0-49,0-1 1,1 1-10,-1 0 75,0 0-141,0 0 70,-1 0-97,0 1-87,0 0 86,0 0-112,-1 0-18,0 1 8,0 1-38,-1-1 64,0 1-33,0 1 30,-1-1-41,1 1 41,-1 0-44,0-1 64,0 1-33,0 0 42,1-1-8,0 0-9,0-1-6,1-1 65,1 0-42,0-1 181,1 0-82,0 0 132,0 0-132,2-1-25,-1 0-51,1-1 0,0 0 18,1 1-22,-1-1 14,1 0-14,0 0 28,-1 1-44,1-2-22,0 2-1,-1-1-29,0 0 63,0 0-24,1 0-39,-2 0 53,1 0-63,-1 0 66,1 0-73,-2 0-5,1 0-8,0 1 17,-1 0-40,0 1 23,0 0-97,0-1 94,-1 2 12,0-1 41,0 1-8,-1 0-55,1 1 16,-1 0-20,0 0 79,-1 1-24,1 0 18,-1 0-32,1 0 57,-1 0 25,1 0 15,0 0-21,-1 0 67,1 0-34,0 0 118,1-1-115,-1-1 115,2 0-77,-1 0 104,1-1-24,0 0-64,1-1 1,1 0-118,0-1 60,2-1-49,-1-1 85,0 0-127,1 1 32,0-1-104,-1 0 82,1 1-59,-2 0 45,1 0-62,-1 0 32,0 1-298,-1 1 62,0 0-73,-1 1 178,0 1 197,0 0 0,0 0 0</inkml:trace>
  <inkml:trace contextRef="#ctx0" brushRef="#br0" timeOffset="282">2824 962 9502,'0'-1'158,"0"1"-12,-1 0 47,1 0 61,0 0 812,0-1-610,1 2 533,-1-1-840,0 0 7,1 2-18,0-1 33,1 0-68,0 1 36,1 0-40,-1 0 33,1 1-54,0-1 3,1 1-15,-1 0 26,1 0-137,-1 0 39,0 0-123,-1-1-40,0 1 64,0-1-65,-1 0 50,0-1 33,0 1-16,-1-2 0,1 1-177,-1-1 127,0 0-146,-1 0 194,1-1-3,0 0 33,-1 0 63,1 0 32,-1-1 6,0 0-24,0 0 6,0 0-52,0-1 69,0 1-69,-1-1-16,0 0 8,1 1-31,-1-1 37,0 0 2,0 1 13,1-1-8,-1 1-2,0 0-21,0 0 18,1 1 22,-1-1-12,1 2 15,0-1-31,0 0 86,1 1-19,-1 0 306,1 0-118,0 0 139,0 0-165,0 0-55,1 1-24,-1 0-20,1 0-50,1 1 38,-1 0-42,0 0 96,1 0-104,0 0 9,0 1-27,0-1 12,-1 1 111,1-1-57,0 1 45,0-1-107,-1 0 39,0 1-39,1-1-97,-2-1 29,1 1-118,0-1 135,-1 0-179,0-1 104,0 0-127,0 0 69,0 0-379,-1 0 361,1-2-295,-1 0 493,0 0 0,0-1 0</inkml:trace>
  <inkml:trace contextRef="#ctx0" brushRef="#br0" timeOffset="283">2739 994 9502,'0'-1'-576,"0"0"427,1 1 313,-1-1-18,0 1 216,0 0 123,0-1-239,0 2 150,1-1-196,-2 1 4,1 0 10,0 1 14,0-1-45,-1 1 0,0 1 76,0 0-34,0-1 11,1 2-33,-1-1-79,0 1 5,1-1 10,0 2-4,-1-1-81,1 0 8,0-1-80,0 1 91,0-1-126,0-1 55,1 0-85,-1 0-129,1-1 98,-1-1-133,1 1-44,-1-1 69,0-1-75,1 1 98,-1-1 49,1-1-20,-1 0 21,0 0 14,0-1 49,0 0-3,1 0 18,-1 0 41,0-1 25,0 1 8,0-1 88,0 1-79,0-1 97,0 1-79,0 0 110,0 0-59,0 0 85,0 1-65,0-1 50,0 2-30,0 0 98,0 1-54,0 0-21,-1 1-15,1 1-65,0 0 33,-1 1-25,0 1 29,1-1 29,-1 2-25,1-1 26,-1 0-60,1 0 5,-1 0-7,1 0 10,-1 0-160,1-1 37,0 0-104,0-1 80,0 0-432,0-1 114,0 0-161,0 0 300,1-1 247,0-1 0,0 0 0</inkml:trace>
</inkml:ink>
</file>

<file path=ppt/notesMasters/_rels/notesMaster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22275" y="28257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297399" y="3916113"/>
            <a:ext cx="6172981" cy="4901681"/>
          </a:xfrm>
          <a:prstGeom prst="rect">
            <a:avLst/>
          </a:prstGeom>
        </p:spPr>
        <p:txBody>
          <a:bodyPr vert="horz" lIns="0" tIns="0" rIns="0" bIns="0" rtlCol="0"/>
          <a:lstStyle/>
          <a:p>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Foliennummernplatzhalter 6"/>
          <p:cNvSpPr>
            <a:spLocks noGrp="1"/>
          </p:cNvSpPr>
          <p:nvPr>
            <p:ph type="sldNum" sz="quarter" idx="5"/>
          </p:nvPr>
        </p:nvSpPr>
        <p:spPr>
          <a:xfrm>
            <a:off x="103482" y="9395133"/>
            <a:ext cx="428200" cy="332191"/>
          </a:xfrm>
          <a:prstGeom prst="rect">
            <a:avLst/>
          </a:prstGeom>
        </p:spPr>
        <p:txBody>
          <a:bodyPr vert="horz" lIns="0" tIns="0" rIns="0" bIns="0" rtlCol="0" anchor="ctr"/>
          <a:lstStyle>
            <a:lvl1pPr>
              <a:defRPr lang="de-DE" sz="1000" b="1">
                <a:solidFill>
                  <a:schemeClr val="tx2"/>
                </a:solidFill>
                <a:cs typeface="Arial" panose="020B0604020202020204" pitchFamily="34" charset="0"/>
              </a:defRPr>
            </a:lvl1pPr>
          </a:lstStyle>
          <a:p>
            <a:pPr algn="r"/>
            <a:fld id="{7D817C07-CE16-5C41-9ABD-94C73CEF6061}" type="slidenum">
              <a:rPr lang="de-DE"/>
              <a:pPr algn="r"/>
              <a:t>‹#›</a:t>
            </a:fld>
            <a:endParaRPr lang="de-DE"/>
          </a:p>
        </p:txBody>
      </p:sp>
      <p:sp>
        <p:nvSpPr>
          <p:cNvPr id="15" name="Fußzeilenplatzhalter 14"/>
          <p:cNvSpPr>
            <a:spLocks noGrp="1"/>
          </p:cNvSpPr>
          <p:nvPr>
            <p:ph type="ftr" sz="quarter" idx="4"/>
          </p:nvPr>
        </p:nvSpPr>
        <p:spPr>
          <a:xfrm>
            <a:off x="585207" y="9395133"/>
            <a:ext cx="2719070" cy="332191"/>
          </a:xfrm>
          <a:prstGeom prst="rect">
            <a:avLst/>
          </a:prstGeom>
        </p:spPr>
        <p:txBody>
          <a:bodyPr vert="horz" lIns="0" tIns="0" rIns="0" bIns="0" rtlCol="0" anchor="ctr"/>
          <a:lstStyle>
            <a:lvl1pPr>
              <a:defRPr lang="de-DE" sz="1000">
                <a:solidFill>
                  <a:schemeClr val="accent1"/>
                </a:solidFill>
                <a:cs typeface="Arial" panose="020B0604020202020204" pitchFamily="34" charset="0"/>
              </a:defRPr>
            </a:lvl1pPr>
          </a:lstStyle>
          <a:p>
            <a:r>
              <a:rPr lang="de-DE"/>
              <a:t>Name | Abteilung | 30. Januar 2019</a:t>
            </a:r>
          </a:p>
        </p:txBody>
      </p:sp>
      <p:pic>
        <p:nvPicPr>
          <p:cNvPr id="16" name="Grafik 15">
            <a:extLst>
              <a:ext uri="{FF2B5EF4-FFF2-40B4-BE49-F238E27FC236}">
                <a16:creationId xmlns:a16="http://schemas.microsoft.com/office/drawing/2014/main" id="{45305254-F1F9-7548-8E41-35654082BEAC}"/>
              </a:ext>
            </a:extLst>
          </p:cNvPr>
          <p:cNvPicPr>
            <a:picLocks noChangeAspect="1"/>
          </p:cNvPicPr>
          <p:nvPr/>
        </p:nvPicPr>
        <p:blipFill>
          <a:blip r:embed="rId2"/>
          <a:stretch>
            <a:fillRect/>
          </a:stretch>
        </p:blipFill>
        <p:spPr>
          <a:xfrm>
            <a:off x="6042180" y="9144273"/>
            <a:ext cx="428200" cy="468975"/>
          </a:xfrm>
          <a:prstGeom prst="rect">
            <a:avLst/>
          </a:prstGeom>
        </p:spPr>
      </p:pic>
    </p:spTree>
    <p:extLst>
      <p:ext uri="{BB962C8B-B14F-4D97-AF65-F5344CB8AC3E}">
        <p14:creationId xmlns:p14="http://schemas.microsoft.com/office/powerpoint/2010/main" val="3980741054"/>
      </p:ext>
    </p:extLst>
  </p:cSld>
  <p:clrMap bg1="lt1" tx1="dk1" bg2="lt2" tx2="dk2" accent1="accent1" accent2="accent2" accent3="accent3" accent4="accent4" accent5="accent5" accent6="accent6" hlink="hlink" folHlink="folHlink"/>
  <p:hf hdr="0" dt="0"/>
  <p:notesStyle>
    <a:lvl1pPr marL="0" algn="l" defTabSz="914400" rtl="0" eaLnBrk="1" latinLnBrk="0" hangingPunct="1">
      <a:spcBef>
        <a:spcPts val="600"/>
      </a:spcBef>
      <a:spcAft>
        <a:spcPts val="600"/>
      </a:spcAft>
      <a:defRPr sz="1200" b="1" kern="1200">
        <a:solidFill>
          <a:schemeClr val="tx1"/>
        </a:solidFill>
        <a:latin typeface="+mn-lt"/>
        <a:ea typeface="+mn-ea"/>
        <a:cs typeface="+mn-cs"/>
      </a:defRPr>
    </a:lvl1pPr>
    <a:lvl2pPr marL="0" algn="l" defTabSz="914400" rtl="0" eaLnBrk="1" latinLnBrk="0" hangingPunct="1">
      <a:spcAft>
        <a:spcPts val="600"/>
      </a:spcAft>
      <a:defRPr sz="1200" kern="1200">
        <a:solidFill>
          <a:schemeClr val="tx1"/>
        </a:solidFill>
        <a:latin typeface="+mn-lt"/>
        <a:ea typeface="+mn-ea"/>
        <a:cs typeface="+mn-cs"/>
      </a:defRPr>
    </a:lvl2pPr>
    <a:lvl3pPr marL="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3pPr>
    <a:lvl4pPr marL="288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4pPr>
    <a:lvl5pPr marL="432000" indent="-144000" algn="l" defTabSz="914400" rtl="0" eaLnBrk="1" latinLnBrk="0" hangingPunct="1">
      <a:spcBef>
        <a:spcPts val="500"/>
      </a:spcBef>
      <a:buClr>
        <a:schemeClr val="tx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87" userDrawn="1">
          <p15:clr>
            <a:srgbClr val="F26B43"/>
          </p15:clr>
        </p15:guide>
        <p15:guide id="2" pos="4076" userDrawn="1">
          <p15:clr>
            <a:srgbClr val="F26B43"/>
          </p15:clr>
        </p15:guide>
        <p15:guide id="3" orient="horz" pos="17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FD5969E-888D-4AB3-AD1E-51055D1CDD45}" type="slidenum">
              <a:rPr lang="de-DE" smtClean="0"/>
              <a:t>1</a:t>
            </a:fld>
            <a:endParaRPr lang="de-DE" dirty="0"/>
          </a:p>
        </p:txBody>
      </p:sp>
    </p:spTree>
    <p:extLst>
      <p:ext uri="{BB962C8B-B14F-4D97-AF65-F5344CB8AC3E}">
        <p14:creationId xmlns:p14="http://schemas.microsoft.com/office/powerpoint/2010/main" val="37143946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gebnisse auf Slido? Wasserloos absprechen, LIVE Umfrage.</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5</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23997946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gebnisse auf Slido? Wasserloos absprechen, LIVE Umfrage.</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7</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36599170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dirty="0"/>
              <a:t>An essential factor for our success is that we are at home all over the world with more than </a:t>
            </a:r>
            <a:r>
              <a:rPr lang="en-US" b="1" dirty="0"/>
              <a:t>80 operating subsidiaries</a:t>
            </a:r>
            <a:r>
              <a:rPr lang="en-US" b="0" dirty="0"/>
              <a:t>. Outside Europe, we are very strong in America and very well positioned in the Asian market. </a:t>
            </a:r>
          </a:p>
          <a:p>
            <a:endParaRPr lang="en-US" b="0" dirty="0"/>
          </a:p>
          <a:p>
            <a:r>
              <a:rPr lang="en-US" b="0" dirty="0"/>
              <a:t>TRUMPF has production sites in China, Germany, France, Great Britain, Italy, Mexico, Austria, Poland, Switzerland, the Czech Republic and the USA. </a:t>
            </a:r>
          </a:p>
          <a:p>
            <a:endParaRPr lang="en-US" b="0" dirty="0"/>
          </a:p>
          <a:p>
            <a:r>
              <a:rPr lang="en-US" b="0" dirty="0"/>
              <a:t>These locations form the </a:t>
            </a:r>
            <a:r>
              <a:rPr lang="en-US" b="1" dirty="0"/>
              <a:t>TRUMPF production network</a:t>
            </a:r>
            <a:r>
              <a:rPr lang="en-US" b="0" dirty="0"/>
              <a:t>, a central component of our manufacturing organization. TRUMPF manufactures assemblies for certain machine series exclusively at one location and supplies them to other TRUMPF companies worldwide. The TRUMPF SYNCHRO production system has been introduced at almost all production sites.</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8</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23593813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20</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3459770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pPr>
            <a:r>
              <a:rPr lang="de-DE" sz="1200" b="1" dirty="0">
                <a:effectLst/>
                <a:latin typeface="Arial" panose="020B0604020202020204" pitchFamily="34" charset="0"/>
                <a:ea typeface="Calibri" panose="020F0502020204030204" pitchFamily="34" charset="0"/>
              </a:rPr>
              <a:t>Kernaussage</a:t>
            </a:r>
            <a:r>
              <a:rPr lang="de-DE" sz="1200" dirty="0">
                <a:effectLst/>
                <a:latin typeface="Arial" panose="020B0604020202020204" pitchFamily="34" charset="0"/>
                <a:ea typeface="Calibri" panose="020F0502020204030204" pitchFamily="34" charset="0"/>
              </a:rPr>
              <a:t>: </a:t>
            </a:r>
          </a:p>
          <a:p>
            <a:pPr>
              <a:lnSpc>
                <a:spcPct val="107000"/>
              </a:lnSpc>
            </a:pPr>
            <a:r>
              <a:rPr lang="de-DE" sz="1200" dirty="0">
                <a:effectLst/>
                <a:latin typeface="Arial" panose="020B0604020202020204" pitchFamily="34" charset="0"/>
                <a:ea typeface="Calibri" panose="020F0502020204030204" pitchFamily="34" charset="0"/>
              </a:rPr>
              <a:t>- </a:t>
            </a:r>
            <a:r>
              <a:rPr lang="de-DE" sz="1200" dirty="0"/>
              <a:t>SYNCHRO ist fester Bestandteil unserer Unternehmensphilosophie und gehört zur DNA von TRUMPF</a:t>
            </a:r>
            <a:endParaRPr lang="de-DE" sz="1200" dirty="0">
              <a:effectLst/>
              <a:latin typeface="Arial" panose="020B0604020202020204" pitchFamily="34" charset="0"/>
              <a:ea typeface="Calibri" panose="020F0502020204030204" pitchFamily="34" charset="0"/>
            </a:endParaRPr>
          </a:p>
          <a:p>
            <a:pPr>
              <a:lnSpc>
                <a:spcPct val="107000"/>
              </a:lnSpc>
            </a:pPr>
            <a:r>
              <a:rPr lang="de-DE" sz="1200" dirty="0">
                <a:effectLst/>
                <a:latin typeface="Arial" panose="020B0604020202020204" pitchFamily="34" charset="0"/>
                <a:ea typeface="Calibri" panose="020F0502020204030204" pitchFamily="34" charset="0"/>
              </a:rPr>
              <a:t> </a:t>
            </a:r>
          </a:p>
          <a:p>
            <a:pPr>
              <a:lnSpc>
                <a:spcPct val="107000"/>
              </a:lnSpc>
            </a:pPr>
            <a:r>
              <a:rPr lang="de-DE" sz="1200" b="1" dirty="0">
                <a:effectLst/>
                <a:latin typeface="Arial" panose="020B0604020202020204" pitchFamily="34" charset="0"/>
                <a:ea typeface="Calibri" panose="020F0502020204030204" pitchFamily="34" charset="0"/>
              </a:rPr>
              <a:t>Informationen</a:t>
            </a:r>
            <a:r>
              <a:rPr lang="de-DE" sz="1200" dirty="0">
                <a:effectLst/>
                <a:latin typeface="Arial" panose="020B0604020202020204" pitchFamily="34" charset="0"/>
                <a:ea typeface="Calibri" panose="020F0502020204030204" pitchFamily="34" charset="0"/>
              </a:rPr>
              <a:t> zur Folie: </a:t>
            </a:r>
          </a:p>
          <a:p>
            <a:pPr marL="457200" indent="-457200">
              <a:buFontTx/>
              <a:buChar char="-"/>
            </a:pPr>
            <a:r>
              <a:rPr lang="de-DE" sz="1200" dirty="0">
                <a:solidFill>
                  <a:schemeClr val="tx1"/>
                </a:solidFill>
              </a:rPr>
              <a:t>1. </a:t>
            </a:r>
            <a:r>
              <a:rPr lang="de-DE" sz="1200" b="1" dirty="0">
                <a:solidFill>
                  <a:schemeClr val="tx1"/>
                </a:solidFill>
              </a:rPr>
              <a:t>Lean Management System</a:t>
            </a:r>
            <a:r>
              <a:rPr lang="de-DE" sz="1200" dirty="0">
                <a:solidFill>
                  <a:schemeClr val="tx1"/>
                </a:solidFill>
              </a:rPr>
              <a:t>: SYNCHRO ist das Lean Management System von TRUMPF; wer Kenntnisse zu Lean Management hat findet diese bei SYNCHRO wieder, Grundgedanken sind die selben</a:t>
            </a:r>
          </a:p>
          <a:p>
            <a:pPr marL="457200" indent="-457200">
              <a:buFontTx/>
              <a:buChar char="-"/>
            </a:pPr>
            <a:r>
              <a:rPr lang="de-DE" sz="1200" dirty="0">
                <a:solidFill>
                  <a:schemeClr val="tx1"/>
                </a:solidFill>
              </a:rPr>
              <a:t>2. </a:t>
            </a:r>
            <a:r>
              <a:rPr lang="de-DE" sz="1200" b="1" dirty="0">
                <a:solidFill>
                  <a:schemeClr val="tx1"/>
                </a:solidFill>
              </a:rPr>
              <a:t>TOYOTA Produktionssystem</a:t>
            </a:r>
            <a:r>
              <a:rPr lang="de-DE" sz="1200" dirty="0">
                <a:solidFill>
                  <a:schemeClr val="tx1"/>
                </a:solidFill>
              </a:rPr>
              <a:t>: </a:t>
            </a:r>
          </a:p>
          <a:p>
            <a:pPr marL="914400" lvl="1" indent="-457200">
              <a:buFontTx/>
              <a:buChar char="-"/>
            </a:pPr>
            <a:r>
              <a:rPr lang="de-DE" sz="1200" dirty="0">
                <a:solidFill>
                  <a:schemeClr val="tx1"/>
                </a:solidFill>
              </a:rPr>
              <a:t>Ressourcenknappheit (Material &amp; Kapital) nach 2. Weltkrieg zwangen Toyota dazu anders zu produzieren</a:t>
            </a:r>
          </a:p>
          <a:p>
            <a:pPr marL="914400" lvl="1" indent="-457200">
              <a:buFontTx/>
              <a:buChar char="-"/>
            </a:pPr>
            <a:r>
              <a:rPr lang="de-DE" sz="1200" dirty="0">
                <a:solidFill>
                  <a:schemeClr val="tx1"/>
                </a:solidFill>
              </a:rPr>
              <a:t>1990er Jahre Studie von MIT: Vergleich amerikanische, europäische und japanische Automobilherstelle zeigt, dass japanische – v.a. Toyota – viel besser bei Qualität und Produktivität sind als westliche Konkurrenz und gleichzeitig geringeren Aufwand haben</a:t>
            </a:r>
          </a:p>
          <a:p>
            <a:pPr marL="914400" marR="0" lvl="1" indent="-457200" algn="l" defTabSz="914400" rtl="0" eaLnBrk="1" fontAlgn="auto" latinLnBrk="0" hangingPunct="1">
              <a:lnSpc>
                <a:spcPct val="100000"/>
              </a:lnSpc>
              <a:spcBef>
                <a:spcPts val="0"/>
              </a:spcBef>
              <a:spcAft>
                <a:spcPts val="0"/>
              </a:spcAft>
              <a:buClrTx/>
              <a:buSzTx/>
              <a:buFontTx/>
              <a:buChar char="-"/>
              <a:tabLst/>
              <a:defRPr/>
            </a:pPr>
            <a:r>
              <a:rPr lang="de-DE" sz="1200" dirty="0">
                <a:solidFill>
                  <a:schemeClr val="tx1"/>
                </a:solidFill>
              </a:rPr>
              <a:t>Wirtschaftskrise in 1990er Jahre Maschinenbau und somit auch TRUMPF hart getroffen (hohe Verluste, Entlassungen, etc.)</a:t>
            </a:r>
          </a:p>
          <a:p>
            <a:pPr marL="914400" lvl="1" indent="-457200">
              <a:buFontTx/>
              <a:buChar char="-"/>
            </a:pPr>
            <a:r>
              <a:rPr lang="de-DE" sz="1200" dirty="0">
                <a:solidFill>
                  <a:schemeClr val="tx1"/>
                </a:solidFill>
              </a:rPr>
              <a:t>Suche vieler Unternehmen nach Alternative brachte Firmen auf den Lean-Ansatz von Toyota</a:t>
            </a:r>
          </a:p>
          <a:p>
            <a:pPr marL="457200" indent="-457200">
              <a:buFontTx/>
              <a:buChar char="-"/>
            </a:pPr>
            <a:r>
              <a:rPr lang="de-DE" sz="1200" b="1" dirty="0">
                <a:solidFill>
                  <a:schemeClr val="tx1"/>
                </a:solidFill>
              </a:rPr>
              <a:t>1998</a:t>
            </a:r>
            <a:r>
              <a:rPr lang="de-DE" sz="1200" dirty="0">
                <a:solidFill>
                  <a:schemeClr val="tx1"/>
                </a:solidFill>
              </a:rPr>
              <a:t>: 2 Werkleitern besuchen Seminar von jap. Lean-Experte Hiroshi Takeda und sind davon sehr begeistert; darauf folgt Workshop bei TRUMPF mit Hr. Takeda </a:t>
            </a:r>
            <a:r>
              <a:rPr lang="de-DE" sz="1200" dirty="0">
                <a:solidFill>
                  <a:schemeClr val="tx1"/>
                </a:solidFill>
                <a:sym typeface="Wingdings" panose="05000000000000000000" pitchFamily="2" charset="2"/>
              </a:rPr>
              <a:t></a:t>
            </a:r>
            <a:r>
              <a:rPr lang="de-DE" sz="1200" dirty="0">
                <a:solidFill>
                  <a:schemeClr val="tx1"/>
                </a:solidFill>
              </a:rPr>
              <a:t>Startschuss von Lean bei TRUMPF</a:t>
            </a:r>
          </a:p>
          <a:p>
            <a:pPr marL="457200" indent="-457200">
              <a:buFontTx/>
              <a:buChar char="-"/>
            </a:pPr>
            <a:r>
              <a:rPr lang="de-DE" sz="1200" b="1" dirty="0">
                <a:solidFill>
                  <a:schemeClr val="tx1"/>
                </a:solidFill>
              </a:rPr>
              <a:t>Optimale Abstimmung</a:t>
            </a:r>
            <a:r>
              <a:rPr lang="de-DE" sz="1200" dirty="0">
                <a:solidFill>
                  <a:schemeClr val="tx1"/>
                </a:solidFill>
              </a:rPr>
              <a:t>: Alles (Prozesse, Mensch, Methode, Material, Markt, etc.) müssen optimal aufeinander abgestimmt sein und ineinandergreifen (wie Zahnräder)</a:t>
            </a:r>
          </a:p>
          <a:p>
            <a:pPr marL="457200" indent="-457200">
              <a:buFontTx/>
              <a:buChar char="-"/>
            </a:pPr>
            <a:r>
              <a:rPr lang="de-DE" sz="1200" b="1" dirty="0">
                <a:solidFill>
                  <a:schemeClr val="tx1"/>
                </a:solidFill>
              </a:rPr>
              <a:t>Kunde im Mittelpunkt</a:t>
            </a:r>
            <a:r>
              <a:rPr lang="de-DE" sz="1200" dirty="0">
                <a:solidFill>
                  <a:schemeClr val="tx1"/>
                </a:solidFill>
              </a:rPr>
              <a:t>: Kunde steht im Mittelpunkt und wir richten uns / unsere Prozesse auf ihn aus und machen das, was der Kunde möchte, d.h. wir produzieren nur das, was der Kunde auch bestellt und nicht mehr; Kunde definiert die Wertschöpfung und somit auch was Verschwendung ist</a:t>
            </a:r>
          </a:p>
          <a:p>
            <a:pPr marL="457200" indent="-457200">
              <a:buFontTx/>
              <a:buChar char="-"/>
            </a:pPr>
            <a:r>
              <a:rPr lang="de-DE" sz="1200" b="1" dirty="0">
                <a:solidFill>
                  <a:schemeClr val="tx1"/>
                </a:solidFill>
              </a:rPr>
              <a:t>Kulturelle Veränderung</a:t>
            </a:r>
            <a:r>
              <a:rPr lang="de-DE" sz="1200" dirty="0">
                <a:solidFill>
                  <a:schemeClr val="tx1"/>
                </a:solidFill>
              </a:rPr>
              <a:t>: die Einführung von SYNCHRO aber auch noch die heutigen Veränderungen bedeuten eine kulturelle Veränderung, da wir Dinge anders machen als zuvor; bspw. wollen wir eine offene Fehlerkultur in der Fehler transparent gemacht und offen angesprochen und nicht vertuscht werden</a:t>
            </a:r>
          </a:p>
          <a:p>
            <a:pPr>
              <a:lnSpc>
                <a:spcPct val="107000"/>
              </a:lnSpc>
            </a:pPr>
            <a:r>
              <a:rPr lang="de-DE" sz="1200" dirty="0">
                <a:effectLst/>
                <a:latin typeface="Arial" panose="020B0604020202020204" pitchFamily="34" charset="0"/>
                <a:ea typeface="Calibri" panose="020F0502020204030204" pitchFamily="34" charset="0"/>
              </a:rPr>
              <a:t> </a:t>
            </a:r>
          </a:p>
          <a:p>
            <a:pPr>
              <a:lnSpc>
                <a:spcPct val="107000"/>
              </a:lnSpc>
            </a:pPr>
            <a:r>
              <a:rPr lang="de-DE" sz="1200" b="1" dirty="0">
                <a:effectLst/>
                <a:latin typeface="Arial" panose="020B0604020202020204" pitchFamily="34" charset="0"/>
                <a:ea typeface="Calibri" panose="020F0502020204030204" pitchFamily="34" charset="0"/>
              </a:rPr>
              <a:t>Zusätzliche Infos &amp; Hinweise</a:t>
            </a:r>
            <a:r>
              <a:rPr lang="de-DE" sz="1200" dirty="0">
                <a:effectLst/>
                <a:latin typeface="Arial" panose="020B0604020202020204" pitchFamily="34" charset="0"/>
                <a:ea typeface="Calibri" panose="020F0502020204030204" pitchFamily="34" charset="0"/>
              </a:rPr>
              <a:t>: </a:t>
            </a:r>
          </a:p>
          <a:p>
            <a:pPr marL="171450" indent="-171450">
              <a:lnSpc>
                <a:spcPct val="107000"/>
              </a:lnSpc>
              <a:buFontTx/>
              <a:buChar char="-"/>
            </a:pPr>
            <a:r>
              <a:rPr lang="de-DE" sz="1200" dirty="0">
                <a:effectLst/>
                <a:latin typeface="Arial" panose="020B0604020202020204" pitchFamily="34" charset="0"/>
                <a:ea typeface="Calibri" panose="020F0502020204030204" pitchFamily="34" charset="0"/>
              </a:rPr>
              <a:t>Folie ist animiert und folgt einer Logik, die nach Möglichkeit nicht verändert werden sollte (wenn notwendig kann die Reihenfolge verändert werden)</a:t>
            </a:r>
          </a:p>
          <a:p>
            <a:pPr marL="171450" indent="-171450">
              <a:lnSpc>
                <a:spcPct val="107000"/>
              </a:lnSpc>
              <a:buFontTx/>
              <a:buChar char="-"/>
            </a:pPr>
            <a:endParaRPr lang="de-DE" sz="1200" dirty="0">
              <a:effectLst/>
              <a:latin typeface="Arial" panose="020B0604020202020204" pitchFamily="34" charset="0"/>
              <a:ea typeface="Calibri" panose="020F0502020204030204" pitchFamily="34" charset="0"/>
            </a:endParaRP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algn="l"/>
            <a:r>
              <a:rPr lang="de-DE" sz="1200" b="0" i="0" dirty="0">
                <a:solidFill>
                  <a:srgbClr val="000000"/>
                </a:solidFill>
                <a:effectLst/>
                <a:latin typeface="Frutiger"/>
              </a:rPr>
              <a:t>SYNCHRO nennen wir unser 1998 eingeführtes Wertschöpfungssystem. Dieses System liegt allen unseren Geschäftsprozessen zugrunde und dient dazu, die Zufriedenheit unserer Kunden sicher zu stellen.</a:t>
            </a:r>
          </a:p>
          <a:p>
            <a:pPr algn="l"/>
            <a:r>
              <a:rPr lang="de-DE" sz="1200" b="0" i="0" dirty="0">
                <a:solidFill>
                  <a:srgbClr val="000000"/>
                </a:solidFill>
                <a:effectLst/>
                <a:latin typeface="Frutiger"/>
              </a:rPr>
              <a:t>Um unsere Arbeit bestmöglich auf die Bedürfnisse unserer Kunden auszurichten, benötigen wir nicht nur exzellente Prozesse, sondern auch Exzellenz im Management und Verhaltensexzellenz. Das Wertschöpfungssystem SYNCHRO nutzen wir, um uns kontinuierlich zu verbessern und möglichst effizient bestmögliche Ergebnisse zu erzielen.</a:t>
            </a:r>
          </a:p>
          <a:p>
            <a:pPr algn="l"/>
            <a:r>
              <a:rPr lang="de-DE" sz="1200" b="0" i="0" dirty="0">
                <a:solidFill>
                  <a:srgbClr val="000000"/>
                </a:solidFill>
                <a:effectLst/>
                <a:latin typeface="Frutiger"/>
              </a:rPr>
              <a:t>Das Prinzip hinter SYNCHRO lautet Exzellenz durch Transparenz: Wir wollen wirtschaftlich, technologisch und menschlich vorbildlich sein und bleiben. Eine Kultur des ständigen Verbesserns – das ist SYNCHRO auf einen kurzen Nenner gebracht.</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endParaRPr lang="de-DE" sz="1200" dirty="0"/>
          </a:p>
        </p:txBody>
      </p:sp>
      <p:sp>
        <p:nvSpPr>
          <p:cNvPr id="4" name="Foliennummernplatzhalter 3"/>
          <p:cNvSpPr>
            <a:spLocks noGrp="1"/>
          </p:cNvSpPr>
          <p:nvPr>
            <p:ph type="sldNum" sz="quarter" idx="10"/>
          </p:nvPr>
        </p:nvSpPr>
        <p:spPr/>
        <p:txBody>
          <a:bodyPr/>
          <a:lstStyle/>
          <a:p>
            <a:pPr algn="r"/>
            <a:fld id="{7D817C07-CE16-5C41-9ABD-94C73CEF6061}" type="slidenum">
              <a:rPr lang="de-DE" smtClean="0"/>
              <a:pPr algn="r"/>
              <a:t>2</a:t>
            </a:fld>
            <a:endParaRPr lang="de-DE" dirty="0"/>
          </a:p>
        </p:txBody>
      </p:sp>
      <p:sp>
        <p:nvSpPr>
          <p:cNvPr id="5" name="Fußzeilenplatzhalter 4"/>
          <p:cNvSpPr>
            <a:spLocks noGrp="1"/>
          </p:cNvSpPr>
          <p:nvPr>
            <p:ph type="ftr" sz="quarter" idx="11"/>
          </p:nvPr>
        </p:nvSpPr>
        <p:spPr/>
        <p:txBody>
          <a:bodyPr/>
          <a:lstStyle/>
          <a:p>
            <a:r>
              <a:rPr lang="de-DE" dirty="0"/>
              <a:t>Name | Abteilung | 30. Januar 2019</a:t>
            </a:r>
          </a:p>
        </p:txBody>
      </p:sp>
    </p:spTree>
    <p:extLst>
      <p:ext uri="{BB962C8B-B14F-4D97-AF65-F5344CB8AC3E}">
        <p14:creationId xmlns:p14="http://schemas.microsoft.com/office/powerpoint/2010/main" val="1327107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pPr>
            <a:endParaRPr lang="de-DE" sz="1200" dirty="0">
              <a:effectLst/>
              <a:latin typeface="Arial" panose="020B0604020202020204" pitchFamily="34" charset="0"/>
              <a:ea typeface="Calibri" panose="020F0502020204030204" pitchFamily="34" charset="0"/>
            </a:endParaRPr>
          </a:p>
          <a:p>
            <a:pPr>
              <a:lnSpc>
                <a:spcPct val="107000"/>
              </a:lnSpc>
            </a:pPr>
            <a:r>
              <a:rPr lang="de-DE" sz="1200" b="1" dirty="0">
                <a:effectLst/>
                <a:latin typeface="Arial" panose="020B0604020202020204" pitchFamily="34" charset="0"/>
                <a:ea typeface="Calibri" panose="020F0502020204030204" pitchFamily="34" charset="0"/>
              </a:rPr>
              <a:t>Informationen</a:t>
            </a:r>
            <a:r>
              <a:rPr lang="de-DE" sz="1200" dirty="0">
                <a:effectLst/>
                <a:latin typeface="Arial" panose="020B0604020202020204" pitchFamily="34" charset="0"/>
                <a:ea typeface="Calibri" panose="020F0502020204030204" pitchFamily="34" charset="0"/>
              </a:rPr>
              <a:t> zur Folie: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Im Folgenden wird die Vorgehensweise für den Aufbau der Folie am Flip erklärt; F: = Frage; A: Antwort, die die Teilnehmer geben sollte bzw. Info des Trainers an die Teilnehmer; Z = was wird am Flipchart eingezeichne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für oder für wen arbeiten wird?</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Leben und Arbeiten in System, dessen Existenz darauf beruht die Erwartungen und Bedürfnisse eines Kunden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unde auf rechte Seite einzeichnen (bspw. durch Krone)</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definiert der Kunde, was er möcht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r definiert seine Erwartungen, bewusst oder unbewusst, im Spannungsfeld Qualität, Kosten und Zeit </a:t>
            </a:r>
            <a:r>
              <a:rPr lang="de-DE" sz="1200" dirty="0">
                <a:effectLst/>
                <a:latin typeface="Arial" panose="020B0604020202020204" pitchFamily="34" charset="0"/>
                <a:ea typeface="Calibri" panose="020F0502020204030204" pitchFamily="34" charset="0"/>
                <a:sym typeface="Wingdings" panose="05000000000000000000" pitchFamily="2" charset="2"/>
              </a:rPr>
              <a:t> will Produkt zu bestimmten Termin, in bestimmter Qualität und ist dafür bereit einen bestimmten Preis zu bezahlen  Wunsch des Kunden</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Dreieck Q – K – Z um Kunde herum einzeichnen</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treffen die Anforderungen / Kundenwünsche bei uns ein? Gleichmäßig, also jeden Tag genau 10 Bestellun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Anforderungen / Bestellungen treffen tlw. stark schwanken auf unser System, sprich an einem Tag 1 Bestellung, am nächsten 100, dann 30, dann 10, dann 80, dann 0, etc.</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stark schwankenden Kurve von Kunde Richtung linke Seite des Flipcharts (Achtung: nicht bis zu Mitte des Flipcharts zeichnen, da noch der Puffer und unser System Platz haben müss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benötigen wir um diese Kundenwünsche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Wir benötigen ein Wertschöpfungs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asten mit System auf linker Seite 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raus besteht das 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gewöhnlich besteht System aus einem Prozess / Ablauf, der einen Input in einen Output verwandel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Prozess, Input und Output in System ein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gehört noch zu diesem System bzw. was benötigen wir noch um aus dem Input einen Output zu erzeu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Menschen, Ressourcen, Standards, IT-Systeme, sowie ein Führungssystem (Führung &amp; Zusammenarbei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Begriffe in Schaubild über und unter den Prozess eintrag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Können wir mit unserem System die stark schwankenden Kundenbedarfe 1 zu 1 nachfahren, also an einem Tag 1 Maschine produzieren, am nächsten 100, dann 30, dann 10, dann 80, dann 0?</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Nein, können wir nich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können wir dann die Kundenbedarfe befriedigen? Was fehlt uns in unserem Schaubild noch?</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s fehlt ein Puffer, der unser System von den ungleichmäßig eintreffenden Kundenbestellungen entkoppelt.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Puffer können in 3 Dimensionen gestaltet werden. Kennt ihr dies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Zeit, Kapazität und Bestände</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Bestand</a:t>
            </a:r>
            <a:r>
              <a:rPr lang="de-DE" sz="1200" dirty="0">
                <a:effectLst/>
                <a:latin typeface="Arial" panose="020B0604020202020204" pitchFamily="34" charset="0"/>
                <a:ea typeface="Calibri" panose="020F0502020204030204" pitchFamily="34" charset="0"/>
              </a:rPr>
              <a:t>: Durch Bestände können wir dem Kunden, auch bei schwankenden Nachfragen, das Produkt in einer definierten Lieferzeit garantieren; die Schwankungen werden durch das Fertigwarenlager abgepuffert und unser System kann in Ruhe gleichmäßig weiterarbeiten; typischer Weise wird dieser Puffer bei Konsumgütern / Katalogware / Standardprodukten angewendet; typische Beispiele sind Supermärkte, Amazon, Media Markt; Nachteil: man bekommt nur ein Standardprodukt und kann dieses nicht individuell konfigurieren</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Zeit</a:t>
            </a:r>
            <a:r>
              <a:rPr lang="de-DE" sz="1200" dirty="0">
                <a:effectLst/>
                <a:latin typeface="Arial" panose="020B0604020202020204" pitchFamily="34" charset="0"/>
                <a:ea typeface="Calibri" panose="020F0502020204030204" pitchFamily="34" charset="0"/>
              </a:rPr>
              <a:t>: Fertigware zu puffern ist hier keine Option, da Kunden Produkt individuell konfigurieren möchten; Schwankungen bei Bestellungen werden über die Lieferzeit „geglättet“ indem mit variablen Lieferzeiten gearbeitet wird, somit kann unser SYSTEM weiterhin gleichmäßig weiterarbeiten; Anwendung findet dieser Puffer bspw. bei der deutschen Automobilindustrie und Maschinenbau</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Kapazität</a:t>
            </a:r>
            <a:r>
              <a:rPr lang="de-DE" sz="1200" dirty="0">
                <a:effectLst/>
                <a:latin typeface="Arial" panose="020B0604020202020204" pitchFamily="34" charset="0"/>
                <a:ea typeface="Calibri" panose="020F0502020204030204" pitchFamily="34" charset="0"/>
              </a:rPr>
              <a:t>: Um kurze Lieferzeit bei schwankenden Nachfragen ohne Bestände zu ermöglichen können entsprechend hohe Kapazitäten (Anlagen, Maschinen und Mitarbeiter) vorgehalten werden damit schnell auf Veränderungen &amp; Schwankungen reagiert werden kann; diese Option ist kostspielig; wird bspw. bei Feuerwehr oder Krankenwagen eingesetzt, wo Kapazitäten an Nachfragespitzen ausgerichtet werd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3 Puffer</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elchen Puffer verwenden wir bei TRUMPF?</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v.a. den Zeitpuffer -&gt; Kunden müssen auf ihr Produkt warten; wenn möglich Zeitpuffer gemeinsam mit Bestandspuffer in Form von kundenneutralen Baugruppen in Halbfertigwarenlager </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3 skizzierten Puffer schließen sich nicht aus, sondern ergänzen sich gut; bspw. Kundenauftragsentkopplungspunkt (an diesem wird das Produkt wirklich kundenspezifisch) so spät wie möglich in de Prozess legen und kundenauftragsneutrale Baugruppen in Halbfertigwarenlägern vorhalt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Puffer sollen dabei nicht beliebig groß sein, sondern so gering wie möglich und müssen regelmäßig betrachtet und ggf. angepasst werd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0" dirty="0"/>
              <a:t>Erst wenn ich weiß, was der Kunde will, kann ich es effizient machen</a:t>
            </a:r>
          </a:p>
          <a:p>
            <a:pPr marL="285750" indent="-285750">
              <a:buFontTx/>
              <a:buChar char="-"/>
            </a:pPr>
            <a:r>
              <a:rPr lang="de-DE" sz="1200" b="0" dirty="0"/>
              <a:t>Für Produktion ist meist bekannt, was der Kunde will </a:t>
            </a:r>
            <a:r>
              <a:rPr lang="de-DE" sz="1200" b="0" dirty="0">
                <a:sym typeface="Wingdings" panose="05000000000000000000" pitchFamily="2" charset="2"/>
              </a:rPr>
              <a:t> Fokus ist „Dinge richtig tun“  </a:t>
            </a:r>
            <a:r>
              <a:rPr lang="de-DE" sz="1200" b="1" dirty="0">
                <a:solidFill>
                  <a:srgbClr val="FF0000"/>
                </a:solidFill>
                <a:sym typeface="Wingdings" panose="05000000000000000000" pitchFamily="2" charset="2"/>
              </a:rPr>
              <a:t>WIE</a:t>
            </a:r>
          </a:p>
          <a:p>
            <a:pPr marL="285750" indent="-285750">
              <a:buFontTx/>
              <a:buChar char="-"/>
            </a:pPr>
            <a:r>
              <a:rPr lang="de-DE" sz="1200" b="0" dirty="0">
                <a:solidFill>
                  <a:srgbClr val="FF0000"/>
                </a:solidFill>
                <a:sym typeface="Wingdings" panose="05000000000000000000" pitchFamily="2" charset="2"/>
              </a:rPr>
              <a:t>Im Indirekten Bereich bzw.</a:t>
            </a:r>
            <a:r>
              <a:rPr lang="de-DE" sz="1200" b="0" dirty="0">
                <a:sym typeface="Wingdings" panose="05000000000000000000" pitchFamily="2" charset="2"/>
              </a:rPr>
              <a:t> Projektumfeld ist oft unklar, was der Kunde will  Fokus muss hier </a:t>
            </a:r>
            <a:r>
              <a:rPr lang="de-DE" sz="1200" b="0" u="sng" dirty="0">
                <a:sym typeface="Wingdings" panose="05000000000000000000" pitchFamily="2" charset="2"/>
              </a:rPr>
              <a:t>zunächst</a:t>
            </a:r>
            <a:r>
              <a:rPr lang="de-DE" sz="1200" b="0" dirty="0">
                <a:sym typeface="Wingdings" panose="05000000000000000000" pitchFamily="2" charset="2"/>
              </a:rPr>
              <a:t> auf dem Verständnis liegen, was der Kunde will  Spezifikation, was will der Kunde  </a:t>
            </a:r>
            <a:r>
              <a:rPr lang="de-DE" sz="1200" b="1" dirty="0">
                <a:solidFill>
                  <a:srgbClr val="FF0000"/>
                </a:solidFill>
                <a:sym typeface="Wingdings" panose="05000000000000000000" pitchFamily="2" charset="2"/>
              </a:rPr>
              <a:t>WAS</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1" dirty="0"/>
              <a:t>Zusammengefasst bedeutet SYNCHRO somit:</a:t>
            </a:r>
          </a:p>
          <a:p>
            <a:pPr marL="742950" lvl="1" indent="-285750">
              <a:buFontTx/>
              <a:buChar char="-"/>
            </a:pPr>
            <a:r>
              <a:rPr lang="de-DE" sz="1200" b="0" dirty="0"/>
              <a:t>Unser Unternehmen muss das Kundenbedürfnis zur richtigen Zeit, mit den vorgegebenen Kosten und zur gewünschten Qualität befriedigen. Damit wird eine </a:t>
            </a:r>
            <a:r>
              <a:rPr lang="de-DE" sz="1200" b="1" dirty="0"/>
              <a:t>effektive Erfüllung der Kundenanforderung </a:t>
            </a:r>
            <a:r>
              <a:rPr lang="de-DE" sz="1200" b="0" dirty="0"/>
              <a:t>gewährleistet – </a:t>
            </a:r>
            <a:r>
              <a:rPr lang="de-DE" sz="1200" b="1" dirty="0"/>
              <a:t>wir tun die richtigen Dinge</a:t>
            </a:r>
            <a:endParaRPr lang="de-DE" sz="1200" b="0" dirty="0"/>
          </a:p>
          <a:p>
            <a:pPr marL="742950" lvl="1" indent="-285750">
              <a:buFontTx/>
              <a:buChar char="-"/>
            </a:pPr>
            <a:r>
              <a:rPr lang="de-DE" sz="1200" b="0" dirty="0"/>
              <a:t>Hierzu benötigen wir ein optimal und verschwendungsarm ausgelegtes, sprich </a:t>
            </a:r>
            <a:r>
              <a:rPr lang="de-DE" sz="1200" b="1" dirty="0"/>
              <a:t>effizientes System</a:t>
            </a:r>
            <a:r>
              <a:rPr lang="de-DE" sz="1200" b="0" dirty="0"/>
              <a:t>. Dieses umfasst einen effizient gestalteten Kernprozess. Unterstützt wird dieser durch Führung &amp; Zusammenarbeit sowie durch das Ressourcenmanagement, Standards und den Einsatz digitaler Systeme – </a:t>
            </a:r>
            <a:r>
              <a:rPr lang="de-DE" sz="1200" b="1" dirty="0"/>
              <a:t>wir tun die Dinge richtig</a:t>
            </a:r>
            <a:r>
              <a:rPr lang="de-DE" sz="1200" b="0" dirty="0"/>
              <a:t>.</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a:lnSpc>
                <a:spcPct val="107000"/>
              </a:lnSpc>
            </a:pPr>
            <a:r>
              <a:rPr lang="de-DE" sz="1200" dirty="0">
                <a:effectLst/>
                <a:latin typeface="Arial" panose="020B0604020202020204" pitchFamily="34" charset="0"/>
                <a:ea typeface="Calibri" panose="020F0502020204030204" pitchFamily="34" charset="0"/>
              </a:rPr>
              <a:t> </a:t>
            </a:r>
          </a:p>
          <a:p>
            <a:pPr>
              <a:lnSpc>
                <a:spcPct val="107000"/>
              </a:lnSpc>
            </a:pPr>
            <a:r>
              <a:rPr lang="de-DE" sz="1200" b="1" dirty="0">
                <a:effectLst/>
                <a:latin typeface="Arial" panose="020B0604020202020204" pitchFamily="34" charset="0"/>
                <a:ea typeface="Calibri" panose="020F0502020204030204" pitchFamily="34" charset="0"/>
              </a:rPr>
              <a:t>Zusätzliche Infos &amp; Hinweise</a:t>
            </a:r>
            <a:r>
              <a:rPr lang="de-DE" sz="1200" dirty="0">
                <a:effectLst/>
                <a:latin typeface="Arial" panose="020B0604020202020204" pitchFamily="34" charset="0"/>
                <a:ea typeface="Calibri" panose="020F0502020204030204" pitchFamily="34" charset="0"/>
              </a:rPr>
              <a:t>: </a:t>
            </a:r>
          </a:p>
          <a:p>
            <a:pPr>
              <a:lnSpc>
                <a:spcPct val="107000"/>
              </a:lnSpc>
            </a:pPr>
            <a:r>
              <a:rPr lang="de-DE" sz="1200" dirty="0">
                <a:effectLst/>
                <a:latin typeface="Arial" panose="020B0604020202020204" pitchFamily="34" charset="0"/>
                <a:ea typeface="Calibri" panose="020F0502020204030204" pitchFamily="34" charset="0"/>
              </a:rPr>
              <a:t>- Hier wird am Flipchart das Bild von der nächsten Folie entwickelt</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3</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3083639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pPr>
            <a:endParaRPr lang="de-DE" sz="1200" dirty="0">
              <a:effectLst/>
              <a:latin typeface="Arial" panose="020B0604020202020204" pitchFamily="34" charset="0"/>
              <a:ea typeface="Calibri" panose="020F0502020204030204" pitchFamily="34" charset="0"/>
            </a:endParaRPr>
          </a:p>
          <a:p>
            <a:pPr>
              <a:lnSpc>
                <a:spcPct val="107000"/>
              </a:lnSpc>
            </a:pPr>
            <a:r>
              <a:rPr lang="de-DE" sz="1200" b="1" dirty="0">
                <a:effectLst/>
                <a:latin typeface="Arial" panose="020B0604020202020204" pitchFamily="34" charset="0"/>
                <a:ea typeface="Calibri" panose="020F0502020204030204" pitchFamily="34" charset="0"/>
              </a:rPr>
              <a:t>Informationen</a:t>
            </a:r>
            <a:r>
              <a:rPr lang="de-DE" sz="1200" dirty="0">
                <a:effectLst/>
                <a:latin typeface="Arial" panose="020B0604020202020204" pitchFamily="34" charset="0"/>
                <a:ea typeface="Calibri" panose="020F0502020204030204" pitchFamily="34" charset="0"/>
              </a:rPr>
              <a:t> zur Folie: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Im Folgenden wird die Vorgehensweise für den Aufbau der Folie am Flip erklärt; F: = Frage; A: Antwort, die die Teilnehmer geben sollte bzw. Info des Trainers an die Teilnehmer; Z = was wird am Flipchart eingezeichne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für oder für wen arbeiten wird?</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Leben und Arbeiten in System, dessen Existenz darauf beruht die Erwartungen und Bedürfnisse eines Kunden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unde auf rechte Seite einzeichnen (bspw. durch Krone)</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definiert der Kunde, was er möcht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r definiert seine Erwartungen, bewusst oder unbewusst, im Spannungsfeld Qualität, Kosten und Zeit </a:t>
            </a:r>
            <a:r>
              <a:rPr lang="de-DE" sz="1200" dirty="0">
                <a:effectLst/>
                <a:latin typeface="Arial" panose="020B0604020202020204" pitchFamily="34" charset="0"/>
                <a:ea typeface="Calibri" panose="020F0502020204030204" pitchFamily="34" charset="0"/>
                <a:sym typeface="Wingdings" panose="05000000000000000000" pitchFamily="2" charset="2"/>
              </a:rPr>
              <a:t> will Produkt zu bestimmten Termin, in bestimmter Qualität und ist dafür bereit einen bestimmten Preis zu bezahlen  Wunsch des Kunden</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Dreieck Q – K – Z um Kunde herum einzeichnen</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treffen die Anforderungen / Kundenwünsche bei uns ein? Gleichmäßig, also jeden Tag genau 10 Bestellun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Anforderungen / Bestellungen treffen tlw. stark schwanken auf unser System, sprich an einem Tag 1 Bestellung, am nächsten 100, dann 30, dann 10, dann 80, dann 0, etc.</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stark schwankenden Kurve von Kunde Richtung linke Seite des Flipcharts (Achtung: nicht bis zu Mitte des Flipcharts zeichnen, da noch der Puffer und unser System Platz haben müss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benötigen wir um diese Kundenwünsche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Wir benötigen ein Wertschöpfungs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asten mit System auf linker Seite 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raus besteht das 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gewöhnlich besteht System aus einem Prozess / Ablauf, der einen Input in einen Output verwandel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Prozess, Input und Output in System ein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gehört noch zu diesem System bzw. was benötigen wir noch um aus dem Input einen Output zu erzeu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Menschen, Ressourcen, Standards, IT-Systeme, sowie ein Führungssystem (Führung &amp; Zusammenarbei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Begriffe in Schaubild über und unter den Prozess eintrag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Können wir mit unserem System die stark schwankenden Kundenbedarfe 1 zu 1 nachfahren, also an einem Tag 1 Maschine produzieren, am nächsten 100, dann 30, dann 10, dann 80, dann 0?</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Nein, können wir nich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können wir dann die Kundenbedarfe befriedigen? Was fehlt uns in unserem Schaubild noch?</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s fehlt ein Puffer, der unser System von den ungleichmäßig eintreffenden Kundenbestellungen entkoppelt.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Puffer können in 3 Dimensionen gestaltet werden. Kennt ihr dies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Zeit, Kapazität und Bestände</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Bestand</a:t>
            </a:r>
            <a:r>
              <a:rPr lang="de-DE" sz="1200" dirty="0">
                <a:effectLst/>
                <a:latin typeface="Arial" panose="020B0604020202020204" pitchFamily="34" charset="0"/>
                <a:ea typeface="Calibri" panose="020F0502020204030204" pitchFamily="34" charset="0"/>
              </a:rPr>
              <a:t>: Durch Bestände können wir dem Kunden, auch bei schwankenden Nachfragen, das Produkt in einer definierten Lieferzeit garantieren; die Schwankungen werden durch das Fertigwarenlager abgepuffert und unser System kann in Ruhe gleichmäßig weiterarbeiten; typischer Weise wird dieser Puffer bei Konsumgütern / Katalogware / Standardprodukten angewendet; typische Beispiele sind Supermärkte, Amazon, Media Markt; Nachteil: man bekommt nur ein Standardprodukt und kann dieses nicht individuell konfigurieren</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Zeit</a:t>
            </a:r>
            <a:r>
              <a:rPr lang="de-DE" sz="1200" dirty="0">
                <a:effectLst/>
                <a:latin typeface="Arial" panose="020B0604020202020204" pitchFamily="34" charset="0"/>
                <a:ea typeface="Calibri" panose="020F0502020204030204" pitchFamily="34" charset="0"/>
              </a:rPr>
              <a:t>: Fertigware zu puffern ist hier keine Option, da Kunden Produkt individuell konfigurieren möchten; Schwankungen bei Bestellungen werden über die Lieferzeit „geglättet“ indem mit variablen Lieferzeiten gearbeitet wird, somit kann unser SYSTEM weiterhin gleichmäßig weiterarbeiten; Anwendung findet dieser Puffer bspw. bei der deutschen Automobilindustrie und Maschinenbau</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Kapazität</a:t>
            </a:r>
            <a:r>
              <a:rPr lang="de-DE" sz="1200" dirty="0">
                <a:effectLst/>
                <a:latin typeface="Arial" panose="020B0604020202020204" pitchFamily="34" charset="0"/>
                <a:ea typeface="Calibri" panose="020F0502020204030204" pitchFamily="34" charset="0"/>
              </a:rPr>
              <a:t>: Um kurze Lieferzeit bei schwankenden Nachfragen ohne Bestände zu ermöglichen können entsprechend hohe Kapazitäten (Anlagen, Maschinen und Mitarbeiter) vorgehalten werden damit schnell auf Veränderungen &amp; Schwankungen reagiert werden kann; diese Option ist kostspielig; wird bspw. bei Feuerwehr oder Krankenwagen eingesetzt, wo Kapazitäten an Nachfragespitzen ausgerichtet werd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3 Puffer</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elchen Puffer verwenden wir bei TRUMPF?</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v.a. den Zeitpuffer -&gt; Kunden müssen auf ihr Produkt warten; wenn möglich Zeitpuffer gemeinsam mit Bestandspuffer in Form von kundenneutralen Baugruppen in Halbfertigwarenlager </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3 skizzierten Puffer schließen sich nicht aus, sondern ergänzen sich gut; bspw. Kundenauftragsentkopplungspunkt (an diesem wird das Produkt wirklich kundenspezifisch) so spät wie möglich in de Prozess legen und kundenauftragsneutrale Baugruppen in Halbfertigwarenlägern vorhalt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Puffer sollen dabei nicht beliebig groß sein, sondern so gering wie möglich und müssen regelmäßig betrachtet und ggf. angepasst werd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0" dirty="0"/>
              <a:t>Erst wenn ich weiß, was der Kunde will, kann ich es effizient machen</a:t>
            </a:r>
          </a:p>
          <a:p>
            <a:pPr marL="285750" indent="-285750">
              <a:buFontTx/>
              <a:buChar char="-"/>
            </a:pPr>
            <a:r>
              <a:rPr lang="de-DE" sz="1200" b="0" dirty="0"/>
              <a:t>Für Produktion ist meist bekannt, was der Kunde will </a:t>
            </a:r>
            <a:r>
              <a:rPr lang="de-DE" sz="1200" b="0" dirty="0">
                <a:sym typeface="Wingdings" panose="05000000000000000000" pitchFamily="2" charset="2"/>
              </a:rPr>
              <a:t> Fokus ist „Dinge richtig tun“  </a:t>
            </a:r>
            <a:r>
              <a:rPr lang="de-DE" sz="1200" b="1" dirty="0">
                <a:solidFill>
                  <a:srgbClr val="FF0000"/>
                </a:solidFill>
                <a:sym typeface="Wingdings" panose="05000000000000000000" pitchFamily="2" charset="2"/>
              </a:rPr>
              <a:t>WIE</a:t>
            </a:r>
          </a:p>
          <a:p>
            <a:pPr marL="285750" indent="-285750">
              <a:buFontTx/>
              <a:buChar char="-"/>
            </a:pPr>
            <a:r>
              <a:rPr lang="de-DE" sz="1200" b="0" dirty="0">
                <a:solidFill>
                  <a:srgbClr val="FF0000"/>
                </a:solidFill>
                <a:sym typeface="Wingdings" panose="05000000000000000000" pitchFamily="2" charset="2"/>
              </a:rPr>
              <a:t>Im Indirekten Bereich bzw.</a:t>
            </a:r>
            <a:r>
              <a:rPr lang="de-DE" sz="1200" b="0" dirty="0">
                <a:sym typeface="Wingdings" panose="05000000000000000000" pitchFamily="2" charset="2"/>
              </a:rPr>
              <a:t> Projektumfeld ist oft unklar, was der Kunde will  Fokus muss hier </a:t>
            </a:r>
            <a:r>
              <a:rPr lang="de-DE" sz="1200" b="0" u="sng" dirty="0">
                <a:sym typeface="Wingdings" panose="05000000000000000000" pitchFamily="2" charset="2"/>
              </a:rPr>
              <a:t>zunächst</a:t>
            </a:r>
            <a:r>
              <a:rPr lang="de-DE" sz="1200" b="0" dirty="0">
                <a:sym typeface="Wingdings" panose="05000000000000000000" pitchFamily="2" charset="2"/>
              </a:rPr>
              <a:t> auf dem Verständnis liegen, was der Kunde will  Spezifikation, was will der Kunde  </a:t>
            </a:r>
            <a:r>
              <a:rPr lang="de-DE" sz="1200" b="1" dirty="0">
                <a:solidFill>
                  <a:srgbClr val="FF0000"/>
                </a:solidFill>
                <a:sym typeface="Wingdings" panose="05000000000000000000" pitchFamily="2" charset="2"/>
              </a:rPr>
              <a:t>WAS</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1" dirty="0"/>
              <a:t>Zusammengefasst bedeutet SYNCHRO somit:</a:t>
            </a:r>
          </a:p>
          <a:p>
            <a:pPr marL="742950" lvl="1" indent="-285750">
              <a:buFontTx/>
              <a:buChar char="-"/>
            </a:pPr>
            <a:r>
              <a:rPr lang="de-DE" sz="1200" b="0" dirty="0"/>
              <a:t>Unser Unternehmen muss das Kundenbedürfnis zur richtigen Zeit, mit den vorgegebenen Kosten und zur gewünschten Qualität befriedigen. Damit wird eine </a:t>
            </a:r>
            <a:r>
              <a:rPr lang="de-DE" sz="1200" b="1" dirty="0"/>
              <a:t>effektive Erfüllung der Kundenanforderung </a:t>
            </a:r>
            <a:r>
              <a:rPr lang="de-DE" sz="1200" b="0" dirty="0"/>
              <a:t>gewährleistet – </a:t>
            </a:r>
            <a:r>
              <a:rPr lang="de-DE" sz="1200" b="1" dirty="0"/>
              <a:t>wir tun die richtigen Dinge</a:t>
            </a:r>
            <a:endParaRPr lang="de-DE" sz="1200" b="0" dirty="0"/>
          </a:p>
          <a:p>
            <a:pPr marL="742950" lvl="1" indent="-285750">
              <a:buFontTx/>
              <a:buChar char="-"/>
            </a:pPr>
            <a:r>
              <a:rPr lang="de-DE" sz="1200" b="0" dirty="0"/>
              <a:t>Hierzu benötigen wir ein optimal und verschwendungsarm ausgelegtes, sprich </a:t>
            </a:r>
            <a:r>
              <a:rPr lang="de-DE" sz="1200" b="1" dirty="0"/>
              <a:t>effizientes System</a:t>
            </a:r>
            <a:r>
              <a:rPr lang="de-DE" sz="1200" b="0" dirty="0"/>
              <a:t>. Dieses umfasst einen effizient gestalteten Kernprozess. Unterstützt wird dieser durch Führung &amp; Zusammenarbeit sowie durch das Ressourcenmanagement, Standards und den Einsatz digitaler Systeme – </a:t>
            </a:r>
            <a:r>
              <a:rPr lang="de-DE" sz="1200" b="1" dirty="0"/>
              <a:t>wir tun die Dinge richtig</a:t>
            </a:r>
            <a:r>
              <a:rPr lang="de-DE" sz="1200" b="0" dirty="0"/>
              <a:t>.</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a:lnSpc>
                <a:spcPct val="107000"/>
              </a:lnSpc>
            </a:pPr>
            <a:r>
              <a:rPr lang="de-DE" sz="1200" dirty="0">
                <a:effectLst/>
                <a:latin typeface="Arial" panose="020B0604020202020204" pitchFamily="34" charset="0"/>
                <a:ea typeface="Calibri" panose="020F0502020204030204" pitchFamily="34" charset="0"/>
              </a:rPr>
              <a:t> </a:t>
            </a:r>
          </a:p>
          <a:p>
            <a:pPr>
              <a:lnSpc>
                <a:spcPct val="107000"/>
              </a:lnSpc>
            </a:pPr>
            <a:r>
              <a:rPr lang="de-DE" sz="1200" b="1" dirty="0">
                <a:effectLst/>
                <a:latin typeface="Arial" panose="020B0604020202020204" pitchFamily="34" charset="0"/>
                <a:ea typeface="Calibri" panose="020F0502020204030204" pitchFamily="34" charset="0"/>
              </a:rPr>
              <a:t>Zusätzliche Infos &amp; Hinweise</a:t>
            </a:r>
            <a:r>
              <a:rPr lang="de-DE" sz="1200" dirty="0">
                <a:effectLst/>
                <a:latin typeface="Arial" panose="020B0604020202020204" pitchFamily="34" charset="0"/>
                <a:ea typeface="Calibri" panose="020F0502020204030204" pitchFamily="34" charset="0"/>
              </a:rPr>
              <a:t>: </a:t>
            </a:r>
          </a:p>
          <a:p>
            <a:pPr>
              <a:lnSpc>
                <a:spcPct val="107000"/>
              </a:lnSpc>
            </a:pPr>
            <a:r>
              <a:rPr lang="de-DE" sz="1200" dirty="0">
                <a:effectLst/>
                <a:latin typeface="Arial" panose="020B0604020202020204" pitchFamily="34" charset="0"/>
                <a:ea typeface="Calibri" panose="020F0502020204030204" pitchFamily="34" charset="0"/>
              </a:rPr>
              <a:t>- Hier wird am Flipchart das Bild von der nächsten Folie entwickelt</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4</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22606279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07000"/>
              </a:lnSpc>
            </a:pPr>
            <a:endParaRPr lang="de-DE" sz="1200" dirty="0">
              <a:effectLst/>
              <a:latin typeface="Arial" panose="020B0604020202020204" pitchFamily="34" charset="0"/>
              <a:ea typeface="Calibri" panose="020F0502020204030204" pitchFamily="34" charset="0"/>
            </a:endParaRPr>
          </a:p>
          <a:p>
            <a:pPr>
              <a:lnSpc>
                <a:spcPct val="107000"/>
              </a:lnSpc>
            </a:pPr>
            <a:r>
              <a:rPr lang="de-DE" sz="1200" b="1" dirty="0">
                <a:effectLst/>
                <a:latin typeface="Arial" panose="020B0604020202020204" pitchFamily="34" charset="0"/>
                <a:ea typeface="Calibri" panose="020F0502020204030204" pitchFamily="34" charset="0"/>
              </a:rPr>
              <a:t>Informationen</a:t>
            </a:r>
            <a:r>
              <a:rPr lang="de-DE" sz="1200" dirty="0">
                <a:effectLst/>
                <a:latin typeface="Arial" panose="020B0604020202020204" pitchFamily="34" charset="0"/>
                <a:ea typeface="Calibri" panose="020F0502020204030204" pitchFamily="34" charset="0"/>
              </a:rPr>
              <a:t> zur Folie: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Im Folgenden wird die Vorgehensweise für den Aufbau der Folie am Flip erklärt; F: = Frage; A: Antwort, die die Teilnehmer geben sollte bzw. Info des Trainers an die Teilnehmer; Z = was wird am Flipchart eingezeichne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für oder für wen arbeiten wird?</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Leben und Arbeiten in System, dessen Existenz darauf beruht die Erwartungen und Bedürfnisse eines Kunden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unde auf rechte Seite einzeichnen (bspw. durch Krone)</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definiert der Kunde, was er möcht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r definiert seine Erwartungen, bewusst oder unbewusst, im Spannungsfeld Qualität, Kosten und Zeit </a:t>
            </a:r>
            <a:r>
              <a:rPr lang="de-DE" sz="1200" dirty="0">
                <a:effectLst/>
                <a:latin typeface="Arial" panose="020B0604020202020204" pitchFamily="34" charset="0"/>
                <a:ea typeface="Calibri" panose="020F0502020204030204" pitchFamily="34" charset="0"/>
                <a:sym typeface="Wingdings" panose="05000000000000000000" pitchFamily="2" charset="2"/>
              </a:rPr>
              <a:t> will Produkt zu bestimmten Termin, in bestimmter Qualität und ist dafür bereit einen bestimmten Preis zu bezahlen  Wunsch des Kunden</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Dreieck Q – K – Z um Kunde herum einzeichnen</a:t>
            </a:r>
          </a:p>
          <a:p>
            <a:pPr marL="0" indent="0">
              <a:lnSpc>
                <a:spcPct val="107000"/>
              </a:lnSpc>
              <a:buFontTx/>
              <a:buNone/>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treffen die Anforderungen / Kundenwünsche bei uns ein? Gleichmäßig, also jeden Tag genau 10 Bestellun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Anforderungen / Bestellungen treffen tlw. stark schwanken auf unser System, sprich an einem Tag 1 Bestellung, am nächsten 100, dann 30, dann 10, dann 80, dann 0, etc.</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stark schwankenden Kurve von Kunde Richtung linke Seite des Flipcharts (Achtung: nicht bis zu Mitte des Flipcharts zeichnen, da noch der Puffer und unser System Platz haben müss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benötigen wir um diese Kundenwünsche zu erfüll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Wir benötigen ein Wertschöpfungs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Kasten mit System auf linker Seite 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oraus besteht das System?</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gewöhnlich besteht System aus einem Prozess / Ablauf, der einen Input in einen Output verwandel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Prozess, Input und Output in System einzeichn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as gehört noch zu diesem System bzw. was benötigen wir noch um aus dem Input einen Output zu erzeug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Menschen, Ressourcen, Standards, IT-Systeme, sowie ein Führungssystem (Führung &amp; Zusammenarbei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Begriffe in Schaubild über und unter den Prozess eintragen</a:t>
            </a:r>
          </a:p>
          <a:p>
            <a:pPr marL="285750" marR="0" lvl="0" indent="-285750" algn="l" defTabSz="914400" rtl="0" eaLnBrk="1" fontAlgn="auto" latinLnBrk="0" hangingPunct="1">
              <a:lnSpc>
                <a:spcPct val="107000"/>
              </a:lnSpc>
              <a:spcBef>
                <a:spcPts val="0"/>
              </a:spcBef>
              <a:spcAft>
                <a:spcPts val="0"/>
              </a:spcAft>
              <a:buClrTx/>
              <a:buSzTx/>
              <a:buFontTx/>
              <a:buChar char="-"/>
              <a:tabLst/>
              <a:defRP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Können wir mit unserem System die stark schwankenden Kundenbedarfe 1 zu 1 nachfahren, also an einem Tag 1 Maschine produzieren, am nächsten 100, dann 30, dann 10, dann 80, dann 0?</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Nein, können wir nicht.</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ie können wir dann die Kundenbedarfe befriedigen? Was fehlt uns in unserem Schaubild noch?</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Es fehlt ein Puffer, der unser System von den ungleichmäßig eintreffenden Kundenbestellungen entkoppelt. </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Puffer können in 3 Dimensionen gestaltet werden. Kennt ihr diese?</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Zeit, Kapazität und Bestände</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Bestand</a:t>
            </a:r>
            <a:r>
              <a:rPr lang="de-DE" sz="1200" dirty="0">
                <a:effectLst/>
                <a:latin typeface="Arial" panose="020B0604020202020204" pitchFamily="34" charset="0"/>
                <a:ea typeface="Calibri" panose="020F0502020204030204" pitchFamily="34" charset="0"/>
              </a:rPr>
              <a:t>: Durch Bestände können wir dem Kunden, auch bei schwankenden Nachfragen, das Produkt in einer definierten Lieferzeit garantieren; die Schwankungen werden durch das Fertigwarenlager abgepuffert und unser System kann in Ruhe gleichmäßig weiterarbeiten; typischer Weise wird dieser Puffer bei Konsumgütern / Katalogware / Standardprodukten angewendet; typische Beispiele sind Supermärkte, Amazon, Media Markt; Nachteil: man bekommt nur ein Standardprodukt und kann dieses nicht individuell konfigurieren</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Zeit</a:t>
            </a:r>
            <a:r>
              <a:rPr lang="de-DE" sz="1200" dirty="0">
                <a:effectLst/>
                <a:latin typeface="Arial" panose="020B0604020202020204" pitchFamily="34" charset="0"/>
                <a:ea typeface="Calibri" panose="020F0502020204030204" pitchFamily="34" charset="0"/>
              </a:rPr>
              <a:t>: Fertigware zu puffern ist hier keine Option, da Kunden Produkt individuell konfigurieren möchten; Schwankungen bei Bestellungen werden über die Lieferzeit „geglättet“ indem mit variablen Lieferzeiten gearbeitet wird, somit kann unser SYSTEM weiterhin gleichmäßig weiterarbeiten; Anwendung findet dieser Puffer bspw. bei der deutschen Automobilindustrie und Maschinenbau</a:t>
            </a:r>
          </a:p>
          <a:p>
            <a:pPr marL="742950" lvl="1" indent="-285750">
              <a:lnSpc>
                <a:spcPct val="107000"/>
              </a:lnSpc>
              <a:buFontTx/>
              <a:buChar char="-"/>
            </a:pPr>
            <a:r>
              <a:rPr lang="de-DE" sz="1200" b="1" dirty="0">
                <a:effectLst/>
                <a:latin typeface="Arial" panose="020B0604020202020204" pitchFamily="34" charset="0"/>
                <a:ea typeface="Calibri" panose="020F0502020204030204" pitchFamily="34" charset="0"/>
              </a:rPr>
              <a:t>Kapazität</a:t>
            </a:r>
            <a:r>
              <a:rPr lang="de-DE" sz="1200" dirty="0">
                <a:effectLst/>
                <a:latin typeface="Arial" panose="020B0604020202020204" pitchFamily="34" charset="0"/>
                <a:ea typeface="Calibri" panose="020F0502020204030204" pitchFamily="34" charset="0"/>
              </a:rPr>
              <a:t>: Um kurze Lieferzeit bei schwankenden Nachfragen ohne Bestände zu ermöglichen können entsprechend hohe Kapazitäten (Anlagen, Maschinen und Mitarbeiter) vorgehalten werden damit schnell auf Veränderungen &amp; Schwankungen reagiert werden kann; diese Option ist kostspielig; wird bspw. bei Feuerwehr oder Krankenwagen eingesetzt, wo Kapazitäten an Nachfragespitzen ausgerichtet werden</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Z: Einzeichnen der 3 Puffer</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F: Welchen Puffer verwenden wir bei TRUMPF?</a:t>
            </a: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A: v.a. den Zeitpuffer -&gt; Kunden müssen auf ihr Produkt warten; wenn möglich Zeitpuffer gemeinsam mit Bestandspuffer in Form von kundenneutralen Baugruppen in Halbfertigwarenlager </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3 skizzierten Puffer schließen sich nicht aus, sondern ergänzen sich gut; bspw. Kundenauftragsentkopplungspunkt (an diesem wird das Produkt wirklich kundenspezifisch) so spät wie möglich in de Prozess legen und kundenauftragsneutrale Baugruppen in Halbfertigwarenlägern vorhalt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r>
              <a:rPr lang="de-DE" sz="1200" dirty="0">
                <a:effectLst/>
                <a:latin typeface="Arial" panose="020B0604020202020204" pitchFamily="34" charset="0"/>
                <a:ea typeface="Calibri" panose="020F0502020204030204" pitchFamily="34" charset="0"/>
              </a:rPr>
              <a:t>Die Puffer sollen dabei nicht beliebig groß sein, sondern so gering wie möglich und müssen regelmäßig betrachtet und ggf. angepasst werden</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0" dirty="0"/>
              <a:t>Erst wenn ich weiß, was der Kunde will, kann ich es effizient machen</a:t>
            </a:r>
          </a:p>
          <a:p>
            <a:pPr marL="285750" indent="-285750">
              <a:buFontTx/>
              <a:buChar char="-"/>
            </a:pPr>
            <a:r>
              <a:rPr lang="de-DE" sz="1200" b="0" dirty="0"/>
              <a:t>Für Produktion ist meist bekannt, was der Kunde will </a:t>
            </a:r>
            <a:r>
              <a:rPr lang="de-DE" sz="1200" b="0" dirty="0">
                <a:sym typeface="Wingdings" panose="05000000000000000000" pitchFamily="2" charset="2"/>
              </a:rPr>
              <a:t> Fokus ist „Dinge richtig tun“  </a:t>
            </a:r>
            <a:r>
              <a:rPr lang="de-DE" sz="1200" b="1" dirty="0">
                <a:solidFill>
                  <a:srgbClr val="FF0000"/>
                </a:solidFill>
                <a:sym typeface="Wingdings" panose="05000000000000000000" pitchFamily="2" charset="2"/>
              </a:rPr>
              <a:t>WIE</a:t>
            </a:r>
          </a:p>
          <a:p>
            <a:pPr marL="285750" indent="-285750">
              <a:buFontTx/>
              <a:buChar char="-"/>
            </a:pPr>
            <a:r>
              <a:rPr lang="de-DE" sz="1200" b="0" dirty="0">
                <a:solidFill>
                  <a:srgbClr val="FF0000"/>
                </a:solidFill>
                <a:sym typeface="Wingdings" panose="05000000000000000000" pitchFamily="2" charset="2"/>
              </a:rPr>
              <a:t>Im Indirekten Bereich bzw.</a:t>
            </a:r>
            <a:r>
              <a:rPr lang="de-DE" sz="1200" b="0" dirty="0">
                <a:sym typeface="Wingdings" panose="05000000000000000000" pitchFamily="2" charset="2"/>
              </a:rPr>
              <a:t> Projektumfeld ist oft unklar, was der Kunde will  Fokus muss hier </a:t>
            </a:r>
            <a:r>
              <a:rPr lang="de-DE" sz="1200" b="0" u="sng" dirty="0">
                <a:sym typeface="Wingdings" panose="05000000000000000000" pitchFamily="2" charset="2"/>
              </a:rPr>
              <a:t>zunächst</a:t>
            </a:r>
            <a:r>
              <a:rPr lang="de-DE" sz="1200" b="0" dirty="0">
                <a:sym typeface="Wingdings" panose="05000000000000000000" pitchFamily="2" charset="2"/>
              </a:rPr>
              <a:t> auf dem Verständnis liegen, was der Kunde will  Spezifikation, was will der Kunde  </a:t>
            </a:r>
            <a:r>
              <a:rPr lang="de-DE" sz="1200" b="1" dirty="0">
                <a:solidFill>
                  <a:srgbClr val="FF0000"/>
                </a:solidFill>
                <a:sym typeface="Wingdings" panose="05000000000000000000" pitchFamily="2" charset="2"/>
              </a:rPr>
              <a:t>WAS</a:t>
            </a:r>
            <a:endParaRPr lang="de-DE" sz="1200" dirty="0">
              <a:effectLst/>
              <a:latin typeface="Arial" panose="020B0604020202020204" pitchFamily="34" charset="0"/>
              <a:ea typeface="Calibri" panose="020F0502020204030204" pitchFamily="34" charset="0"/>
            </a:endParaRP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marL="285750" indent="-285750">
              <a:buFontTx/>
              <a:buChar char="-"/>
            </a:pPr>
            <a:r>
              <a:rPr lang="de-DE" sz="1200" b="1" dirty="0"/>
              <a:t>Zusammengefasst bedeutet SYNCHRO somit:</a:t>
            </a:r>
          </a:p>
          <a:p>
            <a:pPr marL="742950" lvl="1" indent="-285750">
              <a:buFontTx/>
              <a:buChar char="-"/>
            </a:pPr>
            <a:r>
              <a:rPr lang="de-DE" sz="1200" b="0" dirty="0"/>
              <a:t>Unser Unternehmen muss das Kundenbedürfnis zur richtigen Zeit, mit den vorgegebenen Kosten und zur gewünschten Qualität befriedigen. Damit wird eine </a:t>
            </a:r>
            <a:r>
              <a:rPr lang="de-DE" sz="1200" b="1" dirty="0"/>
              <a:t>effektive Erfüllung der Kundenanforderung </a:t>
            </a:r>
            <a:r>
              <a:rPr lang="de-DE" sz="1200" b="0" dirty="0"/>
              <a:t>gewährleistet – </a:t>
            </a:r>
            <a:r>
              <a:rPr lang="de-DE" sz="1200" b="1" dirty="0"/>
              <a:t>wir tun die richtigen Dinge</a:t>
            </a:r>
            <a:endParaRPr lang="de-DE" sz="1200" b="0" dirty="0"/>
          </a:p>
          <a:p>
            <a:pPr marL="742950" lvl="1" indent="-285750">
              <a:buFontTx/>
              <a:buChar char="-"/>
            </a:pPr>
            <a:r>
              <a:rPr lang="de-DE" sz="1200" b="0" dirty="0"/>
              <a:t>Hierzu benötigen wir ein optimal und verschwendungsarm ausgelegtes, sprich </a:t>
            </a:r>
            <a:r>
              <a:rPr lang="de-DE" sz="1200" b="1" dirty="0"/>
              <a:t>effizientes System</a:t>
            </a:r>
            <a:r>
              <a:rPr lang="de-DE" sz="1200" b="0" dirty="0"/>
              <a:t>. Dieses umfasst einen effizient gestalteten Kernprozess. Unterstützt wird dieser durch Führung &amp; Zusammenarbeit sowie durch das Ressourcenmanagement, Standards und den Einsatz digitaler Systeme – </a:t>
            </a:r>
            <a:r>
              <a:rPr lang="de-DE" sz="1200" b="1" dirty="0"/>
              <a:t>wir tun die Dinge richtig</a:t>
            </a:r>
            <a:r>
              <a:rPr lang="de-DE" sz="1200" b="0" dirty="0"/>
              <a:t>.</a:t>
            </a:r>
          </a:p>
          <a:p>
            <a:pPr marL="285750" indent="-285750">
              <a:lnSpc>
                <a:spcPct val="107000"/>
              </a:lnSpc>
              <a:buFontTx/>
              <a:buChar char="-"/>
            </a:pPr>
            <a:endParaRPr lang="de-DE" sz="1200" dirty="0">
              <a:effectLst/>
              <a:latin typeface="Arial" panose="020B0604020202020204" pitchFamily="34" charset="0"/>
              <a:ea typeface="Calibri" panose="020F0502020204030204" pitchFamily="34" charset="0"/>
            </a:endParaRPr>
          </a:p>
          <a:p>
            <a:pPr>
              <a:lnSpc>
                <a:spcPct val="107000"/>
              </a:lnSpc>
            </a:pPr>
            <a:r>
              <a:rPr lang="de-DE" sz="1200" dirty="0">
                <a:effectLst/>
                <a:latin typeface="Arial" panose="020B0604020202020204" pitchFamily="34" charset="0"/>
                <a:ea typeface="Calibri" panose="020F0502020204030204" pitchFamily="34" charset="0"/>
              </a:rPr>
              <a:t> </a:t>
            </a:r>
          </a:p>
          <a:p>
            <a:pPr>
              <a:lnSpc>
                <a:spcPct val="107000"/>
              </a:lnSpc>
            </a:pPr>
            <a:r>
              <a:rPr lang="de-DE" sz="1200" b="1" dirty="0">
                <a:effectLst/>
                <a:latin typeface="Arial" panose="020B0604020202020204" pitchFamily="34" charset="0"/>
                <a:ea typeface="Calibri" panose="020F0502020204030204" pitchFamily="34" charset="0"/>
              </a:rPr>
              <a:t>Zusätzliche Infos &amp; Hinweise</a:t>
            </a:r>
            <a:r>
              <a:rPr lang="de-DE" sz="1200" dirty="0">
                <a:effectLst/>
                <a:latin typeface="Arial" panose="020B0604020202020204" pitchFamily="34" charset="0"/>
                <a:ea typeface="Calibri" panose="020F0502020204030204" pitchFamily="34" charset="0"/>
              </a:rPr>
              <a:t>: </a:t>
            </a:r>
          </a:p>
          <a:p>
            <a:pPr>
              <a:lnSpc>
                <a:spcPct val="107000"/>
              </a:lnSpc>
            </a:pPr>
            <a:r>
              <a:rPr lang="de-DE" sz="1200" dirty="0">
                <a:effectLst/>
                <a:latin typeface="Arial" panose="020B0604020202020204" pitchFamily="34" charset="0"/>
                <a:ea typeface="Calibri" panose="020F0502020204030204" pitchFamily="34" charset="0"/>
              </a:rPr>
              <a:t>- Hier wird am Flipchart das Bild von der nächsten Folie entwickelt</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5</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34748454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dirty="0"/>
              <a:t>Mission GEMBA ist eine werksübergreifende Projektinitiative die darauf abzielt TRUMPF SYNCHRO auch in stürmischen Zeiten zu leben und zu treiben.</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200" dirty="0"/>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t>Unser Weg zum Gipfel (Erklärung Bild rechts):</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t>Unser Weg ist steinig, windig, sonnig und regnerisch, Wie schaffen wir es trotzdem wieder zurück zu SYNCHRO zu kehren? In dem wir gemeinsam für Veränderung bereit sind und in dieser schwierigen Zeit, Freiräume für SYNCHRO schaffen </a:t>
            </a:r>
            <a:r>
              <a:rPr lang="de-DE" dirty="0">
                <a:sym typeface="Wingdings" panose="05000000000000000000" pitchFamily="2" charset="2"/>
              </a:rPr>
              <a:t> Überleitung zu linkes Bild. Wir alle kennen dieses Bild: Da hätte einer eine Lösung bereit (viereckige Räder), jedoch hat keiner Zeit sie umzusetzen, da wir so im Tagesgeschäft gefangen sind.</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sym typeface="Wingdings" panose="05000000000000000000" pitchFamily="2" charset="2"/>
              </a:rPr>
              <a:t>Was bedeutet das für TWH konkret?</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6</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39575872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lang="de-DE" sz="1200" dirty="0"/>
              <a:t>Mission GEMBA ist eine werksübergreifende Projektinitiative die darauf abzielt TRUMPF SYNCHRO auch in stürmischen Zeiten zu leben und zu treiben.</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sz="1200" dirty="0"/>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t>Unser Weg zum Gipfel (Erklärung Bild rechts):</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t>Unser Weg ist steinig, windig, sonnig und regnerisch, Wie schaffen wir es trotzdem wieder zurück zu SYNCHRO zu kehren? In dem wir gemeinsam für Veränderung bereit sind und in dieser schwierigen Zeit, Freiräume für SYNCHRO schaffen </a:t>
            </a:r>
            <a:r>
              <a:rPr lang="de-DE" dirty="0">
                <a:sym typeface="Wingdings" panose="05000000000000000000" pitchFamily="2" charset="2"/>
              </a:rPr>
              <a:t> Überleitung zu linkes Bild. Wir alle kennen dieses Bild: Da hätte einer eine Lösung bereit (viereckige Räder), jedoch hat keiner Zeit sie umzusetzen, da wir so im Tagesgeschäft gefangen sind.</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r>
              <a:rPr lang="de-DE" dirty="0">
                <a:sym typeface="Wingdings" panose="05000000000000000000" pitchFamily="2" charset="2"/>
              </a:rPr>
              <a:t>Was bedeutet das für TWH konkret?</a:t>
            </a: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sym typeface="Wingdings" panose="05000000000000000000" pitchFamily="2" charset="2"/>
            </a:endParaRPr>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pPr marL="0" marR="0" lvl="0" indent="0" algn="l" defTabSz="914400" rtl="0" eaLnBrk="1" fontAlgn="auto" latinLnBrk="0" hangingPunct="1">
              <a:lnSpc>
                <a:spcPct val="100000"/>
              </a:lnSpc>
              <a:spcBef>
                <a:spcPts val="600"/>
              </a:spcBef>
              <a:spcAft>
                <a:spcPts val="600"/>
              </a:spcAft>
              <a:buClrTx/>
              <a:buSzTx/>
              <a:buFontTx/>
              <a:buNone/>
              <a:tabLst/>
              <a:defRPr/>
            </a:pP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7</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10393695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3</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151073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gebnisse auf Slido? Wasserloos absprechen, LIVE Umfrage.</a:t>
            </a:r>
          </a:p>
          <a:p>
            <a:endParaRPr lang="de-DE" dirty="0"/>
          </a:p>
        </p:txBody>
      </p:sp>
      <p:sp>
        <p:nvSpPr>
          <p:cNvPr id="4" name="Foliennummernplatzhalter 3"/>
          <p:cNvSpPr>
            <a:spLocks noGrp="1"/>
          </p:cNvSpPr>
          <p:nvPr>
            <p:ph type="sldNum" sz="quarter" idx="5"/>
          </p:nvPr>
        </p:nvSpPr>
        <p:spPr/>
        <p:txBody>
          <a:bodyPr/>
          <a:lstStyle/>
          <a:p>
            <a:pPr algn="r"/>
            <a:fld id="{7D817C07-CE16-5C41-9ABD-94C73CEF6061}" type="slidenum">
              <a:rPr lang="de-DE" smtClean="0"/>
              <a:pPr algn="r"/>
              <a:t>14</a:t>
            </a:fld>
            <a:endParaRPr lang="de-DE"/>
          </a:p>
        </p:txBody>
      </p:sp>
      <p:sp>
        <p:nvSpPr>
          <p:cNvPr id="5" name="Fußzeilenplatzhalter 4"/>
          <p:cNvSpPr>
            <a:spLocks noGrp="1"/>
          </p:cNvSpPr>
          <p:nvPr>
            <p:ph type="ftr" sz="quarter" idx="4"/>
          </p:nvPr>
        </p:nvSpPr>
        <p:spPr/>
        <p:txBody>
          <a:bodyPr/>
          <a:lstStyle/>
          <a:p>
            <a:r>
              <a:rPr lang="de-DE"/>
              <a:t>Name | Abteilung | 30. Januar 2019</a:t>
            </a:r>
          </a:p>
        </p:txBody>
      </p:sp>
    </p:spTree>
    <p:extLst>
      <p:ext uri="{BB962C8B-B14F-4D97-AF65-F5344CB8AC3E}">
        <p14:creationId xmlns:p14="http://schemas.microsoft.com/office/powerpoint/2010/main" val="23685759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1.xml"/><Relationship Id="rId7" Type="http://schemas.openxmlformats.org/officeDocument/2006/relationships/oleObject" Target="../embeddings/oleObject6.bin"/><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Master" Target="../slideMasters/slideMaster1.xml"/><Relationship Id="rId5" Type="http://schemas.openxmlformats.org/officeDocument/2006/relationships/tags" Target="../tags/tag13.xml"/><Relationship Id="rId4" Type="http://schemas.openxmlformats.org/officeDocument/2006/relationships/tags" Target="../tags/tag12.xml"/><Relationship Id="rId9"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hyperlink" Target="http://www.trumpf.com/" TargetMode="External"/><Relationship Id="rId5" Type="http://schemas.openxmlformats.org/officeDocument/2006/relationships/image" Target="../media/image4.jpe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01">
    <p:spTree>
      <p:nvGrpSpPr>
        <p:cNvPr id="1" name=""/>
        <p:cNvGrpSpPr/>
        <p:nvPr/>
      </p:nvGrpSpPr>
      <p:grpSpPr>
        <a:xfrm>
          <a:off x="0" y="0"/>
          <a:ext cx="0" cy="0"/>
          <a:chOff x="0" y="0"/>
          <a:chExt cx="0" cy="0"/>
        </a:xfrm>
      </p:grpSpPr>
      <p:sp>
        <p:nvSpPr>
          <p:cNvPr id="7" name="Bildplatzhalter 6"/>
          <p:cNvSpPr>
            <a:spLocks noGrp="1"/>
          </p:cNvSpPr>
          <p:nvPr>
            <p:ph type="pic" sz="quarter" idx="11"/>
          </p:nvPr>
        </p:nvSpPr>
        <p:spPr>
          <a:xfrm>
            <a:off x="300038" y="288925"/>
            <a:ext cx="11590337" cy="3419475"/>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243141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a:t>Überschrift</a:t>
            </a:r>
            <a:br>
              <a:rPr lang="de-DE"/>
            </a:br>
            <a:r>
              <a:rPr lang="de-DE"/>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Fußzeilenplatzhalter 4">
            <a:extLst>
              <a:ext uri="{FF2B5EF4-FFF2-40B4-BE49-F238E27FC236}">
                <a16:creationId xmlns:a16="http://schemas.microsoft.com/office/drawing/2014/main" id="{5E31E8C8-7C50-4010-8FA8-5E3FC76DB094}"/>
              </a:ext>
            </a:extLst>
          </p:cNvPr>
          <p:cNvSpPr>
            <a:spLocks noGrp="1"/>
          </p:cNvSpPr>
          <p:nvPr>
            <p:ph type="ftr" sz="quarter" idx="13"/>
          </p:nvPr>
        </p:nvSpPr>
        <p:spPr>
          <a:xfrm>
            <a:off x="300038" y="5563622"/>
            <a:ext cx="4782950" cy="215444"/>
          </a:xfrm>
        </p:spPr>
        <p:txBody>
          <a:bodyPr lIns="216000" tIns="0" rIns="0" bIns="0"/>
          <a:lstStyle>
            <a:lvl1pPr>
              <a:spcBef>
                <a:spcPts val="600"/>
              </a:spcBef>
              <a:spcAft>
                <a:spcPts val="600"/>
              </a:spcAft>
              <a:defRPr sz="1400">
                <a:solidFill>
                  <a:schemeClr val="tx2"/>
                </a:solidFill>
              </a:defRPr>
            </a:lvl1pPr>
          </a:lstStyle>
          <a:p>
            <a:r>
              <a:rPr lang="de-DE"/>
              <a:t>Florian Bez</a:t>
            </a:r>
          </a:p>
        </p:txBody>
      </p:sp>
    </p:spTree>
    <p:extLst>
      <p:ext uri="{BB962C8B-B14F-4D97-AF65-F5344CB8AC3E}">
        <p14:creationId xmlns:p14="http://schemas.microsoft.com/office/powerpoint/2010/main" val="1403583848"/>
      </p:ext>
    </p:extLst>
  </p:cSld>
  <p:clrMapOvr>
    <a:masterClrMapping/>
  </p:clrMapOvr>
  <p:hf hdr="0" dt="0"/>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Überschrift mit Untertitel">
    <p:spTree>
      <p:nvGrpSpPr>
        <p:cNvPr id="1" name=""/>
        <p:cNvGrpSpPr/>
        <p:nvPr/>
      </p:nvGrpSpPr>
      <p:grpSpPr>
        <a:xfrm>
          <a:off x="0" y="0"/>
          <a:ext cx="0" cy="0"/>
          <a:chOff x="0" y="0"/>
          <a:chExt cx="0" cy="0"/>
        </a:xfrm>
      </p:grpSpPr>
      <p:sp>
        <p:nvSpPr>
          <p:cNvPr id="2" name="Titel 1"/>
          <p:cNvSpPr>
            <a:spLocks noGrp="1"/>
          </p:cNvSpPr>
          <p:nvPr>
            <p:ph type="title"/>
          </p:nvPr>
        </p:nvSpPr>
        <p:spPr>
          <a:xfrm>
            <a:off x="515938" y="512763"/>
            <a:ext cx="11160125" cy="388800"/>
          </a:xfrm>
        </p:spPr>
        <p:txBody>
          <a:bodyPr/>
          <a:lstStyle/>
          <a:p>
            <a:r>
              <a:rPr lang="de-DE"/>
              <a:t>Mastertitelformat bearbeiten</a:t>
            </a:r>
          </a:p>
        </p:txBody>
      </p:sp>
      <p:sp>
        <p:nvSpPr>
          <p:cNvPr id="3" name="Foliennummernplatzhalter 2"/>
          <p:cNvSpPr>
            <a:spLocks noGrp="1"/>
          </p:cNvSpPr>
          <p:nvPr>
            <p:ph type="sldNum" sz="quarter" idx="10"/>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
        <p:nvSpPr>
          <p:cNvPr id="4" name="Fußzeilenplatzhalter 3"/>
          <p:cNvSpPr>
            <a:spLocks noGrp="1"/>
          </p:cNvSpPr>
          <p:nvPr>
            <p:ph type="ftr" sz="quarter" idx="11"/>
          </p:nvPr>
        </p:nvSpPr>
        <p:spPr/>
        <p:txBody>
          <a:bodyPr/>
          <a:lstStyle/>
          <a:p>
            <a:r>
              <a:rPr lang="de-DE"/>
              <a:t>Florian Bez</a:t>
            </a: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a:latin typeface="+mj-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6" name="Datumsplatzhalter 5">
            <a:extLst>
              <a:ext uri="{FF2B5EF4-FFF2-40B4-BE49-F238E27FC236}">
                <a16:creationId xmlns:a16="http://schemas.microsoft.com/office/drawing/2014/main" id="{49886302-4F5D-487E-BE27-FD743DE82AD5}"/>
              </a:ext>
            </a:extLst>
          </p:cNvPr>
          <p:cNvSpPr>
            <a:spLocks noGrp="1"/>
          </p:cNvSpPr>
          <p:nvPr>
            <p:ph type="dt" sz="half" idx="17"/>
          </p:nvPr>
        </p:nvSpPr>
        <p:spPr/>
        <p:txBody>
          <a:bodyPr/>
          <a:lstStyle/>
          <a:p>
            <a:fld id="{0202AC70-2FB3-4996-9330-17A426155C4E}" type="datetime4">
              <a:rPr lang="de-DE" smtClean="0"/>
              <a:pPr/>
              <a:t>21. April 2023</a:t>
            </a:fld>
            <a:endParaRPr lang="de-DE"/>
          </a:p>
        </p:txBody>
      </p:sp>
    </p:spTree>
    <p:extLst>
      <p:ext uri="{BB962C8B-B14F-4D97-AF65-F5344CB8AC3E}">
        <p14:creationId xmlns:p14="http://schemas.microsoft.com/office/powerpoint/2010/main" val="2897420996"/>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folie">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25FE5864-A094-406E-89E9-D63179E2EABB}"/>
              </a:ext>
            </a:extLst>
          </p:cNvPr>
          <p:cNvSpPr>
            <a:spLocks noGrp="1"/>
          </p:cNvSpPr>
          <p:nvPr>
            <p:ph type="dt" sz="half" idx="10"/>
          </p:nvPr>
        </p:nvSpPr>
        <p:spPr/>
        <p:txBody>
          <a:bodyPr/>
          <a:lstStyle/>
          <a:p>
            <a:fld id="{F57604F9-E2DE-408D-BD1C-E52C679446AE}" type="datetime4">
              <a:rPr lang="de-DE" smtClean="0"/>
              <a:pPr/>
              <a:t>21. April 2023</a:t>
            </a:fld>
            <a:endParaRPr lang="de-DE"/>
          </a:p>
        </p:txBody>
      </p:sp>
      <p:sp>
        <p:nvSpPr>
          <p:cNvPr id="6" name="Fußzeilenplatzhalter 5">
            <a:extLst>
              <a:ext uri="{FF2B5EF4-FFF2-40B4-BE49-F238E27FC236}">
                <a16:creationId xmlns:a16="http://schemas.microsoft.com/office/drawing/2014/main" id="{B7E91B4C-233A-4A98-B35D-AFD3519FC6DD}"/>
              </a:ext>
            </a:extLst>
          </p:cNvPr>
          <p:cNvSpPr>
            <a:spLocks noGrp="1"/>
          </p:cNvSpPr>
          <p:nvPr>
            <p:ph type="ftr" sz="quarter" idx="11"/>
          </p:nvPr>
        </p:nvSpPr>
        <p:spPr/>
        <p:txBody>
          <a:bodyPr/>
          <a:lstStyle/>
          <a:p>
            <a:r>
              <a:rPr lang="en-US"/>
              <a:t>Florian Bez</a:t>
            </a:r>
          </a:p>
        </p:txBody>
      </p:sp>
      <p:sp>
        <p:nvSpPr>
          <p:cNvPr id="7" name="Foliennummernplatzhalter 6">
            <a:extLst>
              <a:ext uri="{FF2B5EF4-FFF2-40B4-BE49-F238E27FC236}">
                <a16:creationId xmlns:a16="http://schemas.microsoft.com/office/drawing/2014/main" id="{4F473746-635E-41B0-B312-333AEFDBF987}"/>
              </a:ext>
            </a:extLst>
          </p:cNvPr>
          <p:cNvSpPr>
            <a:spLocks noGrp="1"/>
          </p:cNvSpPr>
          <p:nvPr>
            <p:ph type="sldNum" sz="quarter" idx="12"/>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2947774965"/>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Bilder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3413888" y="1484313"/>
            <a:ext cx="8262175" cy="4346575"/>
          </a:xfrm>
        </p:spPr>
        <p:txBody>
          <a:bodyPr/>
          <a:lstStyle>
            <a:lvl1pPr>
              <a:defRPr>
                <a:solidFill>
                  <a:schemeClr val="tx2"/>
                </a:solidFill>
              </a:defRPr>
            </a:lvl1pPr>
          </a:lstStyle>
          <a:p>
            <a:pPr lvl="0"/>
            <a:r>
              <a:rPr lang="de-DE"/>
              <a:t>Mastertextformat bearbeiten</a:t>
            </a:r>
          </a:p>
        </p:txBody>
      </p:sp>
      <p:sp>
        <p:nvSpPr>
          <p:cNvPr id="6" name="Bildplatzhalter 5"/>
          <p:cNvSpPr>
            <a:spLocks noGrp="1"/>
          </p:cNvSpPr>
          <p:nvPr>
            <p:ph type="pic" sz="quarter" idx="16"/>
          </p:nvPr>
        </p:nvSpPr>
        <p:spPr>
          <a:xfrm>
            <a:off x="515937" y="1484313"/>
            <a:ext cx="2682051" cy="1890712"/>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940175"/>
            <a:ext cx="2682051" cy="1890712"/>
          </a:xfrm>
          <a:solidFill>
            <a:schemeClr val="accent2"/>
          </a:solidFill>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86941DF2-0F6B-45C1-966C-06168FDE473B}"/>
              </a:ext>
            </a:extLst>
          </p:cNvPr>
          <p:cNvSpPr>
            <a:spLocks noGrp="1"/>
          </p:cNvSpPr>
          <p:nvPr>
            <p:ph type="dt" sz="half" idx="18"/>
          </p:nvPr>
        </p:nvSpPr>
        <p:spPr/>
        <p:txBody>
          <a:bodyPr/>
          <a:lstStyle/>
          <a:p>
            <a:fld id="{0EC4ADAF-5621-44DD-B9D3-343485FED766}" type="datetime4">
              <a:rPr lang="de-DE" smtClean="0"/>
              <a:pPr/>
              <a:t>21. April 2023</a:t>
            </a:fld>
            <a:endParaRPr lang="de-DE"/>
          </a:p>
        </p:txBody>
      </p:sp>
      <p:sp>
        <p:nvSpPr>
          <p:cNvPr id="7" name="Fußzeilenplatzhalter 6">
            <a:extLst>
              <a:ext uri="{FF2B5EF4-FFF2-40B4-BE49-F238E27FC236}">
                <a16:creationId xmlns:a16="http://schemas.microsoft.com/office/drawing/2014/main" id="{6D4F61F5-30EB-4395-BA5E-8550DCE9C55F}"/>
              </a:ext>
            </a:extLst>
          </p:cNvPr>
          <p:cNvSpPr>
            <a:spLocks noGrp="1"/>
          </p:cNvSpPr>
          <p:nvPr>
            <p:ph type="ftr" sz="quarter" idx="19"/>
          </p:nvPr>
        </p:nvSpPr>
        <p:spPr/>
        <p:txBody>
          <a:bodyPr/>
          <a:lstStyle/>
          <a:p>
            <a:r>
              <a:rPr lang="en-US"/>
              <a:t>Florian Bez</a:t>
            </a:r>
          </a:p>
        </p:txBody>
      </p:sp>
      <p:sp>
        <p:nvSpPr>
          <p:cNvPr id="8" name="Foliennummernplatzhalter 7">
            <a:extLst>
              <a:ext uri="{FF2B5EF4-FFF2-40B4-BE49-F238E27FC236}">
                <a16:creationId xmlns:a16="http://schemas.microsoft.com/office/drawing/2014/main" id="{8D7220F9-CC6B-4005-A15E-6DA82DADB4AD}"/>
              </a:ext>
            </a:extLst>
          </p:cNvPr>
          <p:cNvSpPr>
            <a:spLocks noGrp="1"/>
          </p:cNvSpPr>
          <p:nvPr>
            <p:ph type="sldNum" sz="quarter" idx="20"/>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1645224656"/>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Bilder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6203972" y="1484313"/>
            <a:ext cx="5472091" cy="4346575"/>
          </a:xfrm>
        </p:spPr>
        <p:txBody>
          <a:bodyPr/>
          <a:lstStyle>
            <a:lvl1pPr>
              <a:defRPr>
                <a:solidFill>
                  <a:schemeClr val="tx2"/>
                </a:solidFill>
              </a:defRPr>
            </a:lvl1pPr>
          </a:lstStyle>
          <a:p>
            <a:pPr lvl="0"/>
            <a:r>
              <a:rPr lang="de-DE"/>
              <a:t>Mastertextformat bearbeiten</a:t>
            </a:r>
          </a:p>
        </p:txBody>
      </p:sp>
      <p:sp>
        <p:nvSpPr>
          <p:cNvPr id="6" name="Bildplatzhalter 5"/>
          <p:cNvSpPr>
            <a:spLocks noGrp="1"/>
          </p:cNvSpPr>
          <p:nvPr>
            <p:ph type="pic" sz="quarter" idx="16"/>
          </p:nvPr>
        </p:nvSpPr>
        <p:spPr>
          <a:xfrm>
            <a:off x="515937" y="1484313"/>
            <a:ext cx="2682051" cy="1890712"/>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940175"/>
            <a:ext cx="2682051" cy="1890712"/>
          </a:xfrm>
          <a:solidFill>
            <a:schemeClr val="accent2"/>
          </a:solidFill>
        </p:spPr>
        <p:txBody>
          <a:bodyPr/>
          <a:lstStyle/>
          <a:p>
            <a:r>
              <a:rPr lang="de-DE"/>
              <a:t>Bild durch Klicken auf Symbol hinzufügen</a:t>
            </a:r>
          </a:p>
        </p:txBody>
      </p:sp>
      <p:sp>
        <p:nvSpPr>
          <p:cNvPr id="18" name="Bildplatzhalter 5"/>
          <p:cNvSpPr>
            <a:spLocks noGrp="1"/>
          </p:cNvSpPr>
          <p:nvPr>
            <p:ph type="pic" sz="quarter" idx="18"/>
          </p:nvPr>
        </p:nvSpPr>
        <p:spPr>
          <a:xfrm>
            <a:off x="3306763" y="1484313"/>
            <a:ext cx="2682051" cy="1890712"/>
          </a:xfrm>
          <a:solidFill>
            <a:schemeClr val="accent2"/>
          </a:solidFill>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80AB8402-18D2-4C1D-8362-49FE78227748}"/>
              </a:ext>
            </a:extLst>
          </p:cNvPr>
          <p:cNvSpPr>
            <a:spLocks noGrp="1"/>
          </p:cNvSpPr>
          <p:nvPr>
            <p:ph type="dt" sz="half" idx="19"/>
          </p:nvPr>
        </p:nvSpPr>
        <p:spPr/>
        <p:txBody>
          <a:bodyPr/>
          <a:lstStyle/>
          <a:p>
            <a:fld id="{705BDA07-B75F-4D48-A6B2-FF19679E540F}" type="datetime4">
              <a:rPr lang="de-DE" smtClean="0"/>
              <a:pPr/>
              <a:t>21. April 2023</a:t>
            </a:fld>
            <a:endParaRPr lang="de-DE"/>
          </a:p>
        </p:txBody>
      </p:sp>
      <p:sp>
        <p:nvSpPr>
          <p:cNvPr id="7" name="Fußzeilenplatzhalter 6">
            <a:extLst>
              <a:ext uri="{FF2B5EF4-FFF2-40B4-BE49-F238E27FC236}">
                <a16:creationId xmlns:a16="http://schemas.microsoft.com/office/drawing/2014/main" id="{00D36A0C-F2A6-4F3F-9333-8EE15915EE25}"/>
              </a:ext>
            </a:extLst>
          </p:cNvPr>
          <p:cNvSpPr>
            <a:spLocks noGrp="1"/>
          </p:cNvSpPr>
          <p:nvPr>
            <p:ph type="ftr" sz="quarter" idx="20"/>
          </p:nvPr>
        </p:nvSpPr>
        <p:spPr/>
        <p:txBody>
          <a:bodyPr/>
          <a:lstStyle/>
          <a:p>
            <a:r>
              <a:rPr lang="en-US"/>
              <a:t>Florian Bez</a:t>
            </a:r>
          </a:p>
        </p:txBody>
      </p:sp>
      <p:sp>
        <p:nvSpPr>
          <p:cNvPr id="8" name="Foliennummernplatzhalter 7">
            <a:extLst>
              <a:ext uri="{FF2B5EF4-FFF2-40B4-BE49-F238E27FC236}">
                <a16:creationId xmlns:a16="http://schemas.microsoft.com/office/drawing/2014/main" id="{85018286-1F2E-4583-9196-19A52EC0D160}"/>
              </a:ext>
            </a:extLst>
          </p:cNvPr>
          <p:cNvSpPr>
            <a:spLocks noGrp="1"/>
          </p:cNvSpPr>
          <p:nvPr>
            <p:ph type="sldNum" sz="quarter" idx="21"/>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2144476344"/>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Bilder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6203972" y="1484313"/>
            <a:ext cx="5472091" cy="4346575"/>
          </a:xfrm>
        </p:spPr>
        <p:txBody>
          <a:bodyPr/>
          <a:lstStyle>
            <a:lvl1pPr>
              <a:defRPr>
                <a:solidFill>
                  <a:schemeClr val="tx2"/>
                </a:solidFill>
              </a:defRPr>
            </a:lvl1pPr>
          </a:lstStyle>
          <a:p>
            <a:pPr lvl="0"/>
            <a:r>
              <a:rPr lang="de-DE"/>
              <a:t>Mastertextformat bearbeiten</a:t>
            </a:r>
          </a:p>
        </p:txBody>
      </p:sp>
      <p:sp>
        <p:nvSpPr>
          <p:cNvPr id="6" name="Bildplatzhalter 5"/>
          <p:cNvSpPr>
            <a:spLocks noGrp="1"/>
          </p:cNvSpPr>
          <p:nvPr>
            <p:ph type="pic" sz="quarter" idx="16"/>
          </p:nvPr>
        </p:nvSpPr>
        <p:spPr>
          <a:xfrm>
            <a:off x="515937" y="1484313"/>
            <a:ext cx="2682051" cy="1890712"/>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940175"/>
            <a:ext cx="2682051" cy="1890712"/>
          </a:xfrm>
          <a:solidFill>
            <a:schemeClr val="accent2"/>
          </a:solidFill>
        </p:spPr>
        <p:txBody>
          <a:bodyPr/>
          <a:lstStyle/>
          <a:p>
            <a:r>
              <a:rPr lang="de-DE"/>
              <a:t>Bild durch Klicken auf Symbol hinzufügen</a:t>
            </a:r>
          </a:p>
        </p:txBody>
      </p:sp>
      <p:sp>
        <p:nvSpPr>
          <p:cNvPr id="18" name="Bildplatzhalter 5"/>
          <p:cNvSpPr>
            <a:spLocks noGrp="1"/>
          </p:cNvSpPr>
          <p:nvPr>
            <p:ph type="pic" sz="quarter" idx="18"/>
          </p:nvPr>
        </p:nvSpPr>
        <p:spPr>
          <a:xfrm>
            <a:off x="3306763" y="1484313"/>
            <a:ext cx="2682051" cy="1890712"/>
          </a:xfrm>
          <a:solidFill>
            <a:schemeClr val="accent2"/>
          </a:solidFill>
        </p:spPr>
        <p:txBody>
          <a:bodyPr/>
          <a:lstStyle/>
          <a:p>
            <a:r>
              <a:rPr lang="de-DE"/>
              <a:t>Bild durch Klicken auf Symbol hinzufügen</a:t>
            </a:r>
          </a:p>
        </p:txBody>
      </p:sp>
      <p:sp>
        <p:nvSpPr>
          <p:cNvPr id="19" name="Bildplatzhalter 5"/>
          <p:cNvSpPr>
            <a:spLocks noGrp="1"/>
          </p:cNvSpPr>
          <p:nvPr>
            <p:ph type="pic" sz="quarter" idx="19"/>
          </p:nvPr>
        </p:nvSpPr>
        <p:spPr>
          <a:xfrm>
            <a:off x="3306763" y="3940175"/>
            <a:ext cx="2682051" cy="1890712"/>
          </a:xfrm>
          <a:solidFill>
            <a:schemeClr val="accent2"/>
          </a:solidFill>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581B665A-2976-4A88-A0BA-F7EEBE9D5967}"/>
              </a:ext>
            </a:extLst>
          </p:cNvPr>
          <p:cNvSpPr>
            <a:spLocks noGrp="1"/>
          </p:cNvSpPr>
          <p:nvPr>
            <p:ph type="dt" sz="half" idx="20"/>
          </p:nvPr>
        </p:nvSpPr>
        <p:spPr/>
        <p:txBody>
          <a:bodyPr/>
          <a:lstStyle/>
          <a:p>
            <a:fld id="{88F158FD-6000-4C95-BA51-8C172D60B474}" type="datetime4">
              <a:rPr lang="de-DE" smtClean="0"/>
              <a:pPr/>
              <a:t>21. April 2023</a:t>
            </a:fld>
            <a:endParaRPr lang="de-DE"/>
          </a:p>
        </p:txBody>
      </p:sp>
      <p:sp>
        <p:nvSpPr>
          <p:cNvPr id="7" name="Fußzeilenplatzhalter 6">
            <a:extLst>
              <a:ext uri="{FF2B5EF4-FFF2-40B4-BE49-F238E27FC236}">
                <a16:creationId xmlns:a16="http://schemas.microsoft.com/office/drawing/2014/main" id="{64C59E19-C5BD-4BB7-B348-9F97269B3E8D}"/>
              </a:ext>
            </a:extLst>
          </p:cNvPr>
          <p:cNvSpPr>
            <a:spLocks noGrp="1"/>
          </p:cNvSpPr>
          <p:nvPr>
            <p:ph type="ftr" sz="quarter" idx="21"/>
          </p:nvPr>
        </p:nvSpPr>
        <p:spPr/>
        <p:txBody>
          <a:bodyPr/>
          <a:lstStyle/>
          <a:p>
            <a:r>
              <a:rPr lang="en-US"/>
              <a:t>Florian Bez</a:t>
            </a:r>
          </a:p>
        </p:txBody>
      </p:sp>
      <p:sp>
        <p:nvSpPr>
          <p:cNvPr id="8" name="Foliennummernplatzhalter 7">
            <a:extLst>
              <a:ext uri="{FF2B5EF4-FFF2-40B4-BE49-F238E27FC236}">
                <a16:creationId xmlns:a16="http://schemas.microsoft.com/office/drawing/2014/main" id="{3A1D1EF7-8F1C-4897-BADB-A79DF3D155EF}"/>
              </a:ext>
            </a:extLst>
          </p:cNvPr>
          <p:cNvSpPr>
            <a:spLocks noGrp="1"/>
          </p:cNvSpPr>
          <p:nvPr>
            <p:ph type="sldNum" sz="quarter" idx="22"/>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1122588916"/>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 Bilder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8993188" y="1484313"/>
            <a:ext cx="2682875" cy="4346575"/>
          </a:xfrm>
        </p:spPr>
        <p:txBody>
          <a:bodyPr/>
          <a:lstStyle>
            <a:lvl1pPr>
              <a:defRPr>
                <a:solidFill>
                  <a:schemeClr val="tx2"/>
                </a:solidFill>
              </a:defRPr>
            </a:lvl1pPr>
          </a:lstStyle>
          <a:p>
            <a:pPr lvl="0"/>
            <a:r>
              <a:rPr lang="de-DE"/>
              <a:t>Mastertextformat bearbeiten</a:t>
            </a:r>
          </a:p>
        </p:txBody>
      </p:sp>
      <p:sp>
        <p:nvSpPr>
          <p:cNvPr id="6" name="Bildplatzhalter 5"/>
          <p:cNvSpPr>
            <a:spLocks noGrp="1"/>
          </p:cNvSpPr>
          <p:nvPr>
            <p:ph type="pic" sz="quarter" idx="16"/>
          </p:nvPr>
        </p:nvSpPr>
        <p:spPr>
          <a:xfrm>
            <a:off x="515937" y="1484313"/>
            <a:ext cx="2682051" cy="1890712"/>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940175"/>
            <a:ext cx="2682051" cy="1890712"/>
          </a:xfrm>
          <a:solidFill>
            <a:schemeClr val="accent2"/>
          </a:solidFill>
        </p:spPr>
        <p:txBody>
          <a:bodyPr/>
          <a:lstStyle/>
          <a:p>
            <a:r>
              <a:rPr lang="de-DE"/>
              <a:t>Bild durch Klicken auf Symbol hinzufügen</a:t>
            </a:r>
          </a:p>
        </p:txBody>
      </p:sp>
      <p:sp>
        <p:nvSpPr>
          <p:cNvPr id="18" name="Bildplatzhalter 5"/>
          <p:cNvSpPr>
            <a:spLocks noGrp="1"/>
          </p:cNvSpPr>
          <p:nvPr>
            <p:ph type="pic" sz="quarter" idx="18"/>
          </p:nvPr>
        </p:nvSpPr>
        <p:spPr>
          <a:xfrm>
            <a:off x="3306763" y="1484313"/>
            <a:ext cx="2682051" cy="1890712"/>
          </a:xfrm>
          <a:solidFill>
            <a:schemeClr val="accent2"/>
          </a:solidFill>
        </p:spPr>
        <p:txBody>
          <a:bodyPr/>
          <a:lstStyle/>
          <a:p>
            <a:r>
              <a:rPr lang="de-DE"/>
              <a:t>Bild durch Klicken auf Symbol hinzufügen</a:t>
            </a:r>
          </a:p>
        </p:txBody>
      </p:sp>
      <p:sp>
        <p:nvSpPr>
          <p:cNvPr id="19" name="Bildplatzhalter 5"/>
          <p:cNvSpPr>
            <a:spLocks noGrp="1"/>
          </p:cNvSpPr>
          <p:nvPr>
            <p:ph type="pic" sz="quarter" idx="19"/>
          </p:nvPr>
        </p:nvSpPr>
        <p:spPr>
          <a:xfrm>
            <a:off x="3306763" y="3940175"/>
            <a:ext cx="2682051" cy="1890712"/>
          </a:xfrm>
          <a:solidFill>
            <a:schemeClr val="accent2"/>
          </a:solidFill>
        </p:spPr>
        <p:txBody>
          <a:bodyPr/>
          <a:lstStyle/>
          <a:p>
            <a:r>
              <a:rPr lang="de-DE"/>
              <a:t>Bild durch Klicken auf Symbol hinzufügen</a:t>
            </a:r>
          </a:p>
        </p:txBody>
      </p:sp>
      <p:sp>
        <p:nvSpPr>
          <p:cNvPr id="20" name="Bildplatzhalter 5"/>
          <p:cNvSpPr>
            <a:spLocks noGrp="1"/>
          </p:cNvSpPr>
          <p:nvPr>
            <p:ph type="pic" sz="quarter" idx="20"/>
          </p:nvPr>
        </p:nvSpPr>
        <p:spPr>
          <a:xfrm>
            <a:off x="6095237" y="1484313"/>
            <a:ext cx="2682051" cy="1890712"/>
          </a:xfrm>
          <a:solidFill>
            <a:schemeClr val="accent2"/>
          </a:solidFill>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CE86D920-A535-4D00-A458-6DBD6C171628}"/>
              </a:ext>
            </a:extLst>
          </p:cNvPr>
          <p:cNvSpPr>
            <a:spLocks noGrp="1"/>
          </p:cNvSpPr>
          <p:nvPr>
            <p:ph type="dt" sz="half" idx="21"/>
          </p:nvPr>
        </p:nvSpPr>
        <p:spPr/>
        <p:txBody>
          <a:bodyPr/>
          <a:lstStyle/>
          <a:p>
            <a:fld id="{B760F509-15DF-4301-A219-1906DE945B15}" type="datetime4">
              <a:rPr lang="de-DE" smtClean="0"/>
              <a:pPr/>
              <a:t>21. April 2023</a:t>
            </a:fld>
            <a:endParaRPr lang="de-DE"/>
          </a:p>
        </p:txBody>
      </p:sp>
      <p:sp>
        <p:nvSpPr>
          <p:cNvPr id="7" name="Fußzeilenplatzhalter 6">
            <a:extLst>
              <a:ext uri="{FF2B5EF4-FFF2-40B4-BE49-F238E27FC236}">
                <a16:creationId xmlns:a16="http://schemas.microsoft.com/office/drawing/2014/main" id="{D515805D-CC4C-463B-AA04-420C411F8AD5}"/>
              </a:ext>
            </a:extLst>
          </p:cNvPr>
          <p:cNvSpPr>
            <a:spLocks noGrp="1"/>
          </p:cNvSpPr>
          <p:nvPr>
            <p:ph type="ftr" sz="quarter" idx="22"/>
          </p:nvPr>
        </p:nvSpPr>
        <p:spPr/>
        <p:txBody>
          <a:bodyPr/>
          <a:lstStyle/>
          <a:p>
            <a:r>
              <a:rPr lang="en-US"/>
              <a:t>Florian Bez</a:t>
            </a:r>
          </a:p>
        </p:txBody>
      </p:sp>
      <p:sp>
        <p:nvSpPr>
          <p:cNvPr id="8" name="Foliennummernplatzhalter 7">
            <a:extLst>
              <a:ext uri="{FF2B5EF4-FFF2-40B4-BE49-F238E27FC236}">
                <a16:creationId xmlns:a16="http://schemas.microsoft.com/office/drawing/2014/main" id="{47840625-60E5-4EC3-8607-A8F15E32F353}"/>
              </a:ext>
            </a:extLst>
          </p:cNvPr>
          <p:cNvSpPr>
            <a:spLocks noGrp="1"/>
          </p:cNvSpPr>
          <p:nvPr>
            <p:ph type="sldNum" sz="quarter" idx="23"/>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2425229447"/>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Bilder mit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8993188" y="1484313"/>
            <a:ext cx="2682875" cy="4346575"/>
          </a:xfrm>
        </p:spPr>
        <p:txBody>
          <a:bodyPr/>
          <a:lstStyle>
            <a:lvl1pPr>
              <a:defRPr>
                <a:solidFill>
                  <a:schemeClr val="tx2"/>
                </a:solidFill>
              </a:defRPr>
            </a:lvl1pPr>
          </a:lstStyle>
          <a:p>
            <a:pPr lvl="0"/>
            <a:r>
              <a:rPr lang="de-DE"/>
              <a:t>Mastertextformat bearbeiten</a:t>
            </a:r>
          </a:p>
        </p:txBody>
      </p:sp>
      <p:sp>
        <p:nvSpPr>
          <p:cNvPr id="6" name="Bildplatzhalter 5"/>
          <p:cNvSpPr>
            <a:spLocks noGrp="1"/>
          </p:cNvSpPr>
          <p:nvPr>
            <p:ph type="pic" sz="quarter" idx="16"/>
          </p:nvPr>
        </p:nvSpPr>
        <p:spPr>
          <a:xfrm>
            <a:off x="515937" y="1484313"/>
            <a:ext cx="2682051" cy="1890712"/>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940175"/>
            <a:ext cx="2682051" cy="1890712"/>
          </a:xfrm>
          <a:solidFill>
            <a:schemeClr val="accent2"/>
          </a:solidFill>
        </p:spPr>
        <p:txBody>
          <a:bodyPr/>
          <a:lstStyle/>
          <a:p>
            <a:r>
              <a:rPr lang="de-DE"/>
              <a:t>Bild durch Klicken auf Symbol hinzufügen</a:t>
            </a:r>
          </a:p>
        </p:txBody>
      </p:sp>
      <p:sp>
        <p:nvSpPr>
          <p:cNvPr id="18" name="Bildplatzhalter 5"/>
          <p:cNvSpPr>
            <a:spLocks noGrp="1"/>
          </p:cNvSpPr>
          <p:nvPr>
            <p:ph type="pic" sz="quarter" idx="18"/>
          </p:nvPr>
        </p:nvSpPr>
        <p:spPr>
          <a:xfrm>
            <a:off x="3306763" y="1484313"/>
            <a:ext cx="2682051" cy="1890712"/>
          </a:xfrm>
          <a:solidFill>
            <a:schemeClr val="accent2"/>
          </a:solidFill>
        </p:spPr>
        <p:txBody>
          <a:bodyPr/>
          <a:lstStyle/>
          <a:p>
            <a:r>
              <a:rPr lang="de-DE"/>
              <a:t>Bild durch Klicken auf Symbol hinzufügen</a:t>
            </a:r>
          </a:p>
        </p:txBody>
      </p:sp>
      <p:sp>
        <p:nvSpPr>
          <p:cNvPr id="19" name="Bildplatzhalter 5"/>
          <p:cNvSpPr>
            <a:spLocks noGrp="1"/>
          </p:cNvSpPr>
          <p:nvPr>
            <p:ph type="pic" sz="quarter" idx="19"/>
          </p:nvPr>
        </p:nvSpPr>
        <p:spPr>
          <a:xfrm>
            <a:off x="3306763" y="3940175"/>
            <a:ext cx="2682051" cy="1890712"/>
          </a:xfrm>
          <a:solidFill>
            <a:schemeClr val="accent2"/>
          </a:solidFill>
        </p:spPr>
        <p:txBody>
          <a:bodyPr/>
          <a:lstStyle/>
          <a:p>
            <a:r>
              <a:rPr lang="de-DE"/>
              <a:t>Bild durch Klicken auf Symbol hinzufügen</a:t>
            </a:r>
          </a:p>
        </p:txBody>
      </p:sp>
      <p:sp>
        <p:nvSpPr>
          <p:cNvPr id="20" name="Bildplatzhalter 5"/>
          <p:cNvSpPr>
            <a:spLocks noGrp="1"/>
          </p:cNvSpPr>
          <p:nvPr>
            <p:ph type="pic" sz="quarter" idx="20"/>
          </p:nvPr>
        </p:nvSpPr>
        <p:spPr>
          <a:xfrm>
            <a:off x="6095237" y="1484313"/>
            <a:ext cx="2682051" cy="1890712"/>
          </a:xfrm>
          <a:solidFill>
            <a:schemeClr val="accent2"/>
          </a:solidFill>
        </p:spPr>
        <p:txBody>
          <a:bodyPr/>
          <a:lstStyle/>
          <a:p>
            <a:r>
              <a:rPr lang="de-DE"/>
              <a:t>Bild durch Klicken auf Symbol hinzufügen</a:t>
            </a:r>
          </a:p>
        </p:txBody>
      </p:sp>
      <p:sp>
        <p:nvSpPr>
          <p:cNvPr id="21" name="Bildplatzhalter 5"/>
          <p:cNvSpPr>
            <a:spLocks noGrp="1"/>
          </p:cNvSpPr>
          <p:nvPr>
            <p:ph type="pic" sz="quarter" idx="21"/>
          </p:nvPr>
        </p:nvSpPr>
        <p:spPr>
          <a:xfrm>
            <a:off x="6095237" y="3940175"/>
            <a:ext cx="2682051" cy="1890712"/>
          </a:xfrm>
          <a:solidFill>
            <a:schemeClr val="accent2"/>
          </a:solidFill>
        </p:spPr>
        <p:txBody>
          <a:bodyPr/>
          <a:lstStyle/>
          <a:p>
            <a:r>
              <a:rPr lang="de-DE"/>
              <a:t>Bild durch Klicken auf Symbol hinzufügen</a:t>
            </a:r>
          </a:p>
        </p:txBody>
      </p:sp>
      <p:sp>
        <p:nvSpPr>
          <p:cNvPr id="5" name="Datumsplatzhalter 4">
            <a:extLst>
              <a:ext uri="{FF2B5EF4-FFF2-40B4-BE49-F238E27FC236}">
                <a16:creationId xmlns:a16="http://schemas.microsoft.com/office/drawing/2014/main" id="{726DF89F-3840-4195-BCD3-821375BA6DF4}"/>
              </a:ext>
            </a:extLst>
          </p:cNvPr>
          <p:cNvSpPr>
            <a:spLocks noGrp="1"/>
          </p:cNvSpPr>
          <p:nvPr>
            <p:ph type="dt" sz="half" idx="22"/>
          </p:nvPr>
        </p:nvSpPr>
        <p:spPr/>
        <p:txBody>
          <a:bodyPr/>
          <a:lstStyle/>
          <a:p>
            <a:fld id="{B981794C-043A-4E4A-8797-683969759EC8}" type="datetime4">
              <a:rPr lang="de-DE" smtClean="0"/>
              <a:pPr/>
              <a:t>21. April 2023</a:t>
            </a:fld>
            <a:endParaRPr lang="de-DE"/>
          </a:p>
        </p:txBody>
      </p:sp>
      <p:sp>
        <p:nvSpPr>
          <p:cNvPr id="7" name="Fußzeilenplatzhalter 6">
            <a:extLst>
              <a:ext uri="{FF2B5EF4-FFF2-40B4-BE49-F238E27FC236}">
                <a16:creationId xmlns:a16="http://schemas.microsoft.com/office/drawing/2014/main" id="{0A420337-6013-4F29-93EA-7FF10B9F6E85}"/>
              </a:ext>
            </a:extLst>
          </p:cNvPr>
          <p:cNvSpPr>
            <a:spLocks noGrp="1"/>
          </p:cNvSpPr>
          <p:nvPr>
            <p:ph type="ftr" sz="quarter" idx="23"/>
          </p:nvPr>
        </p:nvSpPr>
        <p:spPr/>
        <p:txBody>
          <a:bodyPr/>
          <a:lstStyle/>
          <a:p>
            <a:r>
              <a:rPr lang="en-US"/>
              <a:t>Florian Bez</a:t>
            </a:r>
          </a:p>
        </p:txBody>
      </p:sp>
      <p:sp>
        <p:nvSpPr>
          <p:cNvPr id="8" name="Foliennummernplatzhalter 7">
            <a:extLst>
              <a:ext uri="{FF2B5EF4-FFF2-40B4-BE49-F238E27FC236}">
                <a16:creationId xmlns:a16="http://schemas.microsoft.com/office/drawing/2014/main" id="{D6CA6E1F-07FC-4A33-BB79-9130CD062677}"/>
              </a:ext>
            </a:extLst>
          </p:cNvPr>
          <p:cNvSpPr>
            <a:spLocks noGrp="1"/>
          </p:cNvSpPr>
          <p:nvPr>
            <p:ph type="sldNum" sz="quarter" idx="24"/>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1840670461"/>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Bilder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6" name="Bildplatzhalter 5"/>
          <p:cNvSpPr>
            <a:spLocks noGrp="1"/>
          </p:cNvSpPr>
          <p:nvPr>
            <p:ph type="pic" sz="quarter" idx="16"/>
          </p:nvPr>
        </p:nvSpPr>
        <p:spPr>
          <a:xfrm>
            <a:off x="515937" y="1484312"/>
            <a:ext cx="2947779" cy="2078037"/>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752851"/>
            <a:ext cx="2947779" cy="2078037"/>
          </a:xfrm>
          <a:solidFill>
            <a:schemeClr val="accent2"/>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3C258A21-4C59-47C5-84E0-E72E4E1AF087}"/>
              </a:ext>
            </a:extLst>
          </p:cNvPr>
          <p:cNvSpPr>
            <a:spLocks noGrp="1"/>
          </p:cNvSpPr>
          <p:nvPr>
            <p:ph type="dt" sz="half" idx="18"/>
          </p:nvPr>
        </p:nvSpPr>
        <p:spPr/>
        <p:txBody>
          <a:bodyPr/>
          <a:lstStyle/>
          <a:p>
            <a:fld id="{7B3B654D-FDAF-47F6-B4E9-579435EBCCC3}" type="datetime4">
              <a:rPr lang="de-DE" smtClean="0"/>
              <a:pPr/>
              <a:t>21. April 2023</a:t>
            </a:fld>
            <a:endParaRPr lang="de-DE"/>
          </a:p>
        </p:txBody>
      </p:sp>
      <p:sp>
        <p:nvSpPr>
          <p:cNvPr id="5" name="Fußzeilenplatzhalter 4">
            <a:extLst>
              <a:ext uri="{FF2B5EF4-FFF2-40B4-BE49-F238E27FC236}">
                <a16:creationId xmlns:a16="http://schemas.microsoft.com/office/drawing/2014/main" id="{CB0C5735-602F-428B-BFB2-9E58793603CC}"/>
              </a:ext>
            </a:extLst>
          </p:cNvPr>
          <p:cNvSpPr>
            <a:spLocks noGrp="1"/>
          </p:cNvSpPr>
          <p:nvPr>
            <p:ph type="ftr" sz="quarter" idx="19"/>
          </p:nvPr>
        </p:nvSpPr>
        <p:spPr/>
        <p:txBody>
          <a:bodyPr/>
          <a:lstStyle/>
          <a:p>
            <a:r>
              <a:rPr lang="en-US"/>
              <a:t>Florian Bez</a:t>
            </a:r>
          </a:p>
        </p:txBody>
      </p:sp>
      <p:sp>
        <p:nvSpPr>
          <p:cNvPr id="7" name="Foliennummernplatzhalter 6">
            <a:extLst>
              <a:ext uri="{FF2B5EF4-FFF2-40B4-BE49-F238E27FC236}">
                <a16:creationId xmlns:a16="http://schemas.microsoft.com/office/drawing/2014/main" id="{09F92C84-D2EA-4CF4-98C6-129F7B3C009F}"/>
              </a:ext>
            </a:extLst>
          </p:cNvPr>
          <p:cNvSpPr>
            <a:spLocks noGrp="1"/>
          </p:cNvSpPr>
          <p:nvPr>
            <p:ph type="sldNum" sz="quarter" idx="20"/>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4119715379"/>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Bilder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6" name="Bildplatzhalter 5"/>
          <p:cNvSpPr>
            <a:spLocks noGrp="1"/>
          </p:cNvSpPr>
          <p:nvPr>
            <p:ph type="pic" sz="quarter" idx="16"/>
          </p:nvPr>
        </p:nvSpPr>
        <p:spPr>
          <a:xfrm>
            <a:off x="515937" y="1484312"/>
            <a:ext cx="2947779" cy="2078037"/>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752851"/>
            <a:ext cx="2947779" cy="2078037"/>
          </a:xfrm>
          <a:solidFill>
            <a:schemeClr val="accent2"/>
          </a:solidFill>
        </p:spPr>
        <p:txBody>
          <a:bodyPr/>
          <a:lstStyle/>
          <a:p>
            <a:r>
              <a:rPr lang="de-DE"/>
              <a:t>Bild durch Klicken auf Symbol hinzufügen</a:t>
            </a:r>
          </a:p>
        </p:txBody>
      </p:sp>
      <p:sp>
        <p:nvSpPr>
          <p:cNvPr id="8" name="Bildplatzhalter 5"/>
          <p:cNvSpPr>
            <a:spLocks noGrp="1"/>
          </p:cNvSpPr>
          <p:nvPr>
            <p:ph type="pic" sz="quarter" idx="18"/>
          </p:nvPr>
        </p:nvSpPr>
        <p:spPr>
          <a:xfrm>
            <a:off x="4622110" y="1484312"/>
            <a:ext cx="2947779" cy="2078037"/>
          </a:xfrm>
          <a:solidFill>
            <a:schemeClr val="accent2"/>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31D1ABD7-86C5-4BD1-8941-39D4669A56C5}"/>
              </a:ext>
            </a:extLst>
          </p:cNvPr>
          <p:cNvSpPr>
            <a:spLocks noGrp="1"/>
          </p:cNvSpPr>
          <p:nvPr>
            <p:ph type="dt" sz="half" idx="19"/>
          </p:nvPr>
        </p:nvSpPr>
        <p:spPr/>
        <p:txBody>
          <a:bodyPr/>
          <a:lstStyle/>
          <a:p>
            <a:fld id="{127EE8F4-E1C9-48B5-A807-F9EA0D0AB1D1}" type="datetime4">
              <a:rPr lang="de-DE" smtClean="0"/>
              <a:pPr/>
              <a:t>21. April 2023</a:t>
            </a:fld>
            <a:endParaRPr lang="de-DE"/>
          </a:p>
        </p:txBody>
      </p:sp>
      <p:sp>
        <p:nvSpPr>
          <p:cNvPr id="5" name="Fußzeilenplatzhalter 4">
            <a:extLst>
              <a:ext uri="{FF2B5EF4-FFF2-40B4-BE49-F238E27FC236}">
                <a16:creationId xmlns:a16="http://schemas.microsoft.com/office/drawing/2014/main" id="{BAE51D17-459B-4AFF-AF4A-EF4F2627B077}"/>
              </a:ext>
            </a:extLst>
          </p:cNvPr>
          <p:cNvSpPr>
            <a:spLocks noGrp="1"/>
          </p:cNvSpPr>
          <p:nvPr>
            <p:ph type="ftr" sz="quarter" idx="20"/>
          </p:nvPr>
        </p:nvSpPr>
        <p:spPr/>
        <p:txBody>
          <a:bodyPr/>
          <a:lstStyle/>
          <a:p>
            <a:r>
              <a:rPr lang="en-US"/>
              <a:t>Florian Bez</a:t>
            </a:r>
          </a:p>
        </p:txBody>
      </p:sp>
      <p:sp>
        <p:nvSpPr>
          <p:cNvPr id="7" name="Foliennummernplatzhalter 6">
            <a:extLst>
              <a:ext uri="{FF2B5EF4-FFF2-40B4-BE49-F238E27FC236}">
                <a16:creationId xmlns:a16="http://schemas.microsoft.com/office/drawing/2014/main" id="{5A3B019D-0602-49E8-AD20-E41755CEA2C1}"/>
              </a:ext>
            </a:extLst>
          </p:cNvPr>
          <p:cNvSpPr>
            <a:spLocks noGrp="1"/>
          </p:cNvSpPr>
          <p:nvPr>
            <p:ph type="sldNum" sz="quarter" idx="21"/>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238361332"/>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 Bilder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6" name="Bildplatzhalter 5"/>
          <p:cNvSpPr>
            <a:spLocks noGrp="1"/>
          </p:cNvSpPr>
          <p:nvPr>
            <p:ph type="pic" sz="quarter" idx="16"/>
          </p:nvPr>
        </p:nvSpPr>
        <p:spPr>
          <a:xfrm>
            <a:off x="515937" y="1484312"/>
            <a:ext cx="2947779" cy="2078037"/>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752851"/>
            <a:ext cx="2947779" cy="2078037"/>
          </a:xfrm>
          <a:solidFill>
            <a:schemeClr val="accent2"/>
          </a:solidFill>
        </p:spPr>
        <p:txBody>
          <a:bodyPr/>
          <a:lstStyle/>
          <a:p>
            <a:r>
              <a:rPr lang="de-DE"/>
              <a:t>Bild durch Klicken auf Symbol hinzufügen</a:t>
            </a:r>
          </a:p>
        </p:txBody>
      </p:sp>
      <p:sp>
        <p:nvSpPr>
          <p:cNvPr id="8" name="Bildplatzhalter 5"/>
          <p:cNvSpPr>
            <a:spLocks noGrp="1"/>
          </p:cNvSpPr>
          <p:nvPr>
            <p:ph type="pic" sz="quarter" idx="18"/>
          </p:nvPr>
        </p:nvSpPr>
        <p:spPr>
          <a:xfrm>
            <a:off x="4622110" y="1484312"/>
            <a:ext cx="2947779" cy="2078037"/>
          </a:xfrm>
          <a:solidFill>
            <a:schemeClr val="accent2"/>
          </a:solidFill>
        </p:spPr>
        <p:txBody>
          <a:bodyPr/>
          <a:lstStyle/>
          <a:p>
            <a:r>
              <a:rPr lang="de-DE"/>
              <a:t>Bild durch Klicken auf Symbol hinzufügen</a:t>
            </a:r>
          </a:p>
        </p:txBody>
      </p:sp>
      <p:sp>
        <p:nvSpPr>
          <p:cNvPr id="9" name="Bildplatzhalter 5"/>
          <p:cNvSpPr>
            <a:spLocks noGrp="1"/>
          </p:cNvSpPr>
          <p:nvPr>
            <p:ph type="pic" sz="quarter" idx="19"/>
          </p:nvPr>
        </p:nvSpPr>
        <p:spPr>
          <a:xfrm>
            <a:off x="4622110" y="3752851"/>
            <a:ext cx="2947779" cy="2078037"/>
          </a:xfrm>
          <a:solidFill>
            <a:schemeClr val="accent2"/>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CC562467-7D04-471D-8C85-F48D3BFB5CCE}"/>
              </a:ext>
            </a:extLst>
          </p:cNvPr>
          <p:cNvSpPr>
            <a:spLocks noGrp="1"/>
          </p:cNvSpPr>
          <p:nvPr>
            <p:ph type="dt" sz="half" idx="20"/>
          </p:nvPr>
        </p:nvSpPr>
        <p:spPr/>
        <p:txBody>
          <a:bodyPr/>
          <a:lstStyle/>
          <a:p>
            <a:fld id="{6E3F173C-9C69-4B47-AE4C-C28AF9E20245}" type="datetime4">
              <a:rPr lang="de-DE" smtClean="0"/>
              <a:pPr/>
              <a:t>21. April 2023</a:t>
            </a:fld>
            <a:endParaRPr lang="de-DE"/>
          </a:p>
        </p:txBody>
      </p:sp>
      <p:sp>
        <p:nvSpPr>
          <p:cNvPr id="5" name="Fußzeilenplatzhalter 4">
            <a:extLst>
              <a:ext uri="{FF2B5EF4-FFF2-40B4-BE49-F238E27FC236}">
                <a16:creationId xmlns:a16="http://schemas.microsoft.com/office/drawing/2014/main" id="{431A6CAE-FC0C-4B55-9F46-C2DC356BE035}"/>
              </a:ext>
            </a:extLst>
          </p:cNvPr>
          <p:cNvSpPr>
            <a:spLocks noGrp="1"/>
          </p:cNvSpPr>
          <p:nvPr>
            <p:ph type="ftr" sz="quarter" idx="21"/>
          </p:nvPr>
        </p:nvSpPr>
        <p:spPr/>
        <p:txBody>
          <a:bodyPr/>
          <a:lstStyle/>
          <a:p>
            <a:r>
              <a:rPr lang="en-US"/>
              <a:t>Florian Bez</a:t>
            </a:r>
          </a:p>
        </p:txBody>
      </p:sp>
      <p:sp>
        <p:nvSpPr>
          <p:cNvPr id="7" name="Foliennummernplatzhalter 6">
            <a:extLst>
              <a:ext uri="{FF2B5EF4-FFF2-40B4-BE49-F238E27FC236}">
                <a16:creationId xmlns:a16="http://schemas.microsoft.com/office/drawing/2014/main" id="{8941F7D5-91EE-4ED1-AFAA-D65533466802}"/>
              </a:ext>
            </a:extLst>
          </p:cNvPr>
          <p:cNvSpPr>
            <a:spLocks noGrp="1"/>
          </p:cNvSpPr>
          <p:nvPr>
            <p:ph type="sldNum" sz="quarter" idx="22"/>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3563319980"/>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02">
    <p:spTree>
      <p:nvGrpSpPr>
        <p:cNvPr id="1" name=""/>
        <p:cNvGrpSpPr/>
        <p:nvPr/>
      </p:nvGrpSpPr>
      <p:grpSpPr>
        <a:xfrm>
          <a:off x="0" y="0"/>
          <a:ext cx="0" cy="0"/>
          <a:chOff x="0" y="0"/>
          <a:chExt cx="0" cy="0"/>
        </a:xfrm>
      </p:grpSpPr>
      <p:sp>
        <p:nvSpPr>
          <p:cNvPr id="20" name="Bildplatzhalter 19"/>
          <p:cNvSpPr>
            <a:spLocks noGrp="1"/>
          </p:cNvSpPr>
          <p:nvPr>
            <p:ph type="pic" sz="quarter" idx="12"/>
          </p:nvPr>
        </p:nvSpPr>
        <p:spPr>
          <a:xfrm>
            <a:off x="300038" y="288925"/>
            <a:ext cx="11591925" cy="4714875"/>
          </a:xfrm>
          <a:custGeom>
            <a:avLst/>
            <a:gdLst>
              <a:gd name="connsiteX0" fmla="*/ 0 w 11591925"/>
              <a:gd name="connsiteY0" fmla="*/ 0 h 4714875"/>
              <a:gd name="connsiteX1" fmla="*/ 11591925 w 11591925"/>
              <a:gd name="connsiteY1" fmla="*/ 0 h 4714875"/>
              <a:gd name="connsiteX2" fmla="*/ 11591925 w 11591925"/>
              <a:gd name="connsiteY2" fmla="*/ 4714875 h 4714875"/>
              <a:gd name="connsiteX3" fmla="*/ 10655300 w 11591925"/>
              <a:gd name="connsiteY3" fmla="*/ 4714875 h 4714875"/>
              <a:gd name="connsiteX4" fmla="*/ 10655300 w 11591925"/>
              <a:gd name="connsiteY4" fmla="*/ 3402013 h 4714875"/>
              <a:gd name="connsiteX5" fmla="*/ 936625 w 11591925"/>
              <a:gd name="connsiteY5" fmla="*/ 3402013 h 4714875"/>
              <a:gd name="connsiteX6" fmla="*/ 936625 w 11591925"/>
              <a:gd name="connsiteY6" fmla="*/ 4714875 h 4714875"/>
              <a:gd name="connsiteX7" fmla="*/ 0 w 11591925"/>
              <a:gd name="connsiteY7" fmla="*/ 4714875 h 471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91925" h="4714875">
                <a:moveTo>
                  <a:pt x="0" y="0"/>
                </a:moveTo>
                <a:lnTo>
                  <a:pt x="11591925" y="0"/>
                </a:lnTo>
                <a:lnTo>
                  <a:pt x="11591925" y="4714875"/>
                </a:lnTo>
                <a:lnTo>
                  <a:pt x="10655300" y="4714875"/>
                </a:lnTo>
                <a:lnTo>
                  <a:pt x="10655300" y="3402013"/>
                </a:lnTo>
                <a:lnTo>
                  <a:pt x="936625" y="3402013"/>
                </a:lnTo>
                <a:lnTo>
                  <a:pt x="936625" y="4714875"/>
                </a:lnTo>
                <a:lnTo>
                  <a:pt x="0" y="4714875"/>
                </a:lnTo>
                <a:close/>
              </a:path>
            </a:pathLst>
          </a:custGeo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415892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Rechteck 6"/>
          <p:cNvSpPr/>
          <p:nvPr userDrawn="1"/>
        </p:nvSpPr>
        <p:spPr>
          <a:xfrm>
            <a:off x="1236000" y="3691467"/>
            <a:ext cx="9720000" cy="21577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1236000" y="3821635"/>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1236000" y="4068000"/>
            <a:ext cx="9504100"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tx2"/>
                </a:solidFill>
                <a:latin typeface="+mj-lt"/>
                <a:ea typeface="+mj-ea"/>
                <a:cs typeface="Arial" panose="020B0604020202020204" pitchFamily="34" charset="0"/>
              </a:defRPr>
            </a:lvl1pPr>
          </a:lstStyle>
          <a:p>
            <a:r>
              <a:rPr lang="de-DE"/>
              <a:t>Überschrift</a:t>
            </a:r>
            <a:br>
              <a:rPr lang="de-DE"/>
            </a:br>
            <a:r>
              <a:rPr lang="de-DE"/>
              <a:t>in zwei Zeilen</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1451900"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Fußzeilenplatzhalter 9">
            <a:extLst>
              <a:ext uri="{FF2B5EF4-FFF2-40B4-BE49-F238E27FC236}">
                <a16:creationId xmlns:a16="http://schemas.microsoft.com/office/drawing/2014/main" id="{2C78C475-BA38-4A88-88A3-E8A79D86A455}"/>
              </a:ext>
            </a:extLst>
          </p:cNvPr>
          <p:cNvSpPr>
            <a:spLocks noGrp="1"/>
          </p:cNvSpPr>
          <p:nvPr>
            <p:ph type="ftr" sz="quarter" idx="14"/>
          </p:nvPr>
        </p:nvSpPr>
        <p:spPr>
          <a:xfrm>
            <a:off x="1236000" y="5563622"/>
            <a:ext cx="4782950" cy="215444"/>
          </a:xfrm>
        </p:spPr>
        <p:txBody>
          <a:bodyPr lIns="216000" tIns="0" rIns="0" bIns="0"/>
          <a:lstStyle>
            <a:lvl1pPr>
              <a:spcBef>
                <a:spcPts val="600"/>
              </a:spcBef>
              <a:spcAft>
                <a:spcPts val="600"/>
              </a:spcAft>
              <a:defRPr sz="1400">
                <a:solidFill>
                  <a:schemeClr val="tx2"/>
                </a:solidFill>
              </a:defRPr>
            </a:lvl1pPr>
          </a:lstStyle>
          <a:p>
            <a:r>
              <a:rPr lang="de-DE"/>
              <a:t>Florian Bez</a:t>
            </a:r>
          </a:p>
        </p:txBody>
      </p:sp>
    </p:spTree>
    <p:extLst>
      <p:ext uri="{BB962C8B-B14F-4D97-AF65-F5344CB8AC3E}">
        <p14:creationId xmlns:p14="http://schemas.microsoft.com/office/powerpoint/2010/main" val="2487911683"/>
      </p:ext>
    </p:extLst>
  </p:cSld>
  <p:clrMapOvr>
    <a:masterClrMapping/>
  </p:clrMapOvr>
  <p:hf hdr="0" dt="0"/>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Bilder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6" name="Bildplatzhalter 5"/>
          <p:cNvSpPr>
            <a:spLocks noGrp="1"/>
          </p:cNvSpPr>
          <p:nvPr>
            <p:ph type="pic" sz="quarter" idx="16"/>
          </p:nvPr>
        </p:nvSpPr>
        <p:spPr>
          <a:xfrm>
            <a:off x="515937" y="1484312"/>
            <a:ext cx="2947779" cy="2078037"/>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752851"/>
            <a:ext cx="2947779" cy="2078037"/>
          </a:xfrm>
          <a:solidFill>
            <a:schemeClr val="accent2"/>
          </a:solidFill>
        </p:spPr>
        <p:txBody>
          <a:bodyPr/>
          <a:lstStyle/>
          <a:p>
            <a:r>
              <a:rPr lang="de-DE"/>
              <a:t>Bild durch Klicken auf Symbol hinzufügen</a:t>
            </a:r>
          </a:p>
        </p:txBody>
      </p:sp>
      <p:sp>
        <p:nvSpPr>
          <p:cNvPr id="8" name="Bildplatzhalter 5"/>
          <p:cNvSpPr>
            <a:spLocks noGrp="1"/>
          </p:cNvSpPr>
          <p:nvPr>
            <p:ph type="pic" sz="quarter" idx="18"/>
          </p:nvPr>
        </p:nvSpPr>
        <p:spPr>
          <a:xfrm>
            <a:off x="4622110" y="1484312"/>
            <a:ext cx="2947779" cy="2078037"/>
          </a:xfrm>
          <a:solidFill>
            <a:schemeClr val="accent2"/>
          </a:solidFill>
        </p:spPr>
        <p:txBody>
          <a:bodyPr/>
          <a:lstStyle/>
          <a:p>
            <a:r>
              <a:rPr lang="de-DE"/>
              <a:t>Bild durch Klicken auf Symbol hinzufügen</a:t>
            </a:r>
          </a:p>
        </p:txBody>
      </p:sp>
      <p:sp>
        <p:nvSpPr>
          <p:cNvPr id="9" name="Bildplatzhalter 5"/>
          <p:cNvSpPr>
            <a:spLocks noGrp="1"/>
          </p:cNvSpPr>
          <p:nvPr>
            <p:ph type="pic" sz="quarter" idx="19"/>
          </p:nvPr>
        </p:nvSpPr>
        <p:spPr>
          <a:xfrm>
            <a:off x="4622110" y="3752851"/>
            <a:ext cx="2947779" cy="2078037"/>
          </a:xfrm>
          <a:solidFill>
            <a:schemeClr val="accent2"/>
          </a:solidFill>
        </p:spPr>
        <p:txBody>
          <a:bodyPr/>
          <a:lstStyle/>
          <a:p>
            <a:r>
              <a:rPr lang="de-DE"/>
              <a:t>Bild durch Klicken auf Symbol hinzufügen</a:t>
            </a:r>
          </a:p>
        </p:txBody>
      </p:sp>
      <p:sp>
        <p:nvSpPr>
          <p:cNvPr id="10" name="Bildplatzhalter 5"/>
          <p:cNvSpPr>
            <a:spLocks noGrp="1"/>
          </p:cNvSpPr>
          <p:nvPr>
            <p:ph type="pic" sz="quarter" idx="20"/>
          </p:nvPr>
        </p:nvSpPr>
        <p:spPr>
          <a:xfrm>
            <a:off x="8728284" y="1484312"/>
            <a:ext cx="2947779" cy="2078037"/>
          </a:xfrm>
          <a:solidFill>
            <a:schemeClr val="accent2"/>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01F38755-1B90-4D37-BF79-46C9F566FA46}"/>
              </a:ext>
            </a:extLst>
          </p:cNvPr>
          <p:cNvSpPr>
            <a:spLocks noGrp="1"/>
          </p:cNvSpPr>
          <p:nvPr>
            <p:ph type="dt" sz="half" idx="21"/>
          </p:nvPr>
        </p:nvSpPr>
        <p:spPr/>
        <p:txBody>
          <a:bodyPr/>
          <a:lstStyle/>
          <a:p>
            <a:fld id="{2B4B338A-EBC3-4B6F-8AAE-09DDB34E6691}" type="datetime4">
              <a:rPr lang="de-DE" smtClean="0"/>
              <a:pPr/>
              <a:t>21. April 2023</a:t>
            </a:fld>
            <a:endParaRPr lang="de-DE"/>
          </a:p>
        </p:txBody>
      </p:sp>
      <p:sp>
        <p:nvSpPr>
          <p:cNvPr id="5" name="Fußzeilenplatzhalter 4">
            <a:extLst>
              <a:ext uri="{FF2B5EF4-FFF2-40B4-BE49-F238E27FC236}">
                <a16:creationId xmlns:a16="http://schemas.microsoft.com/office/drawing/2014/main" id="{F11B2334-22C4-4F66-9AC2-6C63D8D853CC}"/>
              </a:ext>
            </a:extLst>
          </p:cNvPr>
          <p:cNvSpPr>
            <a:spLocks noGrp="1"/>
          </p:cNvSpPr>
          <p:nvPr>
            <p:ph type="ftr" sz="quarter" idx="22"/>
          </p:nvPr>
        </p:nvSpPr>
        <p:spPr/>
        <p:txBody>
          <a:bodyPr/>
          <a:lstStyle/>
          <a:p>
            <a:r>
              <a:rPr lang="en-US"/>
              <a:t>Florian Bez</a:t>
            </a:r>
          </a:p>
        </p:txBody>
      </p:sp>
      <p:sp>
        <p:nvSpPr>
          <p:cNvPr id="7" name="Foliennummernplatzhalter 6">
            <a:extLst>
              <a:ext uri="{FF2B5EF4-FFF2-40B4-BE49-F238E27FC236}">
                <a16:creationId xmlns:a16="http://schemas.microsoft.com/office/drawing/2014/main" id="{01A49AB3-8EF9-42C5-96A1-83AA1566DD2D}"/>
              </a:ext>
            </a:extLst>
          </p:cNvPr>
          <p:cNvSpPr>
            <a:spLocks noGrp="1"/>
          </p:cNvSpPr>
          <p:nvPr>
            <p:ph type="sldNum" sz="quarter" idx="23"/>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3919666078"/>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 Bilder ohne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867600"/>
          </a:xfrm>
        </p:spPr>
        <p:txBody>
          <a:bodyPr/>
          <a:lstStyle>
            <a:lvl1pPr>
              <a:defRPr b="1"/>
            </a:lvl1pPr>
          </a:lstStyle>
          <a:p>
            <a:r>
              <a:rPr lang="de-DE"/>
              <a:t>Mastertitelformat bearbeiten</a:t>
            </a:r>
          </a:p>
        </p:txBody>
      </p:sp>
      <p:sp>
        <p:nvSpPr>
          <p:cNvPr id="6" name="Bildplatzhalter 5"/>
          <p:cNvSpPr>
            <a:spLocks noGrp="1"/>
          </p:cNvSpPr>
          <p:nvPr>
            <p:ph type="pic" sz="quarter" idx="16"/>
          </p:nvPr>
        </p:nvSpPr>
        <p:spPr>
          <a:xfrm>
            <a:off x="515937" y="1484312"/>
            <a:ext cx="2947779" cy="2078037"/>
          </a:xfrm>
          <a:solidFill>
            <a:schemeClr val="accent2"/>
          </a:solidFill>
        </p:spPr>
        <p:txBody>
          <a:bodyPr/>
          <a:lstStyle/>
          <a:p>
            <a:r>
              <a:rPr lang="de-DE"/>
              <a:t>Bild durch Klicken auf Symbol hinzufügen</a:t>
            </a:r>
          </a:p>
        </p:txBody>
      </p:sp>
      <p:sp>
        <p:nvSpPr>
          <p:cNvPr id="14" name="Bildplatzhalter 5"/>
          <p:cNvSpPr>
            <a:spLocks noGrp="1"/>
          </p:cNvSpPr>
          <p:nvPr>
            <p:ph type="pic" sz="quarter" idx="17"/>
          </p:nvPr>
        </p:nvSpPr>
        <p:spPr>
          <a:xfrm>
            <a:off x="515937" y="3752851"/>
            <a:ext cx="2947779" cy="2078037"/>
          </a:xfrm>
          <a:solidFill>
            <a:schemeClr val="accent2"/>
          </a:solidFill>
        </p:spPr>
        <p:txBody>
          <a:bodyPr/>
          <a:lstStyle/>
          <a:p>
            <a:r>
              <a:rPr lang="de-DE"/>
              <a:t>Bild durch Klicken auf Symbol hinzufügen</a:t>
            </a:r>
          </a:p>
        </p:txBody>
      </p:sp>
      <p:sp>
        <p:nvSpPr>
          <p:cNvPr id="8" name="Bildplatzhalter 5"/>
          <p:cNvSpPr>
            <a:spLocks noGrp="1"/>
          </p:cNvSpPr>
          <p:nvPr>
            <p:ph type="pic" sz="quarter" idx="18"/>
          </p:nvPr>
        </p:nvSpPr>
        <p:spPr>
          <a:xfrm>
            <a:off x="4622110" y="1484312"/>
            <a:ext cx="2947779" cy="2078037"/>
          </a:xfrm>
          <a:solidFill>
            <a:schemeClr val="accent2"/>
          </a:solidFill>
        </p:spPr>
        <p:txBody>
          <a:bodyPr/>
          <a:lstStyle/>
          <a:p>
            <a:r>
              <a:rPr lang="de-DE"/>
              <a:t>Bild durch Klicken auf Symbol hinzufügen</a:t>
            </a:r>
          </a:p>
        </p:txBody>
      </p:sp>
      <p:sp>
        <p:nvSpPr>
          <p:cNvPr id="9" name="Bildplatzhalter 5"/>
          <p:cNvSpPr>
            <a:spLocks noGrp="1"/>
          </p:cNvSpPr>
          <p:nvPr>
            <p:ph type="pic" sz="quarter" idx="19"/>
          </p:nvPr>
        </p:nvSpPr>
        <p:spPr>
          <a:xfrm>
            <a:off x="4622110" y="3752851"/>
            <a:ext cx="2947779" cy="2078037"/>
          </a:xfrm>
          <a:solidFill>
            <a:schemeClr val="accent2"/>
          </a:solidFill>
        </p:spPr>
        <p:txBody>
          <a:bodyPr/>
          <a:lstStyle/>
          <a:p>
            <a:r>
              <a:rPr lang="de-DE"/>
              <a:t>Bild durch Klicken auf Symbol hinzufügen</a:t>
            </a:r>
          </a:p>
        </p:txBody>
      </p:sp>
      <p:sp>
        <p:nvSpPr>
          <p:cNvPr id="10" name="Bildplatzhalter 5"/>
          <p:cNvSpPr>
            <a:spLocks noGrp="1"/>
          </p:cNvSpPr>
          <p:nvPr>
            <p:ph type="pic" sz="quarter" idx="20"/>
          </p:nvPr>
        </p:nvSpPr>
        <p:spPr>
          <a:xfrm>
            <a:off x="8728284" y="1484312"/>
            <a:ext cx="2947779" cy="2078037"/>
          </a:xfrm>
          <a:solidFill>
            <a:schemeClr val="accent2"/>
          </a:solidFill>
        </p:spPr>
        <p:txBody>
          <a:bodyPr/>
          <a:lstStyle/>
          <a:p>
            <a:r>
              <a:rPr lang="de-DE"/>
              <a:t>Bild durch Klicken auf Symbol hinzufügen</a:t>
            </a:r>
          </a:p>
        </p:txBody>
      </p:sp>
      <p:sp>
        <p:nvSpPr>
          <p:cNvPr id="11" name="Bildplatzhalter 5"/>
          <p:cNvSpPr>
            <a:spLocks noGrp="1"/>
          </p:cNvSpPr>
          <p:nvPr>
            <p:ph type="pic" sz="quarter" idx="21"/>
          </p:nvPr>
        </p:nvSpPr>
        <p:spPr>
          <a:xfrm>
            <a:off x="8728284" y="3752851"/>
            <a:ext cx="2947779" cy="2078037"/>
          </a:xfrm>
          <a:solidFill>
            <a:schemeClr val="accent2"/>
          </a:solidFill>
        </p:spPr>
        <p:txBody>
          <a:bodyPr/>
          <a:lstStyle/>
          <a:p>
            <a:r>
              <a:rPr lang="de-DE"/>
              <a:t>Bild durch Klicken auf Symbol hinzufügen</a:t>
            </a:r>
          </a:p>
        </p:txBody>
      </p:sp>
      <p:sp>
        <p:nvSpPr>
          <p:cNvPr id="4" name="Datumsplatzhalter 3">
            <a:extLst>
              <a:ext uri="{FF2B5EF4-FFF2-40B4-BE49-F238E27FC236}">
                <a16:creationId xmlns:a16="http://schemas.microsoft.com/office/drawing/2014/main" id="{3C3A7E0D-EC4A-412E-941E-8556563AB57F}"/>
              </a:ext>
            </a:extLst>
          </p:cNvPr>
          <p:cNvSpPr>
            <a:spLocks noGrp="1"/>
          </p:cNvSpPr>
          <p:nvPr>
            <p:ph type="dt" sz="half" idx="22"/>
          </p:nvPr>
        </p:nvSpPr>
        <p:spPr/>
        <p:txBody>
          <a:bodyPr/>
          <a:lstStyle/>
          <a:p>
            <a:fld id="{280D1B53-5805-47A5-BD6D-CD31BFD09785}" type="datetime4">
              <a:rPr lang="de-DE" smtClean="0"/>
              <a:pPr/>
              <a:t>21. April 2023</a:t>
            </a:fld>
            <a:endParaRPr lang="de-DE"/>
          </a:p>
        </p:txBody>
      </p:sp>
      <p:sp>
        <p:nvSpPr>
          <p:cNvPr id="5" name="Fußzeilenplatzhalter 4">
            <a:extLst>
              <a:ext uri="{FF2B5EF4-FFF2-40B4-BE49-F238E27FC236}">
                <a16:creationId xmlns:a16="http://schemas.microsoft.com/office/drawing/2014/main" id="{BC342B8F-3565-48F8-A0A9-B8AF069805A0}"/>
              </a:ext>
            </a:extLst>
          </p:cNvPr>
          <p:cNvSpPr>
            <a:spLocks noGrp="1"/>
          </p:cNvSpPr>
          <p:nvPr>
            <p:ph type="ftr" sz="quarter" idx="23"/>
          </p:nvPr>
        </p:nvSpPr>
        <p:spPr/>
        <p:txBody>
          <a:bodyPr/>
          <a:lstStyle/>
          <a:p>
            <a:r>
              <a:rPr lang="en-US"/>
              <a:t>Florian Bez</a:t>
            </a:r>
          </a:p>
        </p:txBody>
      </p:sp>
      <p:sp>
        <p:nvSpPr>
          <p:cNvPr id="7" name="Foliennummernplatzhalter 6">
            <a:extLst>
              <a:ext uri="{FF2B5EF4-FFF2-40B4-BE49-F238E27FC236}">
                <a16:creationId xmlns:a16="http://schemas.microsoft.com/office/drawing/2014/main" id="{652CDE13-93F8-4186-98C1-F5066334565A}"/>
              </a:ext>
            </a:extLst>
          </p:cNvPr>
          <p:cNvSpPr>
            <a:spLocks noGrp="1"/>
          </p:cNvSpPr>
          <p:nvPr>
            <p:ph type="sldNum" sz="quarter" idx="24"/>
          </p:nvPr>
        </p:nvSpPr>
        <p:spPr/>
        <p:txBody>
          <a:bodyPr/>
          <a:lstStyle/>
          <a:p>
            <a:fld id="{8D57957C-F0F3-7842-B0E2-B762F92D6487}" type="slidenum">
              <a:rPr lang="en-US"/>
              <a:pPr/>
              <a:t>‹#›</a:t>
            </a:fld>
            <a:r>
              <a:rPr lang="en-US"/>
              <a:t>  </a:t>
            </a:r>
            <a:r>
              <a:rPr lang="en-US" b="0">
                <a:solidFill>
                  <a:schemeClr val="accent1"/>
                </a:solidFill>
              </a:rPr>
              <a:t>|</a:t>
            </a:r>
            <a:endParaRPr lang="en-US" sz="900" b="0">
              <a:solidFill>
                <a:schemeClr val="accent1"/>
              </a:solidFill>
            </a:endParaRPr>
          </a:p>
        </p:txBody>
      </p:sp>
    </p:spTree>
    <p:extLst>
      <p:ext uri="{BB962C8B-B14F-4D97-AF65-F5344CB8AC3E}">
        <p14:creationId xmlns:p14="http://schemas.microsoft.com/office/powerpoint/2010/main" val="582337147"/>
      </p:ext>
    </p:extLst>
  </p:cSld>
  <p:clrMapOvr>
    <a:masterClrMapping/>
  </p:clrMapOvr>
  <p:hf hdr="0"/>
  <p:extLst>
    <p:ext uri="{DCECCB84-F9BA-43D5-87BE-67443E8EF086}">
      <p15:sldGuideLst xmlns:p15="http://schemas.microsoft.com/office/powerpoint/2012/main">
        <p15:guide id="1" pos="3840">
          <p15:clr>
            <a:srgbClr val="FBAE40"/>
          </p15:clr>
        </p15:guide>
        <p15:guide id="2" pos="2083">
          <p15:clr>
            <a:srgbClr val="FBAE40"/>
          </p15:clr>
        </p15:guide>
        <p15:guide id="3" pos="5597">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Kontakt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366329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353" imgH="353" progId="TCLayout.ActiveDocument.1">
                  <p:embed/>
                </p:oleObj>
              </mc:Choice>
              <mc:Fallback>
                <p:oleObj name="think-cell Folie" r:id="rId7" imgW="353" imgH="353" progId="TCLayout.ActiveDocument.1">
                  <p:embed/>
                  <p:pic>
                    <p:nvPicPr>
                      <p:cNvPr id="2" name="Objek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13" name="Bildplatzhalter 3">
            <a:extLst>
              <a:ext uri="{FF2B5EF4-FFF2-40B4-BE49-F238E27FC236}">
                <a16:creationId xmlns:a16="http://schemas.microsoft.com/office/drawing/2014/main" id="{0E881F02-8A23-9F4E-BA60-2291CDE38ED9}"/>
              </a:ext>
            </a:extLst>
          </p:cNvPr>
          <p:cNvSpPr>
            <a:spLocks noGrp="1" noChangeAspect="1"/>
          </p:cNvSpPr>
          <p:nvPr>
            <p:ph type="pic" sz="quarter" idx="10" hasCustomPrompt="1"/>
          </p:nvPr>
        </p:nvSpPr>
        <p:spPr>
          <a:xfrm>
            <a:off x="298800" y="288000"/>
            <a:ext cx="11591925" cy="3420000"/>
          </a:xfrm>
          <a:gradFill>
            <a:gsLst>
              <a:gs pos="50000">
                <a:schemeClr val="accent3"/>
              </a:gs>
              <a:gs pos="100000">
                <a:schemeClr val="accent4"/>
              </a:gs>
            </a:gsLst>
            <a:lin ang="0" scaled="0"/>
          </a:gradFill>
        </p:spPr>
        <p:txBody>
          <a:bodyPr/>
          <a:lstStyle/>
          <a:p>
            <a:r>
              <a:rPr lang="de-DE"/>
              <a:t> </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9"/>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4229481"/>
            <a:ext cx="2577897" cy="0"/>
          </a:xfrm>
          <a:prstGeom prst="line">
            <a:avLst/>
          </a:prstGeom>
          <a:ln w="19050">
            <a:solidFill>
              <a:schemeClr val="tx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5" name="Foliennummernplatzhalter 24">
            <a:extLst>
              <a:ext uri="{FF2B5EF4-FFF2-40B4-BE49-F238E27FC236}">
                <a16:creationId xmlns:a16="http://schemas.microsoft.com/office/drawing/2014/main" id="{D951FE6A-8A57-B649-98D5-DE3D06CAF8E5}"/>
              </a:ext>
            </a:extLst>
          </p:cNvPr>
          <p:cNvSpPr>
            <a:spLocks noGrp="1"/>
          </p:cNvSpPr>
          <p:nvPr>
            <p:ph type="sldNum" sz="quarter" idx="12"/>
          </p:nvPr>
        </p:nvSpPr>
        <p:spPr/>
        <p:txBody>
          <a:bodyPr/>
          <a:lstStyle/>
          <a:p>
            <a:fld id="{8D57957C-F0F3-7842-B0E2-B762F92D6487}" type="slidenum">
              <a:rPr lang="de-DE"/>
              <a:pPr/>
              <a:t>‹#›</a:t>
            </a:fld>
            <a:r>
              <a:rPr lang="de-DE"/>
              <a:t>  </a:t>
            </a:r>
            <a:r>
              <a:rPr lang="de-DE" b="0"/>
              <a:t>|</a:t>
            </a:r>
            <a:endParaRPr lang="de-DE" sz="900" b="0"/>
          </a:p>
        </p:txBody>
      </p:sp>
      <p:sp>
        <p:nvSpPr>
          <p:cNvPr id="14" name="Masterfeld E-Mail Adresse">
            <a:extLst>
              <a:ext uri="{FF2B5EF4-FFF2-40B4-BE49-F238E27FC236}">
                <a16:creationId xmlns:a16="http://schemas.microsoft.com/office/drawing/2014/main" id="{EBB21637-2AC6-40D3-8665-F25A47F007F3}"/>
              </a:ext>
            </a:extLst>
          </p:cNvPr>
          <p:cNvSpPr txBox="1"/>
          <p:nvPr userDrawn="1">
            <p:custDataLst>
              <p:tags r:id="rId2"/>
            </p:custDataLst>
          </p:nvPr>
        </p:nvSpPr>
        <p:spPr>
          <a:xfrm>
            <a:off x="515938" y="5128614"/>
            <a:ext cx="2277996" cy="246221"/>
          </a:xfrm>
          <a:prstGeom prst="rect">
            <a:avLst/>
          </a:prstGeom>
          <a:noFill/>
        </p:spPr>
        <p:txBody>
          <a:bodyPr wrap="none" lIns="0" tIns="0" rIns="0" bIns="0" rtlCol="0">
            <a:spAutoFit/>
          </a:bodyPr>
          <a:lstStyle/>
          <a:p>
            <a:pPr algn="l"/>
            <a:r>
              <a:rPr lang="en-US" sz="1600" dirty="0"/>
              <a:t>Oliver.Tuerk@trumpf.com</a:t>
            </a:r>
          </a:p>
        </p:txBody>
      </p:sp>
      <p:sp>
        <p:nvSpPr>
          <p:cNvPr id="12" name="Masterfeld Telefonnummer">
            <a:extLst>
              <a:ext uri="{FF2B5EF4-FFF2-40B4-BE49-F238E27FC236}">
                <a16:creationId xmlns:a16="http://schemas.microsoft.com/office/drawing/2014/main" id="{9101541F-59D1-4BD5-AD24-814023F042A7}"/>
              </a:ext>
            </a:extLst>
          </p:cNvPr>
          <p:cNvSpPr txBox="1"/>
          <p:nvPr userDrawn="1">
            <p:custDataLst>
              <p:tags r:id="rId3"/>
            </p:custDataLst>
          </p:nvPr>
        </p:nvSpPr>
        <p:spPr>
          <a:xfrm>
            <a:off x="515938" y="4885871"/>
            <a:ext cx="1787349" cy="246221"/>
          </a:xfrm>
          <a:prstGeom prst="rect">
            <a:avLst/>
          </a:prstGeom>
          <a:noFill/>
        </p:spPr>
        <p:txBody>
          <a:bodyPr wrap="none" lIns="0" tIns="0" rIns="0" bIns="0" rtlCol="0">
            <a:spAutoFit/>
          </a:bodyPr>
          <a:lstStyle/>
          <a:p>
            <a:pPr algn="l"/>
            <a:r>
              <a:rPr lang="en-US" sz="1600" dirty="0"/>
              <a:t>+49 (7574) 401-160</a:t>
            </a:r>
          </a:p>
        </p:txBody>
      </p:sp>
      <p:sp>
        <p:nvSpPr>
          <p:cNvPr id="6" name="Masterfeld Abteilung">
            <a:extLst>
              <a:ext uri="{FF2B5EF4-FFF2-40B4-BE49-F238E27FC236}">
                <a16:creationId xmlns:a16="http://schemas.microsoft.com/office/drawing/2014/main" id="{348C4E9D-9EEE-43BD-8FB9-0AF649E9C92C}"/>
              </a:ext>
            </a:extLst>
          </p:cNvPr>
          <p:cNvSpPr txBox="1"/>
          <p:nvPr userDrawn="1">
            <p:custDataLst>
              <p:tags r:id="rId4"/>
            </p:custDataLst>
          </p:nvPr>
        </p:nvSpPr>
        <p:spPr>
          <a:xfrm>
            <a:off x="515938" y="4640264"/>
            <a:ext cx="2437655" cy="246221"/>
          </a:xfrm>
          <a:prstGeom prst="rect">
            <a:avLst/>
          </a:prstGeom>
          <a:noFill/>
        </p:spPr>
        <p:txBody>
          <a:bodyPr wrap="none" lIns="0" tIns="0" rIns="0" bIns="0" rtlCol="0">
            <a:spAutoFit/>
          </a:bodyPr>
          <a:lstStyle/>
          <a:p>
            <a:pPr algn="l"/>
            <a:r>
              <a:rPr lang="en-US" sz="1600" dirty="0"/>
              <a:t>Head of Main Department</a:t>
            </a:r>
          </a:p>
        </p:txBody>
      </p:sp>
      <p:sp>
        <p:nvSpPr>
          <p:cNvPr id="5" name="Masterfeld Name">
            <a:extLst>
              <a:ext uri="{FF2B5EF4-FFF2-40B4-BE49-F238E27FC236}">
                <a16:creationId xmlns:a16="http://schemas.microsoft.com/office/drawing/2014/main" id="{D53D78F5-6983-4445-80A2-08426FAA21E3}"/>
              </a:ext>
            </a:extLst>
          </p:cNvPr>
          <p:cNvSpPr txBox="1"/>
          <p:nvPr userDrawn="1">
            <p:custDataLst>
              <p:tags r:id="rId5"/>
            </p:custDataLst>
          </p:nvPr>
        </p:nvSpPr>
        <p:spPr>
          <a:xfrm>
            <a:off x="515938" y="4366518"/>
            <a:ext cx="1188915" cy="276999"/>
          </a:xfrm>
          <a:prstGeom prst="rect">
            <a:avLst/>
          </a:prstGeom>
          <a:noFill/>
        </p:spPr>
        <p:txBody>
          <a:bodyPr wrap="none" lIns="0" tIns="0" rIns="0" bIns="0" rtlCol="0">
            <a:spAutoFit/>
          </a:bodyPr>
          <a:lstStyle/>
          <a:p>
            <a:pPr algn="l"/>
            <a:r>
              <a:rPr lang="en-US" b="1" dirty="0">
                <a:solidFill>
                  <a:schemeClr val="tx2"/>
                </a:solidFill>
              </a:rPr>
              <a:t>Oliver Türk</a:t>
            </a:r>
          </a:p>
        </p:txBody>
      </p:sp>
    </p:spTree>
    <p:extLst>
      <p:ext uri="{BB962C8B-B14F-4D97-AF65-F5344CB8AC3E}">
        <p14:creationId xmlns:p14="http://schemas.microsoft.com/office/powerpoint/2010/main" val="637432465"/>
      </p:ext>
    </p:extLst>
  </p:cSld>
  <p:clrMapOvr>
    <a:masterClrMapping/>
  </p:clrMapOvr>
  <p:hf hdr="0"/>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Kontaktfolie_TRUMPF_blauer_Hintergrun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35AB8D3-879C-4A4F-950C-90B94A025622}"/>
              </a:ext>
            </a:extLst>
          </p:cNvPr>
          <p:cNvGraphicFramePr>
            <a:graphicFrameLocks noChangeAspect="1"/>
          </p:cNvGraphicFramePr>
          <p:nvPr userDrawn="1">
            <p:custDataLst>
              <p:tags r:id="rId1"/>
            </p:custDataLst>
            <p:extLst>
              <p:ext uri="{D42A27DB-BD31-4B8C-83A1-F6EECF244321}">
                <p14:modId xmlns:p14="http://schemas.microsoft.com/office/powerpoint/2010/main" val="3215266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16" imgH="416" progId="TCLayout.ActiveDocument.1">
                  <p:embed/>
                </p:oleObj>
              </mc:Choice>
              <mc:Fallback>
                <p:oleObj name="think-cell Folie" r:id="rId3" imgW="416" imgH="416" progId="TCLayout.ActiveDocument.1">
                  <p:embed/>
                  <p:pic>
                    <p:nvPicPr>
                      <p:cNvPr id="7" name="Objekt 6" hidden="1">
                        <a:extLst>
                          <a:ext uri="{FF2B5EF4-FFF2-40B4-BE49-F238E27FC236}">
                            <a16:creationId xmlns:a16="http://schemas.microsoft.com/office/drawing/2014/main" id="{C35AB8D3-879C-4A4F-950C-90B94A0256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65F6AC04-030C-4BCC-A3A7-AF1039A13B6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pic>
        <p:nvPicPr>
          <p:cNvPr id="11" name="Grafik 10">
            <a:extLst>
              <a:ext uri="{FF2B5EF4-FFF2-40B4-BE49-F238E27FC236}">
                <a16:creationId xmlns:a16="http://schemas.microsoft.com/office/drawing/2014/main" id="{11DEA8D2-FDD7-4795-B21E-9915A184E9F7}"/>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11468099" y="6131379"/>
            <a:ext cx="532492" cy="532492"/>
          </a:xfrm>
          <a:prstGeom prst="rect">
            <a:avLst/>
          </a:prstGeom>
        </p:spPr>
      </p:pic>
      <p:pic>
        <p:nvPicPr>
          <p:cNvPr id="14" name="Grafik 13">
            <a:extLst>
              <a:ext uri="{FF2B5EF4-FFF2-40B4-BE49-F238E27FC236}">
                <a16:creationId xmlns:a16="http://schemas.microsoft.com/office/drawing/2014/main" id="{1F99E2F4-A647-42B3-A69E-350292FFE0FF}"/>
              </a:ext>
            </a:extLst>
          </p:cNvPr>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11468099" y="6131379"/>
            <a:ext cx="532492" cy="532492"/>
          </a:xfrm>
          <a:prstGeom prst="rect">
            <a:avLst/>
          </a:prstGeom>
        </p:spPr>
      </p:pic>
      <p:sp>
        <p:nvSpPr>
          <p:cNvPr id="15" name="Rechteck 14">
            <a:extLst>
              <a:ext uri="{FF2B5EF4-FFF2-40B4-BE49-F238E27FC236}">
                <a16:creationId xmlns:a16="http://schemas.microsoft.com/office/drawing/2014/main" id="{9FB0AAD3-B649-2A4A-9958-5AE5CA57149D}"/>
              </a:ext>
            </a:extLst>
          </p:cNvPr>
          <p:cNvSpPr/>
          <p:nvPr userDrawn="1"/>
        </p:nvSpPr>
        <p:spPr>
          <a:xfrm>
            <a:off x="1" y="3381979"/>
            <a:ext cx="4619412" cy="2673382"/>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mj-lt"/>
              <a:ea typeface="+mn-ea"/>
              <a:cs typeface="+mn-cs"/>
            </a:endParaRPr>
          </a:p>
        </p:txBody>
      </p:sp>
      <p:sp>
        <p:nvSpPr>
          <p:cNvPr id="18" name="Titel 4">
            <a:extLst>
              <a:ext uri="{FF2B5EF4-FFF2-40B4-BE49-F238E27FC236}">
                <a16:creationId xmlns:a16="http://schemas.microsoft.com/office/drawing/2014/main" id="{68A18138-9391-AF45-8382-94D7791BA496}"/>
              </a:ext>
            </a:extLst>
          </p:cNvPr>
          <p:cNvSpPr txBox="1">
            <a:spLocks/>
          </p:cNvSpPr>
          <p:nvPr userDrawn="1"/>
        </p:nvSpPr>
        <p:spPr>
          <a:xfrm>
            <a:off x="515938" y="4606370"/>
            <a:ext cx="3611394" cy="228155"/>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200">
                <a:solidFill>
                  <a:srgbClr val="5F5F5F"/>
                </a:solidFill>
                <a:latin typeface="+mj-lt"/>
              </a:rPr>
              <a:t>Ansprechpartner</a:t>
            </a:r>
          </a:p>
        </p:txBody>
      </p:sp>
      <p:sp>
        <p:nvSpPr>
          <p:cNvPr id="19" name="Titel 4">
            <a:extLst>
              <a:ext uri="{FF2B5EF4-FFF2-40B4-BE49-F238E27FC236}">
                <a16:creationId xmlns:a16="http://schemas.microsoft.com/office/drawing/2014/main" id="{3DDDD31B-E576-7142-8AF2-55D312AE22B7}"/>
              </a:ext>
            </a:extLst>
          </p:cNvPr>
          <p:cNvSpPr txBox="1">
            <a:spLocks/>
          </p:cNvSpPr>
          <p:nvPr userDrawn="1"/>
        </p:nvSpPr>
        <p:spPr>
          <a:xfrm>
            <a:off x="515938" y="3650039"/>
            <a:ext cx="3611394" cy="657525"/>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3600" b="0">
                <a:solidFill>
                  <a:prstClr val="black"/>
                </a:solidFill>
                <a:latin typeface="+mj-lt"/>
                <a:cs typeface="Segoe UI" panose="020B0502040204020203" pitchFamily="34" charset="0"/>
              </a:rPr>
              <a:t>Vielen Dank.</a:t>
            </a:r>
          </a:p>
        </p:txBody>
      </p:sp>
      <p:sp>
        <p:nvSpPr>
          <p:cNvPr id="20" name="Titel 4">
            <a:extLst>
              <a:ext uri="{FF2B5EF4-FFF2-40B4-BE49-F238E27FC236}">
                <a16:creationId xmlns:a16="http://schemas.microsoft.com/office/drawing/2014/main" id="{2D024F42-39BD-8046-8FA4-B132C12269D6}"/>
              </a:ext>
            </a:extLst>
          </p:cNvPr>
          <p:cNvSpPr txBox="1">
            <a:spLocks/>
          </p:cNvSpPr>
          <p:nvPr userDrawn="1"/>
        </p:nvSpPr>
        <p:spPr>
          <a:xfrm>
            <a:off x="515938" y="6510262"/>
            <a:ext cx="1419971" cy="156683"/>
          </a:xfrm>
          <a:prstGeom prst="rect">
            <a:avLst/>
          </a:prstGeom>
        </p:spPr>
        <p:txBody>
          <a:bodyPr vert="horz" lIns="0" tIns="0" rIns="0" bIns="0" rtlCol="0" anchor="t">
            <a:noAutofit/>
          </a:bodyPr>
          <a:lst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000" err="1">
                <a:solidFill>
                  <a:prstClr val="white"/>
                </a:solidFill>
                <a:latin typeface="+mj-lt"/>
                <a:cs typeface="Segoe UI" panose="020B0502040204020203" pitchFamily="34" charset="0"/>
              </a:rPr>
              <a:t>www.trumpf.com</a:t>
            </a:r>
            <a:endParaRPr lang="de-DE" sz="1000">
              <a:solidFill>
                <a:prstClr val="white"/>
              </a:solidFill>
              <a:latin typeface="+mj-lt"/>
              <a:cs typeface="Segoe UI" panose="020B0502040204020203" pitchFamily="34" charset="0"/>
            </a:endParaRPr>
          </a:p>
        </p:txBody>
      </p:sp>
      <p:sp>
        <p:nvSpPr>
          <p:cNvPr id="3" name="Rechteck 2">
            <a:hlinkClick r:id="rId6"/>
            <a:extLst>
              <a:ext uri="{FF2B5EF4-FFF2-40B4-BE49-F238E27FC236}">
                <a16:creationId xmlns:a16="http://schemas.microsoft.com/office/drawing/2014/main" id="{100B09FF-D191-244F-A67F-B62A7C7886D4}"/>
              </a:ext>
            </a:extLst>
          </p:cNvPr>
          <p:cNvSpPr/>
          <p:nvPr userDrawn="1"/>
        </p:nvSpPr>
        <p:spPr>
          <a:xfrm>
            <a:off x="365760" y="6510262"/>
            <a:ext cx="1306286" cy="15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b="1"/>
          </a:p>
        </p:txBody>
      </p:sp>
      <p:sp>
        <p:nvSpPr>
          <p:cNvPr id="23" name="Textplatzhalter 6">
            <a:extLst>
              <a:ext uri="{FF2B5EF4-FFF2-40B4-BE49-F238E27FC236}">
                <a16:creationId xmlns:a16="http://schemas.microsoft.com/office/drawing/2014/main" id="{A9BA4CA5-E0A3-8A42-9EA4-6A92C15B418D}"/>
              </a:ext>
            </a:extLst>
          </p:cNvPr>
          <p:cNvSpPr>
            <a:spLocks noGrp="1"/>
          </p:cNvSpPr>
          <p:nvPr>
            <p:ph type="body" sz="quarter" idx="13" hasCustomPrompt="1"/>
          </p:nvPr>
        </p:nvSpPr>
        <p:spPr>
          <a:xfrm>
            <a:off x="518833" y="4893095"/>
            <a:ext cx="2306425" cy="228155"/>
          </a:xfrm>
        </p:spPr>
        <p:txBody>
          <a:bodyPr/>
          <a:lstStyle>
            <a:lvl1pPr>
              <a:defRPr sz="1200" b="0">
                <a:solidFill>
                  <a:schemeClr val="tx1"/>
                </a:solidFill>
              </a:defRPr>
            </a:lvl1pPr>
          </a:lstStyle>
          <a:p>
            <a:pPr lvl="0"/>
            <a:r>
              <a:rPr lang="de-DE"/>
              <a:t>Name</a:t>
            </a:r>
          </a:p>
        </p:txBody>
      </p:sp>
      <p:sp>
        <p:nvSpPr>
          <p:cNvPr id="24" name="Textplatzhalter 6">
            <a:extLst>
              <a:ext uri="{FF2B5EF4-FFF2-40B4-BE49-F238E27FC236}">
                <a16:creationId xmlns:a16="http://schemas.microsoft.com/office/drawing/2014/main" id="{5F6F4EDA-1900-9641-B7E9-6EE12124452D}"/>
              </a:ext>
            </a:extLst>
          </p:cNvPr>
          <p:cNvSpPr>
            <a:spLocks noGrp="1"/>
          </p:cNvSpPr>
          <p:nvPr>
            <p:ph type="body" sz="quarter" idx="14" hasCustomPrompt="1"/>
          </p:nvPr>
        </p:nvSpPr>
        <p:spPr>
          <a:xfrm>
            <a:off x="518833" y="5088167"/>
            <a:ext cx="2306425" cy="228155"/>
          </a:xfrm>
        </p:spPr>
        <p:txBody>
          <a:bodyPr/>
          <a:lstStyle>
            <a:lvl1pPr>
              <a:defRPr sz="1200" b="0">
                <a:solidFill>
                  <a:schemeClr val="tx1"/>
                </a:solidFill>
              </a:defRPr>
            </a:lvl1pPr>
          </a:lstStyle>
          <a:p>
            <a:pPr lvl="0"/>
            <a:r>
              <a:rPr lang="de-DE"/>
              <a:t>Abteilung</a:t>
            </a:r>
          </a:p>
        </p:txBody>
      </p:sp>
      <p:sp>
        <p:nvSpPr>
          <p:cNvPr id="25" name="Textplatzhalter 6">
            <a:extLst>
              <a:ext uri="{FF2B5EF4-FFF2-40B4-BE49-F238E27FC236}">
                <a16:creationId xmlns:a16="http://schemas.microsoft.com/office/drawing/2014/main" id="{5AFD2953-E35C-8147-8A6E-70D8068FEBE7}"/>
              </a:ext>
            </a:extLst>
          </p:cNvPr>
          <p:cNvSpPr>
            <a:spLocks noGrp="1"/>
          </p:cNvSpPr>
          <p:nvPr>
            <p:ph type="body" sz="quarter" idx="15" hasCustomPrompt="1"/>
          </p:nvPr>
        </p:nvSpPr>
        <p:spPr>
          <a:xfrm>
            <a:off x="518833" y="5283239"/>
            <a:ext cx="2306425" cy="228155"/>
          </a:xfrm>
        </p:spPr>
        <p:txBody>
          <a:bodyPr/>
          <a:lstStyle>
            <a:lvl1pPr>
              <a:defRPr sz="1200" b="0">
                <a:solidFill>
                  <a:schemeClr val="tx1"/>
                </a:solidFill>
              </a:defRPr>
            </a:lvl1pPr>
          </a:lstStyle>
          <a:p>
            <a:pPr lvl="0"/>
            <a:r>
              <a:rPr lang="de-DE"/>
              <a:t>Telefonnummer</a:t>
            </a:r>
          </a:p>
        </p:txBody>
      </p:sp>
      <p:sp>
        <p:nvSpPr>
          <p:cNvPr id="26" name="Textplatzhalter 6">
            <a:extLst>
              <a:ext uri="{FF2B5EF4-FFF2-40B4-BE49-F238E27FC236}">
                <a16:creationId xmlns:a16="http://schemas.microsoft.com/office/drawing/2014/main" id="{26B8DF3F-AF05-AB4A-8DD1-37D9E3451E49}"/>
              </a:ext>
            </a:extLst>
          </p:cNvPr>
          <p:cNvSpPr>
            <a:spLocks noGrp="1"/>
          </p:cNvSpPr>
          <p:nvPr>
            <p:ph type="body" sz="quarter" idx="16" hasCustomPrompt="1"/>
          </p:nvPr>
        </p:nvSpPr>
        <p:spPr>
          <a:xfrm>
            <a:off x="518833" y="5478311"/>
            <a:ext cx="2306425" cy="228155"/>
          </a:xfrm>
        </p:spPr>
        <p:txBody>
          <a:bodyPr/>
          <a:lstStyle>
            <a:lvl1pPr>
              <a:defRPr sz="1200" b="0">
                <a:solidFill>
                  <a:schemeClr val="tx1"/>
                </a:solidFill>
              </a:defRPr>
            </a:lvl1pPr>
          </a:lstStyle>
          <a:p>
            <a:pPr lvl="0"/>
            <a:r>
              <a:rPr lang="de-DE"/>
              <a:t>E-Mailadresse</a:t>
            </a:r>
          </a:p>
        </p:txBody>
      </p:sp>
    </p:spTree>
    <p:extLst>
      <p:ext uri="{BB962C8B-B14F-4D97-AF65-F5344CB8AC3E}">
        <p14:creationId xmlns:p14="http://schemas.microsoft.com/office/powerpoint/2010/main" val="2679110380"/>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03">
    <p:spTree>
      <p:nvGrpSpPr>
        <p:cNvPr id="1" name=""/>
        <p:cNvGrpSpPr/>
        <p:nvPr/>
      </p:nvGrpSpPr>
      <p:grpSpPr>
        <a:xfrm>
          <a:off x="0" y="0"/>
          <a:ext cx="0" cy="0"/>
          <a:chOff x="0" y="0"/>
          <a:chExt cx="0" cy="0"/>
        </a:xfrm>
      </p:grpSpPr>
      <p:sp>
        <p:nvSpPr>
          <p:cNvPr id="10" name="Bildplatzhalter 9"/>
          <p:cNvSpPr>
            <a:spLocks noGrp="1"/>
          </p:cNvSpPr>
          <p:nvPr>
            <p:ph type="pic" sz="quarter" idx="11"/>
          </p:nvPr>
        </p:nvSpPr>
        <p:spPr>
          <a:xfrm>
            <a:off x="3175" y="3175"/>
            <a:ext cx="12188825" cy="6808788"/>
          </a:xfrm>
          <a:gradFill>
            <a:gsLst>
              <a:gs pos="50000">
                <a:schemeClr val="accent3"/>
              </a:gs>
              <a:gs pos="100000">
                <a:schemeClr val="accent4"/>
              </a:gs>
            </a:gsLst>
            <a:lin ang="0" scaled="0"/>
          </a:gradFill>
        </p:spPr>
        <p:txBody>
          <a:bodyPr vert="horz" lIns="0" tIns="0" rIns="0" bIns="0" rtlCol="0">
            <a:noAutofit/>
          </a:bodyPr>
          <a:lstStyle>
            <a:lvl1pPr>
              <a:defRPr lang="en-US">
                <a:solidFill>
                  <a:schemeClr val="bg1"/>
                </a:solidFill>
              </a:defRPr>
            </a:lvl1pPr>
          </a:lstStyle>
          <a:p>
            <a:pPr lvl="0" algn="ctr"/>
            <a:r>
              <a:rPr lang="de-DE"/>
              <a:t>Bild durch Klicken auf Symbol hinzufügen</a:t>
            </a:r>
            <a:endParaRPr lang="en-US"/>
          </a:p>
        </p:txBody>
      </p:sp>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4175209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Untertitel 2">
            <a:extLst>
              <a:ext uri="{FF2B5EF4-FFF2-40B4-BE49-F238E27FC236}">
                <a16:creationId xmlns:a16="http://schemas.microsoft.com/office/drawing/2014/main" id="{1EFD6C72-2063-AD48-9727-C4AB16A6DE18}"/>
              </a:ext>
            </a:extLst>
          </p:cNvPr>
          <p:cNvSpPr>
            <a:spLocks noGrp="1"/>
          </p:cNvSpPr>
          <p:nvPr>
            <p:ph type="subTitle" idx="1" hasCustomPrompt="1"/>
          </p:nvPr>
        </p:nvSpPr>
        <p:spPr>
          <a:xfrm>
            <a:off x="300038" y="3821635"/>
            <a:ext cx="1005184" cy="215444"/>
          </a:xfrm>
          <a:noFill/>
        </p:spPr>
        <p:txBody>
          <a:bodyPr wrap="none" lIns="216000" tIns="0" rIns="0" bIns="0" anchor="ctr">
            <a:spAutoFit/>
          </a:bodyPr>
          <a:lstStyle>
            <a:lvl1pPr marL="0" indent="0" algn="l">
              <a:buNone/>
              <a:defRPr lang="de-DE" sz="1400" b="0" kern="1200" dirty="0">
                <a:solidFill>
                  <a:schemeClr val="accent2"/>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300037" y="4068000"/>
            <a:ext cx="11376025"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cap="none" baseline="0" dirty="0">
                <a:solidFill>
                  <a:schemeClr val="bg1"/>
                </a:solidFill>
                <a:latin typeface="+mj-lt"/>
                <a:ea typeface="+mj-ea"/>
                <a:cs typeface="Arial" panose="020B0604020202020204" pitchFamily="34" charset="0"/>
              </a:defRPr>
            </a:lvl1pPr>
          </a:lstStyle>
          <a:p>
            <a:r>
              <a:rPr lang="de-DE"/>
              <a:t>Überschrift</a:t>
            </a:r>
            <a:br>
              <a:rPr lang="de-DE"/>
            </a:br>
            <a:r>
              <a:rPr lang="de-DE"/>
              <a:t>in zwei Zeilen</a:t>
            </a:r>
          </a:p>
        </p:txBody>
      </p:sp>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515938" y="539046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2" name="Gruppieren 11"/>
          <p:cNvGrpSpPr/>
          <p:nvPr userDrawn="1"/>
        </p:nvGrpSpPr>
        <p:grpSpPr>
          <a:xfrm>
            <a:off x="11143231" y="5812561"/>
            <a:ext cx="793338" cy="793338"/>
            <a:chOff x="11143231" y="5812561"/>
            <a:chExt cx="793338" cy="793338"/>
          </a:xfrm>
        </p:grpSpPr>
        <p:sp>
          <p:nvSpPr>
            <p:cNvPr id="5" name="Rechteck 4"/>
            <p:cNvSpPr/>
            <p:nvPr userDrawn="1"/>
          </p:nvSpPr>
          <p:spPr>
            <a:xfrm>
              <a:off x="11143231" y="5812561"/>
              <a:ext cx="793338" cy="7933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grpSp>
      <p:sp>
        <p:nvSpPr>
          <p:cNvPr id="17" name="Fußzeilenplatzhalter 14">
            <a:extLst>
              <a:ext uri="{FF2B5EF4-FFF2-40B4-BE49-F238E27FC236}">
                <a16:creationId xmlns:a16="http://schemas.microsoft.com/office/drawing/2014/main" id="{211D6984-B81C-45FB-A0B7-F69EF03C3DDE}"/>
              </a:ext>
            </a:extLst>
          </p:cNvPr>
          <p:cNvSpPr>
            <a:spLocks noGrp="1"/>
          </p:cNvSpPr>
          <p:nvPr>
            <p:ph type="ftr" sz="quarter" idx="13"/>
          </p:nvPr>
        </p:nvSpPr>
        <p:spPr>
          <a:xfrm>
            <a:off x="300038" y="5563622"/>
            <a:ext cx="4782950" cy="215444"/>
          </a:xfrm>
        </p:spPr>
        <p:txBody>
          <a:bodyPr lIns="216000" tIns="0" rIns="0" bIns="0"/>
          <a:lstStyle>
            <a:lvl1pPr>
              <a:spcBef>
                <a:spcPts val="600"/>
              </a:spcBef>
              <a:spcAft>
                <a:spcPts val="600"/>
              </a:spcAft>
              <a:defRPr sz="1400">
                <a:solidFill>
                  <a:schemeClr val="bg1"/>
                </a:solidFill>
              </a:defRPr>
            </a:lvl1pPr>
          </a:lstStyle>
          <a:p>
            <a:r>
              <a:rPr lang="de-DE"/>
              <a:t>Florian Bez</a:t>
            </a:r>
          </a:p>
        </p:txBody>
      </p:sp>
    </p:spTree>
    <p:extLst>
      <p:ext uri="{BB962C8B-B14F-4D97-AF65-F5344CB8AC3E}">
        <p14:creationId xmlns:p14="http://schemas.microsoft.com/office/powerpoint/2010/main" val="2228514406"/>
      </p:ext>
    </p:extLst>
  </p:cSld>
  <p:clrMapOvr>
    <a:masterClrMapping/>
  </p:clrMapOvr>
  <p:hf hd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04">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
            </p:custDataLst>
            <p:extLst>
              <p:ext uri="{D42A27DB-BD31-4B8C-83A1-F6EECF244321}">
                <p14:modId xmlns:p14="http://schemas.microsoft.com/office/powerpoint/2010/main" val="1141026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5" name="Objekt 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3"/>
          <p:cNvSpPr>
            <a:spLocks noGrp="1"/>
          </p:cNvSpPr>
          <p:nvPr>
            <p:ph type="pic" sz="quarter" idx="11" hasCustomPrompt="1"/>
          </p:nvPr>
        </p:nvSpPr>
        <p:spPr>
          <a:xfrm>
            <a:off x="0" y="0"/>
            <a:ext cx="5914800" cy="6858000"/>
          </a:xfrm>
          <a:gradFill>
            <a:gsLst>
              <a:gs pos="50000">
                <a:schemeClr val="accent3"/>
              </a:gs>
              <a:gs pos="100000">
                <a:schemeClr val="accent4"/>
              </a:gs>
            </a:gsLst>
            <a:lin ang="0" scaled="0"/>
          </a:gradFill>
        </p:spPr>
        <p:txBody>
          <a:bodyPr vert="horz" lIns="0" tIns="0" rIns="0" bIns="0" rtlCol="0">
            <a:noAutofit/>
          </a:bodyPr>
          <a:lstStyle>
            <a:lvl1pPr>
              <a:defRPr lang="de-DE" dirty="0">
                <a:solidFill>
                  <a:schemeClr val="bg1"/>
                </a:solidFill>
              </a:defRPr>
            </a:lvl1pPr>
          </a:lstStyle>
          <a:p>
            <a:pPr lvl="0" algn="ctr"/>
            <a:r>
              <a:rPr lang="de-DE"/>
              <a:t>Bild durch Klicken auf das Icon einfügen</a:t>
            </a:r>
          </a:p>
        </p:txBody>
      </p:sp>
      <p:sp>
        <p:nvSpPr>
          <p:cNvPr id="3" name="Untertitel 2">
            <a:extLst>
              <a:ext uri="{FF2B5EF4-FFF2-40B4-BE49-F238E27FC236}">
                <a16:creationId xmlns:a16="http://schemas.microsoft.com/office/drawing/2014/main" id="{1EFD6C72-2063-AD48-9727-C4AB16A6DE18}"/>
              </a:ext>
            </a:extLst>
          </p:cNvPr>
          <p:cNvSpPr>
            <a:spLocks noGrp="1"/>
          </p:cNvSpPr>
          <p:nvPr userDrawn="1">
            <p:ph type="subTitle" idx="1" hasCustomPrompt="1"/>
          </p:nvPr>
        </p:nvSpPr>
        <p:spPr>
          <a:xfrm>
            <a:off x="6276063" y="1495948"/>
            <a:ext cx="1005184" cy="215444"/>
          </a:xfrm>
          <a:noFill/>
        </p:spPr>
        <p:txBody>
          <a:bodyPr wrap="none" lIns="216000" tIns="0" rIns="0" bIns="0" anchor="ctr">
            <a:spAutoFit/>
          </a:bodyPr>
          <a:lstStyle>
            <a:lvl1pPr marL="0" indent="0" algn="l">
              <a:buNone/>
              <a:defRPr lang="de-DE" sz="1400" b="0" kern="1200" dirty="0">
                <a:solidFill>
                  <a:schemeClr val="accent1"/>
                </a:solidFill>
                <a:latin typeface="+mn-lt"/>
                <a:ea typeface="+mn-ea"/>
                <a:cs typeface="+mn-cs"/>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de-DE"/>
              <a:t>Dachzeile</a:t>
            </a:r>
          </a:p>
        </p:txBody>
      </p:sp>
      <p:sp>
        <p:nvSpPr>
          <p:cNvPr id="6" name="Titel 1">
            <a:extLst>
              <a:ext uri="{FF2B5EF4-FFF2-40B4-BE49-F238E27FC236}">
                <a16:creationId xmlns:a16="http://schemas.microsoft.com/office/drawing/2014/main" id="{97AA3D91-2715-1245-B649-15816B60CB03}"/>
              </a:ext>
            </a:extLst>
          </p:cNvPr>
          <p:cNvSpPr>
            <a:spLocks noGrp="1"/>
          </p:cNvSpPr>
          <p:nvPr>
            <p:ph type="ctrTitle" hasCustomPrompt="1"/>
          </p:nvPr>
        </p:nvSpPr>
        <p:spPr>
          <a:xfrm>
            <a:off x="6276063" y="2236457"/>
            <a:ext cx="5399999" cy="1064355"/>
          </a:xfrm>
          <a:noFill/>
          <a:effectLst/>
        </p:spPr>
        <p:txBody>
          <a:bodyPr lIns="198000" tIns="0" rIns="0" anchor="b" anchorCtr="0">
            <a:noAutofit/>
          </a:bodyPr>
          <a:lstStyle>
            <a:lvl1pPr marL="0" algn="l" defTabSz="914355" rtl="0" eaLnBrk="1" latinLnBrk="0" hangingPunct="1">
              <a:lnSpc>
                <a:spcPct val="90000"/>
              </a:lnSpc>
              <a:spcBef>
                <a:spcPct val="0"/>
              </a:spcBef>
              <a:buNone/>
              <a:defRPr lang="de-DE" sz="3600" b="1" kern="1200" dirty="0">
                <a:solidFill>
                  <a:schemeClr val="tx2"/>
                </a:solidFill>
                <a:latin typeface="+mj-lt"/>
                <a:ea typeface="+mj-ea"/>
                <a:cs typeface="Arial" panose="020B0604020202020204" pitchFamily="34" charset="0"/>
              </a:defRPr>
            </a:lvl1pPr>
          </a:lstStyle>
          <a:p>
            <a:r>
              <a:rPr lang="de-DE"/>
              <a:t>Überschrift</a:t>
            </a:r>
            <a:br>
              <a:rPr lang="de-DE"/>
            </a:br>
            <a:r>
              <a:rPr lang="de-DE"/>
              <a:t>in drei Zeilen </a:t>
            </a:r>
            <a:br>
              <a:rPr lang="de-DE"/>
            </a:br>
            <a:r>
              <a:rPr lang="de-DE"/>
              <a:t>möglich</a:t>
            </a:r>
          </a:p>
        </p:txBody>
      </p:sp>
      <p:pic>
        <p:nvPicPr>
          <p:cNvPr id="8" name="Grafik 7">
            <a:extLst>
              <a:ext uri="{FF2B5EF4-FFF2-40B4-BE49-F238E27FC236}">
                <a16:creationId xmlns:a16="http://schemas.microsoft.com/office/drawing/2014/main" id="{507B9287-55AF-8048-9FEA-2A80D60D6670}"/>
              </a:ext>
            </a:extLst>
          </p:cNvPr>
          <p:cNvPicPr>
            <a:picLocks noChangeAspect="1"/>
          </p:cNvPicPr>
          <p:nvPr userDrawn="1"/>
        </p:nvPicPr>
        <p:blipFill>
          <a:blip r:embed="rId5"/>
          <a:stretch>
            <a:fillRect/>
          </a:stretch>
        </p:blipFill>
        <p:spPr>
          <a:xfrm>
            <a:off x="11179900" y="5849230"/>
            <a:ext cx="720000" cy="720000"/>
          </a:xfrm>
          <a:prstGeom prst="rect">
            <a:avLst/>
          </a:prstGeom>
        </p:spPr>
      </p:pic>
      <p:cxnSp>
        <p:nvCxnSpPr>
          <p:cNvPr id="9" name="Gerade Verbindung 8">
            <a:extLst>
              <a:ext uri="{FF2B5EF4-FFF2-40B4-BE49-F238E27FC236}">
                <a16:creationId xmlns:a16="http://schemas.microsoft.com/office/drawing/2014/main" id="{5D6BFDAA-1B23-B44C-B430-5B98D64133FF}"/>
              </a:ext>
            </a:extLst>
          </p:cNvPr>
          <p:cNvCxnSpPr>
            <a:cxnSpLocks/>
          </p:cNvCxnSpPr>
          <p:nvPr userDrawn="1"/>
        </p:nvCxnSpPr>
        <p:spPr>
          <a:xfrm>
            <a:off x="6491963" y="3560073"/>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 name="Fußzeilenplatzhalter 3">
            <a:extLst>
              <a:ext uri="{FF2B5EF4-FFF2-40B4-BE49-F238E27FC236}">
                <a16:creationId xmlns:a16="http://schemas.microsoft.com/office/drawing/2014/main" id="{6C637AFB-6BFF-4A85-9BE3-5535776DCF27}"/>
              </a:ext>
            </a:extLst>
          </p:cNvPr>
          <p:cNvSpPr>
            <a:spLocks noGrp="1"/>
          </p:cNvSpPr>
          <p:nvPr>
            <p:ph type="ftr" sz="quarter" idx="13"/>
          </p:nvPr>
        </p:nvSpPr>
        <p:spPr>
          <a:xfrm>
            <a:off x="6276063" y="3733235"/>
            <a:ext cx="4782950" cy="215444"/>
          </a:xfrm>
        </p:spPr>
        <p:txBody>
          <a:bodyPr lIns="216000" tIns="0" rIns="0" bIns="0"/>
          <a:lstStyle>
            <a:lvl1pPr>
              <a:spcBef>
                <a:spcPts val="600"/>
              </a:spcBef>
              <a:spcAft>
                <a:spcPts val="600"/>
              </a:spcAft>
              <a:defRPr sz="1400">
                <a:solidFill>
                  <a:schemeClr val="tx2"/>
                </a:solidFill>
              </a:defRPr>
            </a:lvl1pPr>
          </a:lstStyle>
          <a:p>
            <a:r>
              <a:rPr lang="de-DE"/>
              <a:t>Florian Bez</a:t>
            </a:r>
          </a:p>
        </p:txBody>
      </p:sp>
    </p:spTree>
    <p:extLst>
      <p:ext uri="{BB962C8B-B14F-4D97-AF65-F5344CB8AC3E}">
        <p14:creationId xmlns:p14="http://schemas.microsoft.com/office/powerpoint/2010/main" val="152451536"/>
      </p:ext>
    </p:extLst>
  </p:cSld>
  <p:clrMapOvr>
    <a:masterClrMapping/>
  </p:clrMapOvr>
  <p:hf hdr="0" dt="0"/>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3200"/>
            <a:ext cx="11160125" cy="4345200"/>
          </a:xfrm>
        </p:spPr>
        <p:txBody>
          <a:bodyPr/>
          <a:lstStyle>
            <a:lvl1pPr>
              <a:defRPr>
                <a:solidFill>
                  <a:schemeClr val="tx2"/>
                </a:solidFill>
              </a:defRPr>
            </a:lvl1pPr>
          </a:lstStyle>
          <a:p>
            <a:pPr lvl="0"/>
            <a:r>
              <a:rPr lang="de-DE"/>
              <a:t>Mastertextformat bearbeiten</a:t>
            </a:r>
          </a:p>
        </p:txBody>
      </p:sp>
      <p:sp>
        <p:nvSpPr>
          <p:cNvPr id="5" name="Datumsplatzhalter 4">
            <a:extLst>
              <a:ext uri="{FF2B5EF4-FFF2-40B4-BE49-F238E27FC236}">
                <a16:creationId xmlns:a16="http://schemas.microsoft.com/office/drawing/2014/main" id="{8F2A36B2-CB27-4C43-B5D5-CB711C557260}"/>
              </a:ext>
            </a:extLst>
          </p:cNvPr>
          <p:cNvSpPr>
            <a:spLocks noGrp="1"/>
          </p:cNvSpPr>
          <p:nvPr>
            <p:ph type="dt" sz="half" idx="14"/>
          </p:nvPr>
        </p:nvSpPr>
        <p:spPr/>
        <p:txBody>
          <a:bodyPr/>
          <a:lstStyle/>
          <a:p>
            <a:fld id="{1AAD083E-A37E-4C7B-BD70-F1BA843AE7C4}" type="datetime4">
              <a:rPr lang="de-DE" smtClean="0"/>
              <a:pPr/>
              <a:t>21. April 2023</a:t>
            </a:fld>
            <a:endParaRPr lang="de-DE"/>
          </a:p>
        </p:txBody>
      </p:sp>
      <p:sp>
        <p:nvSpPr>
          <p:cNvPr id="6" name="Fußzeilenplatzhalter 5">
            <a:extLst>
              <a:ext uri="{FF2B5EF4-FFF2-40B4-BE49-F238E27FC236}">
                <a16:creationId xmlns:a16="http://schemas.microsoft.com/office/drawing/2014/main" id="{2ADE960C-3FDD-4CC3-B301-431CFE63BCE4}"/>
              </a:ext>
            </a:extLst>
          </p:cNvPr>
          <p:cNvSpPr>
            <a:spLocks noGrp="1"/>
          </p:cNvSpPr>
          <p:nvPr>
            <p:ph type="ftr" sz="quarter" idx="15"/>
          </p:nvPr>
        </p:nvSpPr>
        <p:spPr/>
        <p:txBody>
          <a:bodyPr/>
          <a:lstStyle/>
          <a:p>
            <a:r>
              <a:rPr lang="de-DE"/>
              <a:t>Florian Bez</a:t>
            </a:r>
          </a:p>
        </p:txBody>
      </p:sp>
      <p:sp>
        <p:nvSpPr>
          <p:cNvPr id="7" name="Foliennummernplatzhalter 6">
            <a:extLst>
              <a:ext uri="{FF2B5EF4-FFF2-40B4-BE49-F238E27FC236}">
                <a16:creationId xmlns:a16="http://schemas.microsoft.com/office/drawing/2014/main" id="{5D5CFED5-D3E5-4502-B51E-0924C97B76EF}"/>
              </a:ext>
            </a:extLst>
          </p:cNvPr>
          <p:cNvSpPr>
            <a:spLocks noGrp="1"/>
          </p:cNvSpPr>
          <p:nvPr>
            <p:ph type="sldNum" sz="quarter" idx="16"/>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Tree>
    <p:extLst>
      <p:ext uri="{BB962C8B-B14F-4D97-AF65-F5344CB8AC3E}">
        <p14:creationId xmlns:p14="http://schemas.microsoft.com/office/powerpoint/2010/main" val="30381662"/>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mit Unter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7798"/>
          </a:xfrm>
        </p:spPr>
        <p:txBody>
          <a:bodyPr/>
          <a:lstStyle>
            <a:lvl1pPr>
              <a:defRPr b="1"/>
            </a:lvl1p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p:nvPr>
        </p:nvSpPr>
        <p:spPr>
          <a:xfrm>
            <a:off x="515938" y="1483200"/>
            <a:ext cx="11160125" cy="4345200"/>
          </a:xfrm>
        </p:spPr>
        <p:txBody>
          <a:bodyPr/>
          <a:lstStyle>
            <a:lvl1pPr>
              <a:defRPr>
                <a:solidFill>
                  <a:schemeClr val="tx2"/>
                </a:solidFill>
              </a:defRPr>
            </a:lvl1pPr>
          </a:lstStyle>
          <a:p>
            <a:pPr lvl="0"/>
            <a:r>
              <a:rPr lang="de-DE"/>
              <a:t>Mastertextformat bearbeiten</a:t>
            </a:r>
          </a:p>
        </p:txBody>
      </p:sp>
      <p:sp>
        <p:nvSpPr>
          <p:cNvPr id="5" name="Textplatzhalter 4"/>
          <p:cNvSpPr>
            <a:spLocks noGrp="1"/>
          </p:cNvSpPr>
          <p:nvPr>
            <p:ph type="body" sz="quarter" idx="16" hasCustomPrompt="1"/>
          </p:nvPr>
        </p:nvSpPr>
        <p:spPr>
          <a:xfrm>
            <a:off x="515938" y="919611"/>
            <a:ext cx="11160000" cy="387798"/>
          </a:xfrm>
        </p:spPr>
        <p:txBody>
          <a:bodyPr vert="horz" lIns="0" tIns="0" rIns="0" bIns="0" rtlCol="0" anchor="t">
            <a:noAutofit/>
          </a:bodyPr>
          <a:lstStyle>
            <a:lvl1pPr>
              <a:defRPr lang="de-DE" sz="2800" b="0">
                <a:latin typeface="+mj-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6" name="Datumsplatzhalter 5">
            <a:extLst>
              <a:ext uri="{FF2B5EF4-FFF2-40B4-BE49-F238E27FC236}">
                <a16:creationId xmlns:a16="http://schemas.microsoft.com/office/drawing/2014/main" id="{DF10217D-63D4-4BE3-BC31-6B908627107C}"/>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7" name="Fußzeilenplatzhalter 6">
            <a:extLst>
              <a:ext uri="{FF2B5EF4-FFF2-40B4-BE49-F238E27FC236}">
                <a16:creationId xmlns:a16="http://schemas.microsoft.com/office/drawing/2014/main" id="{18659443-98E3-4803-BD68-009ACCC3C4C6}"/>
              </a:ext>
            </a:extLst>
          </p:cNvPr>
          <p:cNvSpPr>
            <a:spLocks noGrp="1"/>
          </p:cNvSpPr>
          <p:nvPr>
            <p:ph type="ftr" sz="quarter" idx="18"/>
          </p:nvPr>
        </p:nvSpPr>
        <p:spPr/>
        <p:txBody>
          <a:bodyPr/>
          <a:lstStyle/>
          <a:p>
            <a:r>
              <a:rPr lang="de-DE"/>
              <a:t>Florian Bez</a:t>
            </a:r>
          </a:p>
        </p:txBody>
      </p:sp>
      <p:sp>
        <p:nvSpPr>
          <p:cNvPr id="8" name="Foliennummernplatzhalter 7">
            <a:extLst>
              <a:ext uri="{FF2B5EF4-FFF2-40B4-BE49-F238E27FC236}">
                <a16:creationId xmlns:a16="http://schemas.microsoft.com/office/drawing/2014/main" id="{DDEEA445-4E59-4E3A-8A3A-E10C2F627CD7}"/>
              </a:ext>
            </a:extLst>
          </p:cNvPr>
          <p:cNvSpPr>
            <a:spLocks noGrp="1"/>
          </p:cNvSpPr>
          <p:nvPr>
            <p:ph type="sldNum" sz="quarter" idx="19"/>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Tree>
    <p:extLst>
      <p:ext uri="{BB962C8B-B14F-4D97-AF65-F5344CB8AC3E}">
        <p14:creationId xmlns:p14="http://schemas.microsoft.com/office/powerpoint/2010/main" val="4233008253"/>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9" name="Textplatzhalter 8"/>
          <p:cNvSpPr>
            <a:spLocks noGrp="1"/>
          </p:cNvSpPr>
          <p:nvPr>
            <p:ph type="body" sz="quarter" idx="17"/>
          </p:nvPr>
        </p:nvSpPr>
        <p:spPr>
          <a:xfrm>
            <a:off x="515938" y="1484313"/>
            <a:ext cx="11160125" cy="392112"/>
          </a:xfrm>
        </p:spPr>
        <p:txBody>
          <a:bodyPr/>
          <a:lstStyle/>
          <a:p>
            <a:pPr lvl="0"/>
            <a:r>
              <a:rPr lang="de-DE"/>
              <a:t>Mastertextformat bearbeiten</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4669"/>
            <a:ext cx="11160125" cy="3803730"/>
          </a:xfrm>
        </p:spPr>
        <p:txBody>
          <a:bodyPr/>
          <a:lstStyle>
            <a:lvl1pPr>
              <a:defRPr>
                <a:solidFill>
                  <a:schemeClr val="tx2"/>
                </a:solidFill>
              </a:defRPr>
            </a:lvl1pPr>
            <a:lvl2pPr>
              <a:defRPr/>
            </a:lvl2pPr>
            <a:lvl5pPr>
              <a:defRPr/>
            </a:lvl5pPr>
          </a:lstStyle>
          <a:p>
            <a:pPr lvl="0"/>
            <a:r>
              <a:rPr lang="de-DE"/>
              <a:t>Überschrift</a:t>
            </a:r>
          </a:p>
          <a:p>
            <a:pPr lvl="1"/>
            <a:r>
              <a:rPr lang="de-DE"/>
              <a:t>Zweite Ebene</a:t>
            </a:r>
          </a:p>
          <a:p>
            <a:pPr lvl="2"/>
            <a:r>
              <a:rPr lang="de-DE"/>
              <a:t>Dritte Ebene</a:t>
            </a:r>
          </a:p>
          <a:p>
            <a:pPr lvl="3"/>
            <a:r>
              <a:rPr lang="de-DE"/>
              <a:t>Vierte Ebene</a:t>
            </a:r>
          </a:p>
          <a:p>
            <a:pPr lvl="4"/>
            <a:r>
              <a:rPr lang="de-DE"/>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Datumsplatzhalter 4">
            <a:extLst>
              <a:ext uri="{FF2B5EF4-FFF2-40B4-BE49-F238E27FC236}">
                <a16:creationId xmlns:a16="http://schemas.microsoft.com/office/drawing/2014/main" id="{14EF4EB6-98EC-4DC0-9B52-9B7E20B6CB47}"/>
              </a:ext>
            </a:extLst>
          </p:cNvPr>
          <p:cNvSpPr>
            <a:spLocks noGrp="1"/>
          </p:cNvSpPr>
          <p:nvPr>
            <p:ph type="dt" sz="half" idx="18"/>
          </p:nvPr>
        </p:nvSpPr>
        <p:spPr/>
        <p:txBody>
          <a:bodyPr/>
          <a:lstStyle/>
          <a:p>
            <a:fld id="{97366B11-EB6D-4D97-B85B-41C922D35513}" type="datetime4">
              <a:rPr lang="de-DE" smtClean="0"/>
              <a:pPr/>
              <a:t>21. April 2023</a:t>
            </a:fld>
            <a:endParaRPr lang="de-DE"/>
          </a:p>
        </p:txBody>
      </p:sp>
      <p:sp>
        <p:nvSpPr>
          <p:cNvPr id="6" name="Fußzeilenplatzhalter 5">
            <a:extLst>
              <a:ext uri="{FF2B5EF4-FFF2-40B4-BE49-F238E27FC236}">
                <a16:creationId xmlns:a16="http://schemas.microsoft.com/office/drawing/2014/main" id="{7A5963BE-0BBE-44FF-8B06-67F00E65B0B9}"/>
              </a:ext>
            </a:extLst>
          </p:cNvPr>
          <p:cNvSpPr>
            <a:spLocks noGrp="1"/>
          </p:cNvSpPr>
          <p:nvPr>
            <p:ph type="ftr" sz="quarter" idx="19"/>
          </p:nvPr>
        </p:nvSpPr>
        <p:spPr/>
        <p:txBody>
          <a:bodyPr/>
          <a:lstStyle/>
          <a:p>
            <a:r>
              <a:rPr lang="de-DE"/>
              <a:t>Florian Bez</a:t>
            </a:r>
          </a:p>
        </p:txBody>
      </p:sp>
      <p:sp>
        <p:nvSpPr>
          <p:cNvPr id="8" name="Foliennummernplatzhalter 7">
            <a:extLst>
              <a:ext uri="{FF2B5EF4-FFF2-40B4-BE49-F238E27FC236}">
                <a16:creationId xmlns:a16="http://schemas.microsoft.com/office/drawing/2014/main" id="{467D51A2-BAD0-46D4-BDC9-F3F2DBEBDA8A}"/>
              </a:ext>
            </a:extLst>
          </p:cNvPr>
          <p:cNvSpPr>
            <a:spLocks noGrp="1"/>
          </p:cNvSpPr>
          <p:nvPr>
            <p:ph type="sldNum" sz="quarter" idx="20"/>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Tree>
    <p:extLst>
      <p:ext uri="{BB962C8B-B14F-4D97-AF65-F5344CB8AC3E}">
        <p14:creationId xmlns:p14="http://schemas.microsoft.com/office/powerpoint/2010/main" val="1984004726"/>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mit Überschrift und Untertitel">
    <p:spTree>
      <p:nvGrpSpPr>
        <p:cNvPr id="1" name=""/>
        <p:cNvGrpSpPr/>
        <p:nvPr/>
      </p:nvGrpSpPr>
      <p:grpSpPr>
        <a:xfrm>
          <a:off x="0" y="0"/>
          <a:ext cx="0" cy="0"/>
          <a:chOff x="0" y="0"/>
          <a:chExt cx="0" cy="0"/>
        </a:xfrm>
      </p:grpSpPr>
      <p:sp>
        <p:nvSpPr>
          <p:cNvPr id="5" name="Textplatzhalter 4"/>
          <p:cNvSpPr>
            <a:spLocks noGrp="1"/>
          </p:cNvSpPr>
          <p:nvPr>
            <p:ph type="body" sz="quarter" idx="18"/>
          </p:nvPr>
        </p:nvSpPr>
        <p:spPr>
          <a:xfrm>
            <a:off x="515938" y="1484313"/>
            <a:ext cx="11160125" cy="390525"/>
          </a:xfrm>
        </p:spPr>
        <p:txBody>
          <a:bodyPr/>
          <a:lstStyle/>
          <a:p>
            <a:pPr lvl="0"/>
            <a:r>
              <a:rPr lang="de-DE"/>
              <a:t>Mastertextformat bearbeiten</a:t>
            </a:r>
          </a:p>
        </p:txBody>
      </p:sp>
      <p:sp>
        <p:nvSpPr>
          <p:cNvPr id="2" name="Titel 1">
            <a:extLst>
              <a:ext uri="{FF2B5EF4-FFF2-40B4-BE49-F238E27FC236}">
                <a16:creationId xmlns:a16="http://schemas.microsoft.com/office/drawing/2014/main" id="{EB03FE40-B22A-7341-B28C-28DFD29DF85F}"/>
              </a:ext>
            </a:extLst>
          </p:cNvPr>
          <p:cNvSpPr>
            <a:spLocks noGrp="1"/>
          </p:cNvSpPr>
          <p:nvPr>
            <p:ph type="title"/>
          </p:nvPr>
        </p:nvSpPr>
        <p:spPr>
          <a:xfrm>
            <a:off x="515938" y="512763"/>
            <a:ext cx="11160125" cy="388800"/>
          </a:xfrm>
        </p:spPr>
        <p:txBody>
          <a:bodyPr/>
          <a:lstStyle/>
          <a:p>
            <a:r>
              <a:rPr lang="de-DE"/>
              <a:t>Mastertitelformat bearbeiten</a:t>
            </a:r>
          </a:p>
        </p:txBody>
      </p:sp>
      <p:sp>
        <p:nvSpPr>
          <p:cNvPr id="4" name="Inhaltsplatzhalter 3">
            <a:extLst>
              <a:ext uri="{FF2B5EF4-FFF2-40B4-BE49-F238E27FC236}">
                <a16:creationId xmlns:a16="http://schemas.microsoft.com/office/drawing/2014/main" id="{954A3B36-B0FE-C746-9087-319E2EDF7A1B}"/>
              </a:ext>
            </a:extLst>
          </p:cNvPr>
          <p:cNvSpPr>
            <a:spLocks noGrp="1"/>
          </p:cNvSpPr>
          <p:nvPr>
            <p:ph sz="quarter" idx="13" hasCustomPrompt="1"/>
          </p:nvPr>
        </p:nvSpPr>
        <p:spPr>
          <a:xfrm>
            <a:off x="515938" y="2024670"/>
            <a:ext cx="11160125" cy="3803730"/>
          </a:xfrm>
        </p:spPr>
        <p:txBody>
          <a:bodyPr/>
          <a:lstStyle>
            <a:lvl1pPr>
              <a:defRPr>
                <a:solidFill>
                  <a:schemeClr val="tx2"/>
                </a:solidFill>
              </a:defRPr>
            </a:lvl1pPr>
            <a:lvl2pPr>
              <a:defRPr/>
            </a:lvl2pPr>
          </a:lstStyle>
          <a:p>
            <a:pPr lvl="0"/>
            <a:r>
              <a:rPr lang="de-DE"/>
              <a:t>Erste Ebene</a:t>
            </a:r>
          </a:p>
          <a:p>
            <a:pPr lvl="1"/>
            <a:r>
              <a:rPr lang="de-DE"/>
              <a:t>Zweite Ebene</a:t>
            </a:r>
          </a:p>
          <a:p>
            <a:pPr lvl="2"/>
            <a:r>
              <a:rPr lang="de-DE"/>
              <a:t>Dritte Ebene</a:t>
            </a:r>
          </a:p>
          <a:p>
            <a:pPr lvl="3"/>
            <a:r>
              <a:rPr lang="de-DE"/>
              <a:t>Vierte Ebene</a:t>
            </a:r>
          </a:p>
          <a:p>
            <a:pPr lvl="4"/>
            <a:r>
              <a:rPr lang="de-DE"/>
              <a:t>Fünfte Ebene</a:t>
            </a:r>
          </a:p>
        </p:txBody>
      </p:sp>
      <p:cxnSp>
        <p:nvCxnSpPr>
          <p:cNvPr id="7" name="Gerade Verbindung 6">
            <a:extLst>
              <a:ext uri="{FF2B5EF4-FFF2-40B4-BE49-F238E27FC236}">
                <a16:creationId xmlns:a16="http://schemas.microsoft.com/office/drawing/2014/main" id="{F27AA4C9-56AC-ED4E-8F1B-08836D5E3AAF}"/>
              </a:ext>
            </a:extLst>
          </p:cNvPr>
          <p:cNvCxnSpPr>
            <a:cxnSpLocks/>
          </p:cNvCxnSpPr>
          <p:nvPr userDrawn="1"/>
        </p:nvCxnSpPr>
        <p:spPr>
          <a:xfrm>
            <a:off x="515938" y="1875600"/>
            <a:ext cx="2577897"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Fußzeilenplatzhalter 25">
            <a:extLst>
              <a:ext uri="{FF2B5EF4-FFF2-40B4-BE49-F238E27FC236}">
                <a16:creationId xmlns:a16="http://schemas.microsoft.com/office/drawing/2014/main" id="{0FC06A4C-9433-5342-AA89-31784E1C805F}"/>
              </a:ext>
            </a:extLst>
          </p:cNvPr>
          <p:cNvSpPr>
            <a:spLocks noGrp="1"/>
          </p:cNvSpPr>
          <p:nvPr>
            <p:ph type="ftr" sz="quarter" idx="15"/>
          </p:nvPr>
        </p:nvSpPr>
        <p:spPr/>
        <p:txBody>
          <a:bodyPr/>
          <a:lstStyle/>
          <a:p>
            <a:r>
              <a:rPr lang="de-DE" dirty="0"/>
              <a:t>Florian Bez</a:t>
            </a:r>
          </a:p>
        </p:txBody>
      </p:sp>
      <p:sp>
        <p:nvSpPr>
          <p:cNvPr id="27" name="Foliennummernplatzhalter 26">
            <a:extLst>
              <a:ext uri="{FF2B5EF4-FFF2-40B4-BE49-F238E27FC236}">
                <a16:creationId xmlns:a16="http://schemas.microsoft.com/office/drawing/2014/main" id="{7ED9046E-DA49-2F47-BC4A-7852B5A1D832}"/>
              </a:ext>
            </a:extLst>
          </p:cNvPr>
          <p:cNvSpPr>
            <a:spLocks noGrp="1"/>
          </p:cNvSpPr>
          <p:nvPr>
            <p:ph type="sldNum" sz="quarter" idx="16"/>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
        <p:nvSpPr>
          <p:cNvPr id="8" name="Textplatzhalter 4"/>
          <p:cNvSpPr>
            <a:spLocks noGrp="1"/>
          </p:cNvSpPr>
          <p:nvPr>
            <p:ph type="body" sz="quarter" idx="17" hasCustomPrompt="1"/>
          </p:nvPr>
        </p:nvSpPr>
        <p:spPr>
          <a:xfrm>
            <a:off x="515938" y="919611"/>
            <a:ext cx="11160000" cy="387798"/>
          </a:xfrm>
        </p:spPr>
        <p:txBody>
          <a:bodyPr vert="horz" lIns="0" tIns="0" rIns="0" bIns="0" rtlCol="0" anchor="t">
            <a:noAutofit/>
          </a:bodyPr>
          <a:lstStyle>
            <a:lvl1pPr>
              <a:defRPr lang="de-DE" sz="2800" b="0">
                <a:latin typeface="+mj-lt"/>
                <a:ea typeface="+mj-ea"/>
              </a:defRPr>
            </a:lvl1pPr>
            <a:lvl2pPr>
              <a:defRPr lang="de-DE" b="0"/>
            </a:lvl2pPr>
            <a:lvl3pPr>
              <a:defRPr lang="de-DE" b="0"/>
            </a:lvl3pPr>
            <a:lvl4pPr>
              <a:defRPr lang="de-DE" b="0"/>
            </a:lvl4pPr>
            <a:lvl5pPr>
              <a:defRPr lang="de-DE" b="0"/>
            </a:lvl5pPr>
          </a:lstStyle>
          <a:p>
            <a:pPr lvl="0">
              <a:lnSpc>
                <a:spcPct val="90000"/>
              </a:lnSpc>
              <a:spcBef>
                <a:spcPct val="0"/>
              </a:spcBef>
            </a:pPr>
            <a:r>
              <a:rPr lang="de-DE"/>
              <a:t>Untertitel bearbeiten</a:t>
            </a:r>
          </a:p>
        </p:txBody>
      </p:sp>
      <p:sp>
        <p:nvSpPr>
          <p:cNvPr id="3" name="Datumsplatzhalter 2">
            <a:extLst>
              <a:ext uri="{FF2B5EF4-FFF2-40B4-BE49-F238E27FC236}">
                <a16:creationId xmlns:a16="http://schemas.microsoft.com/office/drawing/2014/main" id="{00EEB925-07DF-4482-97BE-FA3B95518D29}"/>
              </a:ext>
            </a:extLst>
          </p:cNvPr>
          <p:cNvSpPr>
            <a:spLocks noGrp="1"/>
          </p:cNvSpPr>
          <p:nvPr>
            <p:ph type="dt" sz="half" idx="19"/>
          </p:nvPr>
        </p:nvSpPr>
        <p:spPr/>
        <p:txBody>
          <a:bodyPr/>
          <a:lstStyle/>
          <a:p>
            <a:fld id="{D20715B0-B0F6-4D17-B065-57686750EBB4}" type="datetime4">
              <a:rPr lang="de-DE" smtClean="0"/>
              <a:pPr/>
              <a:t>21. April 2023</a:t>
            </a:fld>
            <a:endParaRPr lang="de-DE"/>
          </a:p>
        </p:txBody>
      </p:sp>
    </p:spTree>
    <p:extLst>
      <p:ext uri="{BB962C8B-B14F-4D97-AF65-F5344CB8AC3E}">
        <p14:creationId xmlns:p14="http://schemas.microsoft.com/office/powerpoint/2010/main" val="179682616"/>
      </p:ext>
    </p:extLst>
  </p:cSld>
  <p:clrMapOvr>
    <a:masterClrMapping/>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Überschrif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Foliennummernplatzhalter 2"/>
          <p:cNvSpPr>
            <a:spLocks noGrp="1"/>
          </p:cNvSpPr>
          <p:nvPr>
            <p:ph type="sldNum" sz="quarter" idx="10"/>
          </p:nvPr>
        </p:nvSpPr>
        <p:spPr/>
        <p:txBody>
          <a:body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sp>
        <p:nvSpPr>
          <p:cNvPr id="4" name="Fußzeilenplatzhalter 3"/>
          <p:cNvSpPr>
            <a:spLocks noGrp="1"/>
          </p:cNvSpPr>
          <p:nvPr>
            <p:ph type="ftr" sz="quarter" idx="11"/>
          </p:nvPr>
        </p:nvSpPr>
        <p:spPr/>
        <p:txBody>
          <a:bodyPr/>
          <a:lstStyle/>
          <a:p>
            <a:r>
              <a:rPr lang="de-DE"/>
              <a:t>Florian Bez</a:t>
            </a:r>
          </a:p>
        </p:txBody>
      </p:sp>
      <p:sp>
        <p:nvSpPr>
          <p:cNvPr id="5" name="Datumsplatzhalter 4">
            <a:extLst>
              <a:ext uri="{FF2B5EF4-FFF2-40B4-BE49-F238E27FC236}">
                <a16:creationId xmlns:a16="http://schemas.microsoft.com/office/drawing/2014/main" id="{BCA88A41-2E12-4F27-A399-FC543CFDEDD6}"/>
              </a:ext>
            </a:extLst>
          </p:cNvPr>
          <p:cNvSpPr>
            <a:spLocks noGrp="1"/>
          </p:cNvSpPr>
          <p:nvPr>
            <p:ph type="dt" sz="half" idx="12"/>
          </p:nvPr>
        </p:nvSpPr>
        <p:spPr/>
        <p:txBody>
          <a:bodyPr/>
          <a:lstStyle/>
          <a:p>
            <a:fld id="{ACCC8348-03FD-4BB9-A92A-7F766C96B829}" type="datetime4">
              <a:rPr lang="de-DE" smtClean="0"/>
              <a:pPr/>
              <a:t>21. April 2023</a:t>
            </a:fld>
            <a:endParaRPr lang="de-DE"/>
          </a:p>
        </p:txBody>
      </p:sp>
    </p:spTree>
    <p:extLst>
      <p:ext uri="{BB962C8B-B14F-4D97-AF65-F5344CB8AC3E}">
        <p14:creationId xmlns:p14="http://schemas.microsoft.com/office/powerpoint/2010/main" val="3825675485"/>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4.xml"/><Relationship Id="rId30"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5"/>
            </p:custDataLst>
            <p:extLst>
              <p:ext uri="{D42A27DB-BD31-4B8C-83A1-F6EECF244321}">
                <p14:modId xmlns:p14="http://schemas.microsoft.com/office/powerpoint/2010/main" val="3390169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8" imgW="353" imgH="353" progId="TCLayout.ActiveDocument.1">
                  <p:embed/>
                </p:oleObj>
              </mc:Choice>
              <mc:Fallback>
                <p:oleObj name="think-cell Folie" r:id="rId28" imgW="353" imgH="353" progId="TCLayout.ActiveDocument.1">
                  <p:embed/>
                  <p:pic>
                    <p:nvPicPr>
                      <p:cNvPr id="5" name="Objekt 4"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7EE5D475-DF19-4144-995E-F7C3970B86A2}"/>
              </a:ext>
            </a:extLst>
          </p:cNvPr>
          <p:cNvSpPr>
            <a:spLocks noGrp="1"/>
          </p:cNvSpPr>
          <p:nvPr>
            <p:ph type="title"/>
          </p:nvPr>
        </p:nvSpPr>
        <p:spPr>
          <a:xfrm>
            <a:off x="515938" y="512763"/>
            <a:ext cx="11160125" cy="868362"/>
          </a:xfrm>
          <a:prstGeom prst="rect">
            <a:avLst/>
          </a:prstGeom>
        </p:spPr>
        <p:txBody>
          <a:bodyPr vert="horz" lIns="0" tIns="0" rIns="0" bIns="0" rtlCol="0" anchor="t">
            <a:noAutofit/>
          </a:bodyPr>
          <a:lstStyle/>
          <a:p>
            <a:r>
              <a:rPr lang="de-DE"/>
              <a:t>Mastertitelformat bearbeiten</a:t>
            </a:r>
          </a:p>
        </p:txBody>
      </p:sp>
      <p:sp>
        <p:nvSpPr>
          <p:cNvPr id="3" name="Textplatzhalter 2">
            <a:extLst>
              <a:ext uri="{FF2B5EF4-FFF2-40B4-BE49-F238E27FC236}">
                <a16:creationId xmlns:a16="http://schemas.microsoft.com/office/drawing/2014/main" id="{F3A34782-E3A2-CF42-9904-29EE5398AD9A}"/>
              </a:ext>
            </a:extLst>
          </p:cNvPr>
          <p:cNvSpPr>
            <a:spLocks noGrp="1"/>
          </p:cNvSpPr>
          <p:nvPr>
            <p:ph type="body" idx="1"/>
          </p:nvPr>
        </p:nvSpPr>
        <p:spPr>
          <a:xfrm>
            <a:off x="515938" y="1483200"/>
            <a:ext cx="11160125" cy="4345200"/>
          </a:xfrm>
          <a:prstGeom prst="rect">
            <a:avLst/>
          </a:prstGeom>
        </p:spPr>
        <p:txBody>
          <a:bodyPr vert="horz" lIns="0" tIns="0" rIns="0" bIns="0" rtlCol="0">
            <a:noAutofit/>
          </a:bodyPr>
          <a:lstStyle/>
          <a:p>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sz="1600" b="0" i="0" kern="1200">
                <a:solidFill>
                  <a:schemeClr val="tx1"/>
                </a:solidFill>
                <a:latin typeface="+mn-lt"/>
                <a:ea typeface="+mn-ea"/>
                <a:cs typeface="Arial" panose="020B0604020202020204" pitchFamily="34" charset="0"/>
              </a:rPr>
              <a:t>Sechste Ebene</a:t>
            </a:r>
          </a:p>
          <a:p>
            <a:pPr lvl="6"/>
            <a:r>
              <a:rPr lang="de-DE" b="0" i="0" kern="1200">
                <a:solidFill>
                  <a:schemeClr val="tx1"/>
                </a:solidFill>
                <a:latin typeface="+mn-lt"/>
                <a:ea typeface="+mn-ea"/>
                <a:cs typeface="Arial" panose="020B0604020202020204" pitchFamily="34" charset="0"/>
              </a:rPr>
              <a:t>Siebte Ebene</a:t>
            </a:r>
          </a:p>
          <a:p>
            <a:pPr lvl="7"/>
            <a:r>
              <a:rPr lang="de-DE" b="0" i="0" kern="1200">
                <a:solidFill>
                  <a:schemeClr val="tx1"/>
                </a:solidFill>
                <a:latin typeface="+mn-lt"/>
                <a:ea typeface="+mn-ea"/>
                <a:cs typeface="Arial" panose="020B0604020202020204" pitchFamily="34" charset="0"/>
              </a:rPr>
              <a:t>Achte Ebene</a:t>
            </a:r>
          </a:p>
          <a:p>
            <a:pPr lvl="8"/>
            <a:r>
              <a:rPr lang="de-DE" b="0" i="0" kern="1200">
                <a:solidFill>
                  <a:schemeClr val="tx1"/>
                </a:solidFill>
                <a:latin typeface="+mn-lt"/>
                <a:ea typeface="+mn-ea"/>
                <a:cs typeface="Arial" panose="020B0604020202020204" pitchFamily="34" charset="0"/>
              </a:rPr>
              <a:t>Neunte Ebene</a:t>
            </a:r>
          </a:p>
        </p:txBody>
      </p:sp>
      <p:sp>
        <p:nvSpPr>
          <p:cNvPr id="6" name="Foliennummernplatzhalter 5">
            <a:extLst>
              <a:ext uri="{FF2B5EF4-FFF2-40B4-BE49-F238E27FC236}">
                <a16:creationId xmlns:a16="http://schemas.microsoft.com/office/drawing/2014/main" id="{8F3E9BB6-5D8A-8147-AD61-F2C10BA13284}"/>
              </a:ext>
            </a:extLst>
          </p:cNvPr>
          <p:cNvSpPr>
            <a:spLocks noGrp="1"/>
          </p:cNvSpPr>
          <p:nvPr>
            <p:ph type="sldNum" sz="quarter" idx="4"/>
          </p:nvPr>
        </p:nvSpPr>
        <p:spPr>
          <a:xfrm>
            <a:off x="103534" y="6356348"/>
            <a:ext cx="432000" cy="306407"/>
          </a:xfrm>
          <a:prstGeom prst="rect">
            <a:avLst/>
          </a:prstGeom>
        </p:spPr>
        <p:txBody>
          <a:bodyPr vert="horz" lIns="0" tIns="0" rIns="0" bIns="0" rtlCol="0" anchor="ctr"/>
          <a:lstStyle>
            <a:lvl1pPr algn="r">
              <a:defRPr sz="1000" b="1">
                <a:solidFill>
                  <a:schemeClr val="tx2"/>
                </a:solidFill>
                <a:latin typeface="+mn-lt"/>
                <a:cs typeface="Arial" panose="020B0604020202020204" pitchFamily="34" charset="0"/>
              </a:defRPr>
            </a:lvl1pPr>
          </a:lstStyle>
          <a:p>
            <a:fld id="{8D57957C-F0F3-7842-B0E2-B762F92D6487}" type="slidenum">
              <a:rPr lang="de-DE"/>
              <a:pPr/>
              <a:t>‹#›</a:t>
            </a:fld>
            <a:r>
              <a:rPr lang="de-DE"/>
              <a:t>  </a:t>
            </a:r>
            <a:r>
              <a:rPr lang="de-DE" b="0">
                <a:solidFill>
                  <a:schemeClr val="accent1"/>
                </a:solidFill>
              </a:rPr>
              <a:t>|</a:t>
            </a:r>
            <a:endParaRPr lang="de-DE" sz="900" b="0">
              <a:solidFill>
                <a:schemeClr val="accent1"/>
              </a:solidFill>
            </a:endParaRPr>
          </a:p>
        </p:txBody>
      </p:sp>
      <p:pic>
        <p:nvPicPr>
          <p:cNvPr id="7" name="Grafik 6">
            <a:extLst>
              <a:ext uri="{FF2B5EF4-FFF2-40B4-BE49-F238E27FC236}">
                <a16:creationId xmlns:a16="http://schemas.microsoft.com/office/drawing/2014/main" id="{BC850553-F986-E441-A5BD-871CFC0817DE}"/>
              </a:ext>
            </a:extLst>
          </p:cNvPr>
          <p:cNvPicPr>
            <a:picLocks noChangeAspect="1"/>
          </p:cNvPicPr>
          <p:nvPr userDrawn="1"/>
        </p:nvPicPr>
        <p:blipFill>
          <a:blip r:embed="rId30"/>
          <a:stretch>
            <a:fillRect/>
          </a:stretch>
        </p:blipFill>
        <p:spPr>
          <a:xfrm>
            <a:off x="11459963" y="6137318"/>
            <a:ext cx="432000" cy="432000"/>
          </a:xfrm>
          <a:prstGeom prst="rect">
            <a:avLst/>
          </a:prstGeom>
        </p:spPr>
      </p:pic>
      <p:sp>
        <p:nvSpPr>
          <p:cNvPr id="4" name="Fußzeilenplatzhalter 3">
            <a:extLst>
              <a:ext uri="{FF2B5EF4-FFF2-40B4-BE49-F238E27FC236}">
                <a16:creationId xmlns:a16="http://schemas.microsoft.com/office/drawing/2014/main" id="{3983328E-748D-3F4E-9827-CEDBAE65A398}"/>
              </a:ext>
            </a:extLst>
          </p:cNvPr>
          <p:cNvSpPr>
            <a:spLocks noGrp="1"/>
          </p:cNvSpPr>
          <p:nvPr>
            <p:ph type="ftr" sz="quarter" idx="3"/>
          </p:nvPr>
        </p:nvSpPr>
        <p:spPr>
          <a:xfrm>
            <a:off x="589897" y="6356349"/>
            <a:ext cx="2743200" cy="305989"/>
          </a:xfrm>
          <a:prstGeom prst="rect">
            <a:avLst/>
          </a:prstGeom>
        </p:spPr>
        <p:txBody>
          <a:bodyPr vert="horz" wrap="none" lIns="0" tIns="0" rIns="0" bIns="0" rtlCol="0" anchor="ctr"/>
          <a:lstStyle>
            <a:lvl1pPr algn="l">
              <a:defRPr lang="de-DE" sz="1000" b="0">
                <a:solidFill>
                  <a:schemeClr val="accent1"/>
                </a:solidFill>
                <a:cs typeface="Arial" panose="020B0604020202020204" pitchFamily="34" charset="0"/>
              </a:defRPr>
            </a:lvl1pPr>
          </a:lstStyle>
          <a:p>
            <a:r>
              <a:rPr lang="de-DE"/>
              <a:t>Florian Bez</a:t>
            </a:r>
          </a:p>
        </p:txBody>
      </p:sp>
      <p:sp>
        <p:nvSpPr>
          <p:cNvPr id="9" name="Datumsplatzhalter 8">
            <a:extLst>
              <a:ext uri="{FF2B5EF4-FFF2-40B4-BE49-F238E27FC236}">
                <a16:creationId xmlns:a16="http://schemas.microsoft.com/office/drawing/2014/main" id="{9DB09A8C-0A47-46B9-974A-D9A1F4E4F2AC}"/>
              </a:ext>
            </a:extLst>
          </p:cNvPr>
          <p:cNvSpPr>
            <a:spLocks noGrp="1"/>
          </p:cNvSpPr>
          <p:nvPr>
            <p:ph type="dt" sz="half" idx="2"/>
          </p:nvPr>
        </p:nvSpPr>
        <p:spPr>
          <a:xfrm>
            <a:off x="6745430" y="6356349"/>
            <a:ext cx="1808141" cy="305989"/>
          </a:xfrm>
          <a:prstGeom prst="rect">
            <a:avLst/>
          </a:prstGeom>
        </p:spPr>
        <p:txBody>
          <a:bodyPr vert="horz" wrap="none" lIns="0" tIns="0" rIns="0" bIns="0" rtlCol="0" anchor="ctr"/>
          <a:lstStyle>
            <a:lvl1pPr algn="r">
              <a:defRPr sz="1000">
                <a:solidFill>
                  <a:schemeClr val="accent1"/>
                </a:solidFill>
              </a:defRPr>
            </a:lvl1pPr>
          </a:lstStyle>
          <a:p>
            <a:fld id="{5F137762-E816-4444-AC0F-8D4C5CB8F1AC}" type="datetime4">
              <a:rPr lang="de-DE" smtClean="0"/>
              <a:pPr/>
              <a:t>21. April 2023</a:t>
            </a:fld>
            <a:endParaRPr lang="de-DE"/>
          </a:p>
        </p:txBody>
      </p:sp>
      <p:sp>
        <p:nvSpPr>
          <p:cNvPr id="12" name="Vertraulichkeit">
            <a:extLst>
              <a:ext uri="{FF2B5EF4-FFF2-40B4-BE49-F238E27FC236}">
                <a16:creationId xmlns:a16="http://schemas.microsoft.com/office/drawing/2014/main" id="{0E366F92-F00E-4DBF-99FD-D0E58A0EFF4D}"/>
              </a:ext>
            </a:extLst>
          </p:cNvPr>
          <p:cNvSpPr>
            <a:spLocks/>
          </p:cNvSpPr>
          <p:nvPr userDrawn="1">
            <p:custDataLst>
              <p:tags r:id="rId26"/>
            </p:custDataLst>
          </p:nvPr>
        </p:nvSpPr>
        <p:spPr>
          <a:xfrm>
            <a:off x="8708231" y="6437161"/>
            <a:ext cx="1422793" cy="153888"/>
          </a:xfrm>
          <a:prstGeom prst="rect">
            <a:avLst/>
          </a:prstGeom>
        </p:spPr>
        <p:txBody>
          <a:bodyPr vert="horz" lIns="0" tIns="0" rIns="0" bIns="0" rtlCol="0" anchor="ctr"/>
          <a:lstStyle/>
          <a:p>
            <a:pPr marL="0" lvl="0" indent="-180000" algn="l">
              <a:buFont typeface="Wingdings" panose="05000000000000000000" pitchFamily="2" charset="2"/>
              <a:buChar char=""/>
            </a:pPr>
            <a:r>
              <a:rPr lang="de-DE" sz="1000" b="0">
                <a:solidFill>
                  <a:schemeClr val="accent1"/>
                </a:solidFill>
                <a:cs typeface="Arial" panose="020B0604020202020204" pitchFamily="34" charset="0"/>
              </a:rPr>
              <a:t>Vertraulich</a:t>
            </a:r>
          </a:p>
        </p:txBody>
      </p:sp>
      <p:sp>
        <p:nvSpPr>
          <p:cNvPr id="8" name="empower - DO NOT DELETE!!!" hidden="1">
            <a:extLst>
              <a:ext uri="{FF2B5EF4-FFF2-40B4-BE49-F238E27FC236}">
                <a16:creationId xmlns:a16="http://schemas.microsoft.com/office/drawing/2014/main" id="{3B045111-8DB6-4E89-8ACE-F9267DF8EF55}"/>
              </a:ext>
            </a:extLst>
          </p:cNvPr>
          <p:cNvSpPr/>
          <p:nvPr userDrawn="1">
            <p:custDataLst>
              <p:tags r:id="rId27"/>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Tree>
    <p:extLst>
      <p:ext uri="{BB962C8B-B14F-4D97-AF65-F5344CB8AC3E}">
        <p14:creationId xmlns:p14="http://schemas.microsoft.com/office/powerpoint/2010/main" val="3797982245"/>
      </p:ext>
    </p:extLst>
  </p:cSld>
  <p:clrMap bg1="lt1" tx1="dk1" bg2="lt2" tx2="dk2" accent1="accent1" accent2="accent2" accent3="accent3" accent4="accent4" accent5="accent5" accent6="accent6" hlink="hlink" folHlink="folHlink"/>
  <p:sldLayoutIdLst>
    <p:sldLayoutId id="2147483672" r:id="rId1"/>
    <p:sldLayoutId id="2147483663" r:id="rId2"/>
    <p:sldLayoutId id="2147483669" r:id="rId3"/>
    <p:sldLayoutId id="2147483685" r:id="rId4"/>
    <p:sldLayoutId id="2147483654" r:id="rId5"/>
    <p:sldLayoutId id="2147483677" r:id="rId6"/>
    <p:sldLayoutId id="2147483675" r:id="rId7"/>
    <p:sldLayoutId id="2147483680" r:id="rId8"/>
    <p:sldLayoutId id="2147483678" r:id="rId9"/>
    <p:sldLayoutId id="2147483681" r:id="rId10"/>
    <p:sldLayoutId id="2147483679"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66" r:id="rId22"/>
    <p:sldLayoutId id="2147483697" r:id="rId23"/>
  </p:sldLayoutIdLst>
  <p:hf hdr="0"/>
  <p:txStyles>
    <p:titleStyle>
      <a:lvl1pPr algn="l" defTabSz="914355"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p:titleStyle>
    <p:bodyStyle>
      <a:lvl1pPr marL="0" indent="0" algn="l" defTabSz="914355" rtl="0" eaLnBrk="1" latinLnBrk="0" hangingPunct="1">
        <a:lnSpc>
          <a:spcPct val="100000"/>
        </a:lnSpc>
        <a:spcBef>
          <a:spcPts val="600"/>
        </a:spcBef>
        <a:spcAft>
          <a:spcPts val="600"/>
        </a:spcAft>
        <a:buFont typeface="Arial" panose="020B0604020202020204" pitchFamily="34" charset="0"/>
        <a:buNone/>
        <a:defRPr sz="1600" b="1" kern="1200">
          <a:solidFill>
            <a:schemeClr val="tx2"/>
          </a:solidFill>
          <a:latin typeface="+mn-lt"/>
          <a:ea typeface="+mn-ea"/>
          <a:cs typeface="Arial" panose="020B0604020202020204" pitchFamily="34" charset="0"/>
        </a:defRPr>
      </a:lvl1pPr>
      <a:lvl2pPr marL="0" indent="0" algn="l" defTabSz="914355" rtl="0" eaLnBrk="1" latinLnBrk="0" hangingPunct="1">
        <a:lnSpc>
          <a:spcPct val="100000"/>
        </a:lnSpc>
        <a:spcBef>
          <a:spcPts val="600"/>
        </a:spcBef>
        <a:spcAft>
          <a:spcPts val="600"/>
        </a:spcAft>
        <a:buClr>
          <a:schemeClr val="accent1"/>
        </a:buClr>
        <a:buFont typeface="Wingdings" pitchFamily="2" charset="2"/>
        <a:buNone/>
        <a:defRPr sz="1600" b="0" i="0" kern="1200">
          <a:solidFill>
            <a:schemeClr val="tx1"/>
          </a:solidFill>
          <a:latin typeface="+mn-lt"/>
          <a:ea typeface="+mn-ea"/>
          <a:cs typeface="Arial" panose="020B0604020202020204" pitchFamily="34" charset="0"/>
        </a:defRPr>
      </a:lvl2pPr>
      <a:lvl3pPr marL="216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3pPr>
      <a:lvl4pPr marL="432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4pPr>
      <a:lvl5pPr marL="648000" indent="-216000" algn="l" defTabSz="914355" rtl="0" eaLnBrk="1" latinLnBrk="0" hangingPunct="1">
        <a:lnSpc>
          <a:spcPct val="100000"/>
        </a:lnSpc>
        <a:spcBef>
          <a:spcPts val="600"/>
        </a:spcBef>
        <a:buClr>
          <a:schemeClr val="tx2"/>
        </a:buClr>
        <a:buFont typeface="Wingdings" pitchFamily="2" charset="2"/>
        <a:buChar char="§"/>
        <a:defRPr sz="1600" b="0" i="0" kern="1200">
          <a:solidFill>
            <a:schemeClr val="tx1"/>
          </a:solidFill>
          <a:latin typeface="+mn-lt"/>
          <a:ea typeface="+mn-ea"/>
          <a:cs typeface="Arial" panose="020B0604020202020204" pitchFamily="34" charset="0"/>
        </a:defRPr>
      </a:lvl5pPr>
      <a:lvl6pPr marL="864000" indent="-216000" algn="l" defTabSz="914355" rtl="0" eaLnBrk="1" latinLnBrk="0" hangingPunct="1">
        <a:lnSpc>
          <a:spcPct val="90000"/>
        </a:lnSpc>
        <a:spcBef>
          <a:spcPts val="600"/>
        </a:spcBef>
        <a:buClr>
          <a:schemeClr val="tx2"/>
        </a:buClr>
        <a:buFont typeface="Wingdings" pitchFamily="2" charset="2"/>
        <a:buChar char="§"/>
        <a:defRPr lang="de-DE" sz="1600" b="0" i="0" kern="1200" dirty="0">
          <a:solidFill>
            <a:schemeClr val="tx1"/>
          </a:solidFill>
          <a:latin typeface="+mn-lt"/>
          <a:ea typeface="+mn-ea"/>
          <a:cs typeface="Arial" panose="020B0604020202020204" pitchFamily="34" charset="0"/>
        </a:defRPr>
      </a:lvl6pPr>
      <a:lvl7pPr marL="1080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296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512000" indent="-216000" algn="l" defTabSz="914355" rtl="0" eaLnBrk="1" latinLnBrk="0" hangingPunct="1">
        <a:lnSpc>
          <a:spcPct val="100000"/>
        </a:lnSpc>
        <a:spcBef>
          <a:spcPts val="600"/>
        </a:spcBef>
        <a:buClr>
          <a:schemeClr val="tx2"/>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de-DE"/>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2" userDrawn="1">
          <p15:clr>
            <a:srgbClr val="F26B43"/>
          </p15:clr>
        </p15:guide>
        <p15:guide id="2" pos="325" userDrawn="1">
          <p15:clr>
            <a:srgbClr val="F26B43"/>
          </p15:clr>
        </p15:guide>
        <p15:guide id="3" orient="horz" pos="4133" userDrawn="1">
          <p15:clr>
            <a:srgbClr val="F26B43"/>
          </p15:clr>
        </p15:guide>
        <p15:guide id="4" pos="7491" userDrawn="1">
          <p15:clr>
            <a:srgbClr val="F26B43"/>
          </p15:clr>
        </p15:guide>
        <p15:guide id="6" pos="189" userDrawn="1">
          <p15:clr>
            <a:srgbClr val="F26B43"/>
          </p15:clr>
        </p15:guide>
        <p15:guide id="7" orient="horz" pos="323" userDrawn="1">
          <p15:clr>
            <a:srgbClr val="F26B43"/>
          </p15:clr>
        </p15:guide>
        <p15:guide id="8" orient="horz" pos="3997" userDrawn="1">
          <p15:clr>
            <a:srgbClr val="F26B43"/>
          </p15:clr>
        </p15:guide>
        <p15:guide id="9" pos="7355" userDrawn="1">
          <p15:clr>
            <a:srgbClr val="F26B43"/>
          </p15:clr>
        </p15:guide>
        <p15:guide id="10" orient="horz" pos="935" userDrawn="1">
          <p15:clr>
            <a:srgbClr val="F26B43"/>
          </p15:clr>
        </p15:guide>
        <p15:guide id="12" orient="horz" pos="367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7.xml"/><Relationship Id="rId7" Type="http://schemas.openxmlformats.org/officeDocument/2006/relationships/customXml" Target="../ink/ink1.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1.xml"/><Relationship Id="rId5" Type="http://schemas.openxmlformats.org/officeDocument/2006/relationships/slideLayout" Target="../slideLayouts/slideLayout1.xml"/><Relationship Id="rId4" Type="http://schemas.openxmlformats.org/officeDocument/2006/relationships/tags" Target="../tags/tag18.xml"/><Relationship Id="rId9"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microsoft.com/office/2007/relationships/hdphoto" Target="../media/hdphoto2.wdp"/><Relationship Id="rId7" Type="http://schemas.openxmlformats.org/officeDocument/2006/relationships/image" Target="../media/image31.svg"/><Relationship Id="rId2" Type="http://schemas.openxmlformats.org/officeDocument/2006/relationships/image" Target="../media/image27.png"/><Relationship Id="rId1" Type="http://schemas.openxmlformats.org/officeDocument/2006/relationships/slideLayout" Target="../slideLayouts/slideLayout11.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 Id="rId9" Type="http://schemas.openxmlformats.org/officeDocument/2006/relationships/image" Target="../media/image33.sv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7" Type="http://schemas.openxmlformats.org/officeDocument/2006/relationships/image" Target="../media/image260.png"/><Relationship Id="rId2" Type="http://schemas.openxmlformats.org/officeDocument/2006/relationships/image" Target="../media/image34.jpeg"/><Relationship Id="rId1" Type="http://schemas.openxmlformats.org/officeDocument/2006/relationships/slideLayout" Target="../slideLayouts/slideLayout6.xml"/><Relationship Id="rId6" Type="http://schemas.openxmlformats.org/officeDocument/2006/relationships/customXml" Target="../ink/ink3.xml"/><Relationship Id="rId5" Type="http://schemas.openxmlformats.org/officeDocument/2006/relationships/image" Target="../media/image20.png"/><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image" Target="../media/image38.pn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45.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image" Target="../media/image44.jpeg"/><Relationship Id="rId2" Type="http://schemas.openxmlformats.org/officeDocument/2006/relationships/tags" Target="../tags/tag35.xml"/><Relationship Id="rId16" Type="http://schemas.openxmlformats.org/officeDocument/2006/relationships/notesSlide" Target="../notesSlides/notesSlide9.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slideLayout" Target="../slideLayouts/slideLayout6.xml"/><Relationship Id="rId10" Type="http://schemas.openxmlformats.org/officeDocument/2006/relationships/tags" Target="../tags/tag43.xml"/><Relationship Id="rId19" Type="http://schemas.openxmlformats.org/officeDocument/2006/relationships/image" Target="../media/image46.png"/><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15.xml.rels><?xml version="1.0" encoding="UTF-8" standalone="yes"?>
<Relationships xmlns="http://schemas.openxmlformats.org/package/2006/relationships"><Relationship Id="rId8" Type="http://schemas.openxmlformats.org/officeDocument/2006/relationships/image" Target="../media/image52.JPG"/><Relationship Id="rId3" Type="http://schemas.openxmlformats.org/officeDocument/2006/relationships/image" Target="../media/image47.png"/><Relationship Id="rId7" Type="http://schemas.openxmlformats.org/officeDocument/2006/relationships/image" Target="../media/image51.JP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JPG"/><Relationship Id="rId4" Type="http://schemas.openxmlformats.org/officeDocument/2006/relationships/image" Target="../media/image48.png"/><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6.xml"/><Relationship Id="rId5" Type="http://schemas.openxmlformats.org/officeDocument/2006/relationships/image" Target="../media/image57.jpeg"/><Relationship Id="rId4" Type="http://schemas.microsoft.com/office/2007/relationships/hdphoto" Target="../media/hdphoto3.wdp"/></Relationships>
</file>

<file path=ppt/slides/_rels/slide17.xml.rels><?xml version="1.0" encoding="UTF-8" standalone="yes"?>
<Relationships xmlns="http://schemas.openxmlformats.org/package/2006/relationships"><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NUL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oleObject" Target="../embeddings/oleObject8.bin"/><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notesSlide" Target="../notesSlides/notesSlide2.xml"/><Relationship Id="rId5" Type="http://schemas.openxmlformats.org/officeDocument/2006/relationships/tags" Target="../tags/tag23.xml"/><Relationship Id="rId10" Type="http://schemas.openxmlformats.org/officeDocument/2006/relationships/slideLayout" Target="../slideLayouts/slideLayout6.xml"/><Relationship Id="rId4" Type="http://schemas.openxmlformats.org/officeDocument/2006/relationships/tags" Target="../tags/tag22.xml"/><Relationship Id="rId9" Type="http://schemas.openxmlformats.org/officeDocument/2006/relationships/tags" Target="../tags/tag27.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6.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9.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6.emf"/><Relationship Id="rId5" Type="http://schemas.openxmlformats.org/officeDocument/2006/relationships/oleObject" Target="../embeddings/oleObject11.bin"/><Relationship Id="rId10" Type="http://schemas.openxmlformats.org/officeDocument/2006/relationships/image" Target="../media/image12.jpeg"/><Relationship Id="rId4" Type="http://schemas.openxmlformats.org/officeDocument/2006/relationships/notesSlide" Target="../notesSlides/notesSlide5.xml"/><Relationship Id="rId9"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4.jpe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jpeg"/><Relationship Id="rId5" Type="http://schemas.openxmlformats.org/officeDocument/2006/relationships/image" Target="../media/image170.png"/><Relationship Id="rId4" Type="http://schemas.openxmlformats.org/officeDocument/2006/relationships/customXml" Target="../ink/ink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5F972E47-4CBF-4AF3-95C5-084CC498532A}"/>
              </a:ext>
            </a:extLst>
          </p:cNvPr>
          <p:cNvSpPr>
            <a:spLocks noGrp="1"/>
          </p:cNvSpPr>
          <p:nvPr>
            <p:ph type="subTitle" idx="1"/>
          </p:nvPr>
        </p:nvSpPr>
        <p:spPr>
          <a:xfrm>
            <a:off x="9050548" y="6357663"/>
            <a:ext cx="2057780" cy="215444"/>
          </a:xfrm>
        </p:spPr>
        <p:txBody>
          <a:bodyPr/>
          <a:lstStyle/>
          <a:p>
            <a:r>
              <a:rPr lang="de-DE" dirty="0"/>
              <a:t>Oliver Türk I 26.04.2023</a:t>
            </a:r>
          </a:p>
        </p:txBody>
      </p:sp>
      <p:sp>
        <p:nvSpPr>
          <p:cNvPr id="4" name="Titel 3">
            <a:extLst>
              <a:ext uri="{FF2B5EF4-FFF2-40B4-BE49-F238E27FC236}">
                <a16:creationId xmlns:a16="http://schemas.microsoft.com/office/drawing/2014/main" id="{700B2C54-588D-4C2F-8480-DCCED1F0D7CE}"/>
              </a:ext>
            </a:extLst>
          </p:cNvPr>
          <p:cNvSpPr>
            <a:spLocks noGrp="1"/>
          </p:cNvSpPr>
          <p:nvPr>
            <p:ph type="ctrTitle"/>
          </p:nvPr>
        </p:nvSpPr>
        <p:spPr>
          <a:xfrm>
            <a:off x="971007" y="4224794"/>
            <a:ext cx="5734882" cy="712547"/>
          </a:xfrm>
        </p:spPr>
        <p:txBody>
          <a:bodyPr/>
          <a:lstStyle/>
          <a:p>
            <a:r>
              <a:rPr lang="de-DE" dirty="0">
                <a:cs typeface="Arial"/>
              </a:rPr>
              <a:t>SYNCHRO</a:t>
            </a:r>
            <a:r>
              <a:rPr lang="de-DE" b="0" dirty="0">
                <a:cs typeface="Arial"/>
              </a:rPr>
              <a:t> Geschichte &amp; </a:t>
            </a:r>
            <a:br>
              <a:rPr lang="de-DE" b="0" dirty="0">
                <a:cs typeface="Arial"/>
              </a:rPr>
            </a:br>
            <a:r>
              <a:rPr lang="de-DE" dirty="0">
                <a:cs typeface="Arial"/>
              </a:rPr>
              <a:t>Mission GEMBA </a:t>
            </a:r>
            <a:r>
              <a:rPr lang="de-DE" b="0" dirty="0">
                <a:cs typeface="Arial"/>
              </a:rPr>
              <a:t>Initiative</a:t>
            </a:r>
            <a:endParaRPr lang="de-DE" b="0" dirty="0"/>
          </a:p>
        </p:txBody>
      </p:sp>
      <p:grpSp>
        <p:nvGrpSpPr>
          <p:cNvPr id="6" name="Takeaway (2)">
            <a:extLst>
              <a:ext uri="{FF2B5EF4-FFF2-40B4-BE49-F238E27FC236}">
                <a16:creationId xmlns:a16="http://schemas.microsoft.com/office/drawing/2014/main" id="{9CFB1D66-ABD6-41CB-BE69-0B90903CD74D}"/>
              </a:ext>
            </a:extLst>
          </p:cNvPr>
          <p:cNvGrpSpPr/>
          <p:nvPr>
            <p:custDataLst>
              <p:tags r:id="rId1"/>
            </p:custDataLst>
          </p:nvPr>
        </p:nvGrpSpPr>
        <p:grpSpPr>
          <a:xfrm rot="16200000">
            <a:off x="162509" y="4200774"/>
            <a:ext cx="761950" cy="440888"/>
            <a:chOff x="1295820" y="3805683"/>
            <a:chExt cx="416521" cy="273326"/>
          </a:xfrm>
        </p:grpSpPr>
        <p:sp>
          <p:nvSpPr>
            <p:cNvPr id="7" name="Rectangle 26">
              <a:extLst>
                <a:ext uri="{FF2B5EF4-FFF2-40B4-BE49-F238E27FC236}">
                  <a16:creationId xmlns:a16="http://schemas.microsoft.com/office/drawing/2014/main" id="{52526E47-B885-43C2-9DD8-CA8A33A20DA4}"/>
                </a:ext>
              </a:extLst>
            </p:cNvPr>
            <p:cNvSpPr/>
            <p:nvPr>
              <p:custDataLst>
                <p:tags r:id="rId2"/>
              </p:custDataLst>
            </p:nvPr>
          </p:nvSpPr>
          <p:spPr>
            <a:xfrm>
              <a:off x="1295820" y="3930128"/>
              <a:ext cx="416521" cy="7102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sz="1600" dirty="0">
                <a:solidFill>
                  <a:schemeClr val="tx1"/>
                </a:solidFill>
              </a:endParaRPr>
            </a:p>
          </p:txBody>
        </p:sp>
        <p:grpSp>
          <p:nvGrpSpPr>
            <p:cNvPr id="8" name="Gruppieren 44">
              <a:extLst>
                <a:ext uri="{FF2B5EF4-FFF2-40B4-BE49-F238E27FC236}">
                  <a16:creationId xmlns:a16="http://schemas.microsoft.com/office/drawing/2014/main" id="{33AEB9B2-CDE9-4F39-B1C8-820FFD9B2C26}"/>
                </a:ext>
              </a:extLst>
            </p:cNvPr>
            <p:cNvGrpSpPr/>
            <p:nvPr/>
          </p:nvGrpSpPr>
          <p:grpSpPr>
            <a:xfrm>
              <a:off x="1329394" y="3805683"/>
              <a:ext cx="343826" cy="273326"/>
              <a:chOff x="7095378" y="4830777"/>
              <a:chExt cx="354487" cy="207952"/>
            </a:xfrm>
          </p:grpSpPr>
          <p:sp>
            <p:nvSpPr>
              <p:cNvPr id="9" name="Chevron 17">
                <a:extLst>
                  <a:ext uri="{FF2B5EF4-FFF2-40B4-BE49-F238E27FC236}">
                    <a16:creationId xmlns:a16="http://schemas.microsoft.com/office/drawing/2014/main" id="{F11F5C54-F776-4A1E-B764-BA6BD6294A47}"/>
                  </a:ext>
                </a:extLst>
              </p:cNvPr>
              <p:cNvSpPr/>
              <p:nvPr>
                <p:custDataLst>
                  <p:tags r:id="rId3"/>
                </p:custDataLst>
              </p:nvPr>
            </p:nvSpPr>
            <p:spPr bwMode="gray">
              <a:xfrm rot="5400000">
                <a:off x="7198728" y="4787592"/>
                <a:ext cx="147787" cy="354487"/>
              </a:xfrm>
              <a:prstGeom prst="chevron">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spcBef>
                    <a:spcPts val="281"/>
                  </a:spcBef>
                </a:pPr>
                <a:endParaRPr lang="de-DE" sz="1400" dirty="0">
                  <a:solidFill>
                    <a:schemeClr val="tx1"/>
                  </a:solidFill>
                </a:endParaRPr>
              </a:p>
            </p:txBody>
          </p:sp>
          <p:sp>
            <p:nvSpPr>
              <p:cNvPr id="10" name="Chevron 18">
                <a:extLst>
                  <a:ext uri="{FF2B5EF4-FFF2-40B4-BE49-F238E27FC236}">
                    <a16:creationId xmlns:a16="http://schemas.microsoft.com/office/drawing/2014/main" id="{FC4C6B43-4815-4191-BDBB-A7D3CDAD6E5B}"/>
                  </a:ext>
                </a:extLst>
              </p:cNvPr>
              <p:cNvSpPr/>
              <p:nvPr>
                <p:custDataLst>
                  <p:tags r:id="rId4"/>
                </p:custDataLst>
              </p:nvPr>
            </p:nvSpPr>
            <p:spPr bwMode="gray">
              <a:xfrm rot="5400000">
                <a:off x="7222116" y="4760138"/>
                <a:ext cx="101013" cy="242291"/>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l" rtl="0" fontAlgn="base">
                  <a:spcBef>
                    <a:spcPct val="0"/>
                  </a:spcBef>
                  <a:spcAft>
                    <a:spcPct val="0"/>
                  </a:spcAft>
                  <a:defRPr sz="1600" kern="1200">
                    <a:solidFill>
                      <a:schemeClr val="lt1"/>
                    </a:solidFill>
                    <a:latin typeface="+mn-lt"/>
                    <a:ea typeface="+mn-ea"/>
                    <a:cs typeface="+mn-cs"/>
                  </a:defRPr>
                </a:lvl1pPr>
                <a:lvl2pPr marL="457200" algn="l" rtl="0" fontAlgn="base">
                  <a:spcBef>
                    <a:spcPct val="0"/>
                  </a:spcBef>
                  <a:spcAft>
                    <a:spcPct val="0"/>
                  </a:spcAft>
                  <a:defRPr sz="1600" kern="1200">
                    <a:solidFill>
                      <a:schemeClr val="lt1"/>
                    </a:solidFill>
                    <a:latin typeface="+mn-lt"/>
                    <a:ea typeface="+mn-ea"/>
                    <a:cs typeface="+mn-cs"/>
                  </a:defRPr>
                </a:lvl2pPr>
                <a:lvl3pPr marL="914400" algn="l" rtl="0" fontAlgn="base">
                  <a:spcBef>
                    <a:spcPct val="0"/>
                  </a:spcBef>
                  <a:spcAft>
                    <a:spcPct val="0"/>
                  </a:spcAft>
                  <a:defRPr sz="1600" kern="1200">
                    <a:solidFill>
                      <a:schemeClr val="lt1"/>
                    </a:solidFill>
                    <a:latin typeface="+mn-lt"/>
                    <a:ea typeface="+mn-ea"/>
                    <a:cs typeface="+mn-cs"/>
                  </a:defRPr>
                </a:lvl3pPr>
                <a:lvl4pPr marL="1371600" algn="l" rtl="0" fontAlgn="base">
                  <a:spcBef>
                    <a:spcPct val="0"/>
                  </a:spcBef>
                  <a:spcAft>
                    <a:spcPct val="0"/>
                  </a:spcAft>
                  <a:defRPr sz="1600" kern="1200">
                    <a:solidFill>
                      <a:schemeClr val="lt1"/>
                    </a:solidFill>
                    <a:latin typeface="+mn-lt"/>
                    <a:ea typeface="+mn-ea"/>
                    <a:cs typeface="+mn-cs"/>
                  </a:defRPr>
                </a:lvl4pPr>
                <a:lvl5pPr marL="1828800" algn="l" rtl="0" fontAlgn="base">
                  <a:spcBef>
                    <a:spcPct val="0"/>
                  </a:spcBef>
                  <a:spcAft>
                    <a:spcPct val="0"/>
                  </a:spcAft>
                  <a:defRPr sz="1600" kern="1200">
                    <a:solidFill>
                      <a:schemeClr val="lt1"/>
                    </a:solidFill>
                    <a:latin typeface="+mn-lt"/>
                    <a:ea typeface="+mn-ea"/>
                    <a:cs typeface="+mn-cs"/>
                  </a:defRPr>
                </a:lvl5pPr>
                <a:lvl6pPr marL="2286000" algn="l" defTabSz="914400" rtl="0" eaLnBrk="1" latinLnBrk="0" hangingPunct="1">
                  <a:defRPr sz="1600" kern="1200">
                    <a:solidFill>
                      <a:schemeClr val="lt1"/>
                    </a:solidFill>
                    <a:latin typeface="+mn-lt"/>
                    <a:ea typeface="+mn-ea"/>
                    <a:cs typeface="+mn-cs"/>
                  </a:defRPr>
                </a:lvl6pPr>
                <a:lvl7pPr marL="2743200" algn="l" defTabSz="914400" rtl="0" eaLnBrk="1" latinLnBrk="0" hangingPunct="1">
                  <a:defRPr sz="1600" kern="1200">
                    <a:solidFill>
                      <a:schemeClr val="lt1"/>
                    </a:solidFill>
                    <a:latin typeface="+mn-lt"/>
                    <a:ea typeface="+mn-ea"/>
                    <a:cs typeface="+mn-cs"/>
                  </a:defRPr>
                </a:lvl7pPr>
                <a:lvl8pPr marL="3200400" algn="l" defTabSz="914400" rtl="0" eaLnBrk="1" latinLnBrk="0" hangingPunct="1">
                  <a:defRPr sz="1600" kern="1200">
                    <a:solidFill>
                      <a:schemeClr val="lt1"/>
                    </a:solidFill>
                    <a:latin typeface="+mn-lt"/>
                    <a:ea typeface="+mn-ea"/>
                    <a:cs typeface="+mn-cs"/>
                  </a:defRPr>
                </a:lvl8pPr>
                <a:lvl9pPr marL="3657600" algn="l" defTabSz="914400" rtl="0" eaLnBrk="1" latinLnBrk="0" hangingPunct="1">
                  <a:defRPr sz="1600" kern="1200">
                    <a:solidFill>
                      <a:schemeClr val="lt1"/>
                    </a:solidFill>
                    <a:latin typeface="+mn-lt"/>
                    <a:ea typeface="+mn-ea"/>
                    <a:cs typeface="+mn-cs"/>
                  </a:defRPr>
                </a:lvl9pPr>
              </a:lstStyle>
              <a:p>
                <a:pPr algn="ctr">
                  <a:spcBef>
                    <a:spcPts val="281"/>
                  </a:spcBef>
                </a:pPr>
                <a:endParaRPr lang="de-DE" sz="1400" dirty="0">
                  <a:solidFill>
                    <a:schemeClr val="tx1"/>
                  </a:solidFill>
                </a:endParaRPr>
              </a:p>
            </p:txBody>
          </p:sp>
        </p:grpSp>
      </p:grpSp>
      <p:sp>
        <p:nvSpPr>
          <p:cNvPr id="12" name="Rechteck 11">
            <a:extLst>
              <a:ext uri="{FF2B5EF4-FFF2-40B4-BE49-F238E27FC236}">
                <a16:creationId xmlns:a16="http://schemas.microsoft.com/office/drawing/2014/main" id="{D05CB10B-2A7C-43F6-BFCF-1BC3FF5FFF0A}"/>
              </a:ext>
            </a:extLst>
          </p:cNvPr>
          <p:cNvSpPr/>
          <p:nvPr/>
        </p:nvSpPr>
        <p:spPr>
          <a:xfrm>
            <a:off x="971007" y="3807175"/>
            <a:ext cx="5642849" cy="1252295"/>
          </a:xfrm>
          <a:custGeom>
            <a:avLst/>
            <a:gdLst>
              <a:gd name="connsiteX0" fmla="*/ 0 w 5642849"/>
              <a:gd name="connsiteY0" fmla="*/ 0 h 1252295"/>
              <a:gd name="connsiteX1" fmla="*/ 5642849 w 5642849"/>
              <a:gd name="connsiteY1" fmla="*/ 0 h 1252295"/>
              <a:gd name="connsiteX2" fmla="*/ 5642849 w 5642849"/>
              <a:gd name="connsiteY2" fmla="*/ 1252295 h 1252295"/>
              <a:gd name="connsiteX3" fmla="*/ 0 w 5642849"/>
              <a:gd name="connsiteY3" fmla="*/ 1252295 h 1252295"/>
              <a:gd name="connsiteX4" fmla="*/ 0 w 5642849"/>
              <a:gd name="connsiteY4" fmla="*/ 0 h 12522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42849" h="1252295" extrusionOk="0">
                <a:moveTo>
                  <a:pt x="0" y="0"/>
                </a:moveTo>
                <a:cubicBezTo>
                  <a:pt x="910308" y="138366"/>
                  <a:pt x="4783326" y="-99700"/>
                  <a:pt x="5642849" y="0"/>
                </a:cubicBezTo>
                <a:cubicBezTo>
                  <a:pt x="5613684" y="383205"/>
                  <a:pt x="5750238" y="876584"/>
                  <a:pt x="5642849" y="1252295"/>
                </a:cubicBezTo>
                <a:cubicBezTo>
                  <a:pt x="5070038" y="1299440"/>
                  <a:pt x="712042" y="1349199"/>
                  <a:pt x="0" y="1252295"/>
                </a:cubicBezTo>
                <a:cubicBezTo>
                  <a:pt x="66266" y="805130"/>
                  <a:pt x="-63095" y="551807"/>
                  <a:pt x="0" y="0"/>
                </a:cubicBezTo>
                <a:close/>
              </a:path>
            </a:pathLst>
          </a:custGeom>
          <a:noFill/>
          <a:ln w="28575">
            <a:solidFill>
              <a:schemeClr val="accent3"/>
            </a:solidFill>
            <a:extLst>
              <a:ext uri="{C807C97D-BFC1-408E-A445-0C87EB9F89A2}">
                <ask:lineSketchStyleProps xmlns:ask="http://schemas.microsoft.com/office/drawing/2018/sketchyshapes" sd="213543024">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a:p>
        </p:txBody>
      </p:sp>
      <p:sp>
        <p:nvSpPr>
          <p:cNvPr id="2" name="Rechteck 1">
            <a:extLst>
              <a:ext uri="{FF2B5EF4-FFF2-40B4-BE49-F238E27FC236}">
                <a16:creationId xmlns:a16="http://schemas.microsoft.com/office/drawing/2014/main" id="{4B57B969-0632-43FD-85AB-B1B281761832}"/>
              </a:ext>
            </a:extLst>
          </p:cNvPr>
          <p:cNvSpPr/>
          <p:nvPr/>
        </p:nvSpPr>
        <p:spPr>
          <a:xfrm>
            <a:off x="308381" y="5181600"/>
            <a:ext cx="3061310" cy="62385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mc:AlternateContent xmlns:mc="http://schemas.openxmlformats.org/markup-compatibility/2006" xmlns:p14="http://schemas.microsoft.com/office/powerpoint/2010/main">
        <mc:Choice Requires="p14">
          <p:contentPart p14:bwMode="auto" r:id="rId7">
            <p14:nvContentPartPr>
              <p14:cNvPr id="5" name="Freihand 4">
                <a:extLst>
                  <a:ext uri="{FF2B5EF4-FFF2-40B4-BE49-F238E27FC236}">
                    <a16:creationId xmlns:a16="http://schemas.microsoft.com/office/drawing/2014/main" id="{E28173F3-7D2B-B167-6DFF-843CBA690EF6}"/>
                  </a:ext>
                </a:extLst>
              </p14:cNvPr>
              <p14:cNvContentPartPr/>
              <p14:nvPr/>
            </p14:nvContentPartPr>
            <p14:xfrm>
              <a:off x="2288794" y="507921"/>
              <a:ext cx="7401348" cy="2679246"/>
            </p14:xfrm>
          </p:contentPart>
        </mc:Choice>
        <mc:Fallback xmlns="">
          <p:pic>
            <p:nvPicPr>
              <p:cNvPr id="5" name="Freihand 4">
                <a:extLst>
                  <a:ext uri="{FF2B5EF4-FFF2-40B4-BE49-F238E27FC236}">
                    <a16:creationId xmlns:a16="http://schemas.microsoft.com/office/drawing/2014/main" id="{E28173F3-7D2B-B167-6DFF-843CBA690EF6}"/>
                  </a:ext>
                </a:extLst>
              </p:cNvPr>
              <p:cNvPicPr/>
              <p:nvPr/>
            </p:nvPicPr>
            <p:blipFill>
              <a:blip r:embed="rId8"/>
              <a:stretch>
                <a:fillRect/>
              </a:stretch>
            </p:blipFill>
            <p:spPr>
              <a:xfrm>
                <a:off x="2281954" y="501079"/>
                <a:ext cx="7414669" cy="2692570"/>
              </a:xfrm>
              <a:prstGeom prst="rect">
                <a:avLst/>
              </a:prstGeom>
            </p:spPr>
          </p:pic>
        </mc:Fallback>
      </mc:AlternateContent>
      <p:pic>
        <p:nvPicPr>
          <p:cNvPr id="29" name="Picture 2">
            <a:extLst>
              <a:ext uri="{FF2B5EF4-FFF2-40B4-BE49-F238E27FC236}">
                <a16:creationId xmlns:a16="http://schemas.microsoft.com/office/drawing/2014/main" id="{E711BD8D-32C1-E11D-2C91-EC28B6BE8066}"/>
              </a:ext>
            </a:extLst>
          </p:cNvPr>
          <p:cNvPicPr>
            <a:picLocks noChangeAspect="1" noChangeArrowheads="1"/>
          </p:cNvPicPr>
          <p:nvPr/>
        </p:nvPicPr>
        <p:blipFill rotWithShape="1">
          <a:blip r:embed="rId9">
            <a:duotone>
              <a:schemeClr val="accent6">
                <a:shade val="45000"/>
                <a:satMod val="135000"/>
              </a:schemeClr>
              <a:prstClr val="white"/>
            </a:duotone>
            <a:extLst>
              <a:ext uri="{28A0092B-C50C-407E-A947-70E740481C1C}">
                <a14:useLocalDpi xmlns:a14="http://schemas.microsoft.com/office/drawing/2010/main" val="0"/>
              </a:ext>
            </a:extLst>
          </a:blip>
          <a:srcRect l="39015" t="13646" r="37678" b="58906"/>
          <a:stretch/>
        </p:blipFill>
        <p:spPr bwMode="auto">
          <a:xfrm>
            <a:off x="7795422" y="1847544"/>
            <a:ext cx="1405130" cy="4216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557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57F367A4-CEAE-4A2B-A5D0-AB08254BBECF}"/>
              </a:ext>
            </a:extLst>
          </p:cNvPr>
          <p:cNvSpPr txBox="1"/>
          <p:nvPr/>
        </p:nvSpPr>
        <p:spPr>
          <a:xfrm>
            <a:off x="463485" y="1302940"/>
            <a:ext cx="3586524" cy="4154984"/>
          </a:xfrm>
          <a:custGeom>
            <a:avLst/>
            <a:gdLst>
              <a:gd name="connsiteX0" fmla="*/ 0 w 3586524"/>
              <a:gd name="connsiteY0" fmla="*/ 0 h 4154984"/>
              <a:gd name="connsiteX1" fmla="*/ 3586524 w 3586524"/>
              <a:gd name="connsiteY1" fmla="*/ 0 h 4154984"/>
              <a:gd name="connsiteX2" fmla="*/ 3586524 w 3586524"/>
              <a:gd name="connsiteY2" fmla="*/ 4154984 h 4154984"/>
              <a:gd name="connsiteX3" fmla="*/ 0 w 3586524"/>
              <a:gd name="connsiteY3" fmla="*/ 4154984 h 4154984"/>
              <a:gd name="connsiteX4" fmla="*/ 0 w 3586524"/>
              <a:gd name="connsiteY4" fmla="*/ 0 h 415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6524" h="4154984" extrusionOk="0">
                <a:moveTo>
                  <a:pt x="0" y="0"/>
                </a:moveTo>
                <a:cubicBezTo>
                  <a:pt x="1171900" y="-142016"/>
                  <a:pt x="2445931" y="84015"/>
                  <a:pt x="3586524" y="0"/>
                </a:cubicBezTo>
                <a:cubicBezTo>
                  <a:pt x="3676969" y="1859402"/>
                  <a:pt x="3696760" y="3273383"/>
                  <a:pt x="3586524" y="4154984"/>
                </a:cubicBezTo>
                <a:cubicBezTo>
                  <a:pt x="3129911" y="4307991"/>
                  <a:pt x="1088887" y="4014497"/>
                  <a:pt x="0" y="4154984"/>
                </a:cubicBezTo>
                <a:cubicBezTo>
                  <a:pt x="154933" y="2424291"/>
                  <a:pt x="114725" y="1380529"/>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err="1"/>
          </a:p>
        </p:txBody>
      </p:sp>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8044601" cy="387798"/>
          </a:xfrm>
        </p:spPr>
        <p:txBody>
          <a:bodyPr/>
          <a:lstStyle/>
          <a:p>
            <a:r>
              <a:rPr lang="de-DE" dirty="0">
                <a:solidFill>
                  <a:schemeClr val="accent5">
                    <a:lumMod val="50000"/>
                  </a:schemeClr>
                </a:solidFill>
              </a:rPr>
              <a:t>#Mission Gemba - Kick Off Initiative 08.11.2022</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706243" cy="305989"/>
          </a:xfrm>
        </p:spPr>
        <p:txBody>
          <a:bodyPr/>
          <a:lstStyle/>
          <a:p>
            <a:r>
              <a:rPr lang="de-DE" dirty="0"/>
              <a:t>Oliver Türk </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0</a:t>
            </a:fld>
            <a:r>
              <a:rPr lang="de-DE"/>
              <a:t>  </a:t>
            </a:r>
            <a:r>
              <a:rPr lang="de-DE" b="0">
                <a:solidFill>
                  <a:schemeClr val="accent1"/>
                </a:solidFill>
              </a:rPr>
              <a:t>|</a:t>
            </a:r>
            <a:endParaRPr lang="de-DE" sz="900" b="0">
              <a:solidFill>
                <a:schemeClr val="accent1"/>
              </a:solidFill>
            </a:endParaRPr>
          </a:p>
        </p:txBody>
      </p:sp>
      <p:sp>
        <p:nvSpPr>
          <p:cNvPr id="15" name="Textfeld 14">
            <a:extLst>
              <a:ext uri="{FF2B5EF4-FFF2-40B4-BE49-F238E27FC236}">
                <a16:creationId xmlns:a16="http://schemas.microsoft.com/office/drawing/2014/main" id="{A10ABC81-5167-4F0F-A756-047806F31B6A}"/>
              </a:ext>
            </a:extLst>
          </p:cNvPr>
          <p:cNvSpPr txBox="1"/>
          <p:nvPr/>
        </p:nvSpPr>
        <p:spPr>
          <a:xfrm>
            <a:off x="696186" y="1148376"/>
            <a:ext cx="2486731"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Nächste Schritte - TAT</a:t>
            </a:r>
          </a:p>
        </p:txBody>
      </p:sp>
      <p:sp>
        <p:nvSpPr>
          <p:cNvPr id="27" name="Textfeld 26">
            <a:extLst>
              <a:ext uri="{FF2B5EF4-FFF2-40B4-BE49-F238E27FC236}">
                <a16:creationId xmlns:a16="http://schemas.microsoft.com/office/drawing/2014/main" id="{D6D165B7-B528-445F-B264-E7F66698B6AC}"/>
              </a:ext>
            </a:extLst>
          </p:cNvPr>
          <p:cNvSpPr txBox="1"/>
          <p:nvPr/>
        </p:nvSpPr>
        <p:spPr>
          <a:xfrm>
            <a:off x="5166222" y="4402101"/>
            <a:ext cx="2554111" cy="246221"/>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indent="-285750" algn="l"/>
            <a:endParaRPr lang="de-DE" sz="1600" b="1" i="1">
              <a:solidFill>
                <a:schemeClr val="accent3"/>
              </a:solidFill>
              <a:latin typeface="Arial" panose="020B0604020202020204" pitchFamily="34" charset="0"/>
              <a:cs typeface="Arial" panose="020B0604020202020204" pitchFamily="34" charset="0"/>
            </a:endParaRPr>
          </a:p>
        </p:txBody>
      </p:sp>
      <p:sp>
        <p:nvSpPr>
          <p:cNvPr id="19" name="Textfeld 18">
            <a:extLst>
              <a:ext uri="{FF2B5EF4-FFF2-40B4-BE49-F238E27FC236}">
                <a16:creationId xmlns:a16="http://schemas.microsoft.com/office/drawing/2014/main" id="{14D9425E-E21C-C1B4-5DF1-59EADDD2CF25}"/>
              </a:ext>
            </a:extLst>
          </p:cNvPr>
          <p:cNvSpPr txBox="1"/>
          <p:nvPr/>
        </p:nvSpPr>
        <p:spPr>
          <a:xfrm>
            <a:off x="4538612" y="1302940"/>
            <a:ext cx="3444993" cy="4154984"/>
          </a:xfrm>
          <a:custGeom>
            <a:avLst/>
            <a:gdLst>
              <a:gd name="connsiteX0" fmla="*/ 0 w 3444993"/>
              <a:gd name="connsiteY0" fmla="*/ 0 h 4154984"/>
              <a:gd name="connsiteX1" fmla="*/ 3444993 w 3444993"/>
              <a:gd name="connsiteY1" fmla="*/ 0 h 4154984"/>
              <a:gd name="connsiteX2" fmla="*/ 3444993 w 3444993"/>
              <a:gd name="connsiteY2" fmla="*/ 4154984 h 4154984"/>
              <a:gd name="connsiteX3" fmla="*/ 0 w 3444993"/>
              <a:gd name="connsiteY3" fmla="*/ 4154984 h 4154984"/>
              <a:gd name="connsiteX4" fmla="*/ 0 w 3444993"/>
              <a:gd name="connsiteY4" fmla="*/ 0 h 415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93" h="4154984" extrusionOk="0">
                <a:moveTo>
                  <a:pt x="0" y="0"/>
                </a:moveTo>
                <a:cubicBezTo>
                  <a:pt x="412680" y="-142016"/>
                  <a:pt x="2232244" y="84015"/>
                  <a:pt x="3444993" y="0"/>
                </a:cubicBezTo>
                <a:cubicBezTo>
                  <a:pt x="3535438" y="1859402"/>
                  <a:pt x="3555229" y="3273383"/>
                  <a:pt x="3444993" y="4154984"/>
                </a:cubicBezTo>
                <a:cubicBezTo>
                  <a:pt x="2879073" y="4307991"/>
                  <a:pt x="998901" y="4014497"/>
                  <a:pt x="0" y="4154984"/>
                </a:cubicBezTo>
                <a:cubicBezTo>
                  <a:pt x="154933" y="2424291"/>
                  <a:pt x="114725" y="1380529"/>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err="1"/>
          </a:p>
        </p:txBody>
      </p:sp>
      <p:sp>
        <p:nvSpPr>
          <p:cNvPr id="21" name="Textfeld 20">
            <a:extLst>
              <a:ext uri="{FF2B5EF4-FFF2-40B4-BE49-F238E27FC236}">
                <a16:creationId xmlns:a16="http://schemas.microsoft.com/office/drawing/2014/main" id="{5EA18BC7-9EA4-1968-14BC-5CF07CB74684}"/>
              </a:ext>
            </a:extLst>
          </p:cNvPr>
          <p:cNvSpPr txBox="1"/>
          <p:nvPr/>
        </p:nvSpPr>
        <p:spPr>
          <a:xfrm>
            <a:off x="4818944" y="1135630"/>
            <a:ext cx="2554111"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Nächste Schritte – TCH </a:t>
            </a:r>
          </a:p>
        </p:txBody>
      </p:sp>
      <p:sp>
        <p:nvSpPr>
          <p:cNvPr id="24" name="Textfeld 23">
            <a:extLst>
              <a:ext uri="{FF2B5EF4-FFF2-40B4-BE49-F238E27FC236}">
                <a16:creationId xmlns:a16="http://schemas.microsoft.com/office/drawing/2014/main" id="{1A83DA03-CE99-8C85-94B9-7EFBA0756078}"/>
              </a:ext>
            </a:extLst>
          </p:cNvPr>
          <p:cNvSpPr txBox="1"/>
          <p:nvPr/>
        </p:nvSpPr>
        <p:spPr>
          <a:xfrm>
            <a:off x="8305401" y="1302940"/>
            <a:ext cx="3444993" cy="4154984"/>
          </a:xfrm>
          <a:custGeom>
            <a:avLst/>
            <a:gdLst>
              <a:gd name="connsiteX0" fmla="*/ 0 w 3444993"/>
              <a:gd name="connsiteY0" fmla="*/ 0 h 4154984"/>
              <a:gd name="connsiteX1" fmla="*/ 3444993 w 3444993"/>
              <a:gd name="connsiteY1" fmla="*/ 0 h 4154984"/>
              <a:gd name="connsiteX2" fmla="*/ 3444993 w 3444993"/>
              <a:gd name="connsiteY2" fmla="*/ 4154984 h 4154984"/>
              <a:gd name="connsiteX3" fmla="*/ 0 w 3444993"/>
              <a:gd name="connsiteY3" fmla="*/ 4154984 h 4154984"/>
              <a:gd name="connsiteX4" fmla="*/ 0 w 3444993"/>
              <a:gd name="connsiteY4" fmla="*/ 0 h 415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93" h="4154984" extrusionOk="0">
                <a:moveTo>
                  <a:pt x="0" y="0"/>
                </a:moveTo>
                <a:cubicBezTo>
                  <a:pt x="412680" y="-142016"/>
                  <a:pt x="2232244" y="84015"/>
                  <a:pt x="3444993" y="0"/>
                </a:cubicBezTo>
                <a:cubicBezTo>
                  <a:pt x="3535438" y="1859402"/>
                  <a:pt x="3555229" y="3273383"/>
                  <a:pt x="3444993" y="4154984"/>
                </a:cubicBezTo>
                <a:cubicBezTo>
                  <a:pt x="2879073" y="4307991"/>
                  <a:pt x="998901" y="4014497"/>
                  <a:pt x="0" y="4154984"/>
                </a:cubicBezTo>
                <a:cubicBezTo>
                  <a:pt x="154933" y="2424291"/>
                  <a:pt x="114725" y="1380529"/>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err="1"/>
          </a:p>
        </p:txBody>
      </p:sp>
      <p:sp>
        <p:nvSpPr>
          <p:cNvPr id="29" name="Textfeld 28">
            <a:extLst>
              <a:ext uri="{FF2B5EF4-FFF2-40B4-BE49-F238E27FC236}">
                <a16:creationId xmlns:a16="http://schemas.microsoft.com/office/drawing/2014/main" id="{DEBB17E2-E151-6F8E-9346-9250EE95BDE3}"/>
              </a:ext>
            </a:extLst>
          </p:cNvPr>
          <p:cNvSpPr txBox="1"/>
          <p:nvPr/>
        </p:nvSpPr>
        <p:spPr>
          <a:xfrm>
            <a:off x="8585733" y="1143651"/>
            <a:ext cx="2676058"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Nächste Schritte - TWH</a:t>
            </a:r>
          </a:p>
        </p:txBody>
      </p:sp>
      <p:pic>
        <p:nvPicPr>
          <p:cNvPr id="33" name="Grafik 32">
            <a:extLst>
              <a:ext uri="{FF2B5EF4-FFF2-40B4-BE49-F238E27FC236}">
                <a16:creationId xmlns:a16="http://schemas.microsoft.com/office/drawing/2014/main" id="{B06AB0A9-ECAC-807B-BD4B-6E9BD41B7036}"/>
              </a:ext>
            </a:extLst>
          </p:cNvPr>
          <p:cNvPicPr>
            <a:picLocks noChangeAspect="1"/>
          </p:cNvPicPr>
          <p:nvPr/>
        </p:nvPicPr>
        <p:blipFill>
          <a:blip r:embed="rId2"/>
          <a:stretch>
            <a:fillRect/>
          </a:stretch>
        </p:blipFill>
        <p:spPr>
          <a:xfrm>
            <a:off x="1013018" y="1633790"/>
            <a:ext cx="2487457" cy="3376778"/>
          </a:xfrm>
          <a:prstGeom prst="rect">
            <a:avLst/>
          </a:prstGeom>
          <a:ln>
            <a:noFill/>
          </a:ln>
          <a:effectLst>
            <a:outerShdw blurRad="292100" dist="139700" dir="2700000" algn="tl" rotWithShape="0">
              <a:srgbClr val="333333">
                <a:alpha val="65000"/>
              </a:srgbClr>
            </a:outerShdw>
          </a:effectLst>
        </p:spPr>
      </p:pic>
      <p:pic>
        <p:nvPicPr>
          <p:cNvPr id="35" name="Grafik 34">
            <a:extLst>
              <a:ext uri="{FF2B5EF4-FFF2-40B4-BE49-F238E27FC236}">
                <a16:creationId xmlns:a16="http://schemas.microsoft.com/office/drawing/2014/main" id="{36A6806D-D57E-9355-E675-267F6A4F700D}"/>
              </a:ext>
            </a:extLst>
          </p:cNvPr>
          <p:cNvPicPr>
            <a:picLocks noChangeAspect="1"/>
          </p:cNvPicPr>
          <p:nvPr/>
        </p:nvPicPr>
        <p:blipFill>
          <a:blip r:embed="rId3"/>
          <a:stretch>
            <a:fillRect/>
          </a:stretch>
        </p:blipFill>
        <p:spPr>
          <a:xfrm>
            <a:off x="4818944" y="1607172"/>
            <a:ext cx="3027256" cy="3403396"/>
          </a:xfrm>
          <a:prstGeom prst="rect">
            <a:avLst/>
          </a:prstGeom>
          <a:ln>
            <a:noFill/>
          </a:ln>
          <a:effectLst>
            <a:outerShdw blurRad="292100" dist="139700" dir="2700000" algn="tl" rotWithShape="0">
              <a:srgbClr val="333333">
                <a:alpha val="65000"/>
              </a:srgbClr>
            </a:outerShdw>
          </a:effectLst>
        </p:spPr>
      </p:pic>
      <p:pic>
        <p:nvPicPr>
          <p:cNvPr id="37" name="Grafik 36">
            <a:extLst>
              <a:ext uri="{FF2B5EF4-FFF2-40B4-BE49-F238E27FC236}">
                <a16:creationId xmlns:a16="http://schemas.microsoft.com/office/drawing/2014/main" id="{AE1F8B55-3E42-C493-B358-6C1C0A171C40}"/>
              </a:ext>
            </a:extLst>
          </p:cNvPr>
          <p:cNvPicPr>
            <a:picLocks noChangeAspect="1"/>
          </p:cNvPicPr>
          <p:nvPr/>
        </p:nvPicPr>
        <p:blipFill>
          <a:blip r:embed="rId4"/>
          <a:stretch>
            <a:fillRect/>
          </a:stretch>
        </p:blipFill>
        <p:spPr>
          <a:xfrm>
            <a:off x="8787999" y="1641942"/>
            <a:ext cx="2641140" cy="342256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097077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bg>
      <p:bgPr>
        <a:gradFill>
          <a:gsLst>
            <a:gs pos="0">
              <a:schemeClr val="accent5"/>
            </a:gs>
            <a:gs pos="12000">
              <a:schemeClr val="accent5"/>
            </a:gs>
            <a:gs pos="72000">
              <a:schemeClr val="accent5"/>
            </a:gs>
            <a:gs pos="100000">
              <a:schemeClr val="bg1"/>
            </a:gs>
            <a:gs pos="97000">
              <a:schemeClr val="bg1">
                <a:lumMod val="95000"/>
              </a:schemeClr>
            </a:gs>
          </a:gsLst>
          <a:lin ang="0" scaled="0"/>
        </a:gradFill>
        <a:effectLst/>
      </p:bgPr>
    </p:bg>
    <p:spTree>
      <p:nvGrpSpPr>
        <p:cNvPr id="1" name=""/>
        <p:cNvGrpSpPr/>
        <p:nvPr/>
      </p:nvGrpSpPr>
      <p:grpSpPr>
        <a:xfrm>
          <a:off x="0" y="0"/>
          <a:ext cx="0" cy="0"/>
          <a:chOff x="0" y="0"/>
          <a:chExt cx="0" cy="0"/>
        </a:xfrm>
      </p:grpSpPr>
      <p:sp>
        <p:nvSpPr>
          <p:cNvPr id="31" name="Rechteck 30">
            <a:extLst>
              <a:ext uri="{FF2B5EF4-FFF2-40B4-BE49-F238E27FC236}">
                <a16:creationId xmlns:a16="http://schemas.microsoft.com/office/drawing/2014/main" id="{54273227-F47E-484F-AF49-9EBF51788D7A}"/>
              </a:ext>
            </a:extLst>
          </p:cNvPr>
          <p:cNvSpPr/>
          <p:nvPr/>
        </p:nvSpPr>
        <p:spPr>
          <a:xfrm>
            <a:off x="503611" y="1403675"/>
            <a:ext cx="9130803" cy="4050650"/>
          </a:xfrm>
          <a:custGeom>
            <a:avLst/>
            <a:gdLst>
              <a:gd name="connsiteX0" fmla="*/ 0 w 9130803"/>
              <a:gd name="connsiteY0" fmla="*/ 0 h 4050650"/>
              <a:gd name="connsiteX1" fmla="*/ 9130803 w 9130803"/>
              <a:gd name="connsiteY1" fmla="*/ 0 h 4050650"/>
              <a:gd name="connsiteX2" fmla="*/ 9130803 w 9130803"/>
              <a:gd name="connsiteY2" fmla="*/ 4050650 h 4050650"/>
              <a:gd name="connsiteX3" fmla="*/ 0 w 9130803"/>
              <a:gd name="connsiteY3" fmla="*/ 4050650 h 4050650"/>
              <a:gd name="connsiteX4" fmla="*/ 0 w 9130803"/>
              <a:gd name="connsiteY4" fmla="*/ 0 h 405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30803" h="4050650" extrusionOk="0">
                <a:moveTo>
                  <a:pt x="0" y="0"/>
                </a:moveTo>
                <a:cubicBezTo>
                  <a:pt x="2471145" y="-5264"/>
                  <a:pt x="8196477" y="84467"/>
                  <a:pt x="9130803" y="0"/>
                </a:cubicBezTo>
                <a:cubicBezTo>
                  <a:pt x="9002630" y="1546389"/>
                  <a:pt x="9259953" y="3075016"/>
                  <a:pt x="9130803" y="4050650"/>
                </a:cubicBezTo>
                <a:cubicBezTo>
                  <a:pt x="7232950" y="4156970"/>
                  <a:pt x="915186" y="4043001"/>
                  <a:pt x="0" y="4050650"/>
                </a:cubicBezTo>
                <a:cubicBezTo>
                  <a:pt x="160128" y="3182076"/>
                  <a:pt x="25049" y="875494"/>
                  <a:pt x="0" y="0"/>
                </a:cubicBezTo>
                <a:close/>
              </a:path>
            </a:pathLst>
          </a:custGeom>
          <a:noFill/>
          <a:ln w="38100">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sp>
        <p:nvSpPr>
          <p:cNvPr id="6" name="Textfeld 5">
            <a:extLst>
              <a:ext uri="{FF2B5EF4-FFF2-40B4-BE49-F238E27FC236}">
                <a16:creationId xmlns:a16="http://schemas.microsoft.com/office/drawing/2014/main" id="{DBCFDB4F-1EE2-4288-A711-A66364399E37}"/>
              </a:ext>
            </a:extLst>
          </p:cNvPr>
          <p:cNvSpPr txBox="1"/>
          <p:nvPr/>
        </p:nvSpPr>
        <p:spPr>
          <a:xfrm>
            <a:off x="2627127" y="5615839"/>
            <a:ext cx="8838400" cy="677108"/>
          </a:xfrm>
          <a:prstGeom prst="rect">
            <a:avLst/>
          </a:prstGeom>
          <a:noFill/>
        </p:spPr>
        <p:txBody>
          <a:bodyPr wrap="square" lIns="0" tIns="0" rIns="0" bIns="0" rtlCol="0">
            <a:spAutoFit/>
          </a:bodyPr>
          <a:lstStyle/>
          <a:p>
            <a:pPr algn="l"/>
            <a:r>
              <a:rPr lang="de-DE" sz="4400" b="1">
                <a:solidFill>
                  <a:schemeClr val="bg1"/>
                </a:solidFill>
                <a:latin typeface="Segoe UI" panose="020B0502040204020203" pitchFamily="34" charset="0"/>
                <a:cs typeface="Arial" panose="020B0604020202020204" pitchFamily="34" charset="0"/>
              </a:rPr>
              <a:t>gute Vorsätze für´s neue Jahr!</a:t>
            </a:r>
          </a:p>
        </p:txBody>
      </p:sp>
      <p:sp>
        <p:nvSpPr>
          <p:cNvPr id="8" name="Textfeld 7">
            <a:extLst>
              <a:ext uri="{FF2B5EF4-FFF2-40B4-BE49-F238E27FC236}">
                <a16:creationId xmlns:a16="http://schemas.microsoft.com/office/drawing/2014/main" id="{4B2B0F06-A5E5-4810-A1BB-6669DA1B7CC4}"/>
              </a:ext>
            </a:extLst>
          </p:cNvPr>
          <p:cNvSpPr txBox="1"/>
          <p:nvPr/>
        </p:nvSpPr>
        <p:spPr>
          <a:xfrm>
            <a:off x="323904" y="428079"/>
            <a:ext cx="8845496" cy="553998"/>
          </a:xfrm>
          <a:prstGeom prst="rect">
            <a:avLst/>
          </a:prstGeom>
          <a:noFill/>
        </p:spPr>
        <p:txBody>
          <a:bodyPr wrap="square" lIns="0" tIns="0" rIns="0" bIns="0" rtlCol="0">
            <a:spAutoFit/>
          </a:bodyPr>
          <a:lstStyle/>
          <a:p>
            <a:pPr algn="l"/>
            <a:r>
              <a:rPr lang="de-DE" sz="3600" b="1">
                <a:solidFill>
                  <a:schemeClr val="bg1"/>
                </a:solidFill>
                <a:latin typeface="Segoe UI" panose="020B0502040204020203" pitchFamily="34" charset="0"/>
                <a:cs typeface="Arial" panose="020B0604020202020204" pitchFamily="34" charset="0"/>
              </a:rPr>
              <a:t>#einfach MACHEN und EINFACH machen</a:t>
            </a:r>
          </a:p>
        </p:txBody>
      </p:sp>
      <p:sp>
        <p:nvSpPr>
          <p:cNvPr id="10" name="Textfeld 9">
            <a:extLst>
              <a:ext uri="{FF2B5EF4-FFF2-40B4-BE49-F238E27FC236}">
                <a16:creationId xmlns:a16="http://schemas.microsoft.com/office/drawing/2014/main" id="{F0590A78-93AF-4D89-A06B-EEC596D2155A}"/>
              </a:ext>
            </a:extLst>
          </p:cNvPr>
          <p:cNvSpPr txBox="1"/>
          <p:nvPr/>
        </p:nvSpPr>
        <p:spPr>
          <a:xfrm>
            <a:off x="1849537" y="1670118"/>
            <a:ext cx="6631321" cy="615553"/>
          </a:xfrm>
          <a:prstGeom prst="rect">
            <a:avLst/>
          </a:prstGeom>
          <a:noFill/>
        </p:spPr>
        <p:txBody>
          <a:bodyPr wrap="square" lIns="0" tIns="0" rIns="0" bIns="0" rtlCol="0">
            <a:spAutoFit/>
          </a:bodyPr>
          <a:lstStyle/>
          <a:p>
            <a:pPr algn="l"/>
            <a:r>
              <a:rPr lang="de-DE" sz="2000" b="1">
                <a:solidFill>
                  <a:schemeClr val="lt1"/>
                </a:solidFill>
                <a:latin typeface="Segoe UI" panose="020B0502040204020203" pitchFamily="34" charset="0"/>
                <a:cs typeface="Arial" panose="020B0604020202020204" pitchFamily="34" charset="0"/>
              </a:rPr>
              <a:t>Effizientere Besprechungskultur </a:t>
            </a:r>
          </a:p>
          <a:p>
            <a:pPr algn="l"/>
            <a:r>
              <a:rPr lang="de-DE" sz="2000" b="1">
                <a:solidFill>
                  <a:schemeClr val="lt1"/>
                </a:solidFill>
                <a:latin typeface="Segoe UI" panose="020B0502040204020203" pitchFamily="34" charset="0"/>
                <a:cs typeface="Arial" panose="020B0604020202020204" pitchFamily="34" charset="0"/>
              </a:rPr>
              <a:t>(Termine mit klarer Tagesordnung und Zielstellung)</a:t>
            </a:r>
          </a:p>
        </p:txBody>
      </p:sp>
      <p:sp>
        <p:nvSpPr>
          <p:cNvPr id="11" name="Textfeld 10">
            <a:extLst>
              <a:ext uri="{FF2B5EF4-FFF2-40B4-BE49-F238E27FC236}">
                <a16:creationId xmlns:a16="http://schemas.microsoft.com/office/drawing/2014/main" id="{B3840840-8E70-41B7-BDCA-CBA918486589}"/>
              </a:ext>
            </a:extLst>
          </p:cNvPr>
          <p:cNvSpPr txBox="1"/>
          <p:nvPr/>
        </p:nvSpPr>
        <p:spPr>
          <a:xfrm>
            <a:off x="1431578" y="2468048"/>
            <a:ext cx="5750250" cy="307777"/>
          </a:xfrm>
          <a:prstGeom prst="rect">
            <a:avLst/>
          </a:prstGeom>
          <a:noFill/>
        </p:spPr>
        <p:txBody>
          <a:bodyPr wrap="square" lIns="0" tIns="0" rIns="0" bIns="0" rtlCol="0">
            <a:spAutoFit/>
          </a:bodyPr>
          <a:lstStyle/>
          <a:p>
            <a:pPr algn="l"/>
            <a:r>
              <a:rPr lang="de-DE" sz="2000" b="1">
                <a:solidFill>
                  <a:schemeClr val="lt1"/>
                </a:solidFill>
                <a:latin typeface="Segoe UI" panose="020B0502040204020203" pitchFamily="34" charset="0"/>
                <a:cs typeface="Arial" panose="020B0604020202020204" pitchFamily="34" charset="0"/>
              </a:rPr>
              <a:t>Kürzung aller Regeltermine um 15%</a:t>
            </a:r>
          </a:p>
        </p:txBody>
      </p:sp>
      <p:sp>
        <p:nvSpPr>
          <p:cNvPr id="12" name="Textfeld 11">
            <a:extLst>
              <a:ext uri="{FF2B5EF4-FFF2-40B4-BE49-F238E27FC236}">
                <a16:creationId xmlns:a16="http://schemas.microsoft.com/office/drawing/2014/main" id="{7DEB2541-5642-4F2D-8E01-11469A151196}"/>
              </a:ext>
            </a:extLst>
          </p:cNvPr>
          <p:cNvSpPr txBox="1"/>
          <p:nvPr/>
        </p:nvSpPr>
        <p:spPr>
          <a:xfrm>
            <a:off x="1725196" y="3121223"/>
            <a:ext cx="4914900" cy="307777"/>
          </a:xfrm>
          <a:prstGeom prst="rect">
            <a:avLst/>
          </a:prstGeom>
          <a:noFill/>
        </p:spPr>
        <p:txBody>
          <a:bodyPr wrap="square" lIns="0" tIns="0" rIns="0" bIns="0" rtlCol="0">
            <a:spAutoFit/>
          </a:bodyPr>
          <a:lstStyle/>
          <a:p>
            <a:pPr algn="l"/>
            <a:r>
              <a:rPr lang="de-DE" sz="2000" b="1">
                <a:solidFill>
                  <a:schemeClr val="lt1"/>
                </a:solidFill>
                <a:latin typeface="Segoe UI" panose="020B0502040204020203" pitchFamily="34" charset="0"/>
                <a:cs typeface="Arial" panose="020B0604020202020204" pitchFamily="34" charset="0"/>
              </a:rPr>
              <a:t>Eine Besprechung pro Woche absagen</a:t>
            </a:r>
          </a:p>
        </p:txBody>
      </p:sp>
      <p:sp>
        <p:nvSpPr>
          <p:cNvPr id="13" name="Textfeld 12">
            <a:extLst>
              <a:ext uri="{FF2B5EF4-FFF2-40B4-BE49-F238E27FC236}">
                <a16:creationId xmlns:a16="http://schemas.microsoft.com/office/drawing/2014/main" id="{D92A9A44-B423-437E-A1D6-B245C9562B37}"/>
              </a:ext>
            </a:extLst>
          </p:cNvPr>
          <p:cNvSpPr txBox="1"/>
          <p:nvPr/>
        </p:nvSpPr>
        <p:spPr>
          <a:xfrm>
            <a:off x="1342803" y="3761820"/>
            <a:ext cx="8363458" cy="307777"/>
          </a:xfrm>
          <a:prstGeom prst="rect">
            <a:avLst/>
          </a:prstGeom>
          <a:noFill/>
        </p:spPr>
        <p:txBody>
          <a:bodyPr wrap="square" lIns="0" tIns="0" rIns="0" bIns="0" rtlCol="0">
            <a:spAutoFit/>
          </a:bodyPr>
          <a:lstStyle/>
          <a:p>
            <a:pPr algn="l"/>
            <a:r>
              <a:rPr lang="de-DE" sz="2000" b="1">
                <a:solidFill>
                  <a:schemeClr val="lt1"/>
                </a:solidFill>
                <a:latin typeface="Segoe UI" panose="020B0502040204020203" pitchFamily="34" charset="0"/>
                <a:cs typeface="Arial" panose="020B0604020202020204" pitchFamily="34" charset="0"/>
              </a:rPr>
              <a:t>Eliminierung der - Das haben wir schon immer so gemacht - Regel</a:t>
            </a:r>
          </a:p>
        </p:txBody>
      </p:sp>
      <p:sp>
        <p:nvSpPr>
          <p:cNvPr id="14" name="Textfeld 13">
            <a:extLst>
              <a:ext uri="{FF2B5EF4-FFF2-40B4-BE49-F238E27FC236}">
                <a16:creationId xmlns:a16="http://schemas.microsoft.com/office/drawing/2014/main" id="{C8392BFE-FFD4-44F5-8851-E539C4FC4628}"/>
              </a:ext>
            </a:extLst>
          </p:cNvPr>
          <p:cNvSpPr txBox="1"/>
          <p:nvPr/>
        </p:nvSpPr>
        <p:spPr>
          <a:xfrm>
            <a:off x="2288485" y="4402417"/>
            <a:ext cx="5347150" cy="615553"/>
          </a:xfrm>
          <a:prstGeom prst="rect">
            <a:avLst/>
          </a:prstGeom>
          <a:noFill/>
        </p:spPr>
        <p:txBody>
          <a:bodyPr wrap="square" lIns="0" tIns="0" rIns="0" bIns="0" rtlCol="0">
            <a:spAutoFit/>
          </a:bodyPr>
          <a:lstStyle/>
          <a:p>
            <a:pPr algn="l"/>
            <a:r>
              <a:rPr lang="de-DE" sz="2000" b="1">
                <a:solidFill>
                  <a:schemeClr val="lt1"/>
                </a:solidFill>
                <a:latin typeface="Segoe UI" panose="020B0502040204020203" pitchFamily="34" charset="0"/>
                <a:cs typeface="Arial" panose="020B0604020202020204" pitchFamily="34" charset="0"/>
              </a:rPr>
              <a:t>Verbesserungs- &amp; Problemlösungskultur </a:t>
            </a:r>
          </a:p>
          <a:p>
            <a:pPr algn="l"/>
            <a:r>
              <a:rPr lang="de-DE" sz="2000" b="1">
                <a:solidFill>
                  <a:schemeClr val="lt1"/>
                </a:solidFill>
                <a:latin typeface="Segoe UI" panose="020B0502040204020203" pitchFamily="34" charset="0"/>
                <a:cs typeface="Arial" panose="020B0604020202020204" pitchFamily="34" charset="0"/>
              </a:rPr>
              <a:t>fest in der täglichen Routine verankern</a:t>
            </a:r>
          </a:p>
        </p:txBody>
      </p:sp>
      <p:sp>
        <p:nvSpPr>
          <p:cNvPr id="15" name="Textfeld 14">
            <a:extLst>
              <a:ext uri="{FF2B5EF4-FFF2-40B4-BE49-F238E27FC236}">
                <a16:creationId xmlns:a16="http://schemas.microsoft.com/office/drawing/2014/main" id="{31D9EA02-34D9-4FC3-9257-06EB5EC61052}"/>
              </a:ext>
            </a:extLst>
          </p:cNvPr>
          <p:cNvSpPr txBox="1"/>
          <p:nvPr/>
        </p:nvSpPr>
        <p:spPr>
          <a:xfrm rot="5400000">
            <a:off x="9549558" y="2243649"/>
            <a:ext cx="4684573" cy="430887"/>
          </a:xfrm>
          <a:prstGeom prst="rect">
            <a:avLst/>
          </a:prstGeom>
          <a:noFill/>
        </p:spPr>
        <p:txBody>
          <a:bodyPr wrap="square" lIns="0" tIns="0" rIns="0" bIns="0" rtlCol="0">
            <a:spAutoFit/>
          </a:bodyPr>
          <a:lstStyle/>
          <a:p>
            <a:pPr algn="l"/>
            <a:r>
              <a:rPr lang="de-DE" sz="2800" b="1" dirty="0">
                <a:solidFill>
                  <a:schemeClr val="accent5">
                    <a:lumMod val="50000"/>
                  </a:schemeClr>
                </a:solidFill>
                <a:latin typeface="Segoe UI" panose="020B0502040204020203" pitchFamily="34" charset="0"/>
                <a:cs typeface="Arial" panose="020B0604020202020204" pitchFamily="34" charset="0"/>
              </a:rPr>
              <a:t>#Mission GEMBA #2023 </a:t>
            </a:r>
          </a:p>
        </p:txBody>
      </p:sp>
      <p:sp>
        <p:nvSpPr>
          <p:cNvPr id="17" name="Textfeld 16">
            <a:extLst>
              <a:ext uri="{FF2B5EF4-FFF2-40B4-BE49-F238E27FC236}">
                <a16:creationId xmlns:a16="http://schemas.microsoft.com/office/drawing/2014/main" id="{89C2B654-0381-495E-BF55-2AB9ECEA3D77}"/>
              </a:ext>
            </a:extLst>
          </p:cNvPr>
          <p:cNvSpPr txBox="1"/>
          <p:nvPr/>
        </p:nvSpPr>
        <p:spPr>
          <a:xfrm>
            <a:off x="94877" y="6527309"/>
            <a:ext cx="1000498" cy="246221"/>
          </a:xfrm>
          <a:custGeom>
            <a:avLst/>
            <a:gdLst>
              <a:gd name="connsiteX0" fmla="*/ 0 w 1000498"/>
              <a:gd name="connsiteY0" fmla="*/ 0 h 246221"/>
              <a:gd name="connsiteX1" fmla="*/ 1000498 w 1000498"/>
              <a:gd name="connsiteY1" fmla="*/ 0 h 246221"/>
              <a:gd name="connsiteX2" fmla="*/ 1000498 w 1000498"/>
              <a:gd name="connsiteY2" fmla="*/ 246221 h 246221"/>
              <a:gd name="connsiteX3" fmla="*/ 0 w 1000498"/>
              <a:gd name="connsiteY3" fmla="*/ 246221 h 246221"/>
              <a:gd name="connsiteX4" fmla="*/ 0 w 1000498"/>
              <a:gd name="connsiteY4" fmla="*/ 0 h 2462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498" h="246221" extrusionOk="0">
                <a:moveTo>
                  <a:pt x="0" y="0"/>
                </a:moveTo>
                <a:cubicBezTo>
                  <a:pt x="389176" y="37934"/>
                  <a:pt x="592962" y="-47446"/>
                  <a:pt x="1000498" y="0"/>
                </a:cubicBezTo>
                <a:cubicBezTo>
                  <a:pt x="997381" y="86785"/>
                  <a:pt x="995443" y="150521"/>
                  <a:pt x="1000498" y="246221"/>
                </a:cubicBezTo>
                <a:cubicBezTo>
                  <a:pt x="564515" y="176135"/>
                  <a:pt x="417136" y="250282"/>
                  <a:pt x="0" y="246221"/>
                </a:cubicBezTo>
                <a:cubicBezTo>
                  <a:pt x="-13243" y="179011"/>
                  <a:pt x="-14048" y="95319"/>
                  <a:pt x="0" y="0"/>
                </a:cubicBezTo>
                <a:close/>
              </a:path>
            </a:pathLst>
          </a:custGeom>
          <a:noFill/>
          <a:ln>
            <a:noFill/>
            <a:extLst>
              <a:ext uri="{C807C97D-BFC1-408E-A445-0C87EB9F89A2}">
                <ask:lineSketchStyleProps xmlns:ask="http://schemas.microsoft.com/office/drawing/2018/sketchyshapes" sd="2650216993">
                  <a:prstGeom prst="rect">
                    <a:avLst/>
                  </a:prstGeom>
                  <ask:type>
                    <ask:lineSketchCurved/>
                  </ask:type>
                </ask:lineSketchStyleProps>
              </a:ext>
            </a:extLst>
          </a:ln>
        </p:spPr>
        <p:txBody>
          <a:bodyPr wrap="square" lIns="0" tIns="0" rIns="0" bIns="0" rtlCol="0">
            <a:spAutoFit/>
          </a:bodyPr>
          <a:lstStyle/>
          <a:p>
            <a:pPr algn="l"/>
            <a:r>
              <a:rPr lang="de-DE" sz="1600">
                <a:solidFill>
                  <a:schemeClr val="bg1"/>
                </a:solidFill>
                <a:latin typeface="Segoe UI" panose="020B0502040204020203" pitchFamily="34" charset="0"/>
                <a:cs typeface="Arial" panose="020B0604020202020204" pitchFamily="34" charset="0"/>
              </a:rPr>
              <a:t>Oliver Türk</a:t>
            </a:r>
          </a:p>
        </p:txBody>
      </p:sp>
      <p:sp>
        <p:nvSpPr>
          <p:cNvPr id="9" name="Rechteck 8">
            <a:extLst>
              <a:ext uri="{FF2B5EF4-FFF2-40B4-BE49-F238E27FC236}">
                <a16:creationId xmlns:a16="http://schemas.microsoft.com/office/drawing/2014/main" id="{05118504-8484-499E-BBCB-F921016BD0AC}"/>
              </a:ext>
            </a:extLst>
          </p:cNvPr>
          <p:cNvSpPr/>
          <p:nvPr/>
        </p:nvSpPr>
        <p:spPr>
          <a:xfrm>
            <a:off x="1335187" y="1691384"/>
            <a:ext cx="333375" cy="307777"/>
          </a:xfrm>
          <a:custGeom>
            <a:avLst/>
            <a:gdLst>
              <a:gd name="connsiteX0" fmla="*/ 0 w 333375"/>
              <a:gd name="connsiteY0" fmla="*/ 0 h 307777"/>
              <a:gd name="connsiteX1" fmla="*/ 333375 w 333375"/>
              <a:gd name="connsiteY1" fmla="*/ 0 h 307777"/>
              <a:gd name="connsiteX2" fmla="*/ 333375 w 333375"/>
              <a:gd name="connsiteY2" fmla="*/ 307777 h 307777"/>
              <a:gd name="connsiteX3" fmla="*/ 0 w 333375"/>
              <a:gd name="connsiteY3" fmla="*/ 307777 h 307777"/>
              <a:gd name="connsiteX4" fmla="*/ 0 w 333375"/>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 h="307777" fill="none" extrusionOk="0">
                <a:moveTo>
                  <a:pt x="0" y="0"/>
                </a:moveTo>
                <a:cubicBezTo>
                  <a:pt x="100428" y="3203"/>
                  <a:pt x="283049" y="23104"/>
                  <a:pt x="333375" y="0"/>
                </a:cubicBezTo>
                <a:cubicBezTo>
                  <a:pt x="341293" y="124036"/>
                  <a:pt x="350362" y="239151"/>
                  <a:pt x="333375" y="307777"/>
                </a:cubicBezTo>
                <a:cubicBezTo>
                  <a:pt x="274698" y="286292"/>
                  <a:pt x="96663" y="314990"/>
                  <a:pt x="0" y="307777"/>
                </a:cubicBezTo>
                <a:cubicBezTo>
                  <a:pt x="27084" y="202200"/>
                  <a:pt x="8907" y="148770"/>
                  <a:pt x="0" y="0"/>
                </a:cubicBezTo>
                <a:close/>
              </a:path>
              <a:path w="333375" h="307777" stroke="0" extrusionOk="0">
                <a:moveTo>
                  <a:pt x="0" y="0"/>
                </a:moveTo>
                <a:cubicBezTo>
                  <a:pt x="144536" y="-26225"/>
                  <a:pt x="175276" y="-8827"/>
                  <a:pt x="333375" y="0"/>
                </a:cubicBezTo>
                <a:cubicBezTo>
                  <a:pt x="317597" y="140603"/>
                  <a:pt x="340127" y="205586"/>
                  <a:pt x="333375" y="307777"/>
                </a:cubicBezTo>
                <a:cubicBezTo>
                  <a:pt x="226538" y="280466"/>
                  <a:pt x="114585" y="334959"/>
                  <a:pt x="0" y="307777"/>
                </a:cubicBezTo>
                <a:cubicBezTo>
                  <a:pt x="11596" y="211449"/>
                  <a:pt x="-23252" y="102302"/>
                  <a:pt x="0" y="0"/>
                </a:cubicBezTo>
                <a:close/>
              </a:path>
            </a:pathLst>
          </a:custGeom>
          <a:solidFill>
            <a:schemeClr val="accent5">
              <a:lumMod val="60000"/>
              <a:lumOff val="40000"/>
            </a:schemeClr>
          </a:solidFill>
          <a:ln w="28575">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sp>
        <p:nvSpPr>
          <p:cNvPr id="19" name="Rechteck 18">
            <a:extLst>
              <a:ext uri="{FF2B5EF4-FFF2-40B4-BE49-F238E27FC236}">
                <a16:creationId xmlns:a16="http://schemas.microsoft.com/office/drawing/2014/main" id="{B4A3688F-BE21-4FA6-BB70-36243C01CE8B}"/>
              </a:ext>
            </a:extLst>
          </p:cNvPr>
          <p:cNvSpPr/>
          <p:nvPr/>
        </p:nvSpPr>
        <p:spPr>
          <a:xfrm>
            <a:off x="917227" y="2475082"/>
            <a:ext cx="333375" cy="307777"/>
          </a:xfrm>
          <a:custGeom>
            <a:avLst/>
            <a:gdLst>
              <a:gd name="connsiteX0" fmla="*/ 0 w 333375"/>
              <a:gd name="connsiteY0" fmla="*/ 0 h 307777"/>
              <a:gd name="connsiteX1" fmla="*/ 333375 w 333375"/>
              <a:gd name="connsiteY1" fmla="*/ 0 h 307777"/>
              <a:gd name="connsiteX2" fmla="*/ 333375 w 333375"/>
              <a:gd name="connsiteY2" fmla="*/ 307777 h 307777"/>
              <a:gd name="connsiteX3" fmla="*/ 0 w 333375"/>
              <a:gd name="connsiteY3" fmla="*/ 307777 h 307777"/>
              <a:gd name="connsiteX4" fmla="*/ 0 w 333375"/>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 h="307777" fill="none" extrusionOk="0">
                <a:moveTo>
                  <a:pt x="0" y="0"/>
                </a:moveTo>
                <a:cubicBezTo>
                  <a:pt x="100428" y="3203"/>
                  <a:pt x="283049" y="23104"/>
                  <a:pt x="333375" y="0"/>
                </a:cubicBezTo>
                <a:cubicBezTo>
                  <a:pt x="341293" y="124036"/>
                  <a:pt x="350362" y="239151"/>
                  <a:pt x="333375" y="307777"/>
                </a:cubicBezTo>
                <a:cubicBezTo>
                  <a:pt x="274698" y="286292"/>
                  <a:pt x="96663" y="314990"/>
                  <a:pt x="0" y="307777"/>
                </a:cubicBezTo>
                <a:cubicBezTo>
                  <a:pt x="27084" y="202200"/>
                  <a:pt x="8907" y="148770"/>
                  <a:pt x="0" y="0"/>
                </a:cubicBezTo>
                <a:close/>
              </a:path>
              <a:path w="333375" h="307777" stroke="0" extrusionOk="0">
                <a:moveTo>
                  <a:pt x="0" y="0"/>
                </a:moveTo>
                <a:cubicBezTo>
                  <a:pt x="144536" y="-26225"/>
                  <a:pt x="175276" y="-8827"/>
                  <a:pt x="333375" y="0"/>
                </a:cubicBezTo>
                <a:cubicBezTo>
                  <a:pt x="317597" y="140603"/>
                  <a:pt x="340127" y="205586"/>
                  <a:pt x="333375" y="307777"/>
                </a:cubicBezTo>
                <a:cubicBezTo>
                  <a:pt x="226538" y="280466"/>
                  <a:pt x="114585" y="334959"/>
                  <a:pt x="0" y="307777"/>
                </a:cubicBezTo>
                <a:cubicBezTo>
                  <a:pt x="11596" y="211449"/>
                  <a:pt x="-23252" y="102302"/>
                  <a:pt x="0" y="0"/>
                </a:cubicBezTo>
                <a:close/>
              </a:path>
            </a:pathLst>
          </a:custGeom>
          <a:solidFill>
            <a:schemeClr val="accent5">
              <a:lumMod val="60000"/>
              <a:lumOff val="40000"/>
            </a:schemeClr>
          </a:solidFill>
          <a:ln w="28575">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sp>
        <p:nvSpPr>
          <p:cNvPr id="20" name="Rechteck 19">
            <a:extLst>
              <a:ext uri="{FF2B5EF4-FFF2-40B4-BE49-F238E27FC236}">
                <a16:creationId xmlns:a16="http://schemas.microsoft.com/office/drawing/2014/main" id="{91C8E882-6DA4-41DC-A9C2-8712D056C8CF}"/>
              </a:ext>
            </a:extLst>
          </p:cNvPr>
          <p:cNvSpPr/>
          <p:nvPr/>
        </p:nvSpPr>
        <p:spPr>
          <a:xfrm>
            <a:off x="1210846" y="3140579"/>
            <a:ext cx="333375" cy="307777"/>
          </a:xfrm>
          <a:custGeom>
            <a:avLst/>
            <a:gdLst>
              <a:gd name="connsiteX0" fmla="*/ 0 w 333375"/>
              <a:gd name="connsiteY0" fmla="*/ 0 h 307777"/>
              <a:gd name="connsiteX1" fmla="*/ 333375 w 333375"/>
              <a:gd name="connsiteY1" fmla="*/ 0 h 307777"/>
              <a:gd name="connsiteX2" fmla="*/ 333375 w 333375"/>
              <a:gd name="connsiteY2" fmla="*/ 307777 h 307777"/>
              <a:gd name="connsiteX3" fmla="*/ 0 w 333375"/>
              <a:gd name="connsiteY3" fmla="*/ 307777 h 307777"/>
              <a:gd name="connsiteX4" fmla="*/ 0 w 333375"/>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 h="307777" fill="none" extrusionOk="0">
                <a:moveTo>
                  <a:pt x="0" y="0"/>
                </a:moveTo>
                <a:cubicBezTo>
                  <a:pt x="100428" y="3203"/>
                  <a:pt x="283049" y="23104"/>
                  <a:pt x="333375" y="0"/>
                </a:cubicBezTo>
                <a:cubicBezTo>
                  <a:pt x="341293" y="124036"/>
                  <a:pt x="350362" y="239151"/>
                  <a:pt x="333375" y="307777"/>
                </a:cubicBezTo>
                <a:cubicBezTo>
                  <a:pt x="274698" y="286292"/>
                  <a:pt x="96663" y="314990"/>
                  <a:pt x="0" y="307777"/>
                </a:cubicBezTo>
                <a:cubicBezTo>
                  <a:pt x="27084" y="202200"/>
                  <a:pt x="8907" y="148770"/>
                  <a:pt x="0" y="0"/>
                </a:cubicBezTo>
                <a:close/>
              </a:path>
              <a:path w="333375" h="307777" stroke="0" extrusionOk="0">
                <a:moveTo>
                  <a:pt x="0" y="0"/>
                </a:moveTo>
                <a:cubicBezTo>
                  <a:pt x="144536" y="-26225"/>
                  <a:pt x="175276" y="-8827"/>
                  <a:pt x="333375" y="0"/>
                </a:cubicBezTo>
                <a:cubicBezTo>
                  <a:pt x="317597" y="140603"/>
                  <a:pt x="340127" y="205586"/>
                  <a:pt x="333375" y="307777"/>
                </a:cubicBezTo>
                <a:cubicBezTo>
                  <a:pt x="226538" y="280466"/>
                  <a:pt x="114585" y="334959"/>
                  <a:pt x="0" y="307777"/>
                </a:cubicBezTo>
                <a:cubicBezTo>
                  <a:pt x="11596" y="211449"/>
                  <a:pt x="-23252" y="102302"/>
                  <a:pt x="0" y="0"/>
                </a:cubicBezTo>
                <a:close/>
              </a:path>
            </a:pathLst>
          </a:custGeom>
          <a:solidFill>
            <a:schemeClr val="accent5">
              <a:lumMod val="60000"/>
              <a:lumOff val="40000"/>
            </a:schemeClr>
          </a:solidFill>
          <a:ln w="28575">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sp>
        <p:nvSpPr>
          <p:cNvPr id="21" name="Rechteck 20">
            <a:extLst>
              <a:ext uri="{FF2B5EF4-FFF2-40B4-BE49-F238E27FC236}">
                <a16:creationId xmlns:a16="http://schemas.microsoft.com/office/drawing/2014/main" id="{28BD0E6D-EB2A-4BE3-B3B3-527B9E50E742}"/>
              </a:ext>
            </a:extLst>
          </p:cNvPr>
          <p:cNvSpPr/>
          <p:nvPr/>
        </p:nvSpPr>
        <p:spPr>
          <a:xfrm>
            <a:off x="847502" y="3789088"/>
            <a:ext cx="333375" cy="307777"/>
          </a:xfrm>
          <a:custGeom>
            <a:avLst/>
            <a:gdLst>
              <a:gd name="connsiteX0" fmla="*/ 0 w 333375"/>
              <a:gd name="connsiteY0" fmla="*/ 0 h 307777"/>
              <a:gd name="connsiteX1" fmla="*/ 333375 w 333375"/>
              <a:gd name="connsiteY1" fmla="*/ 0 h 307777"/>
              <a:gd name="connsiteX2" fmla="*/ 333375 w 333375"/>
              <a:gd name="connsiteY2" fmla="*/ 307777 h 307777"/>
              <a:gd name="connsiteX3" fmla="*/ 0 w 333375"/>
              <a:gd name="connsiteY3" fmla="*/ 307777 h 307777"/>
              <a:gd name="connsiteX4" fmla="*/ 0 w 333375"/>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 h="307777" fill="none" extrusionOk="0">
                <a:moveTo>
                  <a:pt x="0" y="0"/>
                </a:moveTo>
                <a:cubicBezTo>
                  <a:pt x="100428" y="3203"/>
                  <a:pt x="283049" y="23104"/>
                  <a:pt x="333375" y="0"/>
                </a:cubicBezTo>
                <a:cubicBezTo>
                  <a:pt x="341293" y="124036"/>
                  <a:pt x="350362" y="239151"/>
                  <a:pt x="333375" y="307777"/>
                </a:cubicBezTo>
                <a:cubicBezTo>
                  <a:pt x="274698" y="286292"/>
                  <a:pt x="96663" y="314990"/>
                  <a:pt x="0" y="307777"/>
                </a:cubicBezTo>
                <a:cubicBezTo>
                  <a:pt x="27084" y="202200"/>
                  <a:pt x="8907" y="148770"/>
                  <a:pt x="0" y="0"/>
                </a:cubicBezTo>
                <a:close/>
              </a:path>
              <a:path w="333375" h="307777" stroke="0" extrusionOk="0">
                <a:moveTo>
                  <a:pt x="0" y="0"/>
                </a:moveTo>
                <a:cubicBezTo>
                  <a:pt x="144536" y="-26225"/>
                  <a:pt x="175276" y="-8827"/>
                  <a:pt x="333375" y="0"/>
                </a:cubicBezTo>
                <a:cubicBezTo>
                  <a:pt x="317597" y="140603"/>
                  <a:pt x="340127" y="205586"/>
                  <a:pt x="333375" y="307777"/>
                </a:cubicBezTo>
                <a:cubicBezTo>
                  <a:pt x="226538" y="280466"/>
                  <a:pt x="114585" y="334959"/>
                  <a:pt x="0" y="307777"/>
                </a:cubicBezTo>
                <a:cubicBezTo>
                  <a:pt x="11596" y="211449"/>
                  <a:pt x="-23252" y="102302"/>
                  <a:pt x="0" y="0"/>
                </a:cubicBezTo>
                <a:close/>
              </a:path>
            </a:pathLst>
          </a:custGeom>
          <a:solidFill>
            <a:schemeClr val="accent5">
              <a:lumMod val="60000"/>
              <a:lumOff val="40000"/>
            </a:schemeClr>
          </a:solidFill>
          <a:ln w="28575">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sp>
        <p:nvSpPr>
          <p:cNvPr id="22" name="Rechteck 21">
            <a:extLst>
              <a:ext uri="{FF2B5EF4-FFF2-40B4-BE49-F238E27FC236}">
                <a16:creationId xmlns:a16="http://schemas.microsoft.com/office/drawing/2014/main" id="{FEC6F12D-F701-432A-9564-F35E5B21D852}"/>
              </a:ext>
            </a:extLst>
          </p:cNvPr>
          <p:cNvSpPr/>
          <p:nvPr/>
        </p:nvSpPr>
        <p:spPr>
          <a:xfrm>
            <a:off x="1725196" y="4455093"/>
            <a:ext cx="333375" cy="307777"/>
          </a:xfrm>
          <a:custGeom>
            <a:avLst/>
            <a:gdLst>
              <a:gd name="connsiteX0" fmla="*/ 0 w 333375"/>
              <a:gd name="connsiteY0" fmla="*/ 0 h 307777"/>
              <a:gd name="connsiteX1" fmla="*/ 333375 w 333375"/>
              <a:gd name="connsiteY1" fmla="*/ 0 h 307777"/>
              <a:gd name="connsiteX2" fmla="*/ 333375 w 333375"/>
              <a:gd name="connsiteY2" fmla="*/ 307777 h 307777"/>
              <a:gd name="connsiteX3" fmla="*/ 0 w 333375"/>
              <a:gd name="connsiteY3" fmla="*/ 307777 h 307777"/>
              <a:gd name="connsiteX4" fmla="*/ 0 w 333375"/>
              <a:gd name="connsiteY4" fmla="*/ 0 h 3077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3375" h="307777" fill="none" extrusionOk="0">
                <a:moveTo>
                  <a:pt x="0" y="0"/>
                </a:moveTo>
                <a:cubicBezTo>
                  <a:pt x="100428" y="3203"/>
                  <a:pt x="283049" y="23104"/>
                  <a:pt x="333375" y="0"/>
                </a:cubicBezTo>
                <a:cubicBezTo>
                  <a:pt x="341293" y="124036"/>
                  <a:pt x="350362" y="239151"/>
                  <a:pt x="333375" y="307777"/>
                </a:cubicBezTo>
                <a:cubicBezTo>
                  <a:pt x="274698" y="286292"/>
                  <a:pt x="96663" y="314990"/>
                  <a:pt x="0" y="307777"/>
                </a:cubicBezTo>
                <a:cubicBezTo>
                  <a:pt x="27084" y="202200"/>
                  <a:pt x="8907" y="148770"/>
                  <a:pt x="0" y="0"/>
                </a:cubicBezTo>
                <a:close/>
              </a:path>
              <a:path w="333375" h="307777" stroke="0" extrusionOk="0">
                <a:moveTo>
                  <a:pt x="0" y="0"/>
                </a:moveTo>
                <a:cubicBezTo>
                  <a:pt x="144536" y="-26225"/>
                  <a:pt x="175276" y="-8827"/>
                  <a:pt x="333375" y="0"/>
                </a:cubicBezTo>
                <a:cubicBezTo>
                  <a:pt x="317597" y="140603"/>
                  <a:pt x="340127" y="205586"/>
                  <a:pt x="333375" y="307777"/>
                </a:cubicBezTo>
                <a:cubicBezTo>
                  <a:pt x="226538" y="280466"/>
                  <a:pt x="114585" y="334959"/>
                  <a:pt x="0" y="307777"/>
                </a:cubicBezTo>
                <a:cubicBezTo>
                  <a:pt x="11596" y="211449"/>
                  <a:pt x="-23252" y="102302"/>
                  <a:pt x="0" y="0"/>
                </a:cubicBezTo>
                <a:close/>
              </a:path>
            </a:pathLst>
          </a:custGeom>
          <a:solidFill>
            <a:schemeClr val="accent5">
              <a:lumMod val="60000"/>
              <a:lumOff val="40000"/>
            </a:schemeClr>
          </a:solidFill>
          <a:ln w="28575">
            <a:solidFill>
              <a:schemeClr val="bg1"/>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latin typeface="Segoe UI" panose="020B0502040204020203" pitchFamily="34" charset="0"/>
            </a:endParaRPr>
          </a:p>
        </p:txBody>
      </p:sp>
      <p:pic>
        <p:nvPicPr>
          <p:cNvPr id="15364" name="Picture 4" descr="Quellbild anzeigen">
            <a:extLst>
              <a:ext uri="{FF2B5EF4-FFF2-40B4-BE49-F238E27FC236}">
                <a16:creationId xmlns:a16="http://schemas.microsoft.com/office/drawing/2014/main" id="{55AE5CAC-4A84-40E2-B4BF-1429FE40F536}"/>
              </a:ext>
            </a:extLst>
          </p:cNvPr>
          <p:cNvPicPr>
            <a:picLocks noChangeAspect="1" noChangeArrowheads="1"/>
          </p:cNvPicPr>
          <p:nvPr/>
        </p:nvPicPr>
        <p:blipFill>
          <a:blip r:embed="rId2">
            <a:duotone>
              <a:schemeClr val="accent3">
                <a:shade val="45000"/>
                <a:satMod val="135000"/>
              </a:schemeClr>
              <a:prstClr val="white"/>
            </a:duotone>
            <a:extLst>
              <a:ext uri="{BEBA8EAE-BF5A-486C-A8C5-ECC9F3942E4B}">
                <a14:imgProps xmlns:a14="http://schemas.microsoft.com/office/drawing/2010/main">
                  <a14:imgLayer r:embed="rId3">
                    <a14:imgEffect>
                      <a14:backgroundRemoval t="10000" b="90000" l="10000" r="90000">
                        <a14:foregroundMark x1="26867" y1="23100" x2="26867" y2="20100"/>
                        <a14:foregroundMark x1="31667" y1="20400" x2="31867" y2="18300"/>
                        <a14:foregroundMark x1="40267" y1="14200" x2="40400" y2="17600"/>
                        <a14:foregroundMark x1="35867" y1="24000" x2="37067" y2="24700"/>
                        <a14:foregroundMark x1="48867" y1="20400" x2="49467" y2="12300"/>
                        <a14:foregroundMark x1="49467" y1="12300" x2="53133" y2="23300"/>
                        <a14:foregroundMark x1="61400" y1="14700" x2="61133" y2="17400"/>
                        <a14:foregroundMark x1="69800" y1="19400" x2="69600" y2="24000"/>
                        <a14:backgroundMark x1="71000" y1="15200" x2="71200" y2="14500"/>
                      </a14:backgroundRemoval>
                    </a14:imgEffect>
                  </a14:imgLayer>
                </a14:imgProps>
              </a:ext>
              <a:ext uri="{28A0092B-C50C-407E-A947-70E740481C1C}">
                <a14:useLocalDpi xmlns:a14="http://schemas.microsoft.com/office/drawing/2010/main" val="0"/>
              </a:ext>
            </a:extLst>
          </a:blip>
          <a:srcRect/>
          <a:stretch>
            <a:fillRect/>
          </a:stretch>
        </p:blipFill>
        <p:spPr bwMode="auto">
          <a:xfrm>
            <a:off x="11149514" y="6018383"/>
            <a:ext cx="1129974" cy="753316"/>
          </a:xfrm>
          <a:prstGeom prst="rect">
            <a:avLst/>
          </a:prstGeom>
          <a:noFill/>
          <a:extLst>
            <a:ext uri="{909E8E84-426E-40DD-AFC4-6F175D3DCCD1}">
              <a14:hiddenFill xmlns:a14="http://schemas.microsoft.com/office/drawing/2010/main">
                <a:solidFill>
                  <a:srgbClr val="FFFFFF"/>
                </a:solidFill>
              </a14:hiddenFill>
            </a:ext>
          </a:extLst>
        </p:spPr>
      </p:pic>
      <p:pic>
        <p:nvPicPr>
          <p:cNvPr id="28" name="Grafik 27" descr="Tanne mit einfarbiger Füllung">
            <a:extLst>
              <a:ext uri="{FF2B5EF4-FFF2-40B4-BE49-F238E27FC236}">
                <a16:creationId xmlns:a16="http://schemas.microsoft.com/office/drawing/2014/main" id="{6A2425A5-206C-4C8C-B11B-8F503307370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78585" y="462959"/>
            <a:ext cx="1277137" cy="1277137"/>
          </a:xfrm>
          <a:prstGeom prst="rect">
            <a:avLst/>
          </a:prstGeom>
        </p:spPr>
      </p:pic>
      <p:pic>
        <p:nvPicPr>
          <p:cNvPr id="34" name="Grafik 33" descr="Tanne mit einfarbiger Füllung">
            <a:extLst>
              <a:ext uri="{FF2B5EF4-FFF2-40B4-BE49-F238E27FC236}">
                <a16:creationId xmlns:a16="http://schemas.microsoft.com/office/drawing/2014/main" id="{59871291-71A1-49D5-B165-585446F5C3D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79244" y="2364224"/>
            <a:ext cx="1277137" cy="1277137"/>
          </a:xfrm>
          <a:prstGeom prst="rect">
            <a:avLst/>
          </a:prstGeom>
        </p:spPr>
      </p:pic>
      <p:pic>
        <p:nvPicPr>
          <p:cNvPr id="35" name="Grafik 34" descr="Tanne mit einfarbiger Füllung">
            <a:extLst>
              <a:ext uri="{FF2B5EF4-FFF2-40B4-BE49-F238E27FC236}">
                <a16:creationId xmlns:a16="http://schemas.microsoft.com/office/drawing/2014/main" id="{FA08A9FA-1A44-449F-A912-25101C8F876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289990" y="4265489"/>
            <a:ext cx="1277137" cy="1277137"/>
          </a:xfrm>
          <a:prstGeom prst="rect">
            <a:avLst/>
          </a:prstGeom>
        </p:spPr>
      </p:pic>
      <p:sp>
        <p:nvSpPr>
          <p:cNvPr id="30" name="Textfeld 29">
            <a:extLst>
              <a:ext uri="{FF2B5EF4-FFF2-40B4-BE49-F238E27FC236}">
                <a16:creationId xmlns:a16="http://schemas.microsoft.com/office/drawing/2014/main" id="{92044731-409D-4618-AAF5-88422BACE38B}"/>
              </a:ext>
            </a:extLst>
          </p:cNvPr>
          <p:cNvSpPr txBox="1"/>
          <p:nvPr/>
        </p:nvSpPr>
        <p:spPr>
          <a:xfrm>
            <a:off x="10730385" y="1166069"/>
            <a:ext cx="469900" cy="184666"/>
          </a:xfrm>
          <a:prstGeom prst="rect">
            <a:avLst/>
          </a:prstGeom>
          <a:noFill/>
        </p:spPr>
        <p:txBody>
          <a:bodyPr wrap="square" lIns="0" tIns="0" rIns="0" bIns="0" rtlCol="0">
            <a:spAutoFit/>
          </a:bodyPr>
          <a:lstStyle/>
          <a:p>
            <a:pPr algn="l"/>
            <a:r>
              <a:rPr lang="de-DE" sz="1200" b="1">
                <a:solidFill>
                  <a:schemeClr val="bg1"/>
                </a:solidFill>
                <a:latin typeface="Segoe UI" panose="020B0502040204020203" pitchFamily="34" charset="0"/>
              </a:rPr>
              <a:t>TWH</a:t>
            </a:r>
          </a:p>
        </p:txBody>
      </p:sp>
      <p:sp>
        <p:nvSpPr>
          <p:cNvPr id="39" name="Textfeld 38">
            <a:extLst>
              <a:ext uri="{FF2B5EF4-FFF2-40B4-BE49-F238E27FC236}">
                <a16:creationId xmlns:a16="http://schemas.microsoft.com/office/drawing/2014/main" id="{6A4C28E5-9426-497A-A44E-7474942AE9B3}"/>
              </a:ext>
            </a:extLst>
          </p:cNvPr>
          <p:cNvSpPr txBox="1"/>
          <p:nvPr/>
        </p:nvSpPr>
        <p:spPr>
          <a:xfrm>
            <a:off x="10755785" y="4976069"/>
            <a:ext cx="469900" cy="184666"/>
          </a:xfrm>
          <a:prstGeom prst="rect">
            <a:avLst/>
          </a:prstGeom>
          <a:noFill/>
        </p:spPr>
        <p:txBody>
          <a:bodyPr wrap="square" lIns="0" tIns="0" rIns="0" bIns="0" rtlCol="0">
            <a:spAutoFit/>
          </a:bodyPr>
          <a:lstStyle/>
          <a:p>
            <a:pPr algn="l"/>
            <a:r>
              <a:rPr lang="de-DE" sz="1200" b="1">
                <a:solidFill>
                  <a:schemeClr val="bg1"/>
                </a:solidFill>
                <a:latin typeface="Segoe UI" panose="020B0502040204020203" pitchFamily="34" charset="0"/>
              </a:rPr>
              <a:t>TCH</a:t>
            </a:r>
          </a:p>
        </p:txBody>
      </p:sp>
      <p:sp>
        <p:nvSpPr>
          <p:cNvPr id="40" name="Textfeld 39">
            <a:extLst>
              <a:ext uri="{FF2B5EF4-FFF2-40B4-BE49-F238E27FC236}">
                <a16:creationId xmlns:a16="http://schemas.microsoft.com/office/drawing/2014/main" id="{EE2490A6-E870-4295-A803-EDF15069F931}"/>
              </a:ext>
            </a:extLst>
          </p:cNvPr>
          <p:cNvSpPr txBox="1"/>
          <p:nvPr/>
        </p:nvSpPr>
        <p:spPr>
          <a:xfrm>
            <a:off x="10781185" y="3094474"/>
            <a:ext cx="469900" cy="184666"/>
          </a:xfrm>
          <a:prstGeom prst="rect">
            <a:avLst/>
          </a:prstGeom>
          <a:noFill/>
        </p:spPr>
        <p:txBody>
          <a:bodyPr wrap="square" lIns="0" tIns="0" rIns="0" bIns="0" rtlCol="0">
            <a:spAutoFit/>
          </a:bodyPr>
          <a:lstStyle/>
          <a:p>
            <a:pPr algn="l"/>
            <a:r>
              <a:rPr lang="de-DE" sz="1200" b="1">
                <a:solidFill>
                  <a:schemeClr val="bg1"/>
                </a:solidFill>
                <a:latin typeface="Segoe UI" panose="020B0502040204020203" pitchFamily="34" charset="0"/>
              </a:rPr>
              <a:t>TAT</a:t>
            </a:r>
          </a:p>
        </p:txBody>
      </p:sp>
    </p:spTree>
    <p:extLst>
      <p:ext uri="{BB962C8B-B14F-4D97-AF65-F5344CB8AC3E}">
        <p14:creationId xmlns:p14="http://schemas.microsoft.com/office/powerpoint/2010/main" val="9251715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86103407-138D-4BAA-83CD-24F0EBAE0D01}"/>
              </a:ext>
            </a:extLst>
          </p:cNvPr>
          <p:cNvSpPr txBox="1"/>
          <p:nvPr/>
        </p:nvSpPr>
        <p:spPr>
          <a:xfrm>
            <a:off x="9366728" y="1773974"/>
            <a:ext cx="2454778" cy="3877985"/>
          </a:xfrm>
          <a:custGeom>
            <a:avLst/>
            <a:gdLst>
              <a:gd name="connsiteX0" fmla="*/ 0 w 2454778"/>
              <a:gd name="connsiteY0" fmla="*/ 0 h 3877985"/>
              <a:gd name="connsiteX1" fmla="*/ 2454778 w 2454778"/>
              <a:gd name="connsiteY1" fmla="*/ 0 h 3877985"/>
              <a:gd name="connsiteX2" fmla="*/ 2454778 w 2454778"/>
              <a:gd name="connsiteY2" fmla="*/ 3877985 h 3877985"/>
              <a:gd name="connsiteX3" fmla="*/ 0 w 2454778"/>
              <a:gd name="connsiteY3" fmla="*/ 3877985 h 3877985"/>
              <a:gd name="connsiteX4" fmla="*/ 0 w 2454778"/>
              <a:gd name="connsiteY4" fmla="*/ 0 h 387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4778" h="3877985" extrusionOk="0">
                <a:moveTo>
                  <a:pt x="0" y="0"/>
                </a:moveTo>
                <a:cubicBezTo>
                  <a:pt x="1195354" y="-142016"/>
                  <a:pt x="1812504" y="84015"/>
                  <a:pt x="2454778" y="0"/>
                </a:cubicBezTo>
                <a:cubicBezTo>
                  <a:pt x="2545223" y="1056042"/>
                  <a:pt x="2565014" y="3356381"/>
                  <a:pt x="2454778" y="3877985"/>
                </a:cubicBezTo>
                <a:cubicBezTo>
                  <a:pt x="1896707" y="4030992"/>
                  <a:pt x="1036022" y="3737498"/>
                  <a:pt x="0" y="3877985"/>
                </a:cubicBezTo>
                <a:cubicBezTo>
                  <a:pt x="154933" y="2950686"/>
                  <a:pt x="114725" y="1685272"/>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p:txBody>
      </p:sp>
      <p:sp>
        <p:nvSpPr>
          <p:cNvPr id="12" name="Textfeld 11">
            <a:extLst>
              <a:ext uri="{FF2B5EF4-FFF2-40B4-BE49-F238E27FC236}">
                <a16:creationId xmlns:a16="http://schemas.microsoft.com/office/drawing/2014/main" id="{AC3A7E4A-16A7-4CF5-97CF-9B510B5A876F}"/>
              </a:ext>
            </a:extLst>
          </p:cNvPr>
          <p:cNvSpPr txBox="1"/>
          <p:nvPr/>
        </p:nvSpPr>
        <p:spPr>
          <a:xfrm>
            <a:off x="4868457" y="1754386"/>
            <a:ext cx="3444992" cy="3600986"/>
          </a:xfrm>
          <a:custGeom>
            <a:avLst/>
            <a:gdLst>
              <a:gd name="connsiteX0" fmla="*/ 0 w 3444992"/>
              <a:gd name="connsiteY0" fmla="*/ 0 h 3600986"/>
              <a:gd name="connsiteX1" fmla="*/ 3444992 w 3444992"/>
              <a:gd name="connsiteY1" fmla="*/ 0 h 3600986"/>
              <a:gd name="connsiteX2" fmla="*/ 3444992 w 3444992"/>
              <a:gd name="connsiteY2" fmla="*/ 3600986 h 3600986"/>
              <a:gd name="connsiteX3" fmla="*/ 0 w 3444992"/>
              <a:gd name="connsiteY3" fmla="*/ 3600986 h 3600986"/>
              <a:gd name="connsiteX4" fmla="*/ 0 w 3444992"/>
              <a:gd name="connsiteY4" fmla="*/ 0 h 36009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92" h="3600986" extrusionOk="0">
                <a:moveTo>
                  <a:pt x="0" y="0"/>
                </a:moveTo>
                <a:cubicBezTo>
                  <a:pt x="413779" y="-142016"/>
                  <a:pt x="2233388" y="84015"/>
                  <a:pt x="3444992" y="0"/>
                </a:cubicBezTo>
                <a:cubicBezTo>
                  <a:pt x="3535437" y="474271"/>
                  <a:pt x="3555228" y="2442165"/>
                  <a:pt x="3444992" y="3600986"/>
                </a:cubicBezTo>
                <a:cubicBezTo>
                  <a:pt x="2878423" y="3753993"/>
                  <a:pt x="998019" y="3460499"/>
                  <a:pt x="0" y="3600986"/>
                </a:cubicBezTo>
                <a:cubicBezTo>
                  <a:pt x="154933" y="2590697"/>
                  <a:pt x="114725" y="438825"/>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p:txBody>
      </p:sp>
      <p:sp>
        <p:nvSpPr>
          <p:cNvPr id="11" name="Textfeld 10">
            <a:extLst>
              <a:ext uri="{FF2B5EF4-FFF2-40B4-BE49-F238E27FC236}">
                <a16:creationId xmlns:a16="http://schemas.microsoft.com/office/drawing/2014/main" id="{57F367A4-CEAE-4A2B-A5D0-AB08254BBECF}"/>
              </a:ext>
            </a:extLst>
          </p:cNvPr>
          <p:cNvSpPr txBox="1"/>
          <p:nvPr/>
        </p:nvSpPr>
        <p:spPr>
          <a:xfrm>
            <a:off x="377505" y="1794516"/>
            <a:ext cx="3444993" cy="4154984"/>
          </a:xfrm>
          <a:custGeom>
            <a:avLst/>
            <a:gdLst>
              <a:gd name="connsiteX0" fmla="*/ 0 w 3444993"/>
              <a:gd name="connsiteY0" fmla="*/ 0 h 4154984"/>
              <a:gd name="connsiteX1" fmla="*/ 3444993 w 3444993"/>
              <a:gd name="connsiteY1" fmla="*/ 0 h 4154984"/>
              <a:gd name="connsiteX2" fmla="*/ 3444993 w 3444993"/>
              <a:gd name="connsiteY2" fmla="*/ 4154984 h 4154984"/>
              <a:gd name="connsiteX3" fmla="*/ 0 w 3444993"/>
              <a:gd name="connsiteY3" fmla="*/ 4154984 h 4154984"/>
              <a:gd name="connsiteX4" fmla="*/ 0 w 3444993"/>
              <a:gd name="connsiteY4" fmla="*/ 0 h 415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4993" h="4154984" extrusionOk="0">
                <a:moveTo>
                  <a:pt x="0" y="0"/>
                </a:moveTo>
                <a:cubicBezTo>
                  <a:pt x="412680" y="-142016"/>
                  <a:pt x="2232244" y="84015"/>
                  <a:pt x="3444993" y="0"/>
                </a:cubicBezTo>
                <a:cubicBezTo>
                  <a:pt x="3535438" y="1859402"/>
                  <a:pt x="3555229" y="3273383"/>
                  <a:pt x="3444993" y="4154984"/>
                </a:cubicBezTo>
                <a:cubicBezTo>
                  <a:pt x="2879073" y="4307991"/>
                  <a:pt x="998901" y="4014497"/>
                  <a:pt x="0" y="4154984"/>
                </a:cubicBezTo>
                <a:cubicBezTo>
                  <a:pt x="154933" y="2424291"/>
                  <a:pt x="114725" y="1380529"/>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err="1"/>
          </a:p>
        </p:txBody>
      </p:sp>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5" y="379650"/>
            <a:ext cx="8061645" cy="387798"/>
          </a:xfrm>
        </p:spPr>
        <p:txBody>
          <a:bodyPr/>
          <a:lstStyle/>
          <a:p>
            <a:r>
              <a:rPr lang="de-DE" dirty="0">
                <a:solidFill>
                  <a:schemeClr val="accent5">
                    <a:lumMod val="50000"/>
                  </a:schemeClr>
                </a:solidFill>
              </a:rPr>
              <a:t>Mission Gemba – Veränderungsgeschichte TWH</a:t>
            </a:r>
          </a:p>
        </p:txBody>
      </p:sp>
      <p:pic>
        <p:nvPicPr>
          <p:cNvPr id="9" name="Inhaltsplatzhalter 8">
            <a:extLst>
              <a:ext uri="{FF2B5EF4-FFF2-40B4-BE49-F238E27FC236}">
                <a16:creationId xmlns:a16="http://schemas.microsoft.com/office/drawing/2014/main" id="{4D46CE06-4CEA-4A4C-9171-3E5D8F23A763}"/>
              </a:ext>
            </a:extLst>
          </p:cNvPr>
          <p:cNvPicPr>
            <a:picLocks noGrp="1" noChangeAspect="1"/>
          </p:cNvPicPr>
          <p:nvPr>
            <p:ph sz="quarter" idx="13"/>
          </p:nvPr>
        </p:nvPicPr>
        <p:blipFill>
          <a:blip r:embed="rId2"/>
          <a:stretch>
            <a:fillRect/>
          </a:stretch>
        </p:blipFill>
        <p:spPr>
          <a:xfrm rot="518409">
            <a:off x="1099057" y="3893761"/>
            <a:ext cx="2476734" cy="1857550"/>
          </a:xfrm>
          <a:prstGeom prst="rect">
            <a:avLst/>
          </a:prstGeom>
          <a:ln>
            <a:noFill/>
          </a:ln>
          <a:effectLst>
            <a:outerShdw blurRad="292100" dist="139700" dir="2700000" algn="tl" rotWithShape="0">
              <a:srgbClr val="333333">
                <a:alpha val="65000"/>
              </a:srgbClr>
            </a:outerShdw>
          </a:effectLst>
        </p:spPr>
      </p:pic>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79610"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2</a:t>
            </a:fld>
            <a:r>
              <a:rPr lang="de-DE"/>
              <a:t>  </a:t>
            </a:r>
            <a:r>
              <a:rPr lang="de-DE" b="0">
                <a:solidFill>
                  <a:schemeClr val="accent1"/>
                </a:solidFill>
              </a:rPr>
              <a:t>|</a:t>
            </a:r>
            <a:endParaRPr lang="de-DE" sz="900" b="0">
              <a:solidFill>
                <a:schemeClr val="accent1"/>
              </a:solidFill>
            </a:endParaRPr>
          </a:p>
        </p:txBody>
      </p:sp>
      <p:sp>
        <p:nvSpPr>
          <p:cNvPr id="10" name="Textfeld 9">
            <a:extLst>
              <a:ext uri="{FF2B5EF4-FFF2-40B4-BE49-F238E27FC236}">
                <a16:creationId xmlns:a16="http://schemas.microsoft.com/office/drawing/2014/main" id="{209C3A9F-4D14-4C24-B945-6462C5F6147F}"/>
              </a:ext>
            </a:extLst>
          </p:cNvPr>
          <p:cNvSpPr txBox="1"/>
          <p:nvPr/>
        </p:nvSpPr>
        <p:spPr>
          <a:xfrm>
            <a:off x="4136077" y="3324045"/>
            <a:ext cx="679508" cy="1015663"/>
          </a:xfrm>
          <a:prstGeom prst="rect">
            <a:avLst/>
          </a:prstGeom>
          <a:noFill/>
        </p:spPr>
        <p:txBody>
          <a:bodyPr wrap="square" lIns="0" tIns="0" rIns="0" bIns="0" rtlCol="0">
            <a:spAutoFit/>
          </a:bodyPr>
          <a:lstStyle/>
          <a:p>
            <a:pPr algn="l"/>
            <a:r>
              <a:rPr lang="de-DE" sz="6600"/>
              <a:t>+</a:t>
            </a:r>
          </a:p>
        </p:txBody>
      </p:sp>
      <p:sp>
        <p:nvSpPr>
          <p:cNvPr id="14" name="Textfeld 13">
            <a:extLst>
              <a:ext uri="{FF2B5EF4-FFF2-40B4-BE49-F238E27FC236}">
                <a16:creationId xmlns:a16="http://schemas.microsoft.com/office/drawing/2014/main" id="{8FDEABB6-17CC-407D-A748-40E17F79AC1C}"/>
              </a:ext>
            </a:extLst>
          </p:cNvPr>
          <p:cNvSpPr txBox="1"/>
          <p:nvPr/>
        </p:nvSpPr>
        <p:spPr>
          <a:xfrm>
            <a:off x="8584191" y="3324046"/>
            <a:ext cx="679508" cy="1015663"/>
          </a:xfrm>
          <a:prstGeom prst="rect">
            <a:avLst/>
          </a:prstGeom>
          <a:noFill/>
        </p:spPr>
        <p:txBody>
          <a:bodyPr wrap="square" lIns="0" tIns="0" rIns="0" bIns="0" rtlCol="0">
            <a:spAutoFit/>
          </a:bodyPr>
          <a:lstStyle/>
          <a:p>
            <a:pPr algn="l"/>
            <a:r>
              <a:rPr lang="de-DE" sz="6600"/>
              <a:t>=</a:t>
            </a:r>
          </a:p>
        </p:txBody>
      </p:sp>
      <p:sp>
        <p:nvSpPr>
          <p:cNvPr id="15" name="Textfeld 14">
            <a:extLst>
              <a:ext uri="{FF2B5EF4-FFF2-40B4-BE49-F238E27FC236}">
                <a16:creationId xmlns:a16="http://schemas.microsoft.com/office/drawing/2014/main" id="{A10ABC81-5167-4F0F-A756-047806F31B6A}"/>
              </a:ext>
            </a:extLst>
          </p:cNvPr>
          <p:cNvSpPr txBox="1"/>
          <p:nvPr/>
        </p:nvSpPr>
        <p:spPr>
          <a:xfrm>
            <a:off x="535534" y="1591384"/>
            <a:ext cx="3042536" cy="276999"/>
          </a:xfrm>
          <a:prstGeom prst="rect">
            <a:avLst/>
          </a:prstGeom>
          <a:solidFill>
            <a:schemeClr val="bg1"/>
          </a:solidFill>
        </p:spPr>
        <p:txBody>
          <a:bodyPr wrap="square" lIns="0" tIns="0" rIns="0" bIns="0" rtlCol="0" anchor="t">
            <a:spAutoFit/>
          </a:bodyPr>
          <a:lstStyle/>
          <a:p>
            <a:r>
              <a:rPr lang="de-DE" b="1" i="1" dirty="0">
                <a:solidFill>
                  <a:schemeClr val="accent3"/>
                </a:solidFill>
              </a:rPr>
              <a:t> Mission GEMBA 08.11.2022</a:t>
            </a:r>
          </a:p>
        </p:txBody>
      </p:sp>
      <p:sp>
        <p:nvSpPr>
          <p:cNvPr id="16" name="Textfeld 15">
            <a:extLst>
              <a:ext uri="{FF2B5EF4-FFF2-40B4-BE49-F238E27FC236}">
                <a16:creationId xmlns:a16="http://schemas.microsoft.com/office/drawing/2014/main" id="{52621C7B-05C8-4C87-8411-8DC1F77BF21D}"/>
              </a:ext>
            </a:extLst>
          </p:cNvPr>
          <p:cNvSpPr txBox="1"/>
          <p:nvPr/>
        </p:nvSpPr>
        <p:spPr>
          <a:xfrm>
            <a:off x="5112883" y="1597248"/>
            <a:ext cx="2730823" cy="276999"/>
          </a:xfrm>
          <a:prstGeom prst="rect">
            <a:avLst/>
          </a:prstGeom>
          <a:solidFill>
            <a:schemeClr val="bg1"/>
          </a:solidFill>
        </p:spPr>
        <p:txBody>
          <a:bodyPr wrap="square" lIns="0" tIns="0" rIns="0" bIns="0" rtlCol="0">
            <a:spAutoFit/>
          </a:bodyPr>
          <a:lstStyle/>
          <a:p>
            <a:pPr algn="l"/>
            <a:r>
              <a:rPr lang="de-DE" b="1" i="1">
                <a:solidFill>
                  <a:schemeClr val="accent3"/>
                </a:solidFill>
              </a:rPr>
              <a:t> GL Workshops Jan. 2023</a:t>
            </a:r>
          </a:p>
        </p:txBody>
      </p:sp>
      <p:pic>
        <p:nvPicPr>
          <p:cNvPr id="18" name="Grafik 17">
            <a:extLst>
              <a:ext uri="{FF2B5EF4-FFF2-40B4-BE49-F238E27FC236}">
                <a16:creationId xmlns:a16="http://schemas.microsoft.com/office/drawing/2014/main" id="{78CF2E9C-F194-4A7A-99AC-B6FBD1A08711}"/>
              </a:ext>
            </a:extLst>
          </p:cNvPr>
          <p:cNvPicPr>
            <a:picLocks noChangeAspect="1"/>
          </p:cNvPicPr>
          <p:nvPr/>
        </p:nvPicPr>
        <p:blipFill>
          <a:blip r:embed="rId3"/>
          <a:stretch>
            <a:fillRect/>
          </a:stretch>
        </p:blipFill>
        <p:spPr>
          <a:xfrm rot="21366653">
            <a:off x="691406" y="2104919"/>
            <a:ext cx="1653099" cy="1521188"/>
          </a:xfrm>
          <a:prstGeom prst="rect">
            <a:avLst/>
          </a:prstGeom>
          <a:ln>
            <a:noFill/>
          </a:ln>
          <a:effectLst>
            <a:outerShdw blurRad="292100" dist="139700" dir="2700000" algn="tl" rotWithShape="0">
              <a:srgbClr val="333333">
                <a:alpha val="65000"/>
              </a:srgbClr>
            </a:outerShdw>
          </a:effectLst>
        </p:spPr>
      </p:pic>
      <p:pic>
        <p:nvPicPr>
          <p:cNvPr id="20" name="Grafik 19">
            <a:extLst>
              <a:ext uri="{FF2B5EF4-FFF2-40B4-BE49-F238E27FC236}">
                <a16:creationId xmlns:a16="http://schemas.microsoft.com/office/drawing/2014/main" id="{3CC79869-54AE-4B51-906C-518C2D8117C7}"/>
              </a:ext>
            </a:extLst>
          </p:cNvPr>
          <p:cNvPicPr>
            <a:picLocks noChangeAspect="1"/>
          </p:cNvPicPr>
          <p:nvPr/>
        </p:nvPicPr>
        <p:blipFill>
          <a:blip r:embed="rId4"/>
          <a:stretch>
            <a:fillRect/>
          </a:stretch>
        </p:blipFill>
        <p:spPr>
          <a:xfrm rot="597122">
            <a:off x="2457050" y="2447874"/>
            <a:ext cx="1238601" cy="835280"/>
          </a:xfrm>
          <a:prstGeom prst="rect">
            <a:avLst/>
          </a:prstGeom>
          <a:ln>
            <a:noFill/>
          </a:ln>
          <a:effectLst>
            <a:outerShdw blurRad="292100" dist="139700" dir="2700000" algn="tl" rotWithShape="0">
              <a:srgbClr val="333333">
                <a:alpha val="65000"/>
              </a:srgbClr>
            </a:outerShdw>
          </a:effectLst>
        </p:spPr>
      </p:pic>
      <p:sp>
        <p:nvSpPr>
          <p:cNvPr id="25" name="Textfeld 24">
            <a:extLst>
              <a:ext uri="{FF2B5EF4-FFF2-40B4-BE49-F238E27FC236}">
                <a16:creationId xmlns:a16="http://schemas.microsoft.com/office/drawing/2014/main" id="{F5083ACF-46E8-4FAA-9234-1A65733608B1}"/>
              </a:ext>
            </a:extLst>
          </p:cNvPr>
          <p:cNvSpPr txBox="1"/>
          <p:nvPr/>
        </p:nvSpPr>
        <p:spPr>
          <a:xfrm>
            <a:off x="5585777" y="2891953"/>
            <a:ext cx="2554111" cy="984885"/>
          </a:xfrm>
          <a:prstGeom prst="rect">
            <a:avLst/>
          </a:prstGeom>
          <a:noFill/>
        </p:spPr>
        <p:txBody>
          <a:bodyPr wrap="square" lIns="0" tIns="0" rIns="0" bIns="0" rtlCol="0">
            <a:spAutoFit/>
          </a:bodyPr>
          <a:lstStyle/>
          <a:p>
            <a:pPr algn="l"/>
            <a:r>
              <a:rPr lang="de-DE" sz="1600" b="1" i="1">
                <a:solidFill>
                  <a:schemeClr val="accent3"/>
                </a:solidFill>
                <a:latin typeface="Segoe UI" panose="020B0502040204020203" pitchFamily="34" charset="0"/>
                <a:cs typeface="Arial" panose="020B0604020202020204" pitchFamily="34" charset="0"/>
              </a:rPr>
              <a:t>„Was hindert uns daran </a:t>
            </a:r>
            <a:r>
              <a:rPr lang="de-DE" sz="1600" b="1" i="1">
                <a:solidFill>
                  <a:schemeClr val="accent5"/>
                </a:solidFill>
                <a:latin typeface="Segoe UI" panose="020B0502040204020203" pitchFamily="34" charset="0"/>
                <a:cs typeface="Arial" panose="020B0604020202020204" pitchFamily="34" charset="0"/>
              </a:rPr>
              <a:t>SYNCHRO</a:t>
            </a:r>
            <a:r>
              <a:rPr lang="de-DE" sz="1600" b="1" i="1">
                <a:solidFill>
                  <a:schemeClr val="accent3"/>
                </a:solidFill>
                <a:latin typeface="Segoe UI" panose="020B0502040204020203" pitchFamily="34" charset="0"/>
                <a:cs typeface="Arial" panose="020B0604020202020204" pitchFamily="34" charset="0"/>
              </a:rPr>
              <a:t> auch in stürmischen Zeiten zu betreiben?“</a:t>
            </a:r>
          </a:p>
        </p:txBody>
      </p:sp>
      <p:pic>
        <p:nvPicPr>
          <p:cNvPr id="1026" name="Picture 2" descr="Quellbild anzeigen">
            <a:extLst>
              <a:ext uri="{FF2B5EF4-FFF2-40B4-BE49-F238E27FC236}">
                <a16:creationId xmlns:a16="http://schemas.microsoft.com/office/drawing/2014/main" id="{98C590AE-AA9F-4C37-AAD4-763CF235DFE7}"/>
              </a:ext>
            </a:extLst>
          </p:cNvPr>
          <p:cNvPicPr>
            <a:picLocks noChangeAspect="1" noChangeArrowheads="1"/>
          </p:cNvPicPr>
          <p:nvPr/>
        </p:nvPicPr>
        <p:blipFill>
          <a:blip r:embed="rId5">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803766">
            <a:off x="5110710" y="2008042"/>
            <a:ext cx="904057" cy="904057"/>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26">
            <a:extLst>
              <a:ext uri="{FF2B5EF4-FFF2-40B4-BE49-F238E27FC236}">
                <a16:creationId xmlns:a16="http://schemas.microsoft.com/office/drawing/2014/main" id="{D6D165B7-B528-445F-B264-E7F66698B6AC}"/>
              </a:ext>
            </a:extLst>
          </p:cNvPr>
          <p:cNvSpPr txBox="1"/>
          <p:nvPr/>
        </p:nvSpPr>
        <p:spPr>
          <a:xfrm>
            <a:off x="5166222" y="4402101"/>
            <a:ext cx="2554111" cy="246221"/>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indent="-285750" algn="l"/>
            <a:endParaRPr lang="de-DE" sz="1600" b="1" i="1">
              <a:solidFill>
                <a:schemeClr val="accent3"/>
              </a:solidFill>
              <a:latin typeface="Arial" panose="020B0604020202020204" pitchFamily="34" charset="0"/>
              <a:cs typeface="Arial" panose="020B0604020202020204" pitchFamily="34" charset="0"/>
            </a:endParaRPr>
          </a:p>
        </p:txBody>
      </p:sp>
      <p:sp>
        <p:nvSpPr>
          <p:cNvPr id="3" name="Textfeld 2">
            <a:extLst>
              <a:ext uri="{FF2B5EF4-FFF2-40B4-BE49-F238E27FC236}">
                <a16:creationId xmlns:a16="http://schemas.microsoft.com/office/drawing/2014/main" id="{3D966E69-AD95-445D-8D2A-AE3AAC773140}"/>
              </a:ext>
            </a:extLst>
          </p:cNvPr>
          <p:cNvSpPr txBox="1"/>
          <p:nvPr/>
        </p:nvSpPr>
        <p:spPr>
          <a:xfrm>
            <a:off x="5070532" y="4207842"/>
            <a:ext cx="3294431" cy="738664"/>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600" i="1">
                <a:solidFill>
                  <a:schemeClr val="accent6">
                    <a:lumMod val="50000"/>
                  </a:schemeClr>
                </a:solidFill>
              </a:rPr>
              <a:t>Aufteilung in 3 Gruppen</a:t>
            </a:r>
          </a:p>
          <a:p>
            <a:pPr marL="285750" indent="-285750" algn="l">
              <a:buFont typeface="Wingdings" panose="05000000000000000000" pitchFamily="2" charset="2"/>
              <a:buChar char="§"/>
            </a:pPr>
            <a:r>
              <a:rPr lang="de-DE" sz="1600" i="1">
                <a:solidFill>
                  <a:schemeClr val="accent6">
                    <a:lumMod val="50000"/>
                  </a:schemeClr>
                </a:solidFill>
              </a:rPr>
              <a:t>Termine. 24.01. &amp; 26.01. &amp; 31.01.</a:t>
            </a:r>
          </a:p>
          <a:p>
            <a:pPr marL="285750" indent="-285750" algn="l">
              <a:buFont typeface="Wingdings" panose="05000000000000000000" pitchFamily="2" charset="2"/>
              <a:buChar char="§"/>
            </a:pPr>
            <a:r>
              <a:rPr lang="de-DE" sz="1600" i="1">
                <a:solidFill>
                  <a:schemeClr val="accent6">
                    <a:lumMod val="50000"/>
                  </a:schemeClr>
                </a:solidFill>
              </a:rPr>
              <a:t>Lunch &amp; Beer Format</a:t>
            </a:r>
          </a:p>
        </p:txBody>
      </p:sp>
      <p:sp>
        <p:nvSpPr>
          <p:cNvPr id="30" name="Textfeld 29">
            <a:extLst>
              <a:ext uri="{FF2B5EF4-FFF2-40B4-BE49-F238E27FC236}">
                <a16:creationId xmlns:a16="http://schemas.microsoft.com/office/drawing/2014/main" id="{A58960B5-E836-41BE-ABCD-6A1B260D8DDA}"/>
              </a:ext>
            </a:extLst>
          </p:cNvPr>
          <p:cNvSpPr txBox="1"/>
          <p:nvPr/>
        </p:nvSpPr>
        <p:spPr>
          <a:xfrm>
            <a:off x="9847022" y="3408054"/>
            <a:ext cx="1898078" cy="1415772"/>
          </a:xfrm>
          <a:prstGeom prst="rect">
            <a:avLst/>
          </a:prstGeom>
          <a:noFill/>
        </p:spPr>
        <p:txBody>
          <a:bodyPr wrap="square" lIns="0" tIns="0" rIns="0" bIns="0" rtlCol="0">
            <a:spAutoFit/>
          </a:bodyPr>
          <a:lstStyle/>
          <a:p>
            <a:pPr algn="l"/>
            <a:r>
              <a:rPr lang="de-DE" sz="1200" b="1" i="1" dirty="0">
                <a:solidFill>
                  <a:schemeClr val="accent3">
                    <a:lumMod val="50000"/>
                  </a:schemeClr>
                </a:solidFill>
                <a:effectLst/>
                <a:latin typeface="Segoe UI" panose="020B0502040204020203" pitchFamily="34" charset="0"/>
                <a:ea typeface="Calibri" panose="020F0502020204030204" pitchFamily="34" charset="0"/>
              </a:rPr>
              <a:t>„Gehe zurück an den Ort des Geschehens [Gemba]. Die Voraussetzungen, SYNCHRO als unseren Kompass für den Weg zu neuen Gipfeln zu nutzen, sind ideal“</a:t>
            </a:r>
            <a:endParaRPr lang="de-DE" sz="1200" b="1" i="1" dirty="0">
              <a:solidFill>
                <a:schemeClr val="accent3">
                  <a:lumMod val="50000"/>
                </a:schemeClr>
              </a:solidFill>
              <a:latin typeface="Segoe UI" panose="020B0502040204020203" pitchFamily="34" charset="0"/>
              <a:cs typeface="Arial" panose="020B0604020202020204" pitchFamily="34" charset="0"/>
            </a:endParaRPr>
          </a:p>
          <a:p>
            <a:pPr algn="l"/>
            <a:endParaRPr lang="de-DE" sz="800" b="1" i="1" dirty="0">
              <a:solidFill>
                <a:schemeClr val="accent3"/>
              </a:solidFill>
              <a:latin typeface="Segoe UI" panose="020B0502040204020203" pitchFamily="34" charset="0"/>
              <a:cs typeface="Arial" panose="020B0604020202020204" pitchFamily="34" charset="0"/>
            </a:endParaRPr>
          </a:p>
        </p:txBody>
      </p:sp>
      <p:sp>
        <p:nvSpPr>
          <p:cNvPr id="31" name="Textfeld 30">
            <a:extLst>
              <a:ext uri="{FF2B5EF4-FFF2-40B4-BE49-F238E27FC236}">
                <a16:creationId xmlns:a16="http://schemas.microsoft.com/office/drawing/2014/main" id="{29EA92B9-2B34-415F-9B4C-317EE06EF0B9}"/>
              </a:ext>
            </a:extLst>
          </p:cNvPr>
          <p:cNvSpPr txBox="1"/>
          <p:nvPr/>
        </p:nvSpPr>
        <p:spPr>
          <a:xfrm>
            <a:off x="9603836" y="1600186"/>
            <a:ext cx="966292" cy="246221"/>
          </a:xfrm>
          <a:prstGeom prst="rect">
            <a:avLst/>
          </a:prstGeom>
          <a:solidFill>
            <a:schemeClr val="bg1"/>
          </a:solidFill>
        </p:spPr>
        <p:txBody>
          <a:bodyPr wrap="square" lIns="0" tIns="0" rIns="0" bIns="0" rtlCol="0">
            <a:spAutoFit/>
          </a:bodyPr>
          <a:lstStyle/>
          <a:p>
            <a:pPr algn="l"/>
            <a:r>
              <a:rPr lang="de-DE" sz="1600" b="1" i="1" dirty="0">
                <a:solidFill>
                  <a:schemeClr val="accent3"/>
                </a:solidFill>
                <a:latin typeface="Arial" panose="020B0604020202020204" pitchFamily="34" charset="0"/>
                <a:cs typeface="Arial" panose="020B0604020202020204" pitchFamily="34" charset="0"/>
              </a:rPr>
              <a:t> Ergebnis</a:t>
            </a:r>
          </a:p>
        </p:txBody>
      </p:sp>
      <mc:AlternateContent xmlns:mc="http://schemas.openxmlformats.org/markup-compatibility/2006" xmlns:p14="http://schemas.microsoft.com/office/powerpoint/2010/main">
        <mc:Choice Requires="p14">
          <p:contentPart p14:bwMode="auto" r:id="rId6">
            <p14:nvContentPartPr>
              <p14:cNvPr id="8" name="Freihand 7">
                <a:extLst>
                  <a:ext uri="{FF2B5EF4-FFF2-40B4-BE49-F238E27FC236}">
                    <a16:creationId xmlns:a16="http://schemas.microsoft.com/office/drawing/2014/main" id="{59534A59-2028-4173-A07A-D5ED9872F498}"/>
                  </a:ext>
                </a:extLst>
              </p14:cNvPr>
              <p14:cNvContentPartPr/>
              <p14:nvPr/>
            </p14:nvContentPartPr>
            <p14:xfrm>
              <a:off x="9534441" y="4657678"/>
              <a:ext cx="2210659" cy="800246"/>
            </p14:xfrm>
          </p:contentPart>
        </mc:Choice>
        <mc:Fallback xmlns="">
          <p:pic>
            <p:nvPicPr>
              <p:cNvPr id="8" name="Freihand 7">
                <a:extLst>
                  <a:ext uri="{FF2B5EF4-FFF2-40B4-BE49-F238E27FC236}">
                    <a16:creationId xmlns:a16="http://schemas.microsoft.com/office/drawing/2014/main" id="{59534A59-2028-4173-A07A-D5ED9872F498}"/>
                  </a:ext>
                </a:extLst>
              </p:cNvPr>
              <p:cNvPicPr/>
              <p:nvPr/>
            </p:nvPicPr>
            <p:blipFill>
              <a:blip r:embed="rId7"/>
              <a:stretch>
                <a:fillRect/>
              </a:stretch>
            </p:blipFill>
            <p:spPr>
              <a:xfrm>
                <a:off x="9527601" y="4650838"/>
                <a:ext cx="2223978" cy="813565"/>
              </a:xfrm>
              <a:prstGeom prst="rect">
                <a:avLst/>
              </a:prstGeom>
            </p:spPr>
          </p:pic>
        </mc:Fallback>
      </mc:AlternateContent>
      <p:sp>
        <p:nvSpPr>
          <p:cNvPr id="39" name="Textfeld 38">
            <a:extLst>
              <a:ext uri="{FF2B5EF4-FFF2-40B4-BE49-F238E27FC236}">
                <a16:creationId xmlns:a16="http://schemas.microsoft.com/office/drawing/2014/main" id="{1C25D699-E0D8-471B-B5DF-76EB52128ECC}"/>
              </a:ext>
            </a:extLst>
          </p:cNvPr>
          <p:cNvSpPr txBox="1"/>
          <p:nvPr/>
        </p:nvSpPr>
        <p:spPr>
          <a:xfrm>
            <a:off x="9572481" y="1949518"/>
            <a:ext cx="2213816" cy="1107996"/>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171450" indent="-171450" algn="l">
              <a:buFont typeface="Wingdings" panose="05000000000000000000" pitchFamily="2" charset="2"/>
              <a:buChar char="à"/>
            </a:pPr>
            <a:r>
              <a:rPr lang="de-DE" sz="1200" b="1" i="1">
                <a:solidFill>
                  <a:schemeClr val="accent6">
                    <a:lumMod val="50000"/>
                  </a:schemeClr>
                </a:solidFill>
                <a:sym typeface="Wingdings" panose="05000000000000000000" pitchFamily="2" charset="2"/>
              </a:rPr>
              <a:t>Weg zum Ziel definiert:</a:t>
            </a:r>
          </a:p>
          <a:p>
            <a:pPr algn="l">
              <a:buNone/>
            </a:pPr>
            <a:r>
              <a:rPr lang="de-DE" sz="1200" b="1" i="1">
                <a:solidFill>
                  <a:schemeClr val="accent6">
                    <a:lumMod val="50000"/>
                  </a:schemeClr>
                </a:solidFill>
                <a:sym typeface="Wingdings" panose="05000000000000000000" pitchFamily="2" charset="2"/>
              </a:rPr>
              <a:t>Konkrete Handlungs-empfehlungen erarbeitet wie man SYNCHRO auch in stürmischen Zeiten bei TWH lebt und treibt.</a:t>
            </a:r>
          </a:p>
        </p:txBody>
      </p:sp>
    </p:spTree>
    <p:extLst>
      <p:ext uri="{BB962C8B-B14F-4D97-AF65-F5344CB8AC3E}">
        <p14:creationId xmlns:p14="http://schemas.microsoft.com/office/powerpoint/2010/main" val="1612980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26"/>
                                        </p:tgtEl>
                                        <p:attrNameLst>
                                          <p:attrName>style.visibility</p:attrName>
                                        </p:attrNameLst>
                                      </p:cBhvr>
                                      <p:to>
                                        <p:strVal val="visible"/>
                                      </p:to>
                                    </p:set>
                                  </p:childTnLst>
                                </p:cTn>
                              </p:par>
                              <p:par>
                                <p:cTn id="27" presetID="1" presetClass="entr" presetSubtype="0" fill="hold" grpId="0" nodeType="withEffect" nodePh="1">
                                  <p:stCondLst>
                                    <p:cond delay="0"/>
                                  </p:stCondLst>
                                  <p:endCondLst>
                                    <p:cond evt="begin" delay="0">
                                      <p:tn val="27"/>
                                    </p:cond>
                                  </p:endCondLst>
                                  <p:childTnLst>
                                    <p:set>
                                      <p:cBhvr>
                                        <p:cTn id="28" dur="1" fill="hold">
                                          <p:stCondLst>
                                            <p:cond delay="0"/>
                                          </p:stCondLst>
                                        </p:cTn>
                                        <p:tgtEl>
                                          <p:spTgt spid="2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2" grpId="0" animBg="1"/>
      <p:bldP spid="11" grpId="0" animBg="1"/>
      <p:bldP spid="10" grpId="0"/>
      <p:bldP spid="14" grpId="0"/>
      <p:bldP spid="15" grpId="0" animBg="1"/>
      <p:bldP spid="16" grpId="0" animBg="1"/>
      <p:bldP spid="25" grpId="0"/>
      <p:bldP spid="27" grpId="0"/>
      <p:bldP spid="3" grpId="0"/>
      <p:bldP spid="30" grpId="0"/>
      <p:bldP spid="31" grpId="0" animBg="1"/>
      <p:bldP spid="3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5" y="379650"/>
            <a:ext cx="8566470" cy="387798"/>
          </a:xfrm>
        </p:spPr>
        <p:txBody>
          <a:bodyPr/>
          <a:lstStyle/>
          <a:p>
            <a:r>
              <a:rPr lang="de-DE" dirty="0">
                <a:solidFill>
                  <a:schemeClr val="accent5">
                    <a:lumMod val="50000"/>
                  </a:schemeClr>
                </a:solidFill>
                <a:cs typeface="Arial"/>
              </a:rPr>
              <a:t>Mission </a:t>
            </a:r>
            <a:r>
              <a:rPr lang="de-DE" dirty="0" err="1">
                <a:solidFill>
                  <a:schemeClr val="accent5">
                    <a:lumMod val="50000"/>
                  </a:schemeClr>
                </a:solidFill>
                <a:cs typeface="Arial"/>
              </a:rPr>
              <a:t>Gemba</a:t>
            </a:r>
            <a:r>
              <a:rPr lang="de-DE" dirty="0">
                <a:solidFill>
                  <a:schemeClr val="accent5">
                    <a:lumMod val="50000"/>
                  </a:schemeClr>
                </a:solidFill>
                <a:cs typeface="Arial"/>
              </a:rPr>
              <a:t> bei TWH - Ergebnisse</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61854"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3</a:t>
            </a:fld>
            <a:r>
              <a:rPr lang="de-DE"/>
              <a:t>  </a:t>
            </a:r>
            <a:r>
              <a:rPr lang="de-DE" b="0">
                <a:solidFill>
                  <a:schemeClr val="accent1"/>
                </a:solidFill>
              </a:rPr>
              <a:t>|</a:t>
            </a:r>
            <a:endParaRPr lang="de-DE" sz="900" b="0">
              <a:solidFill>
                <a:schemeClr val="accent1"/>
              </a:solidFill>
            </a:endParaRPr>
          </a:p>
        </p:txBody>
      </p:sp>
      <p:pic>
        <p:nvPicPr>
          <p:cNvPr id="19" name="Grafik 18">
            <a:extLst>
              <a:ext uri="{FF2B5EF4-FFF2-40B4-BE49-F238E27FC236}">
                <a16:creationId xmlns:a16="http://schemas.microsoft.com/office/drawing/2014/main" id="{83B339E0-CDD3-9BF4-88F9-A2B592BFB619}"/>
              </a:ext>
            </a:extLst>
          </p:cNvPr>
          <p:cNvPicPr>
            <a:picLocks noChangeAspect="1"/>
          </p:cNvPicPr>
          <p:nvPr/>
        </p:nvPicPr>
        <p:blipFill>
          <a:blip r:embed="rId3"/>
          <a:stretch>
            <a:fillRect/>
          </a:stretch>
        </p:blipFill>
        <p:spPr>
          <a:xfrm>
            <a:off x="8788460" y="61312"/>
            <a:ext cx="1282580" cy="1471270"/>
          </a:xfrm>
          <a:prstGeom prst="rect">
            <a:avLst/>
          </a:prstGeom>
        </p:spPr>
      </p:pic>
      <p:pic>
        <p:nvPicPr>
          <p:cNvPr id="22" name="Grafik 21">
            <a:extLst>
              <a:ext uri="{FF2B5EF4-FFF2-40B4-BE49-F238E27FC236}">
                <a16:creationId xmlns:a16="http://schemas.microsoft.com/office/drawing/2014/main" id="{B3FECB9F-9160-83E3-2475-CA40BE118A54}"/>
              </a:ext>
            </a:extLst>
          </p:cNvPr>
          <p:cNvPicPr>
            <a:picLocks noChangeAspect="1"/>
          </p:cNvPicPr>
          <p:nvPr/>
        </p:nvPicPr>
        <p:blipFill>
          <a:blip r:embed="rId4"/>
          <a:stretch>
            <a:fillRect/>
          </a:stretch>
        </p:blipFill>
        <p:spPr>
          <a:xfrm>
            <a:off x="10696683" y="79192"/>
            <a:ext cx="1398859" cy="1494507"/>
          </a:xfrm>
          <a:prstGeom prst="rect">
            <a:avLst/>
          </a:prstGeom>
        </p:spPr>
      </p:pic>
      <p:sp>
        <p:nvSpPr>
          <p:cNvPr id="24" name="Textfeld 23">
            <a:extLst>
              <a:ext uri="{FF2B5EF4-FFF2-40B4-BE49-F238E27FC236}">
                <a16:creationId xmlns:a16="http://schemas.microsoft.com/office/drawing/2014/main" id="{029F55C7-55AF-B186-DF1B-DBBAAB186299}"/>
              </a:ext>
            </a:extLst>
          </p:cNvPr>
          <p:cNvSpPr txBox="1"/>
          <p:nvPr/>
        </p:nvSpPr>
        <p:spPr>
          <a:xfrm>
            <a:off x="10161080" y="427615"/>
            <a:ext cx="679508" cy="738664"/>
          </a:xfrm>
          <a:prstGeom prst="rect">
            <a:avLst/>
          </a:prstGeom>
          <a:noFill/>
        </p:spPr>
        <p:txBody>
          <a:bodyPr wrap="square" lIns="0" tIns="0" rIns="0" bIns="0" rtlCol="0">
            <a:spAutoFit/>
          </a:bodyPr>
          <a:lstStyle/>
          <a:p>
            <a:pPr algn="l"/>
            <a:r>
              <a:rPr lang="de-DE" sz="4800"/>
              <a:t>+</a:t>
            </a:r>
          </a:p>
        </p:txBody>
      </p:sp>
      <p:sp>
        <p:nvSpPr>
          <p:cNvPr id="29" name="Textfeld 28">
            <a:extLst>
              <a:ext uri="{FF2B5EF4-FFF2-40B4-BE49-F238E27FC236}">
                <a16:creationId xmlns:a16="http://schemas.microsoft.com/office/drawing/2014/main" id="{A16B58E7-48BC-4D3D-5097-CE94D10FF577}"/>
              </a:ext>
            </a:extLst>
          </p:cNvPr>
          <p:cNvSpPr txBox="1"/>
          <p:nvPr/>
        </p:nvSpPr>
        <p:spPr>
          <a:xfrm>
            <a:off x="1738830" y="3259241"/>
            <a:ext cx="679508" cy="738664"/>
          </a:xfrm>
          <a:prstGeom prst="rect">
            <a:avLst/>
          </a:prstGeom>
          <a:noFill/>
        </p:spPr>
        <p:txBody>
          <a:bodyPr wrap="square" lIns="0" tIns="0" rIns="0" bIns="0" rtlCol="0">
            <a:spAutoFit/>
          </a:bodyPr>
          <a:lstStyle/>
          <a:p>
            <a:pPr algn="l"/>
            <a:r>
              <a:rPr lang="de-DE" sz="4800"/>
              <a:t>=</a:t>
            </a:r>
          </a:p>
        </p:txBody>
      </p:sp>
      <p:sp>
        <p:nvSpPr>
          <p:cNvPr id="33" name="Textfeld 32">
            <a:extLst>
              <a:ext uri="{FF2B5EF4-FFF2-40B4-BE49-F238E27FC236}">
                <a16:creationId xmlns:a16="http://schemas.microsoft.com/office/drawing/2014/main" id="{BC9754C7-238A-8FB8-1377-4366B4F829AB}"/>
              </a:ext>
            </a:extLst>
          </p:cNvPr>
          <p:cNvSpPr txBox="1"/>
          <p:nvPr/>
        </p:nvSpPr>
        <p:spPr>
          <a:xfrm>
            <a:off x="2566977" y="2417242"/>
            <a:ext cx="2294833" cy="553998"/>
          </a:xfrm>
          <a:prstGeom prst="rect">
            <a:avLst/>
          </a:prstGeom>
          <a:noFill/>
        </p:spPr>
        <p:txBody>
          <a:bodyPr wrap="square" lIns="0" tIns="0" rIns="0" bIns="0" rtlCol="0">
            <a:spAutoFit/>
          </a:bodyPr>
          <a:lstStyle/>
          <a:p>
            <a:pPr algn="l"/>
            <a:r>
              <a:rPr lang="de-DE" b="1" i="1"/>
              <a:t>H1: Mindset, Lernen &amp; Kommunikation</a:t>
            </a:r>
          </a:p>
        </p:txBody>
      </p:sp>
      <p:pic>
        <p:nvPicPr>
          <p:cNvPr id="44" name="Grafik 43">
            <a:extLst>
              <a:ext uri="{FF2B5EF4-FFF2-40B4-BE49-F238E27FC236}">
                <a16:creationId xmlns:a16="http://schemas.microsoft.com/office/drawing/2014/main" id="{25C2E8DF-FF16-8B5C-28B2-362352D66E87}"/>
              </a:ext>
            </a:extLst>
          </p:cNvPr>
          <p:cNvPicPr>
            <a:picLocks noChangeAspect="1"/>
          </p:cNvPicPr>
          <p:nvPr/>
        </p:nvPicPr>
        <p:blipFill>
          <a:blip r:embed="rId5">
            <a:duotone>
              <a:schemeClr val="accent3">
                <a:shade val="45000"/>
                <a:satMod val="135000"/>
              </a:schemeClr>
              <a:prstClr val="white"/>
            </a:duotone>
          </a:blip>
          <a:stretch>
            <a:fillRect/>
          </a:stretch>
        </p:blipFill>
        <p:spPr>
          <a:xfrm>
            <a:off x="9079781" y="3288053"/>
            <a:ext cx="590583" cy="553998"/>
          </a:xfrm>
          <a:prstGeom prst="rect">
            <a:avLst/>
          </a:prstGeom>
        </p:spPr>
      </p:pic>
      <p:pic>
        <p:nvPicPr>
          <p:cNvPr id="45" name="Grafik 44">
            <a:extLst>
              <a:ext uri="{FF2B5EF4-FFF2-40B4-BE49-F238E27FC236}">
                <a16:creationId xmlns:a16="http://schemas.microsoft.com/office/drawing/2014/main" id="{361398A7-5AE4-1F78-FC86-E83A52E42AF4}"/>
              </a:ext>
            </a:extLst>
          </p:cNvPr>
          <p:cNvPicPr>
            <a:picLocks noChangeAspect="1"/>
          </p:cNvPicPr>
          <p:nvPr/>
        </p:nvPicPr>
        <p:blipFill>
          <a:blip r:embed="rId6">
            <a:duotone>
              <a:schemeClr val="accent3">
                <a:shade val="45000"/>
                <a:satMod val="135000"/>
              </a:schemeClr>
              <a:prstClr val="white"/>
            </a:duotone>
          </a:blip>
          <a:stretch>
            <a:fillRect/>
          </a:stretch>
        </p:blipFill>
        <p:spPr>
          <a:xfrm>
            <a:off x="8538887" y="2747227"/>
            <a:ext cx="581046" cy="761371"/>
          </a:xfrm>
          <a:prstGeom prst="rect">
            <a:avLst/>
          </a:prstGeom>
        </p:spPr>
      </p:pic>
      <p:pic>
        <p:nvPicPr>
          <p:cNvPr id="47" name="Grafik 46">
            <a:extLst>
              <a:ext uri="{FF2B5EF4-FFF2-40B4-BE49-F238E27FC236}">
                <a16:creationId xmlns:a16="http://schemas.microsoft.com/office/drawing/2014/main" id="{0BD47666-1E4D-F064-4C74-FB2680EE1257}"/>
              </a:ext>
            </a:extLst>
          </p:cNvPr>
          <p:cNvPicPr>
            <a:picLocks noChangeAspect="1"/>
          </p:cNvPicPr>
          <p:nvPr/>
        </p:nvPicPr>
        <p:blipFill>
          <a:blip r:embed="rId7">
            <a:duotone>
              <a:schemeClr val="accent3">
                <a:shade val="45000"/>
                <a:satMod val="135000"/>
              </a:schemeClr>
              <a:prstClr val="white"/>
            </a:duotone>
          </a:blip>
          <a:stretch>
            <a:fillRect/>
          </a:stretch>
        </p:blipFill>
        <p:spPr>
          <a:xfrm>
            <a:off x="4889447" y="2100025"/>
            <a:ext cx="596231" cy="553998"/>
          </a:xfrm>
          <a:prstGeom prst="rect">
            <a:avLst/>
          </a:prstGeom>
        </p:spPr>
      </p:pic>
      <p:pic>
        <p:nvPicPr>
          <p:cNvPr id="49" name="Grafik 48">
            <a:extLst>
              <a:ext uri="{FF2B5EF4-FFF2-40B4-BE49-F238E27FC236}">
                <a16:creationId xmlns:a16="http://schemas.microsoft.com/office/drawing/2014/main" id="{4249FC28-F430-F07A-3833-A737B4AD4B8D}"/>
              </a:ext>
            </a:extLst>
          </p:cNvPr>
          <p:cNvPicPr>
            <a:picLocks noChangeAspect="1"/>
          </p:cNvPicPr>
          <p:nvPr/>
        </p:nvPicPr>
        <p:blipFill>
          <a:blip r:embed="rId8">
            <a:duotone>
              <a:schemeClr val="accent3">
                <a:shade val="45000"/>
                <a:satMod val="135000"/>
              </a:schemeClr>
              <a:prstClr val="white"/>
            </a:duotone>
          </a:blip>
          <a:stretch>
            <a:fillRect/>
          </a:stretch>
        </p:blipFill>
        <p:spPr>
          <a:xfrm>
            <a:off x="5284037" y="2645109"/>
            <a:ext cx="523737" cy="553998"/>
          </a:xfrm>
          <a:prstGeom prst="rect">
            <a:avLst/>
          </a:prstGeom>
        </p:spPr>
      </p:pic>
      <p:sp>
        <p:nvSpPr>
          <p:cNvPr id="3" name="Rechteck 2">
            <a:extLst>
              <a:ext uri="{FF2B5EF4-FFF2-40B4-BE49-F238E27FC236}">
                <a16:creationId xmlns:a16="http://schemas.microsoft.com/office/drawing/2014/main" id="{91C9AB35-7155-755C-4030-32BE88E3DD3E}"/>
              </a:ext>
            </a:extLst>
          </p:cNvPr>
          <p:cNvSpPr/>
          <p:nvPr/>
        </p:nvSpPr>
        <p:spPr>
          <a:xfrm>
            <a:off x="2376099" y="1983266"/>
            <a:ext cx="3431675" cy="1303571"/>
          </a:xfrm>
          <a:custGeom>
            <a:avLst/>
            <a:gdLst>
              <a:gd name="connsiteX0" fmla="*/ 0 w 3431675"/>
              <a:gd name="connsiteY0" fmla="*/ 0 h 1303571"/>
              <a:gd name="connsiteX1" fmla="*/ 3431675 w 3431675"/>
              <a:gd name="connsiteY1" fmla="*/ 0 h 1303571"/>
              <a:gd name="connsiteX2" fmla="*/ 3431675 w 3431675"/>
              <a:gd name="connsiteY2" fmla="*/ 1303571 h 1303571"/>
              <a:gd name="connsiteX3" fmla="*/ 0 w 3431675"/>
              <a:gd name="connsiteY3" fmla="*/ 1303571 h 1303571"/>
              <a:gd name="connsiteX4" fmla="*/ 0 w 3431675"/>
              <a:gd name="connsiteY4" fmla="*/ 0 h 130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1675" h="1303571" extrusionOk="0">
                <a:moveTo>
                  <a:pt x="0" y="0"/>
                </a:moveTo>
                <a:cubicBezTo>
                  <a:pt x="559156" y="-5264"/>
                  <a:pt x="1934846" y="84467"/>
                  <a:pt x="3431675" y="0"/>
                </a:cubicBezTo>
                <a:cubicBezTo>
                  <a:pt x="3502789" y="202675"/>
                  <a:pt x="3538372" y="991585"/>
                  <a:pt x="3431675" y="1303571"/>
                </a:cubicBezTo>
                <a:cubicBezTo>
                  <a:pt x="2128137" y="1409891"/>
                  <a:pt x="1557087" y="1295922"/>
                  <a:pt x="0" y="1303571"/>
                </a:cubicBezTo>
                <a:cubicBezTo>
                  <a:pt x="80335" y="853671"/>
                  <a:pt x="96079" y="635946"/>
                  <a:pt x="0" y="0"/>
                </a:cubicBezTo>
                <a:close/>
              </a:path>
            </a:pathLst>
          </a:custGeom>
          <a:noFill/>
          <a:ln w="28575">
            <a:solidFill>
              <a:schemeClr val="accent5"/>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4" name="Textfeld 3">
            <a:extLst>
              <a:ext uri="{FF2B5EF4-FFF2-40B4-BE49-F238E27FC236}">
                <a16:creationId xmlns:a16="http://schemas.microsoft.com/office/drawing/2014/main" id="{ECF4D732-9E11-3D84-A7FA-76497F9F2352}"/>
              </a:ext>
            </a:extLst>
          </p:cNvPr>
          <p:cNvSpPr txBox="1"/>
          <p:nvPr/>
        </p:nvSpPr>
        <p:spPr>
          <a:xfrm>
            <a:off x="3789029" y="4617853"/>
            <a:ext cx="1800693" cy="830997"/>
          </a:xfrm>
          <a:prstGeom prst="rect">
            <a:avLst/>
          </a:prstGeom>
          <a:noFill/>
        </p:spPr>
        <p:txBody>
          <a:bodyPr wrap="square" lIns="0" tIns="0" rIns="0" bIns="0" rtlCol="0">
            <a:spAutoFit/>
          </a:bodyPr>
          <a:lstStyle/>
          <a:p>
            <a:pPr algn="l"/>
            <a:r>
              <a:rPr lang="de-DE" b="1" i="1"/>
              <a:t>H3: Routine, Rhythmus &amp; Nachhaltigkeit</a:t>
            </a:r>
          </a:p>
        </p:txBody>
      </p:sp>
      <p:sp>
        <p:nvSpPr>
          <p:cNvPr id="8" name="Rechteck 7">
            <a:extLst>
              <a:ext uri="{FF2B5EF4-FFF2-40B4-BE49-F238E27FC236}">
                <a16:creationId xmlns:a16="http://schemas.microsoft.com/office/drawing/2014/main" id="{1CC9E619-3053-A70E-1580-EB38F557A36E}"/>
              </a:ext>
            </a:extLst>
          </p:cNvPr>
          <p:cNvSpPr/>
          <p:nvPr/>
        </p:nvSpPr>
        <p:spPr>
          <a:xfrm>
            <a:off x="3486140" y="4294138"/>
            <a:ext cx="3581299" cy="1303571"/>
          </a:xfrm>
          <a:custGeom>
            <a:avLst/>
            <a:gdLst>
              <a:gd name="connsiteX0" fmla="*/ 0 w 3581299"/>
              <a:gd name="connsiteY0" fmla="*/ 0 h 1303571"/>
              <a:gd name="connsiteX1" fmla="*/ 3581299 w 3581299"/>
              <a:gd name="connsiteY1" fmla="*/ 0 h 1303571"/>
              <a:gd name="connsiteX2" fmla="*/ 3581299 w 3581299"/>
              <a:gd name="connsiteY2" fmla="*/ 1303571 h 1303571"/>
              <a:gd name="connsiteX3" fmla="*/ 0 w 3581299"/>
              <a:gd name="connsiteY3" fmla="*/ 1303571 h 1303571"/>
              <a:gd name="connsiteX4" fmla="*/ 0 w 3581299"/>
              <a:gd name="connsiteY4" fmla="*/ 0 h 130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299" h="1303571" extrusionOk="0">
                <a:moveTo>
                  <a:pt x="0" y="0"/>
                </a:moveTo>
                <a:cubicBezTo>
                  <a:pt x="1458185" y="-5264"/>
                  <a:pt x="3094161" y="84467"/>
                  <a:pt x="3581299" y="0"/>
                </a:cubicBezTo>
                <a:cubicBezTo>
                  <a:pt x="3652413" y="202675"/>
                  <a:pt x="3687996" y="991585"/>
                  <a:pt x="3581299" y="1303571"/>
                </a:cubicBezTo>
                <a:cubicBezTo>
                  <a:pt x="2741595" y="1409891"/>
                  <a:pt x="1016385" y="1295922"/>
                  <a:pt x="0" y="1303571"/>
                </a:cubicBezTo>
                <a:cubicBezTo>
                  <a:pt x="80335" y="853671"/>
                  <a:pt x="96079" y="635946"/>
                  <a:pt x="0" y="0"/>
                </a:cubicBezTo>
                <a:close/>
              </a:path>
            </a:pathLst>
          </a:custGeom>
          <a:noFill/>
          <a:ln w="28575">
            <a:solidFill>
              <a:schemeClr val="accent5"/>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pic>
        <p:nvPicPr>
          <p:cNvPr id="9" name="Grafik 8">
            <a:extLst>
              <a:ext uri="{FF2B5EF4-FFF2-40B4-BE49-F238E27FC236}">
                <a16:creationId xmlns:a16="http://schemas.microsoft.com/office/drawing/2014/main" id="{F889C497-D5F6-6DE6-9CA0-BDCD85E2A615}"/>
              </a:ext>
            </a:extLst>
          </p:cNvPr>
          <p:cNvPicPr>
            <a:picLocks noChangeAspect="1"/>
          </p:cNvPicPr>
          <p:nvPr/>
        </p:nvPicPr>
        <p:blipFill>
          <a:blip r:embed="rId9">
            <a:duotone>
              <a:schemeClr val="accent3">
                <a:shade val="45000"/>
                <a:satMod val="135000"/>
              </a:schemeClr>
              <a:prstClr val="white"/>
            </a:duotone>
          </a:blip>
          <a:stretch>
            <a:fillRect/>
          </a:stretch>
        </p:blipFill>
        <p:spPr>
          <a:xfrm>
            <a:off x="5844629" y="4786580"/>
            <a:ext cx="598664" cy="710180"/>
          </a:xfrm>
          <a:prstGeom prst="rect">
            <a:avLst/>
          </a:prstGeom>
        </p:spPr>
      </p:pic>
      <p:pic>
        <p:nvPicPr>
          <p:cNvPr id="10" name="Grafik 9">
            <a:extLst>
              <a:ext uri="{FF2B5EF4-FFF2-40B4-BE49-F238E27FC236}">
                <a16:creationId xmlns:a16="http://schemas.microsoft.com/office/drawing/2014/main" id="{F52861D1-46C1-C7A9-088F-ACA888F91BFF}"/>
              </a:ext>
            </a:extLst>
          </p:cNvPr>
          <p:cNvPicPr>
            <a:picLocks noChangeAspect="1"/>
          </p:cNvPicPr>
          <p:nvPr/>
        </p:nvPicPr>
        <p:blipFill>
          <a:blip r:embed="rId10">
            <a:duotone>
              <a:schemeClr val="accent3">
                <a:shade val="45000"/>
                <a:satMod val="135000"/>
              </a:schemeClr>
              <a:prstClr val="white"/>
            </a:duotone>
          </a:blip>
          <a:stretch>
            <a:fillRect/>
          </a:stretch>
        </p:blipFill>
        <p:spPr>
          <a:xfrm>
            <a:off x="6516180" y="4437665"/>
            <a:ext cx="506242" cy="807976"/>
          </a:xfrm>
          <a:prstGeom prst="rect">
            <a:avLst/>
          </a:prstGeom>
        </p:spPr>
      </p:pic>
      <p:sp>
        <p:nvSpPr>
          <p:cNvPr id="11" name="Textfeld 10">
            <a:extLst>
              <a:ext uri="{FF2B5EF4-FFF2-40B4-BE49-F238E27FC236}">
                <a16:creationId xmlns:a16="http://schemas.microsoft.com/office/drawing/2014/main" id="{7A28E8F6-BEFA-B377-3A44-E6C683DED0AC}"/>
              </a:ext>
            </a:extLst>
          </p:cNvPr>
          <p:cNvSpPr txBox="1"/>
          <p:nvPr/>
        </p:nvSpPr>
        <p:spPr>
          <a:xfrm>
            <a:off x="6508335" y="2917457"/>
            <a:ext cx="2375311" cy="830997"/>
          </a:xfrm>
          <a:prstGeom prst="rect">
            <a:avLst/>
          </a:prstGeom>
          <a:noFill/>
        </p:spPr>
        <p:txBody>
          <a:bodyPr wrap="square" lIns="0" tIns="0" rIns="0" bIns="0" rtlCol="0">
            <a:spAutoFit/>
          </a:bodyPr>
          <a:lstStyle/>
          <a:p>
            <a:pPr algn="l"/>
            <a:r>
              <a:rPr lang="de-DE" b="1" i="1"/>
              <a:t>H2: Impuls, Fokussierung  &amp; Transparenz</a:t>
            </a:r>
          </a:p>
        </p:txBody>
      </p:sp>
      <p:sp>
        <p:nvSpPr>
          <p:cNvPr id="12" name="Rechteck 11">
            <a:extLst>
              <a:ext uri="{FF2B5EF4-FFF2-40B4-BE49-F238E27FC236}">
                <a16:creationId xmlns:a16="http://schemas.microsoft.com/office/drawing/2014/main" id="{9177E799-B649-806F-5FC2-BB569A878F35}"/>
              </a:ext>
            </a:extLst>
          </p:cNvPr>
          <p:cNvSpPr/>
          <p:nvPr/>
        </p:nvSpPr>
        <p:spPr>
          <a:xfrm>
            <a:off x="6214787" y="2620253"/>
            <a:ext cx="3581299" cy="1303571"/>
          </a:xfrm>
          <a:custGeom>
            <a:avLst/>
            <a:gdLst>
              <a:gd name="connsiteX0" fmla="*/ 0 w 3581299"/>
              <a:gd name="connsiteY0" fmla="*/ 0 h 1303571"/>
              <a:gd name="connsiteX1" fmla="*/ 3581299 w 3581299"/>
              <a:gd name="connsiteY1" fmla="*/ 0 h 1303571"/>
              <a:gd name="connsiteX2" fmla="*/ 3581299 w 3581299"/>
              <a:gd name="connsiteY2" fmla="*/ 1303571 h 1303571"/>
              <a:gd name="connsiteX3" fmla="*/ 0 w 3581299"/>
              <a:gd name="connsiteY3" fmla="*/ 1303571 h 1303571"/>
              <a:gd name="connsiteX4" fmla="*/ 0 w 3581299"/>
              <a:gd name="connsiteY4" fmla="*/ 0 h 1303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1299" h="1303571" extrusionOk="0">
                <a:moveTo>
                  <a:pt x="0" y="0"/>
                </a:moveTo>
                <a:cubicBezTo>
                  <a:pt x="1458185" y="-5264"/>
                  <a:pt x="3094161" y="84467"/>
                  <a:pt x="3581299" y="0"/>
                </a:cubicBezTo>
                <a:cubicBezTo>
                  <a:pt x="3652413" y="202675"/>
                  <a:pt x="3687996" y="991585"/>
                  <a:pt x="3581299" y="1303571"/>
                </a:cubicBezTo>
                <a:cubicBezTo>
                  <a:pt x="2741595" y="1409891"/>
                  <a:pt x="1016385" y="1295922"/>
                  <a:pt x="0" y="1303571"/>
                </a:cubicBezTo>
                <a:cubicBezTo>
                  <a:pt x="80335" y="853671"/>
                  <a:pt x="96079" y="635946"/>
                  <a:pt x="0" y="0"/>
                </a:cubicBezTo>
                <a:close/>
              </a:path>
            </a:pathLst>
          </a:custGeom>
          <a:noFill/>
          <a:ln w="28575">
            <a:solidFill>
              <a:schemeClr val="accent5"/>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16" name="Titel 1">
            <a:extLst>
              <a:ext uri="{FF2B5EF4-FFF2-40B4-BE49-F238E27FC236}">
                <a16:creationId xmlns:a16="http://schemas.microsoft.com/office/drawing/2014/main" id="{4573F1F2-4C82-037F-B78E-1CC6212DE4FC}"/>
              </a:ext>
            </a:extLst>
          </p:cNvPr>
          <p:cNvSpPr txBox="1">
            <a:spLocks/>
          </p:cNvSpPr>
          <p:nvPr/>
        </p:nvSpPr>
        <p:spPr>
          <a:xfrm>
            <a:off x="377505" y="832251"/>
            <a:ext cx="8120012" cy="805971"/>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800" b="0" dirty="0">
                <a:solidFill>
                  <a:schemeClr val="accent5">
                    <a:lumMod val="50000"/>
                  </a:schemeClr>
                </a:solidFill>
              </a:rPr>
              <a:t>Basierend aus Mission Gemba 08.11. sowie den GL Workshops im Jan 2023 ergeben sich 3 strategische Projektinitiativen an denen wir Arbeiten wollen:</a:t>
            </a:r>
          </a:p>
        </p:txBody>
      </p:sp>
    </p:spTree>
    <p:extLst>
      <p:ext uri="{BB962C8B-B14F-4D97-AF65-F5344CB8AC3E}">
        <p14:creationId xmlns:p14="http://schemas.microsoft.com/office/powerpoint/2010/main" val="10555286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9425588" cy="387798"/>
          </a:xfrm>
        </p:spPr>
        <p:txBody>
          <a:bodyPr/>
          <a:lstStyle/>
          <a:p>
            <a:r>
              <a:rPr lang="de-DE" dirty="0">
                <a:solidFill>
                  <a:schemeClr val="accent5">
                    <a:lumMod val="50000"/>
                  </a:schemeClr>
                </a:solidFill>
                <a:cs typeface="Arial"/>
              </a:rPr>
              <a:t>#Mission </a:t>
            </a:r>
            <a:r>
              <a:rPr lang="de-DE" dirty="0" err="1">
                <a:solidFill>
                  <a:schemeClr val="accent5">
                    <a:lumMod val="50000"/>
                  </a:schemeClr>
                </a:solidFill>
                <a:cs typeface="Arial"/>
              </a:rPr>
              <a:t>Gemba</a:t>
            </a:r>
            <a:r>
              <a:rPr lang="de-DE" dirty="0">
                <a:solidFill>
                  <a:schemeClr val="accent5">
                    <a:lumMod val="50000"/>
                  </a:schemeClr>
                </a:solidFill>
                <a:cs typeface="Arial"/>
              </a:rPr>
              <a:t> bei TWH - Konkrete Praxisbeispiele (1)</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93861"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4</a:t>
            </a:fld>
            <a:r>
              <a:rPr lang="de-DE"/>
              <a:t>  </a:t>
            </a:r>
            <a:r>
              <a:rPr lang="de-DE" b="0">
                <a:solidFill>
                  <a:schemeClr val="accent1"/>
                </a:solidFill>
              </a:rPr>
              <a:t>|</a:t>
            </a:r>
            <a:endParaRPr lang="de-DE" sz="900" b="0">
              <a:solidFill>
                <a:schemeClr val="accent1"/>
              </a:solidFill>
            </a:endParaRPr>
          </a:p>
        </p:txBody>
      </p:sp>
      <p:sp>
        <p:nvSpPr>
          <p:cNvPr id="16" name="Titel 1">
            <a:extLst>
              <a:ext uri="{FF2B5EF4-FFF2-40B4-BE49-F238E27FC236}">
                <a16:creationId xmlns:a16="http://schemas.microsoft.com/office/drawing/2014/main" id="{4573F1F2-4C82-037F-B78E-1CC6212DE4FC}"/>
              </a:ext>
            </a:extLst>
          </p:cNvPr>
          <p:cNvSpPr txBox="1">
            <a:spLocks/>
          </p:cNvSpPr>
          <p:nvPr/>
        </p:nvSpPr>
        <p:spPr>
          <a:xfrm>
            <a:off x="377505" y="832251"/>
            <a:ext cx="8120012" cy="805971"/>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endParaRPr lang="de-DE" sz="1800" b="0" dirty="0">
              <a:solidFill>
                <a:schemeClr val="accent5">
                  <a:lumMod val="50000"/>
                </a:schemeClr>
              </a:solidFill>
            </a:endParaRPr>
          </a:p>
        </p:txBody>
      </p:sp>
      <p:sp>
        <p:nvSpPr>
          <p:cNvPr id="8" name="Titel 1">
            <a:extLst>
              <a:ext uri="{FF2B5EF4-FFF2-40B4-BE49-F238E27FC236}">
                <a16:creationId xmlns:a16="http://schemas.microsoft.com/office/drawing/2014/main" id="{9F78A8D4-BB13-DDCE-9659-8D1BE04FECD5}"/>
              </a:ext>
            </a:extLst>
          </p:cNvPr>
          <p:cNvSpPr txBox="1">
            <a:spLocks/>
          </p:cNvSpPr>
          <p:nvPr/>
        </p:nvSpPr>
        <p:spPr>
          <a:xfrm>
            <a:off x="377505" y="807225"/>
            <a:ext cx="8120012" cy="274654"/>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800" b="0" dirty="0">
                <a:solidFill>
                  <a:schemeClr val="accent5">
                    <a:lumMod val="50000"/>
                  </a:schemeClr>
                </a:solidFill>
              </a:rPr>
              <a:t>Innovatives, Erlebbares, Schulungskonzept</a:t>
            </a:r>
          </a:p>
        </p:txBody>
      </p:sp>
      <p:pic>
        <p:nvPicPr>
          <p:cNvPr id="3" name="Picture 2" descr="Quellbild anzeigen">
            <a:extLst>
              <a:ext uri="{FF2B5EF4-FFF2-40B4-BE49-F238E27FC236}">
                <a16:creationId xmlns:a16="http://schemas.microsoft.com/office/drawing/2014/main" id="{B37AB0FD-2989-C415-06E1-A8F27CB01E77}"/>
              </a:ext>
            </a:extLst>
          </p:cNvPr>
          <p:cNvPicPr>
            <a:picLocks noChangeAspect="1" noChangeArrowheads="1"/>
          </p:cNvPicPr>
          <p:nvPr/>
        </p:nvPicPr>
        <p:blipFill>
          <a:blip r:embed="rId17">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1156206">
            <a:off x="1283758" y="1538441"/>
            <a:ext cx="1409731" cy="1409731"/>
          </a:xfrm>
          <a:prstGeom prst="rect">
            <a:avLst/>
          </a:prstGeom>
          <a:noFill/>
          <a:extLst>
            <a:ext uri="{909E8E84-426E-40DD-AFC4-6F175D3DCCD1}">
              <a14:hiddenFill xmlns:a14="http://schemas.microsoft.com/office/drawing/2010/main">
                <a:solidFill>
                  <a:srgbClr val="FFFFFF"/>
                </a:solidFill>
              </a14:hiddenFill>
            </a:ext>
          </a:extLst>
        </p:spPr>
      </p:pic>
      <p:sp>
        <p:nvSpPr>
          <p:cNvPr id="9" name="Inhaltsplatzhalter 2">
            <a:extLst>
              <a:ext uri="{FF2B5EF4-FFF2-40B4-BE49-F238E27FC236}">
                <a16:creationId xmlns:a16="http://schemas.microsoft.com/office/drawing/2014/main" id="{0278BB28-1044-2F86-2B92-4032A5045549}"/>
              </a:ext>
            </a:extLst>
          </p:cNvPr>
          <p:cNvSpPr txBox="1">
            <a:spLocks/>
          </p:cNvSpPr>
          <p:nvPr/>
        </p:nvSpPr>
        <p:spPr>
          <a:xfrm>
            <a:off x="535534" y="1349906"/>
            <a:ext cx="10754447" cy="1740167"/>
          </a:xfrm>
          <a:custGeom>
            <a:avLst/>
            <a:gdLst>
              <a:gd name="connsiteX0" fmla="*/ 0 w 10754447"/>
              <a:gd name="connsiteY0" fmla="*/ 0 h 1740167"/>
              <a:gd name="connsiteX1" fmla="*/ 10754447 w 10754447"/>
              <a:gd name="connsiteY1" fmla="*/ 0 h 1740167"/>
              <a:gd name="connsiteX2" fmla="*/ 10754447 w 10754447"/>
              <a:gd name="connsiteY2" fmla="*/ 1740167 h 1740167"/>
              <a:gd name="connsiteX3" fmla="*/ 0 w 10754447"/>
              <a:gd name="connsiteY3" fmla="*/ 1740167 h 1740167"/>
              <a:gd name="connsiteX4" fmla="*/ 0 w 10754447"/>
              <a:gd name="connsiteY4" fmla="*/ 0 h 17401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447" h="1740167" fill="none" extrusionOk="0">
                <a:moveTo>
                  <a:pt x="0" y="0"/>
                </a:moveTo>
                <a:cubicBezTo>
                  <a:pt x="2856151" y="-77238"/>
                  <a:pt x="9485887" y="-79550"/>
                  <a:pt x="10754447" y="0"/>
                </a:cubicBezTo>
                <a:cubicBezTo>
                  <a:pt x="10784580" y="195503"/>
                  <a:pt x="10879562" y="1166626"/>
                  <a:pt x="10754447" y="1740167"/>
                </a:cubicBezTo>
                <a:cubicBezTo>
                  <a:pt x="6713859" y="1826986"/>
                  <a:pt x="3935087" y="1764091"/>
                  <a:pt x="0" y="1740167"/>
                </a:cubicBezTo>
                <a:cubicBezTo>
                  <a:pt x="110569" y="1234569"/>
                  <a:pt x="-72305" y="607620"/>
                  <a:pt x="0" y="0"/>
                </a:cubicBezTo>
                <a:close/>
              </a:path>
              <a:path w="10754447" h="1740167" stroke="0" extrusionOk="0">
                <a:moveTo>
                  <a:pt x="0" y="0"/>
                </a:moveTo>
                <a:cubicBezTo>
                  <a:pt x="4944852" y="-41041"/>
                  <a:pt x="6095238" y="-64862"/>
                  <a:pt x="10754447" y="0"/>
                </a:cubicBezTo>
                <a:cubicBezTo>
                  <a:pt x="10851346" y="482486"/>
                  <a:pt x="10631031" y="1231147"/>
                  <a:pt x="10754447" y="1740167"/>
                </a:cubicBezTo>
                <a:cubicBezTo>
                  <a:pt x="6838161" y="1900166"/>
                  <a:pt x="5302230" y="1787037"/>
                  <a:pt x="0" y="1740167"/>
                </a:cubicBezTo>
                <a:cubicBezTo>
                  <a:pt x="-60782" y="1331650"/>
                  <a:pt x="57166" y="687788"/>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10" name="Textfeld 9">
            <a:extLst>
              <a:ext uri="{FF2B5EF4-FFF2-40B4-BE49-F238E27FC236}">
                <a16:creationId xmlns:a16="http://schemas.microsoft.com/office/drawing/2014/main" id="{46F3A574-956C-945E-FBFC-D40D863089E7}"/>
              </a:ext>
            </a:extLst>
          </p:cNvPr>
          <p:cNvSpPr txBox="1"/>
          <p:nvPr/>
        </p:nvSpPr>
        <p:spPr>
          <a:xfrm>
            <a:off x="3333097" y="1513547"/>
            <a:ext cx="5323364" cy="1384995"/>
          </a:xfrm>
          <a:prstGeom prst="rect">
            <a:avLst/>
          </a:prstGeom>
          <a:noFill/>
        </p:spPr>
        <p:txBody>
          <a:bodyPr wrap="square" lIns="0" tIns="0" rIns="0" bIns="0" rtlCol="0">
            <a:spAutoFit/>
          </a:bodyPr>
          <a:lstStyle/>
          <a:p>
            <a:pPr algn="l"/>
            <a:r>
              <a:rPr lang="de-DE" sz="3000" i="1" dirty="0">
                <a:solidFill>
                  <a:srgbClr val="53748E"/>
                </a:solidFill>
              </a:rPr>
              <a:t>Wie viel Folien sollte eine </a:t>
            </a:r>
            <a:r>
              <a:rPr lang="de-DE" sz="3000" b="1" i="1" dirty="0">
                <a:solidFill>
                  <a:srgbClr val="53748E"/>
                </a:solidFill>
              </a:rPr>
              <a:t>Schulung</a:t>
            </a:r>
            <a:r>
              <a:rPr lang="de-DE" sz="3000" i="1" dirty="0">
                <a:solidFill>
                  <a:srgbClr val="53748E"/>
                </a:solidFill>
              </a:rPr>
              <a:t> über </a:t>
            </a:r>
            <a:r>
              <a:rPr lang="de-DE" sz="3000" b="1" i="1" dirty="0">
                <a:solidFill>
                  <a:srgbClr val="53748E"/>
                </a:solidFill>
              </a:rPr>
              <a:t>4h</a:t>
            </a:r>
            <a:r>
              <a:rPr lang="de-DE" sz="3000" i="1" dirty="0">
                <a:solidFill>
                  <a:srgbClr val="53748E"/>
                </a:solidFill>
              </a:rPr>
              <a:t> zum Thema „</a:t>
            </a:r>
            <a:r>
              <a:rPr lang="de-DE" sz="3000" b="1" i="1" dirty="0">
                <a:solidFill>
                  <a:srgbClr val="53748E"/>
                </a:solidFill>
              </a:rPr>
              <a:t>Lean Management</a:t>
            </a:r>
            <a:r>
              <a:rPr lang="de-DE" sz="3000" i="1" dirty="0">
                <a:solidFill>
                  <a:srgbClr val="53748E"/>
                </a:solidFill>
              </a:rPr>
              <a:t>“ haben?</a:t>
            </a:r>
          </a:p>
        </p:txBody>
      </p:sp>
      <p:pic>
        <p:nvPicPr>
          <p:cNvPr id="1026" name="Picture 2" descr="Logo auf jeder Folie einer PowerPoint-Präsentation einblenden - schieb.de">
            <a:extLst>
              <a:ext uri="{FF2B5EF4-FFF2-40B4-BE49-F238E27FC236}">
                <a16:creationId xmlns:a16="http://schemas.microsoft.com/office/drawing/2014/main" id="{239B6328-8E9C-BA66-CB7D-1DA1FCFCCB91}"/>
              </a:ext>
            </a:extLst>
          </p:cNvPr>
          <p:cNvPicPr>
            <a:picLocks noChangeAspect="1" noChangeArrowheads="1"/>
          </p:cNvPicPr>
          <p:nvPr/>
        </p:nvPicPr>
        <p:blipFill>
          <a:blip r:embed="rId18">
            <a:clrChange>
              <a:clrFrom>
                <a:srgbClr val="F3FDE4"/>
              </a:clrFrom>
              <a:clrTo>
                <a:srgbClr val="F3FDE4">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716620">
            <a:off x="9319530" y="1608256"/>
            <a:ext cx="1622260" cy="1216695"/>
          </a:xfrm>
          <a:prstGeom prst="rect">
            <a:avLst/>
          </a:prstGeom>
          <a:noFill/>
          <a:extLst>
            <a:ext uri="{909E8E84-426E-40DD-AFC4-6F175D3DCCD1}">
              <a14:hiddenFill xmlns:a14="http://schemas.microsoft.com/office/drawing/2010/main">
                <a:solidFill>
                  <a:srgbClr val="FFFFFF"/>
                </a:solidFill>
              </a14:hiddenFill>
            </a:ext>
          </a:extLst>
        </p:spPr>
      </p:pic>
      <p:sp>
        <p:nvSpPr>
          <p:cNvPr id="22" name="Inhaltsplatzhalter 2">
            <a:extLst>
              <a:ext uri="{FF2B5EF4-FFF2-40B4-BE49-F238E27FC236}">
                <a16:creationId xmlns:a16="http://schemas.microsoft.com/office/drawing/2014/main" id="{C4986359-31B8-BC06-9CCC-7388F0D1FF4C}"/>
              </a:ext>
            </a:extLst>
          </p:cNvPr>
          <p:cNvSpPr txBox="1">
            <a:spLocks/>
          </p:cNvSpPr>
          <p:nvPr/>
        </p:nvSpPr>
        <p:spPr>
          <a:xfrm>
            <a:off x="589898" y="4183468"/>
            <a:ext cx="1655281" cy="1884078"/>
          </a:xfrm>
          <a:custGeom>
            <a:avLst/>
            <a:gdLst>
              <a:gd name="connsiteX0" fmla="*/ 0 w 1655281"/>
              <a:gd name="connsiteY0" fmla="*/ 0 h 1884078"/>
              <a:gd name="connsiteX1" fmla="*/ 1655281 w 1655281"/>
              <a:gd name="connsiteY1" fmla="*/ 0 h 1884078"/>
              <a:gd name="connsiteX2" fmla="*/ 1655281 w 1655281"/>
              <a:gd name="connsiteY2" fmla="*/ 1884078 h 1884078"/>
              <a:gd name="connsiteX3" fmla="*/ 0 w 1655281"/>
              <a:gd name="connsiteY3" fmla="*/ 1884078 h 1884078"/>
              <a:gd name="connsiteX4" fmla="*/ 0 w 1655281"/>
              <a:gd name="connsiteY4" fmla="*/ 0 h 1884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5281" h="1884078" fill="none" extrusionOk="0">
                <a:moveTo>
                  <a:pt x="0" y="0"/>
                </a:moveTo>
                <a:cubicBezTo>
                  <a:pt x="434926" y="91068"/>
                  <a:pt x="988476" y="-45907"/>
                  <a:pt x="1655281" y="0"/>
                </a:cubicBezTo>
                <a:cubicBezTo>
                  <a:pt x="1805155" y="597641"/>
                  <a:pt x="1618969" y="1394097"/>
                  <a:pt x="1655281" y="1884078"/>
                </a:cubicBezTo>
                <a:cubicBezTo>
                  <a:pt x="1081663" y="1853881"/>
                  <a:pt x="568532" y="1991710"/>
                  <a:pt x="0" y="1884078"/>
                </a:cubicBezTo>
                <a:cubicBezTo>
                  <a:pt x="-91648" y="1693290"/>
                  <a:pt x="113331" y="391304"/>
                  <a:pt x="0" y="0"/>
                </a:cubicBezTo>
                <a:close/>
              </a:path>
              <a:path w="1655281" h="1884078" stroke="0" extrusionOk="0">
                <a:moveTo>
                  <a:pt x="0" y="0"/>
                </a:moveTo>
                <a:cubicBezTo>
                  <a:pt x="603561" y="8510"/>
                  <a:pt x="990873" y="-121406"/>
                  <a:pt x="1655281" y="0"/>
                </a:cubicBezTo>
                <a:cubicBezTo>
                  <a:pt x="1664764" y="841202"/>
                  <a:pt x="1647388" y="1588802"/>
                  <a:pt x="1655281" y="1884078"/>
                </a:cubicBezTo>
                <a:cubicBezTo>
                  <a:pt x="1206511" y="2003908"/>
                  <a:pt x="337154" y="1851382"/>
                  <a:pt x="0" y="1884078"/>
                </a:cubicBezTo>
                <a:cubicBezTo>
                  <a:pt x="-147303" y="1011857"/>
                  <a:pt x="90307" y="238641"/>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grpSp>
        <p:nvGrpSpPr>
          <p:cNvPr id="24" name="Bar chart (2)">
            <a:extLst>
              <a:ext uri="{FF2B5EF4-FFF2-40B4-BE49-F238E27FC236}">
                <a16:creationId xmlns:a16="http://schemas.microsoft.com/office/drawing/2014/main" id="{4B924533-8525-B9D6-31A1-16BD460B8D84}"/>
              </a:ext>
            </a:extLst>
          </p:cNvPr>
          <p:cNvGrpSpPr/>
          <p:nvPr>
            <p:custDataLst>
              <p:tags r:id="rId1"/>
            </p:custDataLst>
          </p:nvPr>
        </p:nvGrpSpPr>
        <p:grpSpPr>
          <a:xfrm>
            <a:off x="883304" y="4660076"/>
            <a:ext cx="1278370" cy="924075"/>
            <a:chOff x="1773184" y="4962860"/>
            <a:chExt cx="670135" cy="606292"/>
          </a:xfrm>
          <a:solidFill>
            <a:schemeClr val="tx1">
              <a:lumMod val="50000"/>
              <a:alpha val="11000"/>
            </a:schemeClr>
          </a:solidFill>
        </p:grpSpPr>
        <p:sp>
          <p:nvSpPr>
            <p:cNvPr id="25" name="MIO_PICTOGRAM_PART2">
              <a:extLst>
                <a:ext uri="{FF2B5EF4-FFF2-40B4-BE49-F238E27FC236}">
                  <a16:creationId xmlns:a16="http://schemas.microsoft.com/office/drawing/2014/main" id="{609DBBDF-480A-8D48-1F66-9A5658B48603}"/>
                </a:ext>
              </a:extLst>
            </p:cNvPr>
            <p:cNvSpPr>
              <a:spLocks/>
            </p:cNvSpPr>
            <p:nvPr>
              <p:custDataLst>
                <p:tags r:id="rId9"/>
              </p:custDataLst>
            </p:nvPr>
          </p:nvSpPr>
          <p:spPr bwMode="auto">
            <a:xfrm>
              <a:off x="1773184" y="4962860"/>
              <a:ext cx="670135" cy="606292"/>
            </a:xfrm>
            <a:custGeom>
              <a:avLst/>
              <a:gdLst/>
              <a:ahLst/>
              <a:cxnLst>
                <a:cxn ang="0">
                  <a:pos x="4" y="160"/>
                </a:cxn>
                <a:cxn ang="0">
                  <a:pos x="2" y="159"/>
                </a:cxn>
                <a:cxn ang="0">
                  <a:pos x="2" y="159"/>
                </a:cxn>
                <a:cxn ang="0">
                  <a:pos x="0" y="156"/>
                </a:cxn>
                <a:cxn ang="0">
                  <a:pos x="0" y="156"/>
                </a:cxn>
                <a:cxn ang="0">
                  <a:pos x="0" y="4"/>
                </a:cxn>
                <a:cxn ang="0">
                  <a:pos x="0" y="4"/>
                </a:cxn>
                <a:cxn ang="0">
                  <a:pos x="4" y="0"/>
                </a:cxn>
                <a:cxn ang="0">
                  <a:pos x="4" y="0"/>
                </a:cxn>
                <a:cxn ang="0">
                  <a:pos x="8" y="4"/>
                </a:cxn>
                <a:cxn ang="0">
                  <a:pos x="8" y="4"/>
                </a:cxn>
                <a:cxn ang="0">
                  <a:pos x="8" y="152"/>
                </a:cxn>
                <a:cxn ang="0">
                  <a:pos x="185" y="152"/>
                </a:cxn>
                <a:cxn ang="0">
                  <a:pos x="189" y="156"/>
                </a:cxn>
                <a:cxn ang="0">
                  <a:pos x="189" y="156"/>
                </a:cxn>
                <a:cxn ang="0">
                  <a:pos x="185" y="160"/>
                </a:cxn>
                <a:cxn ang="0">
                  <a:pos x="185" y="160"/>
                </a:cxn>
                <a:cxn ang="0">
                  <a:pos x="4" y="160"/>
                </a:cxn>
              </a:cxnLst>
              <a:rect l="0" t="0" r="r" b="b"/>
              <a:pathLst>
                <a:path w="189" h="160">
                  <a:moveTo>
                    <a:pt x="4" y="160"/>
                  </a:moveTo>
                  <a:cubicBezTo>
                    <a:pt x="3" y="160"/>
                    <a:pt x="2" y="159"/>
                    <a:pt x="2" y="159"/>
                  </a:cubicBezTo>
                  <a:cubicBezTo>
                    <a:pt x="2" y="159"/>
                    <a:pt x="2" y="159"/>
                    <a:pt x="2" y="159"/>
                  </a:cubicBezTo>
                  <a:cubicBezTo>
                    <a:pt x="1" y="158"/>
                    <a:pt x="0" y="157"/>
                    <a:pt x="0" y="156"/>
                  </a:cubicBezTo>
                  <a:cubicBezTo>
                    <a:pt x="0" y="156"/>
                    <a:pt x="0" y="156"/>
                    <a:pt x="0" y="156"/>
                  </a:cubicBezTo>
                  <a:cubicBezTo>
                    <a:pt x="0" y="4"/>
                    <a:pt x="0" y="4"/>
                    <a:pt x="0" y="4"/>
                  </a:cubicBezTo>
                  <a:cubicBezTo>
                    <a:pt x="0" y="4"/>
                    <a:pt x="0" y="4"/>
                    <a:pt x="0" y="4"/>
                  </a:cubicBezTo>
                  <a:cubicBezTo>
                    <a:pt x="0" y="2"/>
                    <a:pt x="2" y="0"/>
                    <a:pt x="4" y="0"/>
                  </a:cubicBezTo>
                  <a:cubicBezTo>
                    <a:pt x="4" y="0"/>
                    <a:pt x="4" y="0"/>
                    <a:pt x="4" y="0"/>
                  </a:cubicBezTo>
                  <a:cubicBezTo>
                    <a:pt x="6" y="0"/>
                    <a:pt x="8" y="2"/>
                    <a:pt x="8" y="4"/>
                  </a:cubicBezTo>
                  <a:cubicBezTo>
                    <a:pt x="8" y="4"/>
                    <a:pt x="8" y="4"/>
                    <a:pt x="8" y="4"/>
                  </a:cubicBezTo>
                  <a:cubicBezTo>
                    <a:pt x="8" y="152"/>
                    <a:pt x="8" y="152"/>
                    <a:pt x="8" y="152"/>
                  </a:cubicBezTo>
                  <a:cubicBezTo>
                    <a:pt x="185" y="152"/>
                    <a:pt x="185" y="152"/>
                    <a:pt x="185" y="152"/>
                  </a:cubicBezTo>
                  <a:cubicBezTo>
                    <a:pt x="188" y="152"/>
                    <a:pt x="189" y="154"/>
                    <a:pt x="189" y="156"/>
                  </a:cubicBezTo>
                  <a:cubicBezTo>
                    <a:pt x="189" y="156"/>
                    <a:pt x="189" y="156"/>
                    <a:pt x="189" y="156"/>
                  </a:cubicBezTo>
                  <a:cubicBezTo>
                    <a:pt x="189" y="158"/>
                    <a:pt x="188" y="160"/>
                    <a:pt x="185" y="160"/>
                  </a:cubicBezTo>
                  <a:cubicBezTo>
                    <a:pt x="185" y="160"/>
                    <a:pt x="185" y="160"/>
                    <a:pt x="185" y="160"/>
                  </a:cubicBezTo>
                  <a:cubicBezTo>
                    <a:pt x="4" y="160"/>
                    <a:pt x="4" y="160"/>
                    <a:pt x="4" y="160"/>
                  </a:cubicBez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26" name="MIO_PICTOGRAM_PART1">
              <a:extLst>
                <a:ext uri="{FF2B5EF4-FFF2-40B4-BE49-F238E27FC236}">
                  <a16:creationId xmlns:a16="http://schemas.microsoft.com/office/drawing/2014/main" id="{CF72D59B-B1B1-A005-C40D-9FC0C38A172A}"/>
                </a:ext>
              </a:extLst>
            </p:cNvPr>
            <p:cNvSpPr>
              <a:spLocks/>
            </p:cNvSpPr>
            <p:nvPr>
              <p:custDataLst>
                <p:tags r:id="rId10"/>
              </p:custDataLst>
            </p:nvPr>
          </p:nvSpPr>
          <p:spPr bwMode="auto">
            <a:xfrm>
              <a:off x="1847195" y="5380495"/>
              <a:ext cx="106307" cy="120970"/>
            </a:xfrm>
            <a:custGeom>
              <a:avLst/>
              <a:gdLst/>
              <a:ahLst/>
              <a:cxnLst>
                <a:cxn ang="0">
                  <a:pos x="30" y="24"/>
                </a:cxn>
                <a:cxn ang="0">
                  <a:pos x="22" y="32"/>
                </a:cxn>
                <a:cxn ang="0">
                  <a:pos x="7" y="32"/>
                </a:cxn>
                <a:cxn ang="0">
                  <a:pos x="0" y="24"/>
                </a:cxn>
                <a:cxn ang="0">
                  <a:pos x="0" y="8"/>
                </a:cxn>
                <a:cxn ang="0">
                  <a:pos x="7" y="0"/>
                </a:cxn>
                <a:cxn ang="0">
                  <a:pos x="22" y="0"/>
                </a:cxn>
                <a:cxn ang="0">
                  <a:pos x="30" y="8"/>
                </a:cxn>
                <a:cxn ang="0">
                  <a:pos x="30" y="24"/>
                </a:cxn>
              </a:cxnLst>
              <a:rect l="0" t="0" r="r" b="b"/>
              <a:pathLst>
                <a:path w="30" h="32">
                  <a:moveTo>
                    <a:pt x="30" y="24"/>
                  </a:moveTo>
                  <a:cubicBezTo>
                    <a:pt x="30" y="28"/>
                    <a:pt x="26" y="32"/>
                    <a:pt x="22" y="32"/>
                  </a:cubicBezTo>
                  <a:cubicBezTo>
                    <a:pt x="7" y="32"/>
                    <a:pt x="7" y="32"/>
                    <a:pt x="7" y="32"/>
                  </a:cubicBezTo>
                  <a:cubicBezTo>
                    <a:pt x="3" y="32"/>
                    <a:pt x="0" y="28"/>
                    <a:pt x="0" y="24"/>
                  </a:cubicBezTo>
                  <a:cubicBezTo>
                    <a:pt x="0" y="8"/>
                    <a:pt x="0" y="8"/>
                    <a:pt x="0" y="8"/>
                  </a:cubicBezTo>
                  <a:cubicBezTo>
                    <a:pt x="0" y="4"/>
                    <a:pt x="3" y="0"/>
                    <a:pt x="7" y="0"/>
                  </a:cubicBezTo>
                  <a:cubicBezTo>
                    <a:pt x="22" y="0"/>
                    <a:pt x="22" y="0"/>
                    <a:pt x="22" y="0"/>
                  </a:cubicBezTo>
                  <a:cubicBezTo>
                    <a:pt x="26" y="0"/>
                    <a:pt x="30" y="4"/>
                    <a:pt x="30" y="8"/>
                  </a:cubicBezTo>
                  <a:lnTo>
                    <a:pt x="3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7" name="MIO_PICTOGRAM_PART1">
              <a:extLst>
                <a:ext uri="{FF2B5EF4-FFF2-40B4-BE49-F238E27FC236}">
                  <a16:creationId xmlns:a16="http://schemas.microsoft.com/office/drawing/2014/main" id="{E0A8D93C-31DF-DB62-C3C3-5972B7A1AB8C}"/>
                </a:ext>
              </a:extLst>
            </p:cNvPr>
            <p:cNvSpPr>
              <a:spLocks/>
            </p:cNvSpPr>
            <p:nvPr>
              <p:custDataLst>
                <p:tags r:id="rId11"/>
              </p:custDataLst>
            </p:nvPr>
          </p:nvSpPr>
          <p:spPr bwMode="auto">
            <a:xfrm>
              <a:off x="1983106" y="5246564"/>
              <a:ext cx="106307" cy="254902"/>
            </a:xfrm>
            <a:custGeom>
              <a:avLst/>
              <a:gdLst/>
              <a:ahLst/>
              <a:cxnLst>
                <a:cxn ang="0">
                  <a:pos x="30" y="59"/>
                </a:cxn>
                <a:cxn ang="0">
                  <a:pos x="22" y="67"/>
                </a:cxn>
                <a:cxn ang="0">
                  <a:pos x="7" y="67"/>
                </a:cxn>
                <a:cxn ang="0">
                  <a:pos x="0" y="59"/>
                </a:cxn>
                <a:cxn ang="0">
                  <a:pos x="0" y="8"/>
                </a:cxn>
                <a:cxn ang="0">
                  <a:pos x="7" y="0"/>
                </a:cxn>
                <a:cxn ang="0">
                  <a:pos x="22" y="0"/>
                </a:cxn>
                <a:cxn ang="0">
                  <a:pos x="30" y="8"/>
                </a:cxn>
                <a:cxn ang="0">
                  <a:pos x="30" y="59"/>
                </a:cxn>
              </a:cxnLst>
              <a:rect l="0" t="0" r="r" b="b"/>
              <a:pathLst>
                <a:path w="30" h="67">
                  <a:moveTo>
                    <a:pt x="30" y="59"/>
                  </a:moveTo>
                  <a:cubicBezTo>
                    <a:pt x="30" y="63"/>
                    <a:pt x="26" y="67"/>
                    <a:pt x="22" y="67"/>
                  </a:cubicBezTo>
                  <a:cubicBezTo>
                    <a:pt x="7" y="67"/>
                    <a:pt x="7" y="67"/>
                    <a:pt x="7" y="67"/>
                  </a:cubicBezTo>
                  <a:cubicBezTo>
                    <a:pt x="3" y="67"/>
                    <a:pt x="0" y="63"/>
                    <a:pt x="0" y="59"/>
                  </a:cubicBezTo>
                  <a:cubicBezTo>
                    <a:pt x="0" y="8"/>
                    <a:pt x="0" y="8"/>
                    <a:pt x="0" y="8"/>
                  </a:cubicBezTo>
                  <a:cubicBezTo>
                    <a:pt x="0" y="4"/>
                    <a:pt x="3" y="0"/>
                    <a:pt x="7" y="0"/>
                  </a:cubicBezTo>
                  <a:cubicBezTo>
                    <a:pt x="22" y="0"/>
                    <a:pt x="22" y="0"/>
                    <a:pt x="22" y="0"/>
                  </a:cubicBezTo>
                  <a:cubicBezTo>
                    <a:pt x="26" y="0"/>
                    <a:pt x="30" y="4"/>
                    <a:pt x="30" y="8"/>
                  </a:cubicBezTo>
                  <a:lnTo>
                    <a:pt x="30" y="5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8" name="MIO_PICTOGRAM_PART1">
              <a:extLst>
                <a:ext uri="{FF2B5EF4-FFF2-40B4-BE49-F238E27FC236}">
                  <a16:creationId xmlns:a16="http://schemas.microsoft.com/office/drawing/2014/main" id="{78A06E64-D1AF-0F5D-E6A2-6D1D886B1B05}"/>
                </a:ext>
              </a:extLst>
            </p:cNvPr>
            <p:cNvSpPr>
              <a:spLocks/>
            </p:cNvSpPr>
            <p:nvPr>
              <p:custDataLst>
                <p:tags r:id="rId12"/>
              </p:custDataLst>
            </p:nvPr>
          </p:nvSpPr>
          <p:spPr bwMode="auto">
            <a:xfrm>
              <a:off x="2258964" y="5186078"/>
              <a:ext cx="106307" cy="315387"/>
            </a:xfrm>
            <a:custGeom>
              <a:avLst/>
              <a:gdLst/>
              <a:ahLst/>
              <a:cxnLst>
                <a:cxn ang="0">
                  <a:pos x="30" y="74"/>
                </a:cxn>
                <a:cxn ang="0">
                  <a:pos x="22" y="83"/>
                </a:cxn>
                <a:cxn ang="0">
                  <a:pos x="8" y="83"/>
                </a:cxn>
                <a:cxn ang="0">
                  <a:pos x="0" y="74"/>
                </a:cxn>
                <a:cxn ang="0">
                  <a:pos x="0" y="8"/>
                </a:cxn>
                <a:cxn ang="0">
                  <a:pos x="8" y="0"/>
                </a:cxn>
                <a:cxn ang="0">
                  <a:pos x="22" y="0"/>
                </a:cxn>
                <a:cxn ang="0">
                  <a:pos x="30" y="8"/>
                </a:cxn>
                <a:cxn ang="0">
                  <a:pos x="30" y="74"/>
                </a:cxn>
              </a:cxnLst>
              <a:rect l="0" t="0" r="r" b="b"/>
              <a:pathLst>
                <a:path w="30" h="83">
                  <a:moveTo>
                    <a:pt x="30" y="74"/>
                  </a:moveTo>
                  <a:cubicBezTo>
                    <a:pt x="30" y="79"/>
                    <a:pt x="26" y="83"/>
                    <a:pt x="22" y="83"/>
                  </a:cubicBezTo>
                  <a:cubicBezTo>
                    <a:pt x="8" y="83"/>
                    <a:pt x="8" y="83"/>
                    <a:pt x="8" y="83"/>
                  </a:cubicBezTo>
                  <a:cubicBezTo>
                    <a:pt x="3" y="83"/>
                    <a:pt x="0" y="79"/>
                    <a:pt x="0" y="74"/>
                  </a:cubicBezTo>
                  <a:cubicBezTo>
                    <a:pt x="0" y="8"/>
                    <a:pt x="0" y="8"/>
                    <a:pt x="0" y="8"/>
                  </a:cubicBezTo>
                  <a:cubicBezTo>
                    <a:pt x="0" y="4"/>
                    <a:pt x="3" y="0"/>
                    <a:pt x="8" y="0"/>
                  </a:cubicBezTo>
                  <a:cubicBezTo>
                    <a:pt x="22" y="0"/>
                    <a:pt x="22" y="0"/>
                    <a:pt x="22" y="0"/>
                  </a:cubicBezTo>
                  <a:cubicBezTo>
                    <a:pt x="26" y="0"/>
                    <a:pt x="30" y="4"/>
                    <a:pt x="30" y="8"/>
                  </a:cubicBezTo>
                  <a:lnTo>
                    <a:pt x="30"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29" name="MIO_PICTOGRAM_PART2">
              <a:extLst>
                <a:ext uri="{FF2B5EF4-FFF2-40B4-BE49-F238E27FC236}">
                  <a16:creationId xmlns:a16="http://schemas.microsoft.com/office/drawing/2014/main" id="{96FD5A53-3F7B-A6F4-F245-AFB6E499A88E}"/>
                </a:ext>
              </a:extLst>
            </p:cNvPr>
            <p:cNvSpPr>
              <a:spLocks/>
            </p:cNvSpPr>
            <p:nvPr>
              <p:custDataLst>
                <p:tags r:id="rId13"/>
              </p:custDataLst>
            </p:nvPr>
          </p:nvSpPr>
          <p:spPr bwMode="auto">
            <a:xfrm>
              <a:off x="2117671" y="5308490"/>
              <a:ext cx="106307" cy="192977"/>
            </a:xfrm>
            <a:custGeom>
              <a:avLst/>
              <a:gdLst/>
              <a:ahLst/>
              <a:cxnLst>
                <a:cxn ang="0">
                  <a:pos x="30" y="43"/>
                </a:cxn>
                <a:cxn ang="0">
                  <a:pos x="22" y="51"/>
                </a:cxn>
                <a:cxn ang="0">
                  <a:pos x="7" y="51"/>
                </a:cxn>
                <a:cxn ang="0">
                  <a:pos x="0" y="43"/>
                </a:cxn>
                <a:cxn ang="0">
                  <a:pos x="0" y="8"/>
                </a:cxn>
                <a:cxn ang="0">
                  <a:pos x="7" y="0"/>
                </a:cxn>
                <a:cxn ang="0">
                  <a:pos x="22" y="0"/>
                </a:cxn>
                <a:cxn ang="0">
                  <a:pos x="30" y="8"/>
                </a:cxn>
                <a:cxn ang="0">
                  <a:pos x="30" y="43"/>
                </a:cxn>
              </a:cxnLst>
              <a:rect l="0" t="0" r="r" b="b"/>
              <a:pathLst>
                <a:path w="30" h="51">
                  <a:moveTo>
                    <a:pt x="30" y="43"/>
                  </a:moveTo>
                  <a:cubicBezTo>
                    <a:pt x="30" y="47"/>
                    <a:pt x="26" y="51"/>
                    <a:pt x="22" y="51"/>
                  </a:cubicBezTo>
                  <a:cubicBezTo>
                    <a:pt x="7" y="51"/>
                    <a:pt x="7" y="51"/>
                    <a:pt x="7" y="51"/>
                  </a:cubicBezTo>
                  <a:cubicBezTo>
                    <a:pt x="3" y="51"/>
                    <a:pt x="0" y="47"/>
                    <a:pt x="0" y="43"/>
                  </a:cubicBezTo>
                  <a:cubicBezTo>
                    <a:pt x="0" y="8"/>
                    <a:pt x="0" y="8"/>
                    <a:pt x="0" y="8"/>
                  </a:cubicBezTo>
                  <a:cubicBezTo>
                    <a:pt x="0" y="4"/>
                    <a:pt x="3" y="0"/>
                    <a:pt x="7" y="0"/>
                  </a:cubicBezTo>
                  <a:cubicBezTo>
                    <a:pt x="22" y="0"/>
                    <a:pt x="22" y="0"/>
                    <a:pt x="22" y="0"/>
                  </a:cubicBezTo>
                  <a:cubicBezTo>
                    <a:pt x="26" y="0"/>
                    <a:pt x="30" y="4"/>
                    <a:pt x="30" y="8"/>
                  </a:cubicBezTo>
                  <a:lnTo>
                    <a:pt x="30" y="43"/>
                  </a:ln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30" name="MIO_PICTOGRAM_PART2">
              <a:extLst>
                <a:ext uri="{FF2B5EF4-FFF2-40B4-BE49-F238E27FC236}">
                  <a16:creationId xmlns:a16="http://schemas.microsoft.com/office/drawing/2014/main" id="{418AB281-0218-FABB-4184-FB7A09FFF466}"/>
                </a:ext>
              </a:extLst>
            </p:cNvPr>
            <p:cNvSpPr>
              <a:spLocks/>
            </p:cNvSpPr>
            <p:nvPr>
              <p:custDataLst>
                <p:tags r:id="rId14"/>
              </p:custDataLst>
            </p:nvPr>
          </p:nvSpPr>
          <p:spPr bwMode="auto">
            <a:xfrm>
              <a:off x="1837775" y="5007503"/>
              <a:ext cx="505965" cy="285144"/>
            </a:xfrm>
            <a:custGeom>
              <a:avLst/>
              <a:gdLst/>
              <a:ahLst/>
              <a:cxnLst>
                <a:cxn ang="0">
                  <a:pos x="143" y="0"/>
                </a:cxn>
                <a:cxn ang="0">
                  <a:pos x="113" y="3"/>
                </a:cxn>
                <a:cxn ang="0">
                  <a:pos x="123" y="13"/>
                </a:cxn>
                <a:cxn ang="0">
                  <a:pos x="91" y="51"/>
                </a:cxn>
                <a:cxn ang="0">
                  <a:pos x="59" y="21"/>
                </a:cxn>
                <a:cxn ang="0">
                  <a:pos x="51" y="21"/>
                </a:cxn>
                <a:cxn ang="0">
                  <a:pos x="3" y="64"/>
                </a:cxn>
                <a:cxn ang="0">
                  <a:pos x="2" y="73"/>
                </a:cxn>
                <a:cxn ang="0">
                  <a:pos x="7" y="75"/>
                </a:cxn>
                <a:cxn ang="0">
                  <a:pos x="10" y="73"/>
                </a:cxn>
                <a:cxn ang="0">
                  <a:pos x="10" y="73"/>
                </a:cxn>
                <a:cxn ang="0">
                  <a:pos x="55" y="33"/>
                </a:cxn>
                <a:cxn ang="0">
                  <a:pos x="88" y="64"/>
                </a:cxn>
                <a:cxn ang="0">
                  <a:pos x="92" y="66"/>
                </a:cxn>
                <a:cxn ang="0">
                  <a:pos x="97" y="64"/>
                </a:cxn>
                <a:cxn ang="0">
                  <a:pos x="131" y="21"/>
                </a:cxn>
                <a:cxn ang="0">
                  <a:pos x="139" y="29"/>
                </a:cxn>
                <a:cxn ang="0">
                  <a:pos x="143" y="0"/>
                </a:cxn>
              </a:cxnLst>
              <a:rect l="0" t="0" r="r" b="b"/>
              <a:pathLst>
                <a:path w="143" h="75">
                  <a:moveTo>
                    <a:pt x="143" y="0"/>
                  </a:moveTo>
                  <a:cubicBezTo>
                    <a:pt x="113" y="3"/>
                    <a:pt x="113" y="3"/>
                    <a:pt x="113" y="3"/>
                  </a:cubicBezTo>
                  <a:cubicBezTo>
                    <a:pt x="123" y="13"/>
                    <a:pt x="123" y="13"/>
                    <a:pt x="123" y="13"/>
                  </a:cubicBezTo>
                  <a:cubicBezTo>
                    <a:pt x="91" y="51"/>
                    <a:pt x="91" y="51"/>
                    <a:pt x="91" y="51"/>
                  </a:cubicBezTo>
                  <a:cubicBezTo>
                    <a:pt x="59" y="21"/>
                    <a:pt x="59" y="21"/>
                    <a:pt x="59" y="21"/>
                  </a:cubicBezTo>
                  <a:cubicBezTo>
                    <a:pt x="56" y="19"/>
                    <a:pt x="53" y="19"/>
                    <a:pt x="51" y="21"/>
                  </a:cubicBezTo>
                  <a:cubicBezTo>
                    <a:pt x="3" y="64"/>
                    <a:pt x="3" y="64"/>
                    <a:pt x="3" y="64"/>
                  </a:cubicBezTo>
                  <a:cubicBezTo>
                    <a:pt x="0" y="67"/>
                    <a:pt x="0" y="70"/>
                    <a:pt x="2" y="73"/>
                  </a:cubicBezTo>
                  <a:cubicBezTo>
                    <a:pt x="3" y="74"/>
                    <a:pt x="5" y="75"/>
                    <a:pt x="7" y="75"/>
                  </a:cubicBezTo>
                  <a:cubicBezTo>
                    <a:pt x="8" y="75"/>
                    <a:pt x="9" y="74"/>
                    <a:pt x="10" y="73"/>
                  </a:cubicBezTo>
                  <a:cubicBezTo>
                    <a:pt x="10" y="73"/>
                    <a:pt x="10" y="73"/>
                    <a:pt x="10" y="73"/>
                  </a:cubicBezTo>
                  <a:cubicBezTo>
                    <a:pt x="55" y="33"/>
                    <a:pt x="55" y="33"/>
                    <a:pt x="55" y="33"/>
                  </a:cubicBezTo>
                  <a:cubicBezTo>
                    <a:pt x="88" y="64"/>
                    <a:pt x="88" y="64"/>
                    <a:pt x="88" y="64"/>
                  </a:cubicBezTo>
                  <a:cubicBezTo>
                    <a:pt x="89" y="65"/>
                    <a:pt x="91" y="66"/>
                    <a:pt x="92" y="66"/>
                  </a:cubicBezTo>
                  <a:cubicBezTo>
                    <a:pt x="94" y="66"/>
                    <a:pt x="96" y="65"/>
                    <a:pt x="97" y="64"/>
                  </a:cubicBezTo>
                  <a:cubicBezTo>
                    <a:pt x="131" y="21"/>
                    <a:pt x="131" y="21"/>
                    <a:pt x="131" y="21"/>
                  </a:cubicBezTo>
                  <a:cubicBezTo>
                    <a:pt x="139" y="29"/>
                    <a:pt x="139" y="29"/>
                    <a:pt x="139" y="29"/>
                  </a:cubicBezTo>
                  <a:lnTo>
                    <a:pt x="143" y="0"/>
                  </a:ln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grpSp>
      <p:sp>
        <p:nvSpPr>
          <p:cNvPr id="1024" name="Textfeld 1023">
            <a:extLst>
              <a:ext uri="{FF2B5EF4-FFF2-40B4-BE49-F238E27FC236}">
                <a16:creationId xmlns:a16="http://schemas.microsoft.com/office/drawing/2014/main" id="{6180B546-DF12-E818-39C6-E3BE2683C58C}"/>
              </a:ext>
            </a:extLst>
          </p:cNvPr>
          <p:cNvSpPr txBox="1"/>
          <p:nvPr/>
        </p:nvSpPr>
        <p:spPr>
          <a:xfrm>
            <a:off x="912647" y="4793386"/>
            <a:ext cx="1003289" cy="738664"/>
          </a:xfrm>
          <a:prstGeom prst="rect">
            <a:avLst/>
          </a:prstGeom>
          <a:noFill/>
        </p:spPr>
        <p:txBody>
          <a:bodyPr wrap="square" lIns="0" tIns="0" rIns="0" bIns="0" rtlCol="0">
            <a:spAutoFit/>
          </a:bodyPr>
          <a:lstStyle/>
          <a:p>
            <a:pPr algn="ctr"/>
            <a:r>
              <a:rPr lang="de-DE" sz="4800" b="1" dirty="0">
                <a:solidFill>
                  <a:schemeClr val="tx2"/>
                </a:solidFill>
              </a:rPr>
              <a:t>58</a:t>
            </a:r>
          </a:p>
        </p:txBody>
      </p:sp>
      <p:grpSp>
        <p:nvGrpSpPr>
          <p:cNvPr id="1025" name="Bar chart (2)">
            <a:extLst>
              <a:ext uri="{FF2B5EF4-FFF2-40B4-BE49-F238E27FC236}">
                <a16:creationId xmlns:a16="http://schemas.microsoft.com/office/drawing/2014/main" id="{948EDF5E-9FCA-D667-FA2C-A6CBEB38670C}"/>
              </a:ext>
            </a:extLst>
          </p:cNvPr>
          <p:cNvGrpSpPr/>
          <p:nvPr>
            <p:custDataLst>
              <p:tags r:id="rId2"/>
            </p:custDataLst>
          </p:nvPr>
        </p:nvGrpSpPr>
        <p:grpSpPr>
          <a:xfrm>
            <a:off x="2979287" y="5036609"/>
            <a:ext cx="609858" cy="555905"/>
            <a:chOff x="1773184" y="4962860"/>
            <a:chExt cx="670135" cy="606292"/>
          </a:xfrm>
          <a:solidFill>
            <a:schemeClr val="tx1">
              <a:lumMod val="50000"/>
              <a:alpha val="11000"/>
            </a:schemeClr>
          </a:solidFill>
        </p:grpSpPr>
        <p:sp>
          <p:nvSpPr>
            <p:cNvPr id="1027" name="MIO_PICTOGRAM_PART2">
              <a:extLst>
                <a:ext uri="{FF2B5EF4-FFF2-40B4-BE49-F238E27FC236}">
                  <a16:creationId xmlns:a16="http://schemas.microsoft.com/office/drawing/2014/main" id="{94185F94-9322-59BB-9B80-9FE7664202C0}"/>
                </a:ext>
              </a:extLst>
            </p:cNvPr>
            <p:cNvSpPr>
              <a:spLocks/>
            </p:cNvSpPr>
            <p:nvPr>
              <p:custDataLst>
                <p:tags r:id="rId3"/>
              </p:custDataLst>
            </p:nvPr>
          </p:nvSpPr>
          <p:spPr bwMode="auto">
            <a:xfrm>
              <a:off x="1773184" y="4962860"/>
              <a:ext cx="670135" cy="606292"/>
            </a:xfrm>
            <a:custGeom>
              <a:avLst/>
              <a:gdLst/>
              <a:ahLst/>
              <a:cxnLst>
                <a:cxn ang="0">
                  <a:pos x="4" y="160"/>
                </a:cxn>
                <a:cxn ang="0">
                  <a:pos x="2" y="159"/>
                </a:cxn>
                <a:cxn ang="0">
                  <a:pos x="2" y="159"/>
                </a:cxn>
                <a:cxn ang="0">
                  <a:pos x="0" y="156"/>
                </a:cxn>
                <a:cxn ang="0">
                  <a:pos x="0" y="156"/>
                </a:cxn>
                <a:cxn ang="0">
                  <a:pos x="0" y="4"/>
                </a:cxn>
                <a:cxn ang="0">
                  <a:pos x="0" y="4"/>
                </a:cxn>
                <a:cxn ang="0">
                  <a:pos x="4" y="0"/>
                </a:cxn>
                <a:cxn ang="0">
                  <a:pos x="4" y="0"/>
                </a:cxn>
                <a:cxn ang="0">
                  <a:pos x="8" y="4"/>
                </a:cxn>
                <a:cxn ang="0">
                  <a:pos x="8" y="4"/>
                </a:cxn>
                <a:cxn ang="0">
                  <a:pos x="8" y="152"/>
                </a:cxn>
                <a:cxn ang="0">
                  <a:pos x="185" y="152"/>
                </a:cxn>
                <a:cxn ang="0">
                  <a:pos x="189" y="156"/>
                </a:cxn>
                <a:cxn ang="0">
                  <a:pos x="189" y="156"/>
                </a:cxn>
                <a:cxn ang="0">
                  <a:pos x="185" y="160"/>
                </a:cxn>
                <a:cxn ang="0">
                  <a:pos x="185" y="160"/>
                </a:cxn>
                <a:cxn ang="0">
                  <a:pos x="4" y="160"/>
                </a:cxn>
              </a:cxnLst>
              <a:rect l="0" t="0" r="r" b="b"/>
              <a:pathLst>
                <a:path w="189" h="160">
                  <a:moveTo>
                    <a:pt x="4" y="160"/>
                  </a:moveTo>
                  <a:cubicBezTo>
                    <a:pt x="3" y="160"/>
                    <a:pt x="2" y="159"/>
                    <a:pt x="2" y="159"/>
                  </a:cubicBezTo>
                  <a:cubicBezTo>
                    <a:pt x="2" y="159"/>
                    <a:pt x="2" y="159"/>
                    <a:pt x="2" y="159"/>
                  </a:cubicBezTo>
                  <a:cubicBezTo>
                    <a:pt x="1" y="158"/>
                    <a:pt x="0" y="157"/>
                    <a:pt x="0" y="156"/>
                  </a:cubicBezTo>
                  <a:cubicBezTo>
                    <a:pt x="0" y="156"/>
                    <a:pt x="0" y="156"/>
                    <a:pt x="0" y="156"/>
                  </a:cubicBezTo>
                  <a:cubicBezTo>
                    <a:pt x="0" y="4"/>
                    <a:pt x="0" y="4"/>
                    <a:pt x="0" y="4"/>
                  </a:cubicBezTo>
                  <a:cubicBezTo>
                    <a:pt x="0" y="4"/>
                    <a:pt x="0" y="4"/>
                    <a:pt x="0" y="4"/>
                  </a:cubicBezTo>
                  <a:cubicBezTo>
                    <a:pt x="0" y="2"/>
                    <a:pt x="2" y="0"/>
                    <a:pt x="4" y="0"/>
                  </a:cubicBezTo>
                  <a:cubicBezTo>
                    <a:pt x="4" y="0"/>
                    <a:pt x="4" y="0"/>
                    <a:pt x="4" y="0"/>
                  </a:cubicBezTo>
                  <a:cubicBezTo>
                    <a:pt x="6" y="0"/>
                    <a:pt x="8" y="2"/>
                    <a:pt x="8" y="4"/>
                  </a:cubicBezTo>
                  <a:cubicBezTo>
                    <a:pt x="8" y="4"/>
                    <a:pt x="8" y="4"/>
                    <a:pt x="8" y="4"/>
                  </a:cubicBezTo>
                  <a:cubicBezTo>
                    <a:pt x="8" y="152"/>
                    <a:pt x="8" y="152"/>
                    <a:pt x="8" y="152"/>
                  </a:cubicBezTo>
                  <a:cubicBezTo>
                    <a:pt x="185" y="152"/>
                    <a:pt x="185" y="152"/>
                    <a:pt x="185" y="152"/>
                  </a:cubicBezTo>
                  <a:cubicBezTo>
                    <a:pt x="188" y="152"/>
                    <a:pt x="189" y="154"/>
                    <a:pt x="189" y="156"/>
                  </a:cubicBezTo>
                  <a:cubicBezTo>
                    <a:pt x="189" y="156"/>
                    <a:pt x="189" y="156"/>
                    <a:pt x="189" y="156"/>
                  </a:cubicBezTo>
                  <a:cubicBezTo>
                    <a:pt x="189" y="158"/>
                    <a:pt x="188" y="160"/>
                    <a:pt x="185" y="160"/>
                  </a:cubicBezTo>
                  <a:cubicBezTo>
                    <a:pt x="185" y="160"/>
                    <a:pt x="185" y="160"/>
                    <a:pt x="185" y="160"/>
                  </a:cubicBezTo>
                  <a:cubicBezTo>
                    <a:pt x="4" y="160"/>
                    <a:pt x="4" y="160"/>
                    <a:pt x="4" y="160"/>
                  </a:cubicBez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1028" name="MIO_PICTOGRAM_PART1">
              <a:extLst>
                <a:ext uri="{FF2B5EF4-FFF2-40B4-BE49-F238E27FC236}">
                  <a16:creationId xmlns:a16="http://schemas.microsoft.com/office/drawing/2014/main" id="{BA20D111-3E5A-7344-42AA-CF8E196375E8}"/>
                </a:ext>
              </a:extLst>
            </p:cNvPr>
            <p:cNvSpPr>
              <a:spLocks/>
            </p:cNvSpPr>
            <p:nvPr>
              <p:custDataLst>
                <p:tags r:id="rId4"/>
              </p:custDataLst>
            </p:nvPr>
          </p:nvSpPr>
          <p:spPr bwMode="auto">
            <a:xfrm>
              <a:off x="1847195" y="5380495"/>
              <a:ext cx="106307" cy="120970"/>
            </a:xfrm>
            <a:custGeom>
              <a:avLst/>
              <a:gdLst/>
              <a:ahLst/>
              <a:cxnLst>
                <a:cxn ang="0">
                  <a:pos x="30" y="24"/>
                </a:cxn>
                <a:cxn ang="0">
                  <a:pos x="22" y="32"/>
                </a:cxn>
                <a:cxn ang="0">
                  <a:pos x="7" y="32"/>
                </a:cxn>
                <a:cxn ang="0">
                  <a:pos x="0" y="24"/>
                </a:cxn>
                <a:cxn ang="0">
                  <a:pos x="0" y="8"/>
                </a:cxn>
                <a:cxn ang="0">
                  <a:pos x="7" y="0"/>
                </a:cxn>
                <a:cxn ang="0">
                  <a:pos x="22" y="0"/>
                </a:cxn>
                <a:cxn ang="0">
                  <a:pos x="30" y="8"/>
                </a:cxn>
                <a:cxn ang="0">
                  <a:pos x="30" y="24"/>
                </a:cxn>
              </a:cxnLst>
              <a:rect l="0" t="0" r="r" b="b"/>
              <a:pathLst>
                <a:path w="30" h="32">
                  <a:moveTo>
                    <a:pt x="30" y="24"/>
                  </a:moveTo>
                  <a:cubicBezTo>
                    <a:pt x="30" y="28"/>
                    <a:pt x="26" y="32"/>
                    <a:pt x="22" y="32"/>
                  </a:cubicBezTo>
                  <a:cubicBezTo>
                    <a:pt x="7" y="32"/>
                    <a:pt x="7" y="32"/>
                    <a:pt x="7" y="32"/>
                  </a:cubicBezTo>
                  <a:cubicBezTo>
                    <a:pt x="3" y="32"/>
                    <a:pt x="0" y="28"/>
                    <a:pt x="0" y="24"/>
                  </a:cubicBezTo>
                  <a:cubicBezTo>
                    <a:pt x="0" y="8"/>
                    <a:pt x="0" y="8"/>
                    <a:pt x="0" y="8"/>
                  </a:cubicBezTo>
                  <a:cubicBezTo>
                    <a:pt x="0" y="4"/>
                    <a:pt x="3" y="0"/>
                    <a:pt x="7" y="0"/>
                  </a:cubicBezTo>
                  <a:cubicBezTo>
                    <a:pt x="22" y="0"/>
                    <a:pt x="22" y="0"/>
                    <a:pt x="22" y="0"/>
                  </a:cubicBezTo>
                  <a:cubicBezTo>
                    <a:pt x="26" y="0"/>
                    <a:pt x="30" y="4"/>
                    <a:pt x="30" y="8"/>
                  </a:cubicBezTo>
                  <a:lnTo>
                    <a:pt x="3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29" name="MIO_PICTOGRAM_PART1">
              <a:extLst>
                <a:ext uri="{FF2B5EF4-FFF2-40B4-BE49-F238E27FC236}">
                  <a16:creationId xmlns:a16="http://schemas.microsoft.com/office/drawing/2014/main" id="{69538CCB-2CF6-06E6-430C-8C7C05F4175E}"/>
                </a:ext>
              </a:extLst>
            </p:cNvPr>
            <p:cNvSpPr>
              <a:spLocks/>
            </p:cNvSpPr>
            <p:nvPr>
              <p:custDataLst>
                <p:tags r:id="rId5"/>
              </p:custDataLst>
            </p:nvPr>
          </p:nvSpPr>
          <p:spPr bwMode="auto">
            <a:xfrm>
              <a:off x="1983106" y="5246564"/>
              <a:ext cx="106307" cy="254902"/>
            </a:xfrm>
            <a:custGeom>
              <a:avLst/>
              <a:gdLst/>
              <a:ahLst/>
              <a:cxnLst>
                <a:cxn ang="0">
                  <a:pos x="30" y="59"/>
                </a:cxn>
                <a:cxn ang="0">
                  <a:pos x="22" y="67"/>
                </a:cxn>
                <a:cxn ang="0">
                  <a:pos x="7" y="67"/>
                </a:cxn>
                <a:cxn ang="0">
                  <a:pos x="0" y="59"/>
                </a:cxn>
                <a:cxn ang="0">
                  <a:pos x="0" y="8"/>
                </a:cxn>
                <a:cxn ang="0">
                  <a:pos x="7" y="0"/>
                </a:cxn>
                <a:cxn ang="0">
                  <a:pos x="22" y="0"/>
                </a:cxn>
                <a:cxn ang="0">
                  <a:pos x="30" y="8"/>
                </a:cxn>
                <a:cxn ang="0">
                  <a:pos x="30" y="59"/>
                </a:cxn>
              </a:cxnLst>
              <a:rect l="0" t="0" r="r" b="b"/>
              <a:pathLst>
                <a:path w="30" h="67">
                  <a:moveTo>
                    <a:pt x="30" y="59"/>
                  </a:moveTo>
                  <a:cubicBezTo>
                    <a:pt x="30" y="63"/>
                    <a:pt x="26" y="67"/>
                    <a:pt x="22" y="67"/>
                  </a:cubicBezTo>
                  <a:cubicBezTo>
                    <a:pt x="7" y="67"/>
                    <a:pt x="7" y="67"/>
                    <a:pt x="7" y="67"/>
                  </a:cubicBezTo>
                  <a:cubicBezTo>
                    <a:pt x="3" y="67"/>
                    <a:pt x="0" y="63"/>
                    <a:pt x="0" y="59"/>
                  </a:cubicBezTo>
                  <a:cubicBezTo>
                    <a:pt x="0" y="8"/>
                    <a:pt x="0" y="8"/>
                    <a:pt x="0" y="8"/>
                  </a:cubicBezTo>
                  <a:cubicBezTo>
                    <a:pt x="0" y="4"/>
                    <a:pt x="3" y="0"/>
                    <a:pt x="7" y="0"/>
                  </a:cubicBezTo>
                  <a:cubicBezTo>
                    <a:pt x="22" y="0"/>
                    <a:pt x="22" y="0"/>
                    <a:pt x="22" y="0"/>
                  </a:cubicBezTo>
                  <a:cubicBezTo>
                    <a:pt x="26" y="0"/>
                    <a:pt x="30" y="4"/>
                    <a:pt x="30" y="8"/>
                  </a:cubicBezTo>
                  <a:lnTo>
                    <a:pt x="30" y="5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0" name="MIO_PICTOGRAM_PART1">
              <a:extLst>
                <a:ext uri="{FF2B5EF4-FFF2-40B4-BE49-F238E27FC236}">
                  <a16:creationId xmlns:a16="http://schemas.microsoft.com/office/drawing/2014/main" id="{E4D3BFDC-CE5B-3EEF-A08E-AC30CAB24879}"/>
                </a:ext>
              </a:extLst>
            </p:cNvPr>
            <p:cNvSpPr>
              <a:spLocks/>
            </p:cNvSpPr>
            <p:nvPr>
              <p:custDataLst>
                <p:tags r:id="rId6"/>
              </p:custDataLst>
            </p:nvPr>
          </p:nvSpPr>
          <p:spPr bwMode="auto">
            <a:xfrm>
              <a:off x="2258964" y="5186078"/>
              <a:ext cx="106307" cy="315387"/>
            </a:xfrm>
            <a:custGeom>
              <a:avLst/>
              <a:gdLst/>
              <a:ahLst/>
              <a:cxnLst>
                <a:cxn ang="0">
                  <a:pos x="30" y="74"/>
                </a:cxn>
                <a:cxn ang="0">
                  <a:pos x="22" y="83"/>
                </a:cxn>
                <a:cxn ang="0">
                  <a:pos x="8" y="83"/>
                </a:cxn>
                <a:cxn ang="0">
                  <a:pos x="0" y="74"/>
                </a:cxn>
                <a:cxn ang="0">
                  <a:pos x="0" y="8"/>
                </a:cxn>
                <a:cxn ang="0">
                  <a:pos x="8" y="0"/>
                </a:cxn>
                <a:cxn ang="0">
                  <a:pos x="22" y="0"/>
                </a:cxn>
                <a:cxn ang="0">
                  <a:pos x="30" y="8"/>
                </a:cxn>
                <a:cxn ang="0">
                  <a:pos x="30" y="74"/>
                </a:cxn>
              </a:cxnLst>
              <a:rect l="0" t="0" r="r" b="b"/>
              <a:pathLst>
                <a:path w="30" h="83">
                  <a:moveTo>
                    <a:pt x="30" y="74"/>
                  </a:moveTo>
                  <a:cubicBezTo>
                    <a:pt x="30" y="79"/>
                    <a:pt x="26" y="83"/>
                    <a:pt x="22" y="83"/>
                  </a:cubicBezTo>
                  <a:cubicBezTo>
                    <a:pt x="8" y="83"/>
                    <a:pt x="8" y="83"/>
                    <a:pt x="8" y="83"/>
                  </a:cubicBezTo>
                  <a:cubicBezTo>
                    <a:pt x="3" y="83"/>
                    <a:pt x="0" y="79"/>
                    <a:pt x="0" y="74"/>
                  </a:cubicBezTo>
                  <a:cubicBezTo>
                    <a:pt x="0" y="8"/>
                    <a:pt x="0" y="8"/>
                    <a:pt x="0" y="8"/>
                  </a:cubicBezTo>
                  <a:cubicBezTo>
                    <a:pt x="0" y="4"/>
                    <a:pt x="3" y="0"/>
                    <a:pt x="8" y="0"/>
                  </a:cubicBezTo>
                  <a:cubicBezTo>
                    <a:pt x="22" y="0"/>
                    <a:pt x="22" y="0"/>
                    <a:pt x="22" y="0"/>
                  </a:cubicBezTo>
                  <a:cubicBezTo>
                    <a:pt x="26" y="0"/>
                    <a:pt x="30" y="4"/>
                    <a:pt x="30" y="8"/>
                  </a:cubicBezTo>
                  <a:lnTo>
                    <a:pt x="30" y="7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031" name="MIO_PICTOGRAM_PART2">
              <a:extLst>
                <a:ext uri="{FF2B5EF4-FFF2-40B4-BE49-F238E27FC236}">
                  <a16:creationId xmlns:a16="http://schemas.microsoft.com/office/drawing/2014/main" id="{1E1B20D0-7A32-1E30-ED7F-6A454FD750B1}"/>
                </a:ext>
              </a:extLst>
            </p:cNvPr>
            <p:cNvSpPr>
              <a:spLocks/>
            </p:cNvSpPr>
            <p:nvPr>
              <p:custDataLst>
                <p:tags r:id="rId7"/>
              </p:custDataLst>
            </p:nvPr>
          </p:nvSpPr>
          <p:spPr bwMode="auto">
            <a:xfrm>
              <a:off x="2117671" y="5308490"/>
              <a:ext cx="106307" cy="192977"/>
            </a:xfrm>
            <a:custGeom>
              <a:avLst/>
              <a:gdLst/>
              <a:ahLst/>
              <a:cxnLst>
                <a:cxn ang="0">
                  <a:pos x="30" y="43"/>
                </a:cxn>
                <a:cxn ang="0">
                  <a:pos x="22" y="51"/>
                </a:cxn>
                <a:cxn ang="0">
                  <a:pos x="7" y="51"/>
                </a:cxn>
                <a:cxn ang="0">
                  <a:pos x="0" y="43"/>
                </a:cxn>
                <a:cxn ang="0">
                  <a:pos x="0" y="8"/>
                </a:cxn>
                <a:cxn ang="0">
                  <a:pos x="7" y="0"/>
                </a:cxn>
                <a:cxn ang="0">
                  <a:pos x="22" y="0"/>
                </a:cxn>
                <a:cxn ang="0">
                  <a:pos x="30" y="8"/>
                </a:cxn>
                <a:cxn ang="0">
                  <a:pos x="30" y="43"/>
                </a:cxn>
              </a:cxnLst>
              <a:rect l="0" t="0" r="r" b="b"/>
              <a:pathLst>
                <a:path w="30" h="51">
                  <a:moveTo>
                    <a:pt x="30" y="43"/>
                  </a:moveTo>
                  <a:cubicBezTo>
                    <a:pt x="30" y="47"/>
                    <a:pt x="26" y="51"/>
                    <a:pt x="22" y="51"/>
                  </a:cubicBezTo>
                  <a:cubicBezTo>
                    <a:pt x="7" y="51"/>
                    <a:pt x="7" y="51"/>
                    <a:pt x="7" y="51"/>
                  </a:cubicBezTo>
                  <a:cubicBezTo>
                    <a:pt x="3" y="51"/>
                    <a:pt x="0" y="47"/>
                    <a:pt x="0" y="43"/>
                  </a:cubicBezTo>
                  <a:cubicBezTo>
                    <a:pt x="0" y="8"/>
                    <a:pt x="0" y="8"/>
                    <a:pt x="0" y="8"/>
                  </a:cubicBezTo>
                  <a:cubicBezTo>
                    <a:pt x="0" y="4"/>
                    <a:pt x="3" y="0"/>
                    <a:pt x="7" y="0"/>
                  </a:cubicBezTo>
                  <a:cubicBezTo>
                    <a:pt x="22" y="0"/>
                    <a:pt x="22" y="0"/>
                    <a:pt x="22" y="0"/>
                  </a:cubicBezTo>
                  <a:cubicBezTo>
                    <a:pt x="26" y="0"/>
                    <a:pt x="30" y="4"/>
                    <a:pt x="30" y="8"/>
                  </a:cubicBezTo>
                  <a:lnTo>
                    <a:pt x="30" y="43"/>
                  </a:ln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sp>
          <p:nvSpPr>
            <p:cNvPr id="1032" name="MIO_PICTOGRAM_PART2">
              <a:extLst>
                <a:ext uri="{FF2B5EF4-FFF2-40B4-BE49-F238E27FC236}">
                  <a16:creationId xmlns:a16="http://schemas.microsoft.com/office/drawing/2014/main" id="{8052A6A0-15A9-14B7-6D61-9E36FF53FAFF}"/>
                </a:ext>
              </a:extLst>
            </p:cNvPr>
            <p:cNvSpPr>
              <a:spLocks/>
            </p:cNvSpPr>
            <p:nvPr>
              <p:custDataLst>
                <p:tags r:id="rId8"/>
              </p:custDataLst>
            </p:nvPr>
          </p:nvSpPr>
          <p:spPr bwMode="auto">
            <a:xfrm>
              <a:off x="1837775" y="5007503"/>
              <a:ext cx="505965" cy="285144"/>
            </a:xfrm>
            <a:custGeom>
              <a:avLst/>
              <a:gdLst/>
              <a:ahLst/>
              <a:cxnLst>
                <a:cxn ang="0">
                  <a:pos x="143" y="0"/>
                </a:cxn>
                <a:cxn ang="0">
                  <a:pos x="113" y="3"/>
                </a:cxn>
                <a:cxn ang="0">
                  <a:pos x="123" y="13"/>
                </a:cxn>
                <a:cxn ang="0">
                  <a:pos x="91" y="51"/>
                </a:cxn>
                <a:cxn ang="0">
                  <a:pos x="59" y="21"/>
                </a:cxn>
                <a:cxn ang="0">
                  <a:pos x="51" y="21"/>
                </a:cxn>
                <a:cxn ang="0">
                  <a:pos x="3" y="64"/>
                </a:cxn>
                <a:cxn ang="0">
                  <a:pos x="2" y="73"/>
                </a:cxn>
                <a:cxn ang="0">
                  <a:pos x="7" y="75"/>
                </a:cxn>
                <a:cxn ang="0">
                  <a:pos x="10" y="73"/>
                </a:cxn>
                <a:cxn ang="0">
                  <a:pos x="10" y="73"/>
                </a:cxn>
                <a:cxn ang="0">
                  <a:pos x="55" y="33"/>
                </a:cxn>
                <a:cxn ang="0">
                  <a:pos x="88" y="64"/>
                </a:cxn>
                <a:cxn ang="0">
                  <a:pos x="92" y="66"/>
                </a:cxn>
                <a:cxn ang="0">
                  <a:pos x="97" y="64"/>
                </a:cxn>
                <a:cxn ang="0">
                  <a:pos x="131" y="21"/>
                </a:cxn>
                <a:cxn ang="0">
                  <a:pos x="139" y="29"/>
                </a:cxn>
                <a:cxn ang="0">
                  <a:pos x="143" y="0"/>
                </a:cxn>
              </a:cxnLst>
              <a:rect l="0" t="0" r="r" b="b"/>
              <a:pathLst>
                <a:path w="143" h="75">
                  <a:moveTo>
                    <a:pt x="143" y="0"/>
                  </a:moveTo>
                  <a:cubicBezTo>
                    <a:pt x="113" y="3"/>
                    <a:pt x="113" y="3"/>
                    <a:pt x="113" y="3"/>
                  </a:cubicBezTo>
                  <a:cubicBezTo>
                    <a:pt x="123" y="13"/>
                    <a:pt x="123" y="13"/>
                    <a:pt x="123" y="13"/>
                  </a:cubicBezTo>
                  <a:cubicBezTo>
                    <a:pt x="91" y="51"/>
                    <a:pt x="91" y="51"/>
                    <a:pt x="91" y="51"/>
                  </a:cubicBezTo>
                  <a:cubicBezTo>
                    <a:pt x="59" y="21"/>
                    <a:pt x="59" y="21"/>
                    <a:pt x="59" y="21"/>
                  </a:cubicBezTo>
                  <a:cubicBezTo>
                    <a:pt x="56" y="19"/>
                    <a:pt x="53" y="19"/>
                    <a:pt x="51" y="21"/>
                  </a:cubicBezTo>
                  <a:cubicBezTo>
                    <a:pt x="3" y="64"/>
                    <a:pt x="3" y="64"/>
                    <a:pt x="3" y="64"/>
                  </a:cubicBezTo>
                  <a:cubicBezTo>
                    <a:pt x="0" y="67"/>
                    <a:pt x="0" y="70"/>
                    <a:pt x="2" y="73"/>
                  </a:cubicBezTo>
                  <a:cubicBezTo>
                    <a:pt x="3" y="74"/>
                    <a:pt x="5" y="75"/>
                    <a:pt x="7" y="75"/>
                  </a:cubicBezTo>
                  <a:cubicBezTo>
                    <a:pt x="8" y="75"/>
                    <a:pt x="9" y="74"/>
                    <a:pt x="10" y="73"/>
                  </a:cubicBezTo>
                  <a:cubicBezTo>
                    <a:pt x="10" y="73"/>
                    <a:pt x="10" y="73"/>
                    <a:pt x="10" y="73"/>
                  </a:cubicBezTo>
                  <a:cubicBezTo>
                    <a:pt x="55" y="33"/>
                    <a:pt x="55" y="33"/>
                    <a:pt x="55" y="33"/>
                  </a:cubicBezTo>
                  <a:cubicBezTo>
                    <a:pt x="88" y="64"/>
                    <a:pt x="88" y="64"/>
                    <a:pt x="88" y="64"/>
                  </a:cubicBezTo>
                  <a:cubicBezTo>
                    <a:pt x="89" y="65"/>
                    <a:pt x="91" y="66"/>
                    <a:pt x="92" y="66"/>
                  </a:cubicBezTo>
                  <a:cubicBezTo>
                    <a:pt x="94" y="66"/>
                    <a:pt x="96" y="65"/>
                    <a:pt x="97" y="64"/>
                  </a:cubicBezTo>
                  <a:cubicBezTo>
                    <a:pt x="131" y="21"/>
                    <a:pt x="131" y="21"/>
                    <a:pt x="131" y="21"/>
                  </a:cubicBezTo>
                  <a:cubicBezTo>
                    <a:pt x="139" y="29"/>
                    <a:pt x="139" y="29"/>
                    <a:pt x="139" y="29"/>
                  </a:cubicBezTo>
                  <a:lnTo>
                    <a:pt x="143" y="0"/>
                  </a:lnTo>
                  <a:close/>
                </a:path>
              </a:pathLst>
            </a:custGeom>
            <a:grpFill/>
            <a:ln>
              <a:noFill/>
              <a:headEnd/>
              <a:tailEnd/>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de-DE" dirty="0"/>
            </a:p>
          </p:txBody>
        </p:sp>
      </p:grpSp>
      <p:sp>
        <p:nvSpPr>
          <p:cNvPr id="1033" name="Textfeld 1032">
            <a:extLst>
              <a:ext uri="{FF2B5EF4-FFF2-40B4-BE49-F238E27FC236}">
                <a16:creationId xmlns:a16="http://schemas.microsoft.com/office/drawing/2014/main" id="{70889484-B90C-20DC-93F4-250310B6CC58}"/>
              </a:ext>
            </a:extLst>
          </p:cNvPr>
          <p:cNvSpPr txBox="1"/>
          <p:nvPr/>
        </p:nvSpPr>
        <p:spPr>
          <a:xfrm>
            <a:off x="3025831" y="5081913"/>
            <a:ext cx="498273" cy="492443"/>
          </a:xfrm>
          <a:prstGeom prst="rect">
            <a:avLst/>
          </a:prstGeom>
          <a:noFill/>
        </p:spPr>
        <p:txBody>
          <a:bodyPr wrap="square" lIns="0" tIns="0" rIns="0" bIns="0" rtlCol="0">
            <a:spAutoFit/>
          </a:bodyPr>
          <a:lstStyle/>
          <a:p>
            <a:pPr algn="ctr"/>
            <a:r>
              <a:rPr lang="de-DE" sz="3200" b="1" dirty="0">
                <a:solidFill>
                  <a:schemeClr val="tx2"/>
                </a:solidFill>
              </a:rPr>
              <a:t>9</a:t>
            </a:r>
          </a:p>
        </p:txBody>
      </p:sp>
      <p:sp>
        <p:nvSpPr>
          <p:cNvPr id="1034" name="Textfeld 1033">
            <a:extLst>
              <a:ext uri="{FF2B5EF4-FFF2-40B4-BE49-F238E27FC236}">
                <a16:creationId xmlns:a16="http://schemas.microsoft.com/office/drawing/2014/main" id="{8B04E454-0DC9-E0EF-7BE7-0CE36BDFBC05}"/>
              </a:ext>
            </a:extLst>
          </p:cNvPr>
          <p:cNvSpPr txBox="1"/>
          <p:nvPr/>
        </p:nvSpPr>
        <p:spPr>
          <a:xfrm>
            <a:off x="894565" y="5631610"/>
            <a:ext cx="1136261" cy="369332"/>
          </a:xfrm>
          <a:prstGeom prst="rect">
            <a:avLst/>
          </a:prstGeom>
          <a:noFill/>
        </p:spPr>
        <p:txBody>
          <a:bodyPr wrap="square" lIns="0" tIns="0" rIns="0" bIns="0" rtlCol="0">
            <a:spAutoFit/>
          </a:bodyPr>
          <a:lstStyle/>
          <a:p>
            <a:pPr algn="ctr"/>
            <a:r>
              <a:rPr lang="de-DE" sz="1200" i="1" dirty="0">
                <a:solidFill>
                  <a:schemeClr val="dk1"/>
                </a:solidFill>
              </a:rPr>
              <a:t>Bisherige Anzahl Folien</a:t>
            </a:r>
          </a:p>
        </p:txBody>
      </p:sp>
      <p:sp>
        <p:nvSpPr>
          <p:cNvPr id="1035" name="Textfeld 1034">
            <a:extLst>
              <a:ext uri="{FF2B5EF4-FFF2-40B4-BE49-F238E27FC236}">
                <a16:creationId xmlns:a16="http://schemas.microsoft.com/office/drawing/2014/main" id="{0138B07C-E822-066E-52F7-53BF4EE9FCAA}"/>
              </a:ext>
            </a:extLst>
          </p:cNvPr>
          <p:cNvSpPr txBox="1"/>
          <p:nvPr/>
        </p:nvSpPr>
        <p:spPr>
          <a:xfrm>
            <a:off x="2917706" y="5656218"/>
            <a:ext cx="750163" cy="307777"/>
          </a:xfrm>
          <a:prstGeom prst="rect">
            <a:avLst/>
          </a:prstGeom>
          <a:noFill/>
        </p:spPr>
        <p:txBody>
          <a:bodyPr wrap="square" lIns="0" tIns="0" rIns="0" bIns="0" rtlCol="0">
            <a:spAutoFit/>
          </a:bodyPr>
          <a:lstStyle/>
          <a:p>
            <a:pPr algn="ctr"/>
            <a:r>
              <a:rPr lang="de-DE" sz="1000" i="1" dirty="0">
                <a:solidFill>
                  <a:schemeClr val="dk1"/>
                </a:solidFill>
              </a:rPr>
              <a:t>Neu Anzahl Folien</a:t>
            </a:r>
          </a:p>
        </p:txBody>
      </p:sp>
      <p:sp>
        <p:nvSpPr>
          <p:cNvPr id="1036" name="Inhaltsplatzhalter 2">
            <a:extLst>
              <a:ext uri="{FF2B5EF4-FFF2-40B4-BE49-F238E27FC236}">
                <a16:creationId xmlns:a16="http://schemas.microsoft.com/office/drawing/2014/main" id="{85E81916-B7ED-B850-D161-C55A598C4759}"/>
              </a:ext>
            </a:extLst>
          </p:cNvPr>
          <p:cNvSpPr txBox="1">
            <a:spLocks/>
          </p:cNvSpPr>
          <p:nvPr/>
        </p:nvSpPr>
        <p:spPr>
          <a:xfrm>
            <a:off x="2789485" y="4915099"/>
            <a:ext cx="987177" cy="1140035"/>
          </a:xfrm>
          <a:custGeom>
            <a:avLst/>
            <a:gdLst>
              <a:gd name="connsiteX0" fmla="*/ 0 w 987177"/>
              <a:gd name="connsiteY0" fmla="*/ 0 h 1140035"/>
              <a:gd name="connsiteX1" fmla="*/ 987177 w 987177"/>
              <a:gd name="connsiteY1" fmla="*/ 0 h 1140035"/>
              <a:gd name="connsiteX2" fmla="*/ 987177 w 987177"/>
              <a:gd name="connsiteY2" fmla="*/ 1140035 h 1140035"/>
              <a:gd name="connsiteX3" fmla="*/ 0 w 987177"/>
              <a:gd name="connsiteY3" fmla="*/ 1140035 h 1140035"/>
              <a:gd name="connsiteX4" fmla="*/ 0 w 987177"/>
              <a:gd name="connsiteY4" fmla="*/ 0 h 11400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7177" h="1140035" fill="none" extrusionOk="0">
                <a:moveTo>
                  <a:pt x="0" y="0"/>
                </a:moveTo>
                <a:cubicBezTo>
                  <a:pt x="360302" y="-13297"/>
                  <a:pt x="574523" y="54422"/>
                  <a:pt x="987177" y="0"/>
                </a:cubicBezTo>
                <a:cubicBezTo>
                  <a:pt x="922371" y="403900"/>
                  <a:pt x="1079824" y="596994"/>
                  <a:pt x="987177" y="1140035"/>
                </a:cubicBezTo>
                <a:cubicBezTo>
                  <a:pt x="529506" y="1186954"/>
                  <a:pt x="342919" y="1111964"/>
                  <a:pt x="0" y="1140035"/>
                </a:cubicBezTo>
                <a:cubicBezTo>
                  <a:pt x="-21769" y="758141"/>
                  <a:pt x="-39980" y="250341"/>
                  <a:pt x="0" y="0"/>
                </a:cubicBezTo>
                <a:close/>
              </a:path>
              <a:path w="987177" h="1140035" stroke="0" extrusionOk="0">
                <a:moveTo>
                  <a:pt x="0" y="0"/>
                </a:moveTo>
                <a:cubicBezTo>
                  <a:pt x="274894" y="-49876"/>
                  <a:pt x="561183" y="-20447"/>
                  <a:pt x="987177" y="0"/>
                </a:cubicBezTo>
                <a:cubicBezTo>
                  <a:pt x="1054365" y="151554"/>
                  <a:pt x="922013" y="701567"/>
                  <a:pt x="987177" y="1140035"/>
                </a:cubicBezTo>
                <a:cubicBezTo>
                  <a:pt x="737412" y="1118478"/>
                  <a:pt x="158450" y="1148513"/>
                  <a:pt x="0" y="1140035"/>
                </a:cubicBezTo>
                <a:cubicBezTo>
                  <a:pt x="-62958" y="598257"/>
                  <a:pt x="-26407" y="547976"/>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1037" name="Inhaltsplatzhalter 2">
            <a:extLst>
              <a:ext uri="{FF2B5EF4-FFF2-40B4-BE49-F238E27FC236}">
                <a16:creationId xmlns:a16="http://schemas.microsoft.com/office/drawing/2014/main" id="{4A15A322-57E7-B99F-9134-A183668E5AD5}"/>
              </a:ext>
            </a:extLst>
          </p:cNvPr>
          <p:cNvSpPr txBox="1">
            <a:spLocks/>
          </p:cNvSpPr>
          <p:nvPr/>
        </p:nvSpPr>
        <p:spPr>
          <a:xfrm>
            <a:off x="5422231" y="3500086"/>
            <a:ext cx="4660231" cy="2598513"/>
          </a:xfrm>
          <a:custGeom>
            <a:avLst/>
            <a:gdLst>
              <a:gd name="connsiteX0" fmla="*/ 0 w 4660231"/>
              <a:gd name="connsiteY0" fmla="*/ 0 h 2598513"/>
              <a:gd name="connsiteX1" fmla="*/ 4660231 w 4660231"/>
              <a:gd name="connsiteY1" fmla="*/ 0 h 2598513"/>
              <a:gd name="connsiteX2" fmla="*/ 4660231 w 4660231"/>
              <a:gd name="connsiteY2" fmla="*/ 2598513 h 2598513"/>
              <a:gd name="connsiteX3" fmla="*/ 0 w 4660231"/>
              <a:gd name="connsiteY3" fmla="*/ 2598513 h 2598513"/>
              <a:gd name="connsiteX4" fmla="*/ 0 w 4660231"/>
              <a:gd name="connsiteY4" fmla="*/ 0 h 2598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0231" h="2598513" fill="none" extrusionOk="0">
                <a:moveTo>
                  <a:pt x="0" y="0"/>
                </a:moveTo>
                <a:cubicBezTo>
                  <a:pt x="1401936" y="-77238"/>
                  <a:pt x="3305651" y="-79550"/>
                  <a:pt x="4660231" y="0"/>
                </a:cubicBezTo>
                <a:cubicBezTo>
                  <a:pt x="4702052" y="934579"/>
                  <a:pt x="4504045" y="2001707"/>
                  <a:pt x="4660231" y="2598513"/>
                </a:cubicBezTo>
                <a:cubicBezTo>
                  <a:pt x="3359328" y="2685332"/>
                  <a:pt x="1172260" y="2622437"/>
                  <a:pt x="0" y="2598513"/>
                </a:cubicBezTo>
                <a:cubicBezTo>
                  <a:pt x="34590" y="1318222"/>
                  <a:pt x="1147" y="1096626"/>
                  <a:pt x="0" y="0"/>
                </a:cubicBezTo>
                <a:close/>
              </a:path>
              <a:path w="4660231" h="2598513" stroke="0" extrusionOk="0">
                <a:moveTo>
                  <a:pt x="0" y="0"/>
                </a:moveTo>
                <a:cubicBezTo>
                  <a:pt x="760955" y="-41041"/>
                  <a:pt x="3789857" y="-64862"/>
                  <a:pt x="4660231" y="0"/>
                </a:cubicBezTo>
                <a:cubicBezTo>
                  <a:pt x="4587480" y="1235403"/>
                  <a:pt x="4796702" y="1630521"/>
                  <a:pt x="4660231" y="2598513"/>
                </a:cubicBezTo>
                <a:cubicBezTo>
                  <a:pt x="3492350" y="2758512"/>
                  <a:pt x="817953" y="2645383"/>
                  <a:pt x="0" y="2598513"/>
                </a:cubicBezTo>
                <a:cubicBezTo>
                  <a:pt x="-95498" y="1915379"/>
                  <a:pt x="-145830" y="872880"/>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cxnSp>
        <p:nvCxnSpPr>
          <p:cNvPr id="1039" name="Gerade Verbindung mit Pfeil 1038">
            <a:extLst>
              <a:ext uri="{FF2B5EF4-FFF2-40B4-BE49-F238E27FC236}">
                <a16:creationId xmlns:a16="http://schemas.microsoft.com/office/drawing/2014/main" id="{562DDC6A-CAE7-670D-706A-3BEEA7461AE2}"/>
              </a:ext>
            </a:extLst>
          </p:cNvPr>
          <p:cNvCxnSpPr>
            <a:cxnSpLocks/>
          </p:cNvCxnSpPr>
          <p:nvPr/>
        </p:nvCxnSpPr>
        <p:spPr>
          <a:xfrm>
            <a:off x="2380412" y="5458825"/>
            <a:ext cx="304746" cy="10122"/>
          </a:xfrm>
          <a:prstGeom prst="straightConnector1">
            <a:avLst/>
          </a:prstGeom>
          <a:ln w="5715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041" name="Textfeld 1040">
            <a:extLst>
              <a:ext uri="{FF2B5EF4-FFF2-40B4-BE49-F238E27FC236}">
                <a16:creationId xmlns:a16="http://schemas.microsoft.com/office/drawing/2014/main" id="{3F1123A7-4BDC-80BB-8872-771FABDDB88F}"/>
              </a:ext>
            </a:extLst>
          </p:cNvPr>
          <p:cNvSpPr txBox="1"/>
          <p:nvPr/>
        </p:nvSpPr>
        <p:spPr>
          <a:xfrm>
            <a:off x="5696825" y="3318929"/>
            <a:ext cx="1939943"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Beispiel Auszüge</a:t>
            </a:r>
          </a:p>
        </p:txBody>
      </p:sp>
      <p:pic>
        <p:nvPicPr>
          <p:cNvPr id="1053" name="Grafik 1052">
            <a:extLst>
              <a:ext uri="{FF2B5EF4-FFF2-40B4-BE49-F238E27FC236}">
                <a16:creationId xmlns:a16="http://schemas.microsoft.com/office/drawing/2014/main" id="{812B9B62-2547-EFD7-966A-8F2A0F747035}"/>
              </a:ext>
            </a:extLst>
          </p:cNvPr>
          <p:cNvPicPr>
            <a:picLocks noChangeAspect="1"/>
          </p:cNvPicPr>
          <p:nvPr/>
        </p:nvPicPr>
        <p:blipFill>
          <a:blip r:embed="rId19"/>
          <a:stretch>
            <a:fillRect/>
          </a:stretch>
        </p:blipFill>
        <p:spPr>
          <a:xfrm>
            <a:off x="5696825" y="3756010"/>
            <a:ext cx="4273501" cy="2224998"/>
          </a:xfrm>
          <a:prstGeom prst="rect">
            <a:avLst/>
          </a:prstGeom>
        </p:spPr>
      </p:pic>
    </p:spTree>
    <p:extLst>
      <p:ext uri="{BB962C8B-B14F-4D97-AF65-F5344CB8AC3E}">
        <p14:creationId xmlns:p14="http://schemas.microsoft.com/office/powerpoint/2010/main" val="837475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2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3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3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3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0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5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1024" grpId="0"/>
      <p:bldP spid="1033" grpId="0"/>
      <p:bldP spid="1034" grpId="0"/>
      <p:bldP spid="1035" grpId="0"/>
      <p:bldP spid="1036" grpId="0" animBg="1"/>
      <p:bldP spid="1037" grpId="0" animBg="1"/>
      <p:bldP spid="104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p:txBody>
          <a:bodyPr/>
          <a:lstStyle/>
          <a:p>
            <a:r>
              <a:rPr lang="de-DE"/>
              <a:t>Florian Bez</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5</a:t>
            </a:fld>
            <a:r>
              <a:rPr lang="de-DE"/>
              <a:t>  </a:t>
            </a:r>
            <a:r>
              <a:rPr lang="de-DE" b="0">
                <a:solidFill>
                  <a:schemeClr val="accent1"/>
                </a:solidFill>
              </a:rPr>
              <a:t>|</a:t>
            </a:r>
            <a:endParaRPr lang="de-DE" sz="900" b="0">
              <a:solidFill>
                <a:schemeClr val="accent1"/>
              </a:solidFill>
            </a:endParaRPr>
          </a:p>
        </p:txBody>
      </p:sp>
      <p:sp>
        <p:nvSpPr>
          <p:cNvPr id="17" name="Textfeld 16">
            <a:extLst>
              <a:ext uri="{FF2B5EF4-FFF2-40B4-BE49-F238E27FC236}">
                <a16:creationId xmlns:a16="http://schemas.microsoft.com/office/drawing/2014/main" id="{6903936D-063B-459C-8713-DA28821DA1C2}"/>
              </a:ext>
            </a:extLst>
          </p:cNvPr>
          <p:cNvSpPr txBox="1"/>
          <p:nvPr/>
        </p:nvSpPr>
        <p:spPr>
          <a:xfrm>
            <a:off x="589701" y="996998"/>
            <a:ext cx="2950823" cy="738664"/>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200" b="1" dirty="0"/>
              <a:t>SYNCHRO Haus </a:t>
            </a:r>
            <a:r>
              <a:rPr lang="de-DE" sz="1200" dirty="0"/>
              <a:t>als LIVE Erlebnis. Teilnehmer ordnen verschiedene Kärtchen dem SYNCHRO Haus auf einer großen Magnettafel an.</a:t>
            </a:r>
          </a:p>
        </p:txBody>
      </p:sp>
      <p:sp>
        <p:nvSpPr>
          <p:cNvPr id="1037" name="Inhaltsplatzhalter 2">
            <a:extLst>
              <a:ext uri="{FF2B5EF4-FFF2-40B4-BE49-F238E27FC236}">
                <a16:creationId xmlns:a16="http://schemas.microsoft.com/office/drawing/2014/main" id="{4A15A322-57E7-B99F-9134-A183668E5AD5}"/>
              </a:ext>
            </a:extLst>
          </p:cNvPr>
          <p:cNvSpPr txBox="1">
            <a:spLocks/>
          </p:cNvSpPr>
          <p:nvPr/>
        </p:nvSpPr>
        <p:spPr>
          <a:xfrm>
            <a:off x="354749" y="809326"/>
            <a:ext cx="3849591" cy="3260547"/>
          </a:xfrm>
          <a:custGeom>
            <a:avLst/>
            <a:gdLst>
              <a:gd name="connsiteX0" fmla="*/ 0 w 3849591"/>
              <a:gd name="connsiteY0" fmla="*/ 0 h 3260547"/>
              <a:gd name="connsiteX1" fmla="*/ 3849591 w 3849591"/>
              <a:gd name="connsiteY1" fmla="*/ 0 h 3260547"/>
              <a:gd name="connsiteX2" fmla="*/ 3849591 w 3849591"/>
              <a:gd name="connsiteY2" fmla="*/ 3260547 h 3260547"/>
              <a:gd name="connsiteX3" fmla="*/ 0 w 3849591"/>
              <a:gd name="connsiteY3" fmla="*/ 3260547 h 3260547"/>
              <a:gd name="connsiteX4" fmla="*/ 0 w 3849591"/>
              <a:gd name="connsiteY4" fmla="*/ 0 h 3260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49591" h="3260547" fill="none" extrusionOk="0">
                <a:moveTo>
                  <a:pt x="0" y="0"/>
                </a:moveTo>
                <a:cubicBezTo>
                  <a:pt x="1512866" y="-77238"/>
                  <a:pt x="3134728" y="-79550"/>
                  <a:pt x="3849591" y="0"/>
                </a:cubicBezTo>
                <a:cubicBezTo>
                  <a:pt x="3891412" y="742756"/>
                  <a:pt x="3693405" y="2540437"/>
                  <a:pt x="3849591" y="3260547"/>
                </a:cubicBezTo>
                <a:cubicBezTo>
                  <a:pt x="3374180" y="3347366"/>
                  <a:pt x="505954" y="3284471"/>
                  <a:pt x="0" y="3260547"/>
                </a:cubicBezTo>
                <a:cubicBezTo>
                  <a:pt x="34590" y="2869963"/>
                  <a:pt x="1147" y="1368732"/>
                  <a:pt x="0" y="0"/>
                </a:cubicBezTo>
                <a:close/>
              </a:path>
              <a:path w="3849591" h="3260547" stroke="0" extrusionOk="0">
                <a:moveTo>
                  <a:pt x="0" y="0"/>
                </a:moveTo>
                <a:cubicBezTo>
                  <a:pt x="1888236" y="-41041"/>
                  <a:pt x="2507511" y="-64862"/>
                  <a:pt x="3849591" y="0"/>
                </a:cubicBezTo>
                <a:cubicBezTo>
                  <a:pt x="3776840" y="464271"/>
                  <a:pt x="3986062" y="2610647"/>
                  <a:pt x="3849591" y="3260547"/>
                </a:cubicBezTo>
                <a:cubicBezTo>
                  <a:pt x="2353711" y="3420546"/>
                  <a:pt x="1848312" y="3307417"/>
                  <a:pt x="0" y="3260547"/>
                </a:cubicBezTo>
                <a:cubicBezTo>
                  <a:pt x="-95498" y="1925869"/>
                  <a:pt x="-145830" y="940743"/>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1041" name="Textfeld 1040">
            <a:extLst>
              <a:ext uri="{FF2B5EF4-FFF2-40B4-BE49-F238E27FC236}">
                <a16:creationId xmlns:a16="http://schemas.microsoft.com/office/drawing/2014/main" id="{3F1123A7-4BDC-80BB-8872-771FABDDB88F}"/>
              </a:ext>
            </a:extLst>
          </p:cNvPr>
          <p:cNvSpPr txBox="1"/>
          <p:nvPr/>
        </p:nvSpPr>
        <p:spPr>
          <a:xfrm>
            <a:off x="566583" y="628107"/>
            <a:ext cx="1792916"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SYNCHRO Haus</a:t>
            </a:r>
          </a:p>
        </p:txBody>
      </p:sp>
      <p:pic>
        <p:nvPicPr>
          <p:cNvPr id="1043" name="Grafik 1042">
            <a:extLst>
              <a:ext uri="{FF2B5EF4-FFF2-40B4-BE49-F238E27FC236}">
                <a16:creationId xmlns:a16="http://schemas.microsoft.com/office/drawing/2014/main" id="{C808EAD4-BDAF-E6A4-162F-3A7BBB73B38F}"/>
              </a:ext>
            </a:extLst>
          </p:cNvPr>
          <p:cNvPicPr>
            <a:picLocks noChangeAspect="1"/>
          </p:cNvPicPr>
          <p:nvPr/>
        </p:nvPicPr>
        <p:blipFill>
          <a:blip r:embed="rId3"/>
          <a:stretch>
            <a:fillRect/>
          </a:stretch>
        </p:blipFill>
        <p:spPr>
          <a:xfrm>
            <a:off x="1614850" y="2313123"/>
            <a:ext cx="2311897" cy="1622757"/>
          </a:xfrm>
          <a:prstGeom prst="rect">
            <a:avLst/>
          </a:prstGeom>
          <a:ln>
            <a:noFill/>
          </a:ln>
          <a:effectLst>
            <a:outerShdw blurRad="292100" dist="139700" dir="2700000" algn="tl" rotWithShape="0">
              <a:srgbClr val="333333">
                <a:alpha val="65000"/>
              </a:srgbClr>
            </a:outerShdw>
          </a:effectLst>
        </p:spPr>
      </p:pic>
      <p:pic>
        <p:nvPicPr>
          <p:cNvPr id="1045" name="Grafik 1044">
            <a:extLst>
              <a:ext uri="{FF2B5EF4-FFF2-40B4-BE49-F238E27FC236}">
                <a16:creationId xmlns:a16="http://schemas.microsoft.com/office/drawing/2014/main" id="{FD152646-88C5-D32A-70C5-93E528FCC422}"/>
              </a:ext>
            </a:extLst>
          </p:cNvPr>
          <p:cNvPicPr>
            <a:picLocks noChangeAspect="1"/>
          </p:cNvPicPr>
          <p:nvPr/>
        </p:nvPicPr>
        <p:blipFill>
          <a:blip r:embed="rId4">
            <a:duotone>
              <a:schemeClr val="accent4">
                <a:shade val="45000"/>
                <a:satMod val="135000"/>
              </a:schemeClr>
              <a:prstClr val="white"/>
            </a:duotone>
          </a:blip>
          <a:stretch>
            <a:fillRect/>
          </a:stretch>
        </p:blipFill>
        <p:spPr>
          <a:xfrm rot="21086340">
            <a:off x="515576" y="2069330"/>
            <a:ext cx="1008898" cy="597786"/>
          </a:xfrm>
          <a:prstGeom prst="rect">
            <a:avLst/>
          </a:prstGeom>
          <a:ln>
            <a:noFill/>
          </a:ln>
          <a:effectLst>
            <a:outerShdw blurRad="292100" dist="139700" dir="2700000" algn="tl" rotWithShape="0">
              <a:srgbClr val="333333">
                <a:alpha val="65000"/>
              </a:srgbClr>
            </a:outerShdw>
          </a:effectLst>
        </p:spPr>
      </p:pic>
      <p:pic>
        <p:nvPicPr>
          <p:cNvPr id="1047" name="Grafik 1046">
            <a:extLst>
              <a:ext uri="{FF2B5EF4-FFF2-40B4-BE49-F238E27FC236}">
                <a16:creationId xmlns:a16="http://schemas.microsoft.com/office/drawing/2014/main" id="{C8A9B4F4-7BA4-56C6-F531-9EFA1D8A5C0C}"/>
              </a:ext>
            </a:extLst>
          </p:cNvPr>
          <p:cNvPicPr>
            <a:picLocks noChangeAspect="1"/>
          </p:cNvPicPr>
          <p:nvPr/>
        </p:nvPicPr>
        <p:blipFill>
          <a:blip r:embed="rId5"/>
          <a:stretch>
            <a:fillRect/>
          </a:stretch>
        </p:blipFill>
        <p:spPr>
          <a:xfrm rot="237195">
            <a:off x="1612991" y="1863101"/>
            <a:ext cx="909245" cy="553330"/>
          </a:xfrm>
          <a:prstGeom prst="rect">
            <a:avLst/>
          </a:prstGeom>
          <a:ln>
            <a:noFill/>
          </a:ln>
          <a:effectLst>
            <a:outerShdw blurRad="292100" dist="139700" dir="2700000" algn="tl" rotWithShape="0">
              <a:srgbClr val="333333">
                <a:alpha val="65000"/>
              </a:srgbClr>
            </a:outerShdw>
          </a:effectLst>
        </p:spPr>
      </p:pic>
      <p:pic>
        <p:nvPicPr>
          <p:cNvPr id="1049" name="Grafik 1048">
            <a:extLst>
              <a:ext uri="{FF2B5EF4-FFF2-40B4-BE49-F238E27FC236}">
                <a16:creationId xmlns:a16="http://schemas.microsoft.com/office/drawing/2014/main" id="{6D1EADBD-DB8E-B24C-01D6-5FCE09125983}"/>
              </a:ext>
            </a:extLst>
          </p:cNvPr>
          <p:cNvPicPr>
            <a:picLocks noChangeAspect="1"/>
          </p:cNvPicPr>
          <p:nvPr/>
        </p:nvPicPr>
        <p:blipFill>
          <a:blip r:embed="rId6"/>
          <a:stretch>
            <a:fillRect/>
          </a:stretch>
        </p:blipFill>
        <p:spPr>
          <a:xfrm rot="21125826">
            <a:off x="755853" y="2905763"/>
            <a:ext cx="1149016" cy="572094"/>
          </a:xfrm>
          <a:prstGeom prst="rect">
            <a:avLst/>
          </a:prstGeom>
          <a:ln>
            <a:noFill/>
          </a:ln>
          <a:effectLst>
            <a:outerShdw blurRad="292100" dist="139700" dir="2700000" algn="tl" rotWithShape="0">
              <a:srgbClr val="333333">
                <a:alpha val="65000"/>
              </a:srgbClr>
            </a:outerShdw>
          </a:effectLst>
        </p:spPr>
      </p:pic>
      <p:sp>
        <p:nvSpPr>
          <p:cNvPr id="1050" name="Textfeld 1049">
            <a:extLst>
              <a:ext uri="{FF2B5EF4-FFF2-40B4-BE49-F238E27FC236}">
                <a16:creationId xmlns:a16="http://schemas.microsoft.com/office/drawing/2014/main" id="{574B2925-7578-4478-F97F-422B373DF364}"/>
              </a:ext>
            </a:extLst>
          </p:cNvPr>
          <p:cNvSpPr txBox="1"/>
          <p:nvPr/>
        </p:nvSpPr>
        <p:spPr>
          <a:xfrm>
            <a:off x="566583" y="4672892"/>
            <a:ext cx="2273384" cy="553998"/>
          </a:xfrm>
          <a:prstGeom prst="rect">
            <a:avLst/>
          </a:prstGeom>
          <a:noFill/>
        </p:spPr>
        <p:txBody>
          <a:bodyPr wrap="square" lIns="0" tIns="0" rIns="0" bIns="0" rtlCol="0">
            <a:spAutoFit/>
          </a:bodyPr>
          <a:lstStyle/>
          <a:p>
            <a:pPr algn="l"/>
            <a:r>
              <a:rPr lang="de-DE" sz="1200" b="1" dirty="0"/>
              <a:t>2 Spielrunden</a:t>
            </a:r>
            <a:r>
              <a:rPr lang="de-DE" sz="1200" dirty="0"/>
              <a:t>, Suchen von Werkzeugen in definierter </a:t>
            </a:r>
            <a:r>
              <a:rPr lang="de-DE" sz="1200" b="1" dirty="0"/>
              <a:t>Reihenfolge</a:t>
            </a:r>
            <a:r>
              <a:rPr lang="de-DE" sz="1200" dirty="0"/>
              <a:t>.</a:t>
            </a:r>
          </a:p>
        </p:txBody>
      </p:sp>
      <p:sp>
        <p:nvSpPr>
          <p:cNvPr id="1051" name="Textfeld 1050">
            <a:extLst>
              <a:ext uri="{FF2B5EF4-FFF2-40B4-BE49-F238E27FC236}">
                <a16:creationId xmlns:a16="http://schemas.microsoft.com/office/drawing/2014/main" id="{105B05BB-D371-0489-55AC-1C9420EA15BF}"/>
              </a:ext>
            </a:extLst>
          </p:cNvPr>
          <p:cNvSpPr txBox="1"/>
          <p:nvPr/>
        </p:nvSpPr>
        <p:spPr>
          <a:xfrm>
            <a:off x="4637701" y="1020461"/>
            <a:ext cx="3058560" cy="1292662"/>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200" b="1" dirty="0"/>
              <a:t>Zusammenbau eines Spielzeugautos – </a:t>
            </a:r>
            <a:r>
              <a:rPr lang="de-DE" sz="1200" dirty="0"/>
              <a:t>Einfache Prozessverbesserungen bringen mehr Output</a:t>
            </a:r>
          </a:p>
          <a:p>
            <a:pPr marL="285750" indent="-285750" algn="l">
              <a:buFont typeface="Wingdings" panose="05000000000000000000" pitchFamily="2" charset="2"/>
              <a:buChar char="§"/>
            </a:pPr>
            <a:r>
              <a:rPr lang="de-DE" sz="1200" dirty="0"/>
              <a:t>Durchspielen </a:t>
            </a:r>
            <a:r>
              <a:rPr lang="de-DE" sz="1200" b="1" dirty="0"/>
              <a:t>mehrerer Runden </a:t>
            </a:r>
            <a:r>
              <a:rPr lang="de-DE" sz="1200" dirty="0"/>
              <a:t>mit verschiedenen </a:t>
            </a:r>
            <a:r>
              <a:rPr lang="de-DE" sz="1200" b="1" dirty="0"/>
              <a:t>Optimierungspotentialen</a:t>
            </a:r>
            <a:r>
              <a:rPr lang="de-DE" sz="1200" dirty="0"/>
              <a:t> (Fließen, Takten, Standardisierung,..)</a:t>
            </a:r>
          </a:p>
        </p:txBody>
      </p:sp>
      <p:sp>
        <p:nvSpPr>
          <p:cNvPr id="12" name="Inhaltsplatzhalter 2">
            <a:extLst>
              <a:ext uri="{FF2B5EF4-FFF2-40B4-BE49-F238E27FC236}">
                <a16:creationId xmlns:a16="http://schemas.microsoft.com/office/drawing/2014/main" id="{75E3AB1A-9EDD-998A-BC02-BC9EB580E9B2}"/>
              </a:ext>
            </a:extLst>
          </p:cNvPr>
          <p:cNvSpPr txBox="1">
            <a:spLocks/>
          </p:cNvSpPr>
          <p:nvPr/>
        </p:nvSpPr>
        <p:spPr>
          <a:xfrm>
            <a:off x="4416174" y="834190"/>
            <a:ext cx="3622229" cy="3235683"/>
          </a:xfrm>
          <a:custGeom>
            <a:avLst/>
            <a:gdLst>
              <a:gd name="connsiteX0" fmla="*/ 0 w 3622229"/>
              <a:gd name="connsiteY0" fmla="*/ 0 h 3235683"/>
              <a:gd name="connsiteX1" fmla="*/ 3622229 w 3622229"/>
              <a:gd name="connsiteY1" fmla="*/ 0 h 3235683"/>
              <a:gd name="connsiteX2" fmla="*/ 3622229 w 3622229"/>
              <a:gd name="connsiteY2" fmla="*/ 3235683 h 3235683"/>
              <a:gd name="connsiteX3" fmla="*/ 0 w 3622229"/>
              <a:gd name="connsiteY3" fmla="*/ 3235683 h 3235683"/>
              <a:gd name="connsiteX4" fmla="*/ 0 w 3622229"/>
              <a:gd name="connsiteY4" fmla="*/ 0 h 32356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229" h="3235683" fill="none" extrusionOk="0">
                <a:moveTo>
                  <a:pt x="0" y="0"/>
                </a:moveTo>
                <a:cubicBezTo>
                  <a:pt x="1149502" y="-77238"/>
                  <a:pt x="1844274" y="-79550"/>
                  <a:pt x="3622229" y="0"/>
                </a:cubicBezTo>
                <a:cubicBezTo>
                  <a:pt x="3664050" y="1257441"/>
                  <a:pt x="3466043" y="1762414"/>
                  <a:pt x="3622229" y="3235683"/>
                </a:cubicBezTo>
                <a:cubicBezTo>
                  <a:pt x="2843836" y="3322502"/>
                  <a:pt x="377406" y="3259607"/>
                  <a:pt x="0" y="3235683"/>
                </a:cubicBezTo>
                <a:cubicBezTo>
                  <a:pt x="34590" y="2163509"/>
                  <a:pt x="1147" y="1365201"/>
                  <a:pt x="0" y="0"/>
                </a:cubicBezTo>
                <a:close/>
              </a:path>
              <a:path w="3622229" h="3235683" stroke="0" extrusionOk="0">
                <a:moveTo>
                  <a:pt x="0" y="0"/>
                </a:moveTo>
                <a:cubicBezTo>
                  <a:pt x="761356" y="-41041"/>
                  <a:pt x="2893826" y="-64862"/>
                  <a:pt x="3622229" y="0"/>
                </a:cubicBezTo>
                <a:cubicBezTo>
                  <a:pt x="3549478" y="639982"/>
                  <a:pt x="3758700" y="1690171"/>
                  <a:pt x="3622229" y="3235683"/>
                </a:cubicBezTo>
                <a:cubicBezTo>
                  <a:pt x="2281539" y="3395682"/>
                  <a:pt x="1597699" y="3282553"/>
                  <a:pt x="0" y="3235683"/>
                </a:cubicBezTo>
                <a:cubicBezTo>
                  <a:pt x="-95498" y="1863488"/>
                  <a:pt x="-145830" y="1362180"/>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13" name="Textfeld 12">
            <a:extLst>
              <a:ext uri="{FF2B5EF4-FFF2-40B4-BE49-F238E27FC236}">
                <a16:creationId xmlns:a16="http://schemas.microsoft.com/office/drawing/2014/main" id="{E142C85E-A76A-4AAB-CBE3-8E13DD8517F5}"/>
              </a:ext>
            </a:extLst>
          </p:cNvPr>
          <p:cNvSpPr txBox="1"/>
          <p:nvPr/>
        </p:nvSpPr>
        <p:spPr>
          <a:xfrm>
            <a:off x="4628008" y="628107"/>
            <a:ext cx="1708624"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MINI Planspiel</a:t>
            </a:r>
          </a:p>
        </p:txBody>
      </p:sp>
      <p:sp>
        <p:nvSpPr>
          <p:cNvPr id="14" name="Inhaltsplatzhalter 2">
            <a:extLst>
              <a:ext uri="{FF2B5EF4-FFF2-40B4-BE49-F238E27FC236}">
                <a16:creationId xmlns:a16="http://schemas.microsoft.com/office/drawing/2014/main" id="{714D6563-E004-422E-80B7-8A32BE2E3E78}"/>
              </a:ext>
            </a:extLst>
          </p:cNvPr>
          <p:cNvSpPr txBox="1">
            <a:spLocks/>
          </p:cNvSpPr>
          <p:nvPr/>
        </p:nvSpPr>
        <p:spPr>
          <a:xfrm>
            <a:off x="417563" y="4492589"/>
            <a:ext cx="7734647" cy="1830953"/>
          </a:xfrm>
          <a:custGeom>
            <a:avLst/>
            <a:gdLst>
              <a:gd name="connsiteX0" fmla="*/ 0 w 7734647"/>
              <a:gd name="connsiteY0" fmla="*/ 0 h 1830953"/>
              <a:gd name="connsiteX1" fmla="*/ 7734647 w 7734647"/>
              <a:gd name="connsiteY1" fmla="*/ 0 h 1830953"/>
              <a:gd name="connsiteX2" fmla="*/ 7734647 w 7734647"/>
              <a:gd name="connsiteY2" fmla="*/ 1830953 h 1830953"/>
              <a:gd name="connsiteX3" fmla="*/ 0 w 7734647"/>
              <a:gd name="connsiteY3" fmla="*/ 1830953 h 1830953"/>
              <a:gd name="connsiteX4" fmla="*/ 0 w 7734647"/>
              <a:gd name="connsiteY4" fmla="*/ 0 h 18309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4647" h="1830953" fill="none" extrusionOk="0">
                <a:moveTo>
                  <a:pt x="0" y="0"/>
                </a:moveTo>
                <a:cubicBezTo>
                  <a:pt x="779019" y="-77238"/>
                  <a:pt x="5575052" y="-79550"/>
                  <a:pt x="7734647" y="0"/>
                </a:cubicBezTo>
                <a:cubicBezTo>
                  <a:pt x="7785547" y="307682"/>
                  <a:pt x="7885229" y="1301526"/>
                  <a:pt x="7734647" y="1830953"/>
                </a:cubicBezTo>
                <a:cubicBezTo>
                  <a:pt x="4152217" y="1917772"/>
                  <a:pt x="2823619" y="1854877"/>
                  <a:pt x="0" y="1830953"/>
                </a:cubicBezTo>
                <a:cubicBezTo>
                  <a:pt x="136085" y="1450674"/>
                  <a:pt x="-102583" y="785154"/>
                  <a:pt x="0" y="0"/>
                </a:cubicBezTo>
                <a:close/>
              </a:path>
              <a:path w="7734647" h="1830953" stroke="0" extrusionOk="0">
                <a:moveTo>
                  <a:pt x="0" y="0"/>
                </a:moveTo>
                <a:cubicBezTo>
                  <a:pt x="2074883" y="-41041"/>
                  <a:pt x="3991113" y="-64862"/>
                  <a:pt x="7734647" y="0"/>
                </a:cubicBezTo>
                <a:cubicBezTo>
                  <a:pt x="7612638" y="217251"/>
                  <a:pt x="7619267" y="1206094"/>
                  <a:pt x="7734647" y="1830953"/>
                </a:cubicBezTo>
                <a:cubicBezTo>
                  <a:pt x="4163985" y="1990952"/>
                  <a:pt x="3193540" y="1877823"/>
                  <a:pt x="0" y="1830953"/>
                </a:cubicBezTo>
                <a:cubicBezTo>
                  <a:pt x="3696" y="984581"/>
                  <a:pt x="-62066" y="781758"/>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15" name="Textfeld 14">
            <a:extLst>
              <a:ext uri="{FF2B5EF4-FFF2-40B4-BE49-F238E27FC236}">
                <a16:creationId xmlns:a16="http://schemas.microsoft.com/office/drawing/2014/main" id="{481E1F0F-CA8B-DDE6-B5FB-8C904EBE871A}"/>
              </a:ext>
            </a:extLst>
          </p:cNvPr>
          <p:cNvSpPr txBox="1"/>
          <p:nvPr/>
        </p:nvSpPr>
        <p:spPr>
          <a:xfrm>
            <a:off x="629397" y="4286507"/>
            <a:ext cx="4453640"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Suchspiel – Effekte von Standardisierung</a:t>
            </a:r>
          </a:p>
        </p:txBody>
      </p:sp>
      <p:sp>
        <p:nvSpPr>
          <p:cNvPr id="18" name="Textfeld 17">
            <a:extLst>
              <a:ext uri="{FF2B5EF4-FFF2-40B4-BE49-F238E27FC236}">
                <a16:creationId xmlns:a16="http://schemas.microsoft.com/office/drawing/2014/main" id="{4FB21686-1513-AACB-B290-73C3E52B5B21}"/>
              </a:ext>
            </a:extLst>
          </p:cNvPr>
          <p:cNvSpPr txBox="1"/>
          <p:nvPr/>
        </p:nvSpPr>
        <p:spPr>
          <a:xfrm>
            <a:off x="8553570" y="1814225"/>
            <a:ext cx="3161727" cy="1477328"/>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200" b="1" dirty="0"/>
              <a:t>Verschiedene SYNCHRO Methoden </a:t>
            </a:r>
            <a:r>
              <a:rPr lang="de-DE" sz="1200" dirty="0"/>
              <a:t>werden in einem </a:t>
            </a:r>
            <a:r>
              <a:rPr lang="de-DE" sz="1200" b="1" dirty="0"/>
              <a:t>Hallendurchgang</a:t>
            </a:r>
            <a:r>
              <a:rPr lang="de-DE" sz="1200" dirty="0"/>
              <a:t> erklärt (Bspw. </a:t>
            </a:r>
            <a:r>
              <a:rPr lang="de-DE" sz="1200" b="1" dirty="0"/>
              <a:t>KANBAN</a:t>
            </a:r>
            <a:r>
              <a:rPr lang="de-DE" sz="1200" dirty="0"/>
              <a:t> wird direkt an einem KANBAN Prozess in der Produktion erläutert) </a:t>
            </a:r>
          </a:p>
          <a:p>
            <a:pPr marL="285750" indent="-285750" algn="l">
              <a:buFont typeface="Wingdings" panose="05000000000000000000" pitchFamily="2" charset="2"/>
              <a:buChar char="§"/>
            </a:pPr>
            <a:r>
              <a:rPr lang="de-DE" sz="1200" dirty="0"/>
              <a:t>Jeder </a:t>
            </a:r>
            <a:r>
              <a:rPr lang="de-DE" sz="1200" b="1" dirty="0"/>
              <a:t>Teilnehmer</a:t>
            </a:r>
            <a:r>
              <a:rPr lang="de-DE" sz="1200" dirty="0"/>
              <a:t> ist verantwortlich für eine </a:t>
            </a:r>
            <a:r>
              <a:rPr lang="de-DE" sz="1200" b="1" dirty="0"/>
              <a:t>Methode</a:t>
            </a:r>
            <a:r>
              <a:rPr lang="de-DE" sz="1200" dirty="0"/>
              <a:t> (Karte) und erklärt diese in seinen </a:t>
            </a:r>
            <a:r>
              <a:rPr lang="de-DE" sz="1200" b="1" dirty="0"/>
              <a:t>Worten</a:t>
            </a:r>
            <a:r>
              <a:rPr lang="de-DE" sz="1200" dirty="0"/>
              <a:t>, der </a:t>
            </a:r>
            <a:r>
              <a:rPr lang="de-DE" sz="1200" b="1" dirty="0"/>
              <a:t>Trainer</a:t>
            </a:r>
            <a:r>
              <a:rPr lang="de-DE" sz="1200" dirty="0"/>
              <a:t> ergänzt.</a:t>
            </a:r>
          </a:p>
        </p:txBody>
      </p:sp>
      <p:sp>
        <p:nvSpPr>
          <p:cNvPr id="19" name="Inhaltsplatzhalter 2">
            <a:extLst>
              <a:ext uri="{FF2B5EF4-FFF2-40B4-BE49-F238E27FC236}">
                <a16:creationId xmlns:a16="http://schemas.microsoft.com/office/drawing/2014/main" id="{3F89FF51-6050-C5B0-4031-705E2D05BEF0}"/>
              </a:ext>
            </a:extLst>
          </p:cNvPr>
          <p:cNvSpPr txBox="1">
            <a:spLocks/>
          </p:cNvSpPr>
          <p:nvPr/>
        </p:nvSpPr>
        <p:spPr>
          <a:xfrm>
            <a:off x="8350384" y="809325"/>
            <a:ext cx="3622229" cy="4962351"/>
          </a:xfrm>
          <a:custGeom>
            <a:avLst/>
            <a:gdLst>
              <a:gd name="connsiteX0" fmla="*/ 0 w 3622229"/>
              <a:gd name="connsiteY0" fmla="*/ 0 h 4962351"/>
              <a:gd name="connsiteX1" fmla="*/ 3622229 w 3622229"/>
              <a:gd name="connsiteY1" fmla="*/ 0 h 4962351"/>
              <a:gd name="connsiteX2" fmla="*/ 3622229 w 3622229"/>
              <a:gd name="connsiteY2" fmla="*/ 4962351 h 4962351"/>
              <a:gd name="connsiteX3" fmla="*/ 0 w 3622229"/>
              <a:gd name="connsiteY3" fmla="*/ 4962351 h 4962351"/>
              <a:gd name="connsiteX4" fmla="*/ 0 w 3622229"/>
              <a:gd name="connsiteY4" fmla="*/ 0 h 4962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2229" h="4962351" fill="none" extrusionOk="0">
                <a:moveTo>
                  <a:pt x="0" y="0"/>
                </a:moveTo>
                <a:cubicBezTo>
                  <a:pt x="1149502" y="-77238"/>
                  <a:pt x="1844274" y="-79550"/>
                  <a:pt x="3622229" y="0"/>
                </a:cubicBezTo>
                <a:cubicBezTo>
                  <a:pt x="3664050" y="1244359"/>
                  <a:pt x="3466043" y="2519998"/>
                  <a:pt x="3622229" y="4962351"/>
                </a:cubicBezTo>
                <a:cubicBezTo>
                  <a:pt x="2843836" y="5049170"/>
                  <a:pt x="377406" y="4986275"/>
                  <a:pt x="0" y="4962351"/>
                </a:cubicBezTo>
                <a:cubicBezTo>
                  <a:pt x="34590" y="2911334"/>
                  <a:pt x="1147" y="1225293"/>
                  <a:pt x="0" y="0"/>
                </a:cubicBezTo>
                <a:close/>
              </a:path>
              <a:path w="3622229" h="4962351" stroke="0" extrusionOk="0">
                <a:moveTo>
                  <a:pt x="0" y="0"/>
                </a:moveTo>
                <a:cubicBezTo>
                  <a:pt x="761356" y="-41041"/>
                  <a:pt x="2893826" y="-64862"/>
                  <a:pt x="3622229" y="0"/>
                </a:cubicBezTo>
                <a:cubicBezTo>
                  <a:pt x="3549478" y="2268947"/>
                  <a:pt x="3758700" y="2703433"/>
                  <a:pt x="3622229" y="4962351"/>
                </a:cubicBezTo>
                <a:cubicBezTo>
                  <a:pt x="2281539" y="5122350"/>
                  <a:pt x="1597699" y="5009221"/>
                  <a:pt x="0" y="4962351"/>
                </a:cubicBezTo>
                <a:cubicBezTo>
                  <a:pt x="-95498" y="3888923"/>
                  <a:pt x="-145830" y="972564"/>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sp>
        <p:nvSpPr>
          <p:cNvPr id="20" name="Textfeld 19">
            <a:extLst>
              <a:ext uri="{FF2B5EF4-FFF2-40B4-BE49-F238E27FC236}">
                <a16:creationId xmlns:a16="http://schemas.microsoft.com/office/drawing/2014/main" id="{F6858EE6-9C5A-FD7B-C13D-7613F71B2683}"/>
              </a:ext>
            </a:extLst>
          </p:cNvPr>
          <p:cNvSpPr txBox="1"/>
          <p:nvPr/>
        </p:nvSpPr>
        <p:spPr>
          <a:xfrm>
            <a:off x="8562218" y="603243"/>
            <a:ext cx="2805390"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Erklärung von Methoden</a:t>
            </a:r>
          </a:p>
        </p:txBody>
      </p:sp>
      <p:sp>
        <p:nvSpPr>
          <p:cNvPr id="21" name="Textfeld 20">
            <a:extLst>
              <a:ext uri="{FF2B5EF4-FFF2-40B4-BE49-F238E27FC236}">
                <a16:creationId xmlns:a16="http://schemas.microsoft.com/office/drawing/2014/main" id="{BDFBA1AF-0076-F371-7E83-A9F3A5679583}"/>
              </a:ext>
            </a:extLst>
          </p:cNvPr>
          <p:cNvSpPr txBox="1"/>
          <p:nvPr/>
        </p:nvSpPr>
        <p:spPr>
          <a:xfrm>
            <a:off x="8882870" y="1001037"/>
            <a:ext cx="2607172" cy="646331"/>
          </a:xfrm>
          <a:prstGeom prst="rect">
            <a:avLst/>
          </a:prstGeom>
          <a:noFill/>
        </p:spPr>
        <p:txBody>
          <a:bodyPr wrap="square" lIns="0" tIns="0" rIns="0" bIns="0" rtlCol="0">
            <a:spAutoFit/>
          </a:bodyPr>
          <a:lstStyle/>
          <a:p>
            <a:pPr algn="l"/>
            <a:r>
              <a:rPr lang="de-DE" sz="1400" b="1" dirty="0">
                <a:solidFill>
                  <a:schemeClr val="accent4">
                    <a:lumMod val="60000"/>
                    <a:lumOff val="40000"/>
                  </a:schemeClr>
                </a:solidFill>
              </a:rPr>
              <a:t>„Lean Management Methoden anhand einer Folie erklären?“ Nein danke!</a:t>
            </a:r>
            <a:endParaRPr lang="de-DE" sz="1400" dirty="0">
              <a:solidFill>
                <a:schemeClr val="accent4">
                  <a:lumMod val="60000"/>
                  <a:lumOff val="40000"/>
                </a:schemeClr>
              </a:solidFill>
            </a:endParaRPr>
          </a:p>
        </p:txBody>
      </p:sp>
      <p:pic>
        <p:nvPicPr>
          <p:cNvPr id="31" name="Grafik 30">
            <a:extLst>
              <a:ext uri="{FF2B5EF4-FFF2-40B4-BE49-F238E27FC236}">
                <a16:creationId xmlns:a16="http://schemas.microsoft.com/office/drawing/2014/main" id="{BBA10CC0-099A-3141-FCB0-1F167F903303}"/>
              </a:ext>
            </a:extLst>
          </p:cNvPr>
          <p:cNvPicPr>
            <a:picLocks noChangeAspect="1"/>
          </p:cNvPicPr>
          <p:nvPr/>
        </p:nvPicPr>
        <p:blipFill rotWithShape="1">
          <a:blip r:embed="rId7">
            <a:duotone>
              <a:schemeClr val="accent3">
                <a:shade val="45000"/>
                <a:satMod val="135000"/>
              </a:schemeClr>
              <a:prstClr val="white"/>
            </a:duotone>
          </a:blip>
          <a:srcRect l="551" t="13488" r="1111" b="6639"/>
          <a:stretch/>
        </p:blipFill>
        <p:spPr>
          <a:xfrm>
            <a:off x="5442902" y="4672892"/>
            <a:ext cx="2553317" cy="1555407"/>
          </a:xfrm>
          <a:prstGeom prst="rect">
            <a:avLst/>
          </a:prstGeom>
          <a:ln>
            <a:noFill/>
          </a:ln>
          <a:effectLst>
            <a:outerShdw blurRad="292100" dist="139700" dir="2700000" algn="tl" rotWithShape="0">
              <a:srgbClr val="333333">
                <a:alpha val="65000"/>
              </a:srgbClr>
            </a:outerShdw>
          </a:effectLst>
        </p:spPr>
      </p:pic>
      <p:pic>
        <p:nvPicPr>
          <p:cNvPr id="1040" name="Grafik 1039">
            <a:extLst>
              <a:ext uri="{FF2B5EF4-FFF2-40B4-BE49-F238E27FC236}">
                <a16:creationId xmlns:a16="http://schemas.microsoft.com/office/drawing/2014/main" id="{0BC3FC78-906A-5D57-C5D6-4555FBEB977E}"/>
              </a:ext>
            </a:extLst>
          </p:cNvPr>
          <p:cNvPicPr>
            <a:picLocks noChangeAspect="1"/>
          </p:cNvPicPr>
          <p:nvPr/>
        </p:nvPicPr>
        <p:blipFill rotWithShape="1">
          <a:blip r:embed="rId8">
            <a:duotone>
              <a:schemeClr val="accent4">
                <a:shade val="45000"/>
                <a:satMod val="135000"/>
              </a:schemeClr>
              <a:prstClr val="white"/>
            </a:duotone>
          </a:blip>
          <a:srcRect l="1991" t="7551" r="3100" b="10334"/>
          <a:stretch/>
        </p:blipFill>
        <p:spPr>
          <a:xfrm>
            <a:off x="2917282" y="4672892"/>
            <a:ext cx="2369630" cy="1537666"/>
          </a:xfrm>
          <a:prstGeom prst="rect">
            <a:avLst/>
          </a:prstGeom>
          <a:ln>
            <a:noFill/>
          </a:ln>
          <a:effectLst>
            <a:outerShdw blurRad="292100" dist="139700" dir="2700000" algn="tl" rotWithShape="0">
              <a:srgbClr val="333333">
                <a:alpha val="65000"/>
              </a:srgbClr>
            </a:outerShdw>
          </a:effectLst>
        </p:spPr>
      </p:pic>
      <p:sp>
        <p:nvSpPr>
          <p:cNvPr id="1056" name="Rechteck 1055">
            <a:extLst>
              <a:ext uri="{FF2B5EF4-FFF2-40B4-BE49-F238E27FC236}">
                <a16:creationId xmlns:a16="http://schemas.microsoft.com/office/drawing/2014/main" id="{E6857B78-F580-5F8C-2219-C34EC89D27C7}"/>
              </a:ext>
            </a:extLst>
          </p:cNvPr>
          <p:cNvSpPr/>
          <p:nvPr/>
        </p:nvSpPr>
        <p:spPr>
          <a:xfrm>
            <a:off x="7632687" y="6459801"/>
            <a:ext cx="2333941" cy="250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042" name="Textfeld 1041">
            <a:extLst>
              <a:ext uri="{FF2B5EF4-FFF2-40B4-BE49-F238E27FC236}">
                <a16:creationId xmlns:a16="http://schemas.microsoft.com/office/drawing/2014/main" id="{A8675A53-50AC-ED08-A309-AE418D8D8002}"/>
              </a:ext>
            </a:extLst>
          </p:cNvPr>
          <p:cNvSpPr txBox="1"/>
          <p:nvPr/>
        </p:nvSpPr>
        <p:spPr>
          <a:xfrm>
            <a:off x="3787113" y="4980060"/>
            <a:ext cx="505358" cy="923330"/>
          </a:xfrm>
          <a:prstGeom prst="rect">
            <a:avLst/>
          </a:prstGeom>
          <a:noFill/>
        </p:spPr>
        <p:txBody>
          <a:bodyPr wrap="square" lIns="0" tIns="0" rIns="0" bIns="0" rtlCol="0">
            <a:spAutoFit/>
          </a:bodyPr>
          <a:lstStyle/>
          <a:p>
            <a:pPr algn="l"/>
            <a:r>
              <a:rPr lang="de-DE" sz="6000" b="1" dirty="0">
                <a:solidFill>
                  <a:schemeClr val="bg1"/>
                </a:solidFill>
              </a:rPr>
              <a:t>1</a:t>
            </a:r>
          </a:p>
        </p:txBody>
      </p:sp>
      <p:sp>
        <p:nvSpPr>
          <p:cNvPr id="1044" name="Textfeld 1043">
            <a:extLst>
              <a:ext uri="{FF2B5EF4-FFF2-40B4-BE49-F238E27FC236}">
                <a16:creationId xmlns:a16="http://schemas.microsoft.com/office/drawing/2014/main" id="{0482ACC8-6E82-4D18-5D71-A3810119F39C}"/>
              </a:ext>
            </a:extLst>
          </p:cNvPr>
          <p:cNvSpPr txBox="1"/>
          <p:nvPr/>
        </p:nvSpPr>
        <p:spPr>
          <a:xfrm>
            <a:off x="6496864" y="4957010"/>
            <a:ext cx="978293" cy="923330"/>
          </a:xfrm>
          <a:prstGeom prst="rect">
            <a:avLst/>
          </a:prstGeom>
          <a:noFill/>
        </p:spPr>
        <p:txBody>
          <a:bodyPr wrap="square" lIns="0" tIns="0" rIns="0" bIns="0" rtlCol="0">
            <a:spAutoFit/>
          </a:bodyPr>
          <a:lstStyle/>
          <a:p>
            <a:pPr algn="l"/>
            <a:r>
              <a:rPr lang="de-DE" sz="6000" b="1" dirty="0">
                <a:solidFill>
                  <a:schemeClr val="bg1"/>
                </a:solidFill>
              </a:rPr>
              <a:t>2</a:t>
            </a:r>
          </a:p>
        </p:txBody>
      </p:sp>
      <p:sp>
        <p:nvSpPr>
          <p:cNvPr id="1046" name="Textfeld 1045">
            <a:extLst>
              <a:ext uri="{FF2B5EF4-FFF2-40B4-BE49-F238E27FC236}">
                <a16:creationId xmlns:a16="http://schemas.microsoft.com/office/drawing/2014/main" id="{BA7F447A-1F19-8BC3-C7F8-A3F669E6BBCD}"/>
              </a:ext>
            </a:extLst>
          </p:cNvPr>
          <p:cNvSpPr txBox="1"/>
          <p:nvPr/>
        </p:nvSpPr>
        <p:spPr>
          <a:xfrm>
            <a:off x="605241" y="5304969"/>
            <a:ext cx="2273384" cy="923330"/>
          </a:xfrm>
          <a:prstGeom prst="rect">
            <a:avLst/>
          </a:prstGeom>
          <a:noFill/>
        </p:spPr>
        <p:txBody>
          <a:bodyPr wrap="square" lIns="0" tIns="0" rIns="0" bIns="0" rtlCol="0">
            <a:spAutoFit/>
          </a:bodyPr>
          <a:lstStyle/>
          <a:p>
            <a:pPr marL="228600" indent="-228600" algn="l">
              <a:buAutoNum type="arabicPeriod"/>
            </a:pPr>
            <a:r>
              <a:rPr lang="de-DE" sz="1200" dirty="0"/>
              <a:t>13er Schlüssel</a:t>
            </a:r>
          </a:p>
          <a:p>
            <a:pPr marL="228600" indent="-228600" algn="l">
              <a:buAutoNum type="arabicPeriod"/>
            </a:pPr>
            <a:r>
              <a:rPr lang="de-DE" sz="1200" dirty="0"/>
              <a:t>Seitenschneider</a:t>
            </a:r>
          </a:p>
          <a:p>
            <a:pPr marL="228600" indent="-228600" algn="l">
              <a:buAutoNum type="arabicPeriod"/>
            </a:pPr>
            <a:r>
              <a:rPr lang="de-DE" sz="1200" dirty="0"/>
              <a:t>4er Innensechskantschlüssel</a:t>
            </a:r>
          </a:p>
          <a:p>
            <a:pPr marL="228600" indent="-228600" algn="l">
              <a:buAutoNum type="arabicPeriod"/>
            </a:pPr>
            <a:r>
              <a:rPr lang="de-DE" sz="1200" dirty="0"/>
              <a:t>…</a:t>
            </a:r>
          </a:p>
          <a:p>
            <a:pPr algn="l"/>
            <a:endParaRPr lang="de-DE" sz="1200" dirty="0"/>
          </a:p>
        </p:txBody>
      </p:sp>
      <p:pic>
        <p:nvPicPr>
          <p:cNvPr id="1052" name="Grafik 1051">
            <a:extLst>
              <a:ext uri="{FF2B5EF4-FFF2-40B4-BE49-F238E27FC236}">
                <a16:creationId xmlns:a16="http://schemas.microsoft.com/office/drawing/2014/main" id="{ED1BBDA0-2736-2510-09A7-BAC035EDDA95}"/>
              </a:ext>
            </a:extLst>
          </p:cNvPr>
          <p:cNvPicPr>
            <a:picLocks noChangeAspect="1"/>
          </p:cNvPicPr>
          <p:nvPr/>
        </p:nvPicPr>
        <p:blipFill>
          <a:blip r:embed="rId9"/>
          <a:stretch>
            <a:fillRect/>
          </a:stretch>
        </p:blipFill>
        <p:spPr>
          <a:xfrm rot="304836">
            <a:off x="8790493" y="3564673"/>
            <a:ext cx="2742011" cy="1933885"/>
          </a:xfrm>
          <a:prstGeom prst="rect">
            <a:avLst/>
          </a:prstGeom>
          <a:ln>
            <a:noFill/>
          </a:ln>
          <a:effectLst>
            <a:outerShdw blurRad="292100" dist="139700" dir="2700000" algn="tl" rotWithShape="0">
              <a:srgbClr val="333333">
                <a:alpha val="65000"/>
              </a:srgbClr>
            </a:outerShdw>
          </a:effectLst>
        </p:spPr>
      </p:pic>
      <p:pic>
        <p:nvPicPr>
          <p:cNvPr id="1054" name="Grafik 1053">
            <a:extLst>
              <a:ext uri="{FF2B5EF4-FFF2-40B4-BE49-F238E27FC236}">
                <a16:creationId xmlns:a16="http://schemas.microsoft.com/office/drawing/2014/main" id="{3F95FF4F-0898-E0AA-9B16-1A92690B7122}"/>
              </a:ext>
            </a:extLst>
          </p:cNvPr>
          <p:cNvPicPr>
            <a:picLocks noChangeAspect="1"/>
          </p:cNvPicPr>
          <p:nvPr/>
        </p:nvPicPr>
        <p:blipFill rotWithShape="1">
          <a:blip r:embed="rId10">
            <a:clrChange>
              <a:clrFrom>
                <a:srgbClr val="C9C4BA"/>
              </a:clrFrom>
              <a:clrTo>
                <a:srgbClr val="C9C4BA">
                  <a:alpha val="0"/>
                </a:srgbClr>
              </a:clrTo>
            </a:clrChange>
            <a:duotone>
              <a:schemeClr val="accent4">
                <a:shade val="45000"/>
                <a:satMod val="135000"/>
              </a:schemeClr>
              <a:prstClr val="white"/>
            </a:duotone>
          </a:blip>
          <a:srcRect l="11053" t="18958" r="16928" b="11092"/>
          <a:stretch/>
        </p:blipFill>
        <p:spPr>
          <a:xfrm rot="363212">
            <a:off x="6083617" y="2712116"/>
            <a:ext cx="1557174" cy="1134317"/>
          </a:xfrm>
          <a:prstGeom prst="rect">
            <a:avLst/>
          </a:prstGeom>
          <a:ln>
            <a:noFill/>
          </a:ln>
          <a:effectLst>
            <a:outerShdw blurRad="292100" dist="139700" dir="2700000" algn="tl" rotWithShape="0">
              <a:srgbClr val="333333">
                <a:alpha val="65000"/>
              </a:srgbClr>
            </a:outerShdw>
          </a:effectLst>
        </p:spPr>
      </p:pic>
      <p:sp>
        <p:nvSpPr>
          <p:cNvPr id="1055" name="Rechteck 1054">
            <a:extLst>
              <a:ext uri="{FF2B5EF4-FFF2-40B4-BE49-F238E27FC236}">
                <a16:creationId xmlns:a16="http://schemas.microsoft.com/office/drawing/2014/main" id="{03018B93-DF89-701F-9982-A174D7719995}"/>
              </a:ext>
            </a:extLst>
          </p:cNvPr>
          <p:cNvSpPr/>
          <p:nvPr/>
        </p:nvSpPr>
        <p:spPr>
          <a:xfrm>
            <a:off x="11209729" y="5983705"/>
            <a:ext cx="922421" cy="7219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057" name="Rechteck 1056">
            <a:extLst>
              <a:ext uri="{FF2B5EF4-FFF2-40B4-BE49-F238E27FC236}">
                <a16:creationId xmlns:a16="http://schemas.microsoft.com/office/drawing/2014/main" id="{8CAE8BD8-BE15-F1A3-940D-0B54C2AB44BF}"/>
              </a:ext>
            </a:extLst>
          </p:cNvPr>
          <p:cNvSpPr/>
          <p:nvPr/>
        </p:nvSpPr>
        <p:spPr>
          <a:xfrm>
            <a:off x="296070" y="6459801"/>
            <a:ext cx="2333941" cy="250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1058" name="Titel 1">
            <a:extLst>
              <a:ext uri="{FF2B5EF4-FFF2-40B4-BE49-F238E27FC236}">
                <a16:creationId xmlns:a16="http://schemas.microsoft.com/office/drawing/2014/main" id="{1CCF3B4F-4CCA-E17B-EA86-81B3E6B2DF50}"/>
              </a:ext>
            </a:extLst>
          </p:cNvPr>
          <p:cNvSpPr>
            <a:spLocks noGrp="1"/>
          </p:cNvSpPr>
          <p:nvPr>
            <p:ph type="title"/>
          </p:nvPr>
        </p:nvSpPr>
        <p:spPr>
          <a:xfrm>
            <a:off x="296070" y="113625"/>
            <a:ext cx="6291161" cy="387798"/>
          </a:xfrm>
        </p:spPr>
        <p:txBody>
          <a:bodyPr/>
          <a:lstStyle/>
          <a:p>
            <a:r>
              <a:rPr lang="de-DE" dirty="0">
                <a:solidFill>
                  <a:schemeClr val="accent5">
                    <a:lumMod val="50000"/>
                  </a:schemeClr>
                </a:solidFill>
              </a:rPr>
              <a:t>Beispielauszüge SYNCHRO Schulung</a:t>
            </a:r>
          </a:p>
        </p:txBody>
      </p:sp>
    </p:spTree>
    <p:extLst>
      <p:ext uri="{BB962C8B-B14F-4D97-AF65-F5344CB8AC3E}">
        <p14:creationId xmlns:p14="http://schemas.microsoft.com/office/powerpoint/2010/main" val="2198485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4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4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4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54"/>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52"/>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0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5"/>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4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42"/>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04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0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1037" grpId="0" animBg="1"/>
      <p:bldP spid="1041" grpId="0" animBg="1"/>
      <p:bldP spid="1050" grpId="0"/>
      <p:bldP spid="1051" grpId="0"/>
      <p:bldP spid="12" grpId="0" animBg="1"/>
      <p:bldP spid="13" grpId="0" animBg="1"/>
      <p:bldP spid="14" grpId="0" animBg="1"/>
      <p:bldP spid="15" grpId="0" animBg="1"/>
      <p:bldP spid="18" grpId="0"/>
      <p:bldP spid="19" grpId="0" animBg="1"/>
      <p:bldP spid="20" grpId="0" animBg="1"/>
      <p:bldP spid="21" grpId="0"/>
      <p:bldP spid="1042" grpId="0"/>
      <p:bldP spid="1044" grpId="0"/>
      <p:bldP spid="104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064115DF-9CF9-DB72-5EBB-A6555CF7FFEF}"/>
              </a:ext>
            </a:extLst>
          </p:cNvPr>
          <p:cNvSpPr txBox="1"/>
          <p:nvPr/>
        </p:nvSpPr>
        <p:spPr>
          <a:xfrm>
            <a:off x="6947848" y="1413866"/>
            <a:ext cx="4403484" cy="4708981"/>
          </a:xfrm>
          <a:custGeom>
            <a:avLst/>
            <a:gdLst>
              <a:gd name="connsiteX0" fmla="*/ 0 w 4403484"/>
              <a:gd name="connsiteY0" fmla="*/ 0 h 4708981"/>
              <a:gd name="connsiteX1" fmla="*/ 4403484 w 4403484"/>
              <a:gd name="connsiteY1" fmla="*/ 0 h 4708981"/>
              <a:gd name="connsiteX2" fmla="*/ 4403484 w 4403484"/>
              <a:gd name="connsiteY2" fmla="*/ 4708981 h 4708981"/>
              <a:gd name="connsiteX3" fmla="*/ 0 w 4403484"/>
              <a:gd name="connsiteY3" fmla="*/ 4708981 h 4708981"/>
              <a:gd name="connsiteX4" fmla="*/ 0 w 4403484"/>
              <a:gd name="connsiteY4" fmla="*/ 0 h 4708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03484" h="4708981" extrusionOk="0">
                <a:moveTo>
                  <a:pt x="0" y="0"/>
                </a:moveTo>
                <a:cubicBezTo>
                  <a:pt x="1627190" y="-142016"/>
                  <a:pt x="3163225" y="84015"/>
                  <a:pt x="4403484" y="0"/>
                </a:cubicBezTo>
                <a:cubicBezTo>
                  <a:pt x="4493929" y="1693822"/>
                  <a:pt x="4513720" y="3772996"/>
                  <a:pt x="4403484" y="4708981"/>
                </a:cubicBezTo>
                <a:cubicBezTo>
                  <a:pt x="2843781" y="4861988"/>
                  <a:pt x="1397801" y="4568494"/>
                  <a:pt x="0" y="4708981"/>
                </a:cubicBezTo>
                <a:cubicBezTo>
                  <a:pt x="154933" y="2367945"/>
                  <a:pt x="114725" y="1878702"/>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p:txBody>
      </p:sp>
      <p:sp>
        <p:nvSpPr>
          <p:cNvPr id="11" name="Textfeld 10">
            <a:extLst>
              <a:ext uri="{FF2B5EF4-FFF2-40B4-BE49-F238E27FC236}">
                <a16:creationId xmlns:a16="http://schemas.microsoft.com/office/drawing/2014/main" id="{57F367A4-CEAE-4A2B-A5D0-AB08254BBECF}"/>
              </a:ext>
            </a:extLst>
          </p:cNvPr>
          <p:cNvSpPr txBox="1"/>
          <p:nvPr/>
        </p:nvSpPr>
        <p:spPr>
          <a:xfrm>
            <a:off x="377504" y="1690864"/>
            <a:ext cx="6004208" cy="4431983"/>
          </a:xfrm>
          <a:custGeom>
            <a:avLst/>
            <a:gdLst>
              <a:gd name="connsiteX0" fmla="*/ 0 w 6004208"/>
              <a:gd name="connsiteY0" fmla="*/ 0 h 4431983"/>
              <a:gd name="connsiteX1" fmla="*/ 6004208 w 6004208"/>
              <a:gd name="connsiteY1" fmla="*/ 0 h 4431983"/>
              <a:gd name="connsiteX2" fmla="*/ 6004208 w 6004208"/>
              <a:gd name="connsiteY2" fmla="*/ 4431983 h 4431983"/>
              <a:gd name="connsiteX3" fmla="*/ 0 w 6004208"/>
              <a:gd name="connsiteY3" fmla="*/ 4431983 h 4431983"/>
              <a:gd name="connsiteX4" fmla="*/ 0 w 6004208"/>
              <a:gd name="connsiteY4" fmla="*/ 0 h 4431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4208" h="4431983" extrusionOk="0">
                <a:moveTo>
                  <a:pt x="0" y="0"/>
                </a:moveTo>
                <a:cubicBezTo>
                  <a:pt x="1329669" y="-142016"/>
                  <a:pt x="4800930" y="84015"/>
                  <a:pt x="6004208" y="0"/>
                </a:cubicBezTo>
                <a:cubicBezTo>
                  <a:pt x="6094653" y="1111559"/>
                  <a:pt x="6114444" y="3855171"/>
                  <a:pt x="6004208" y="4431983"/>
                </a:cubicBezTo>
                <a:cubicBezTo>
                  <a:pt x="3281280" y="4584990"/>
                  <a:pt x="1922991" y="4291496"/>
                  <a:pt x="0" y="4431983"/>
                </a:cubicBezTo>
                <a:cubicBezTo>
                  <a:pt x="154933" y="3670703"/>
                  <a:pt x="114725" y="1075793"/>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p:txBody>
      </p:sp>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9263405" cy="387798"/>
          </a:xfrm>
        </p:spPr>
        <p:txBody>
          <a:bodyPr/>
          <a:lstStyle/>
          <a:p>
            <a:r>
              <a:rPr lang="de-DE" dirty="0">
                <a:solidFill>
                  <a:schemeClr val="accent5">
                    <a:lumMod val="50000"/>
                  </a:schemeClr>
                </a:solidFill>
              </a:rPr>
              <a:t>#Mission Gemba -  2. Kick Off Termin TRUMPF Schweiz</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70732" cy="305989"/>
          </a:xfrm>
        </p:spPr>
        <p:txBody>
          <a:bodyPr/>
          <a:lstStyle/>
          <a:p>
            <a:r>
              <a:rPr lang="de-DE" dirty="0"/>
              <a:t>Oliver Türk </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6</a:t>
            </a:fld>
            <a:r>
              <a:rPr lang="de-DE"/>
              <a:t>  </a:t>
            </a:r>
            <a:r>
              <a:rPr lang="de-DE" b="0">
                <a:solidFill>
                  <a:schemeClr val="accent1"/>
                </a:solidFill>
              </a:rPr>
              <a:t>|</a:t>
            </a:r>
            <a:endParaRPr lang="de-DE" sz="900" b="0">
              <a:solidFill>
                <a:schemeClr val="accent1"/>
              </a:solidFill>
            </a:endParaRPr>
          </a:p>
        </p:txBody>
      </p:sp>
      <p:sp>
        <p:nvSpPr>
          <p:cNvPr id="27" name="Textfeld 26">
            <a:extLst>
              <a:ext uri="{FF2B5EF4-FFF2-40B4-BE49-F238E27FC236}">
                <a16:creationId xmlns:a16="http://schemas.microsoft.com/office/drawing/2014/main" id="{D6D165B7-B528-445F-B264-E7F66698B6AC}"/>
              </a:ext>
            </a:extLst>
          </p:cNvPr>
          <p:cNvSpPr txBox="1"/>
          <p:nvPr/>
        </p:nvSpPr>
        <p:spPr>
          <a:xfrm>
            <a:off x="5166222" y="4402101"/>
            <a:ext cx="2554111" cy="246221"/>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indent="-285750" algn="l"/>
            <a:endParaRPr lang="de-DE" sz="1600" b="1" i="1">
              <a:solidFill>
                <a:schemeClr val="accent3"/>
              </a:solidFill>
              <a:latin typeface="Arial" panose="020B0604020202020204" pitchFamily="34" charset="0"/>
              <a:cs typeface="Arial" panose="020B0604020202020204" pitchFamily="34" charset="0"/>
            </a:endParaRPr>
          </a:p>
        </p:txBody>
      </p:sp>
      <p:sp>
        <p:nvSpPr>
          <p:cNvPr id="13" name="Textfeld 12">
            <a:extLst>
              <a:ext uri="{FF2B5EF4-FFF2-40B4-BE49-F238E27FC236}">
                <a16:creationId xmlns:a16="http://schemas.microsoft.com/office/drawing/2014/main" id="{76866271-E669-292E-D1D3-D76E26497DA1}"/>
              </a:ext>
            </a:extLst>
          </p:cNvPr>
          <p:cNvSpPr txBox="1"/>
          <p:nvPr/>
        </p:nvSpPr>
        <p:spPr>
          <a:xfrm>
            <a:off x="661919" y="1544220"/>
            <a:ext cx="4926081" cy="276999"/>
          </a:xfrm>
          <a:prstGeom prst="rect">
            <a:avLst/>
          </a:prstGeom>
          <a:solidFill>
            <a:schemeClr val="bg1"/>
          </a:solidFill>
        </p:spPr>
        <p:txBody>
          <a:bodyPr wrap="square" lIns="0" tIns="0" rIns="0" bIns="0" rtlCol="0">
            <a:spAutoFit/>
          </a:bodyPr>
          <a:lstStyle/>
          <a:p>
            <a:pPr algn="l"/>
            <a:r>
              <a:rPr lang="de-DE" b="1" i="1" dirty="0">
                <a:solidFill>
                  <a:schemeClr val="accent5">
                    <a:lumMod val="75000"/>
                  </a:schemeClr>
                </a:solidFill>
              </a:rPr>
              <a:t> 2. Treffen der 3 Werke am 22.02.2023 in TCH</a:t>
            </a:r>
          </a:p>
        </p:txBody>
      </p:sp>
      <p:sp>
        <p:nvSpPr>
          <p:cNvPr id="14" name="Textfeld 13">
            <a:extLst>
              <a:ext uri="{FF2B5EF4-FFF2-40B4-BE49-F238E27FC236}">
                <a16:creationId xmlns:a16="http://schemas.microsoft.com/office/drawing/2014/main" id="{9470B2E1-36F9-94D1-9266-79DB02E48351}"/>
              </a:ext>
            </a:extLst>
          </p:cNvPr>
          <p:cNvSpPr txBox="1"/>
          <p:nvPr/>
        </p:nvSpPr>
        <p:spPr>
          <a:xfrm>
            <a:off x="684093" y="2139124"/>
            <a:ext cx="5719793" cy="2954655"/>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600" i="1" dirty="0">
                <a:solidFill>
                  <a:schemeClr val="accent4">
                    <a:lumMod val="75000"/>
                  </a:schemeClr>
                </a:solidFill>
              </a:rPr>
              <a:t>Werksrundgang &amp; Bearbeitung aktueller TCH Challenges</a:t>
            </a: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endParaRPr lang="de-DE" sz="1600" i="1" dirty="0">
              <a:solidFill>
                <a:schemeClr val="accent4">
                  <a:lumMod val="75000"/>
                </a:schemeClr>
              </a:solidFill>
            </a:endParaRPr>
          </a:p>
          <a:p>
            <a:pPr marL="285750" indent="-285750" algn="l">
              <a:buFont typeface="Wingdings" panose="05000000000000000000" pitchFamily="2" charset="2"/>
              <a:buChar char="§"/>
            </a:pPr>
            <a:r>
              <a:rPr lang="de-DE" sz="1600" i="1" dirty="0">
                <a:solidFill>
                  <a:schemeClr val="accent4">
                    <a:lumMod val="75000"/>
                  </a:schemeClr>
                </a:solidFill>
              </a:rPr>
              <a:t>Reflektion – Was ist seit letztem Mal in den Werken passiert?</a:t>
            </a:r>
          </a:p>
          <a:p>
            <a:pPr marL="285750" indent="-285750" algn="l">
              <a:buFont typeface="Wingdings" panose="05000000000000000000" pitchFamily="2" charset="2"/>
              <a:buChar char="§"/>
            </a:pPr>
            <a:r>
              <a:rPr lang="de-DE" sz="1600" i="1" dirty="0">
                <a:solidFill>
                  <a:schemeClr val="accent4">
                    <a:lumMod val="75000"/>
                  </a:schemeClr>
                </a:solidFill>
              </a:rPr>
              <a:t>Bearbeitung von aktuellen TCH Challenges in Gruppen</a:t>
            </a:r>
          </a:p>
          <a:p>
            <a:pPr marL="285750" indent="-285750" algn="l">
              <a:buFont typeface="Wingdings" panose="05000000000000000000" pitchFamily="2" charset="2"/>
              <a:buChar char="§"/>
            </a:pPr>
            <a:r>
              <a:rPr lang="de-DE" sz="1600" i="1" dirty="0">
                <a:solidFill>
                  <a:schemeClr val="accent4">
                    <a:lumMod val="75000"/>
                  </a:schemeClr>
                </a:solidFill>
              </a:rPr>
              <a:t>Zielsetzung &amp; nächste Schritte Was haben wir von TCH gelernt?</a:t>
            </a:r>
          </a:p>
        </p:txBody>
      </p:sp>
      <p:pic>
        <p:nvPicPr>
          <p:cNvPr id="17" name="Grafik 16">
            <a:extLst>
              <a:ext uri="{FF2B5EF4-FFF2-40B4-BE49-F238E27FC236}">
                <a16:creationId xmlns:a16="http://schemas.microsoft.com/office/drawing/2014/main" id="{8F011B16-D588-0340-455D-3C8F98063C5F}"/>
              </a:ext>
            </a:extLst>
          </p:cNvPr>
          <p:cNvPicPr>
            <a:picLocks noChangeAspect="1"/>
          </p:cNvPicPr>
          <p:nvPr/>
        </p:nvPicPr>
        <p:blipFill>
          <a:blip r:embed="rId2">
            <a:duotone>
              <a:schemeClr val="accent3">
                <a:shade val="45000"/>
                <a:satMod val="135000"/>
              </a:schemeClr>
              <a:prstClr val="white"/>
            </a:duotone>
          </a:blip>
          <a:stretch>
            <a:fillRect/>
          </a:stretch>
        </p:blipFill>
        <p:spPr>
          <a:xfrm>
            <a:off x="903318" y="2525288"/>
            <a:ext cx="5291048" cy="1358964"/>
          </a:xfrm>
          <a:prstGeom prst="rect">
            <a:avLst/>
          </a:prstGeom>
        </p:spPr>
      </p:pic>
      <p:pic>
        <p:nvPicPr>
          <p:cNvPr id="1026" name="Picture 2" descr="Download shoes foot step footsteps - foot step icon free png - Free PNG ...">
            <a:extLst>
              <a:ext uri="{FF2B5EF4-FFF2-40B4-BE49-F238E27FC236}">
                <a16:creationId xmlns:a16="http://schemas.microsoft.com/office/drawing/2014/main" id="{9AC36785-E7E2-8538-774F-3F1E3A87BBAA}"/>
              </a:ext>
            </a:extLst>
          </p:cNvPr>
          <p:cNvPicPr>
            <a:picLocks noChangeAspect="1" noChangeArrowheads="1"/>
          </p:cNvPicPr>
          <p:nvPr/>
        </p:nvPicPr>
        <p:blipFill>
          <a:blip r:embed="rId3">
            <a:duotone>
              <a:schemeClr val="accent6">
                <a:shade val="45000"/>
                <a:satMod val="135000"/>
              </a:schemeClr>
              <a:prstClr val="white"/>
            </a:duotone>
            <a:extLst>
              <a:ext uri="{BEBA8EAE-BF5A-486C-A8C5-ECC9F3942E4B}">
                <a14:imgProps xmlns:a14="http://schemas.microsoft.com/office/drawing/2010/main">
                  <a14:imgLayer r:embed="rId4">
                    <a14:imgEffect>
                      <a14:backgroundRemoval t="2678" b="96042" l="10000" r="90000">
                        <a14:foregroundMark x1="28333" y1="32712" x2="30595" y2="23749"/>
                        <a14:foregroundMark x1="30595" y1="23749" x2="30238" y2="15250"/>
                        <a14:foregroundMark x1="30238" y1="15250" x2="30119" y2="15134"/>
                        <a14:foregroundMark x1="30357" y1="60419" x2="30714" y2="68219"/>
                        <a14:foregroundMark x1="30714" y1="68219" x2="32738" y2="64610"/>
                        <a14:foregroundMark x1="70595" y1="83236" x2="66667" y2="90803"/>
                        <a14:foregroundMark x1="66667" y1="90803" x2="71667" y2="83702"/>
                        <a14:foregroundMark x1="71667" y1="83702" x2="70357" y2="82887"/>
                        <a14:foregroundMark x1="18452" y1="4657" x2="26667" y2="2678"/>
                        <a14:foregroundMark x1="26667" y1="2678" x2="32262" y2="4657"/>
                        <a14:foregroundMark x1="63333" y1="93015" x2="71548" y2="96042"/>
                        <a14:foregroundMark x1="71548" y1="96042" x2="74643" y2="93830"/>
                      </a14:backgroundRemoval>
                    </a14:imgEffect>
                  </a14:imgLayer>
                </a14:imgProps>
              </a:ext>
              <a:ext uri="{28A0092B-C50C-407E-A947-70E740481C1C}">
                <a14:useLocalDpi xmlns:a14="http://schemas.microsoft.com/office/drawing/2010/main" val="0"/>
              </a:ext>
            </a:extLst>
          </a:blip>
          <a:srcRect/>
          <a:stretch>
            <a:fillRect/>
          </a:stretch>
        </p:blipFill>
        <p:spPr bwMode="auto">
          <a:xfrm rot="4057843">
            <a:off x="1946537" y="5208445"/>
            <a:ext cx="838434" cy="857489"/>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descr="Download shoes foot step footsteps - foot step icon free png - Free PNG ...">
            <a:extLst>
              <a:ext uri="{FF2B5EF4-FFF2-40B4-BE49-F238E27FC236}">
                <a16:creationId xmlns:a16="http://schemas.microsoft.com/office/drawing/2014/main" id="{2FDECB87-168E-D65F-C06A-162550F46D2B}"/>
              </a:ext>
            </a:extLst>
          </p:cNvPr>
          <p:cNvPicPr>
            <a:picLocks noChangeAspect="1" noChangeArrowheads="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backgroundRemoval t="2678" b="96042" l="10000" r="90000">
                        <a14:foregroundMark x1="28333" y1="32712" x2="30595" y2="23749"/>
                        <a14:foregroundMark x1="30595" y1="23749" x2="30238" y2="15250"/>
                        <a14:foregroundMark x1="30238" y1="15250" x2="30119" y2="15134"/>
                        <a14:foregroundMark x1="30357" y1="60419" x2="30714" y2="68219"/>
                        <a14:foregroundMark x1="30714" y1="68219" x2="32738" y2="64610"/>
                        <a14:foregroundMark x1="70595" y1="83236" x2="66667" y2="90803"/>
                        <a14:foregroundMark x1="66667" y1="90803" x2="71667" y2="83702"/>
                        <a14:foregroundMark x1="71667" y1="83702" x2="70357" y2="82887"/>
                        <a14:foregroundMark x1="18452" y1="4657" x2="26667" y2="2678"/>
                        <a14:foregroundMark x1="26667" y1="2678" x2="32262" y2="4657"/>
                        <a14:foregroundMark x1="63333" y1="93015" x2="71548" y2="96042"/>
                        <a14:foregroundMark x1="71548" y1="96042" x2="74643" y2="93830"/>
                      </a14:backgroundRemoval>
                    </a14:imgEffect>
                  </a14:imgLayer>
                </a14:imgProps>
              </a:ext>
              <a:ext uri="{28A0092B-C50C-407E-A947-70E740481C1C}">
                <a14:useLocalDpi xmlns:a14="http://schemas.microsoft.com/office/drawing/2010/main" val="0"/>
              </a:ext>
            </a:extLst>
          </a:blip>
          <a:srcRect/>
          <a:stretch>
            <a:fillRect/>
          </a:stretch>
        </p:blipFill>
        <p:spPr bwMode="auto">
          <a:xfrm rot="5400000">
            <a:off x="2953481" y="4970022"/>
            <a:ext cx="838434" cy="85748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Download shoes foot step footsteps - foot step icon free png - Free PNG ...">
            <a:extLst>
              <a:ext uri="{FF2B5EF4-FFF2-40B4-BE49-F238E27FC236}">
                <a16:creationId xmlns:a16="http://schemas.microsoft.com/office/drawing/2014/main" id="{ED8B4C3E-31E0-A974-572D-771AA0BAB76D}"/>
              </a:ext>
            </a:extLst>
          </p:cNvPr>
          <p:cNvPicPr>
            <a:picLocks noChangeAspect="1" noChangeArrowheads="1"/>
          </p:cNvPicPr>
          <p:nvPr/>
        </p:nvPicPr>
        <p:blipFill>
          <a:blip r:embed="rId3">
            <a:duotone>
              <a:schemeClr val="accent4">
                <a:shade val="45000"/>
                <a:satMod val="135000"/>
              </a:schemeClr>
              <a:prstClr val="white"/>
            </a:duotone>
            <a:extLst>
              <a:ext uri="{BEBA8EAE-BF5A-486C-A8C5-ECC9F3942E4B}">
                <a14:imgProps xmlns:a14="http://schemas.microsoft.com/office/drawing/2010/main">
                  <a14:imgLayer r:embed="rId4">
                    <a14:imgEffect>
                      <a14:backgroundRemoval t="2678" b="96042" l="10000" r="90000">
                        <a14:foregroundMark x1="28333" y1="32712" x2="30595" y2="23749"/>
                        <a14:foregroundMark x1="30595" y1="23749" x2="30238" y2="15250"/>
                        <a14:foregroundMark x1="30238" y1="15250" x2="30119" y2="15134"/>
                        <a14:foregroundMark x1="30357" y1="60419" x2="30714" y2="68219"/>
                        <a14:foregroundMark x1="30714" y1="68219" x2="32738" y2="64610"/>
                        <a14:foregroundMark x1="70595" y1="83236" x2="66667" y2="90803"/>
                        <a14:foregroundMark x1="66667" y1="90803" x2="71667" y2="83702"/>
                        <a14:foregroundMark x1="71667" y1="83702" x2="70357" y2="82887"/>
                        <a14:foregroundMark x1="18452" y1="4657" x2="26667" y2="2678"/>
                        <a14:foregroundMark x1="26667" y1="2678" x2="32262" y2="4657"/>
                        <a14:foregroundMark x1="63333" y1="93015" x2="71548" y2="96042"/>
                        <a14:foregroundMark x1="71548" y1="96042" x2="74643" y2="93830"/>
                      </a14:backgroundRemoval>
                    </a14:imgEffect>
                  </a14:imgLayer>
                </a14:imgProps>
              </a:ext>
              <a:ext uri="{28A0092B-C50C-407E-A947-70E740481C1C}">
                <a14:useLocalDpi xmlns:a14="http://schemas.microsoft.com/office/drawing/2010/main" val="0"/>
              </a:ext>
            </a:extLst>
          </a:blip>
          <a:srcRect/>
          <a:stretch>
            <a:fillRect/>
          </a:stretch>
        </p:blipFill>
        <p:spPr bwMode="auto">
          <a:xfrm rot="5607313">
            <a:off x="3884544" y="5329330"/>
            <a:ext cx="838434" cy="857489"/>
          </a:xfrm>
          <a:prstGeom prst="rect">
            <a:avLst/>
          </a:prstGeom>
          <a:noFill/>
          <a:extLst>
            <a:ext uri="{909E8E84-426E-40DD-AFC4-6F175D3DCCD1}">
              <a14:hiddenFill xmlns:a14="http://schemas.microsoft.com/office/drawing/2010/main">
                <a:solidFill>
                  <a:srgbClr val="FFFFFF"/>
                </a:solidFill>
              </a14:hiddenFill>
            </a:ext>
          </a:extLst>
        </p:spPr>
      </p:pic>
      <p:sp>
        <p:nvSpPr>
          <p:cNvPr id="28" name="Textfeld 27">
            <a:extLst>
              <a:ext uri="{FF2B5EF4-FFF2-40B4-BE49-F238E27FC236}">
                <a16:creationId xmlns:a16="http://schemas.microsoft.com/office/drawing/2014/main" id="{376EC3F9-6CB6-11D1-EFAE-3C56B27F0021}"/>
              </a:ext>
            </a:extLst>
          </p:cNvPr>
          <p:cNvSpPr txBox="1"/>
          <p:nvPr/>
        </p:nvSpPr>
        <p:spPr>
          <a:xfrm rot="20176034">
            <a:off x="2356163" y="5284758"/>
            <a:ext cx="279977" cy="169277"/>
          </a:xfrm>
          <a:prstGeom prst="rect">
            <a:avLst/>
          </a:prstGeom>
          <a:noFill/>
        </p:spPr>
        <p:txBody>
          <a:bodyPr wrap="square" lIns="0" tIns="0" rIns="0" bIns="0" rtlCol="0">
            <a:spAutoFit/>
          </a:bodyPr>
          <a:lstStyle/>
          <a:p>
            <a:pPr algn="l"/>
            <a:r>
              <a:rPr lang="de-DE" sz="1100" dirty="0">
                <a:solidFill>
                  <a:schemeClr val="bg1"/>
                </a:solidFill>
              </a:rPr>
              <a:t>TAT</a:t>
            </a:r>
          </a:p>
        </p:txBody>
      </p:sp>
      <p:sp>
        <p:nvSpPr>
          <p:cNvPr id="30" name="Textfeld 29">
            <a:extLst>
              <a:ext uri="{FF2B5EF4-FFF2-40B4-BE49-F238E27FC236}">
                <a16:creationId xmlns:a16="http://schemas.microsoft.com/office/drawing/2014/main" id="{50184589-A6B2-F5E7-FD62-BE6F3B6C9399}"/>
              </a:ext>
            </a:extLst>
          </p:cNvPr>
          <p:cNvSpPr txBox="1"/>
          <p:nvPr/>
        </p:nvSpPr>
        <p:spPr>
          <a:xfrm>
            <a:off x="3450327" y="5113659"/>
            <a:ext cx="279977" cy="169277"/>
          </a:xfrm>
          <a:prstGeom prst="rect">
            <a:avLst/>
          </a:prstGeom>
          <a:noFill/>
        </p:spPr>
        <p:txBody>
          <a:bodyPr wrap="square" lIns="0" tIns="0" rIns="0" bIns="0" rtlCol="0">
            <a:spAutoFit/>
          </a:bodyPr>
          <a:lstStyle/>
          <a:p>
            <a:pPr algn="l"/>
            <a:r>
              <a:rPr lang="de-DE" sz="1100" dirty="0">
                <a:solidFill>
                  <a:schemeClr val="bg1"/>
                </a:solidFill>
              </a:rPr>
              <a:t>TCH</a:t>
            </a:r>
          </a:p>
        </p:txBody>
      </p:sp>
      <p:sp>
        <p:nvSpPr>
          <p:cNvPr id="31" name="Textfeld 30">
            <a:extLst>
              <a:ext uri="{FF2B5EF4-FFF2-40B4-BE49-F238E27FC236}">
                <a16:creationId xmlns:a16="http://schemas.microsoft.com/office/drawing/2014/main" id="{0A76485C-7055-A8BE-C95E-01D3CC7A79ED}"/>
              </a:ext>
            </a:extLst>
          </p:cNvPr>
          <p:cNvSpPr txBox="1"/>
          <p:nvPr/>
        </p:nvSpPr>
        <p:spPr>
          <a:xfrm rot="265391">
            <a:off x="4367904" y="5482103"/>
            <a:ext cx="329168" cy="169277"/>
          </a:xfrm>
          <a:prstGeom prst="rect">
            <a:avLst/>
          </a:prstGeom>
          <a:noFill/>
        </p:spPr>
        <p:txBody>
          <a:bodyPr wrap="square" lIns="0" tIns="0" rIns="0" bIns="0" rtlCol="0">
            <a:spAutoFit/>
          </a:bodyPr>
          <a:lstStyle/>
          <a:p>
            <a:pPr algn="l"/>
            <a:r>
              <a:rPr lang="de-DE" sz="1100" dirty="0">
                <a:solidFill>
                  <a:schemeClr val="bg1"/>
                </a:solidFill>
              </a:rPr>
              <a:t>TWH</a:t>
            </a:r>
          </a:p>
        </p:txBody>
      </p:sp>
      <p:sp>
        <p:nvSpPr>
          <p:cNvPr id="9" name="Textfeld 8">
            <a:extLst>
              <a:ext uri="{FF2B5EF4-FFF2-40B4-BE49-F238E27FC236}">
                <a16:creationId xmlns:a16="http://schemas.microsoft.com/office/drawing/2014/main" id="{2A60DE7E-6973-18FB-560C-92D756D5550A}"/>
              </a:ext>
            </a:extLst>
          </p:cNvPr>
          <p:cNvSpPr txBox="1"/>
          <p:nvPr/>
        </p:nvSpPr>
        <p:spPr>
          <a:xfrm>
            <a:off x="7180976" y="1222374"/>
            <a:ext cx="1736782" cy="276999"/>
          </a:xfrm>
          <a:prstGeom prst="rect">
            <a:avLst/>
          </a:prstGeom>
          <a:solidFill>
            <a:schemeClr val="bg1"/>
          </a:solidFill>
        </p:spPr>
        <p:txBody>
          <a:bodyPr wrap="square" lIns="0" tIns="0" rIns="0" bIns="0" rtlCol="0">
            <a:spAutoFit/>
          </a:bodyPr>
          <a:lstStyle/>
          <a:p>
            <a:r>
              <a:rPr lang="de-DE" b="1" i="1" dirty="0">
                <a:solidFill>
                  <a:schemeClr val="accent5">
                    <a:lumMod val="75000"/>
                  </a:schemeClr>
                </a:solidFill>
              </a:rPr>
              <a:t> Beispielauszug</a:t>
            </a:r>
          </a:p>
        </p:txBody>
      </p:sp>
      <p:sp>
        <p:nvSpPr>
          <p:cNvPr id="10" name="Textfeld 9">
            <a:extLst>
              <a:ext uri="{FF2B5EF4-FFF2-40B4-BE49-F238E27FC236}">
                <a16:creationId xmlns:a16="http://schemas.microsoft.com/office/drawing/2014/main" id="{7C58EE47-B558-25B9-E30A-E27569A02373}"/>
              </a:ext>
            </a:extLst>
          </p:cNvPr>
          <p:cNvSpPr txBox="1"/>
          <p:nvPr/>
        </p:nvSpPr>
        <p:spPr>
          <a:xfrm>
            <a:off x="7250114" y="2291375"/>
            <a:ext cx="2988946" cy="246221"/>
          </a:xfrm>
          <a:prstGeom prst="rect">
            <a:avLst/>
          </a:prstGeom>
          <a:noFill/>
        </p:spPr>
        <p:txBody>
          <a:bodyPr wrap="square" lIns="0" tIns="0" rIns="0" bIns="0" rtlCol="0">
            <a:spAutoFit/>
          </a:bodyPr>
          <a:lstStyle/>
          <a:p>
            <a:pPr algn="l"/>
            <a:endParaRPr lang="de-DE" sz="1600" i="1" dirty="0">
              <a:solidFill>
                <a:schemeClr val="accent6">
                  <a:lumMod val="50000"/>
                </a:schemeClr>
              </a:solidFill>
            </a:endParaRPr>
          </a:p>
        </p:txBody>
      </p:sp>
      <p:pic>
        <p:nvPicPr>
          <p:cNvPr id="2050" name="Picture 2" descr="Screw Icon at Vectorified.com | Collection of Screw Icon free for ...">
            <a:extLst>
              <a:ext uri="{FF2B5EF4-FFF2-40B4-BE49-F238E27FC236}">
                <a16:creationId xmlns:a16="http://schemas.microsoft.com/office/drawing/2014/main" id="{74A52EEA-6A2B-A404-2CCB-9BB3C4D6BF02}"/>
              </a:ext>
            </a:extLst>
          </p:cNvPr>
          <p:cNvPicPr>
            <a:picLocks noChangeAspect="1" noChangeArrowheads="1"/>
          </p:cNvPicPr>
          <p:nvPr/>
        </p:nvPicPr>
        <p:blipFill>
          <a:blip r:embed="rId5">
            <a:clrChange>
              <a:clrFrom>
                <a:srgbClr val="FEFEFE"/>
              </a:clrFrom>
              <a:clrTo>
                <a:srgbClr val="FEFEFE">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319427">
            <a:off x="10368055" y="1606476"/>
            <a:ext cx="878688" cy="878688"/>
          </a:xfrm>
          <a:prstGeom prst="rect">
            <a:avLst/>
          </a:prstGeom>
          <a:noFill/>
          <a:extLst>
            <a:ext uri="{909E8E84-426E-40DD-AFC4-6F175D3DCCD1}">
              <a14:hiddenFill xmlns:a14="http://schemas.microsoft.com/office/drawing/2010/main">
                <a:solidFill>
                  <a:srgbClr val="FFFFFF"/>
                </a:solidFill>
              </a14:hiddenFill>
            </a:ext>
          </a:extLst>
        </p:spPr>
      </p:pic>
      <p:sp>
        <p:nvSpPr>
          <p:cNvPr id="15" name="Textfeld 14">
            <a:extLst>
              <a:ext uri="{FF2B5EF4-FFF2-40B4-BE49-F238E27FC236}">
                <a16:creationId xmlns:a16="http://schemas.microsoft.com/office/drawing/2014/main" id="{CE262685-7868-239B-B611-DEB0DAE2CE6D}"/>
              </a:ext>
            </a:extLst>
          </p:cNvPr>
          <p:cNvSpPr txBox="1"/>
          <p:nvPr/>
        </p:nvSpPr>
        <p:spPr>
          <a:xfrm>
            <a:off x="7594007" y="2735286"/>
            <a:ext cx="3502039" cy="3016210"/>
          </a:xfrm>
          <a:prstGeom prst="rect">
            <a:avLst/>
          </a:prstGeom>
          <a:noFill/>
        </p:spPr>
        <p:txBody>
          <a:bodyPr wrap="square" lIns="0" tIns="0" rIns="0" bIns="0" rtlCol="0">
            <a:spAutoFit/>
          </a:bodyPr>
          <a:lstStyle/>
          <a:p>
            <a:pPr algn="l"/>
            <a:endParaRPr lang="de-DE" sz="1400" dirty="0">
              <a:solidFill>
                <a:schemeClr val="accent4">
                  <a:lumMod val="75000"/>
                </a:schemeClr>
              </a:solidFill>
            </a:endParaRPr>
          </a:p>
          <a:p>
            <a:r>
              <a:rPr lang="de-DE" sz="1400" dirty="0">
                <a:solidFill>
                  <a:schemeClr val="accent4">
                    <a:lumMod val="75000"/>
                  </a:schemeClr>
                </a:solidFill>
              </a:rPr>
              <a:t>Gemeinsame </a:t>
            </a:r>
            <a:r>
              <a:rPr lang="de-DE" sz="1400" b="1" dirty="0">
                <a:solidFill>
                  <a:schemeClr val="accent4">
                    <a:lumMod val="75000"/>
                  </a:schemeClr>
                </a:solidFill>
              </a:rPr>
              <a:t>Bearbeitung</a:t>
            </a:r>
            <a:r>
              <a:rPr lang="de-DE" sz="1400" dirty="0">
                <a:solidFill>
                  <a:schemeClr val="accent4">
                    <a:lumMod val="75000"/>
                  </a:schemeClr>
                </a:solidFill>
              </a:rPr>
              <a:t> der Challenge in einer </a:t>
            </a:r>
            <a:r>
              <a:rPr lang="de-DE" sz="1400" b="1" dirty="0">
                <a:solidFill>
                  <a:schemeClr val="accent4">
                    <a:lumMod val="75000"/>
                  </a:schemeClr>
                </a:solidFill>
              </a:rPr>
              <a:t>Gruppe</a:t>
            </a:r>
            <a:r>
              <a:rPr lang="de-DE" sz="1400" dirty="0">
                <a:solidFill>
                  <a:schemeClr val="accent4">
                    <a:lumMod val="75000"/>
                  </a:schemeClr>
                </a:solidFill>
              </a:rPr>
              <a:t>, anschließend </a:t>
            </a:r>
            <a:r>
              <a:rPr lang="de-DE" sz="1400" b="1" dirty="0">
                <a:solidFill>
                  <a:schemeClr val="accent4">
                    <a:lumMod val="75000"/>
                  </a:schemeClr>
                </a:solidFill>
              </a:rPr>
              <a:t>Vorstellung</a:t>
            </a:r>
            <a:r>
              <a:rPr lang="de-DE" sz="1400" dirty="0">
                <a:solidFill>
                  <a:schemeClr val="accent4">
                    <a:lumMod val="75000"/>
                  </a:schemeClr>
                </a:solidFill>
              </a:rPr>
              <a:t> der </a:t>
            </a:r>
            <a:r>
              <a:rPr lang="de-DE" sz="1400" b="1" dirty="0">
                <a:solidFill>
                  <a:schemeClr val="accent4">
                    <a:lumMod val="75000"/>
                  </a:schemeClr>
                </a:solidFill>
              </a:rPr>
              <a:t>Lösungsansätze</a:t>
            </a:r>
            <a:r>
              <a:rPr lang="de-DE" sz="1400" dirty="0">
                <a:solidFill>
                  <a:schemeClr val="accent4">
                    <a:lumMod val="75000"/>
                  </a:schemeClr>
                </a:solidFill>
              </a:rPr>
              <a:t> im Gesamtteam:</a:t>
            </a:r>
          </a:p>
          <a:p>
            <a:pPr marL="285750" indent="-285750">
              <a:buFont typeface="Wingdings" panose="05000000000000000000" pitchFamily="2" charset="2"/>
              <a:buChar char="§"/>
            </a:pPr>
            <a:endParaRPr lang="de-DE" sz="1400" dirty="0">
              <a:solidFill>
                <a:schemeClr val="accent4">
                  <a:lumMod val="75000"/>
                </a:schemeClr>
              </a:solidFill>
            </a:endParaRPr>
          </a:p>
          <a:p>
            <a:pPr marL="285750" indent="-285750">
              <a:buFont typeface="Wingdings" panose="05000000000000000000" pitchFamily="2" charset="2"/>
              <a:buChar char="§"/>
            </a:pPr>
            <a:r>
              <a:rPr lang="de-DE" sz="1400" dirty="0">
                <a:solidFill>
                  <a:schemeClr val="accent4">
                    <a:lumMod val="75000"/>
                  </a:schemeClr>
                </a:solidFill>
              </a:rPr>
              <a:t>Prozess: Beschaffung Drehmomentschlüssel mit Zählwerk</a:t>
            </a:r>
          </a:p>
          <a:p>
            <a:pPr marL="285750" indent="-285750">
              <a:buFont typeface="Wingdings" panose="05000000000000000000" pitchFamily="2" charset="2"/>
              <a:buChar char="§"/>
            </a:pPr>
            <a:r>
              <a:rPr lang="de-DE" sz="1400" dirty="0">
                <a:solidFill>
                  <a:schemeClr val="accent4">
                    <a:lumMod val="75000"/>
                  </a:schemeClr>
                </a:solidFill>
              </a:rPr>
              <a:t>Visualisierung: Pro nicht angezogener Schraube wird 1 Schraube symbolisch im Shopfloor auf den Besprechungstisch gestellt</a:t>
            </a:r>
          </a:p>
          <a:p>
            <a:pPr marL="285750" indent="-285750">
              <a:buFont typeface="Wingdings" panose="05000000000000000000" pitchFamily="2" charset="2"/>
              <a:buChar char="§"/>
            </a:pPr>
            <a:r>
              <a:rPr lang="de-DE" sz="1400" dirty="0">
                <a:solidFill>
                  <a:schemeClr val="accent4">
                    <a:lumMod val="75000"/>
                  </a:schemeClr>
                </a:solidFill>
              </a:rPr>
              <a:t>Prozess: Verwendung von Schraubensicherung wo möglich</a:t>
            </a:r>
          </a:p>
          <a:p>
            <a:pPr marL="285750" indent="-285750">
              <a:buFont typeface="Wingdings" panose="05000000000000000000" pitchFamily="2" charset="2"/>
              <a:buChar char="§"/>
            </a:pPr>
            <a:r>
              <a:rPr lang="de-DE" sz="1400" dirty="0">
                <a:solidFill>
                  <a:schemeClr val="accent4">
                    <a:lumMod val="75000"/>
                  </a:schemeClr>
                </a:solidFill>
              </a:rPr>
              <a:t>Visualisierung: „Malerbandtechnik“</a:t>
            </a:r>
          </a:p>
        </p:txBody>
      </p:sp>
      <p:sp>
        <p:nvSpPr>
          <p:cNvPr id="16" name="Textfeld 15">
            <a:extLst>
              <a:ext uri="{FF2B5EF4-FFF2-40B4-BE49-F238E27FC236}">
                <a16:creationId xmlns:a16="http://schemas.microsoft.com/office/drawing/2014/main" id="{E92F85A5-0362-3D65-119D-F8B0DBDF63F7}"/>
              </a:ext>
            </a:extLst>
          </p:cNvPr>
          <p:cNvSpPr txBox="1"/>
          <p:nvPr/>
        </p:nvSpPr>
        <p:spPr>
          <a:xfrm>
            <a:off x="7340241" y="1650345"/>
            <a:ext cx="2976742" cy="1077218"/>
          </a:xfrm>
          <a:prstGeom prst="rect">
            <a:avLst/>
          </a:prstGeom>
          <a:noFill/>
        </p:spPr>
        <p:txBody>
          <a:bodyPr wrap="square" lIns="0" tIns="0" rIns="0" bIns="0" rtlCol="0">
            <a:spAutoFit/>
          </a:bodyPr>
          <a:lstStyle/>
          <a:p>
            <a:pPr algn="l"/>
            <a:r>
              <a:rPr lang="de-DE" sz="1400" i="1" dirty="0">
                <a:solidFill>
                  <a:schemeClr val="accent4">
                    <a:lumMod val="75000"/>
                  </a:schemeClr>
                </a:solidFill>
              </a:rPr>
              <a:t>TCH Challenge: </a:t>
            </a:r>
            <a:r>
              <a:rPr lang="de-DE" sz="1400" b="1" i="1" dirty="0">
                <a:solidFill>
                  <a:schemeClr val="accent4">
                    <a:lumMod val="75000"/>
                  </a:schemeClr>
                </a:solidFill>
              </a:rPr>
              <a:t>„Lose Schrauben in der Montage“</a:t>
            </a:r>
          </a:p>
          <a:p>
            <a:pPr algn="l"/>
            <a:r>
              <a:rPr lang="de-DE" sz="1400" dirty="0">
                <a:solidFill>
                  <a:schemeClr val="accent4">
                    <a:lumMod val="75000"/>
                  </a:schemeClr>
                </a:solidFill>
              </a:rPr>
              <a:t>Immer wieder werden bei verschiedensten </a:t>
            </a:r>
            <a:r>
              <a:rPr lang="de-DE" sz="1400" b="1" dirty="0">
                <a:solidFill>
                  <a:schemeClr val="accent4">
                    <a:lumMod val="75000"/>
                  </a:schemeClr>
                </a:solidFill>
              </a:rPr>
              <a:t>Montageprozessen Schrauben</a:t>
            </a:r>
            <a:r>
              <a:rPr lang="de-DE" sz="1400" dirty="0">
                <a:solidFill>
                  <a:schemeClr val="accent4">
                    <a:lumMod val="75000"/>
                  </a:schemeClr>
                </a:solidFill>
              </a:rPr>
              <a:t> </a:t>
            </a:r>
            <a:r>
              <a:rPr lang="de-DE" sz="1400" b="1" dirty="0">
                <a:solidFill>
                  <a:schemeClr val="accent4">
                    <a:lumMod val="75000"/>
                  </a:schemeClr>
                </a:solidFill>
              </a:rPr>
              <a:t>nicht</a:t>
            </a:r>
            <a:r>
              <a:rPr lang="de-DE" sz="1400" dirty="0">
                <a:solidFill>
                  <a:schemeClr val="accent4">
                    <a:lumMod val="75000"/>
                  </a:schemeClr>
                </a:solidFill>
              </a:rPr>
              <a:t> </a:t>
            </a:r>
            <a:r>
              <a:rPr lang="de-DE" sz="1400" b="1" dirty="0">
                <a:solidFill>
                  <a:schemeClr val="accent4">
                    <a:lumMod val="75000"/>
                  </a:schemeClr>
                </a:solidFill>
              </a:rPr>
              <a:t>angezogen</a:t>
            </a:r>
            <a:r>
              <a:rPr lang="de-DE" sz="1400" dirty="0">
                <a:solidFill>
                  <a:schemeClr val="accent4">
                    <a:lumMod val="75000"/>
                  </a:schemeClr>
                </a:solidFill>
              </a:rPr>
              <a:t>.</a:t>
            </a:r>
          </a:p>
        </p:txBody>
      </p:sp>
    </p:spTree>
    <p:extLst>
      <p:ext uri="{BB962C8B-B14F-4D97-AF65-F5344CB8AC3E}">
        <p14:creationId xmlns:p14="http://schemas.microsoft.com/office/powerpoint/2010/main" val="380544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nodePh="1">
                                  <p:stCondLst>
                                    <p:cond delay="0"/>
                                  </p:stCondLst>
                                  <p:endCondLst>
                                    <p:cond evt="begin" delay="0">
                                      <p:tn val="9"/>
                                    </p:cond>
                                  </p:end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5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10" grpId="0"/>
      <p:bldP spid="15" grpId="0"/>
      <p:bldP spid="1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9328471" cy="387798"/>
          </a:xfrm>
        </p:spPr>
        <p:txBody>
          <a:bodyPr/>
          <a:lstStyle/>
          <a:p>
            <a:r>
              <a:rPr lang="de-DE" dirty="0">
                <a:solidFill>
                  <a:schemeClr val="accent5">
                    <a:lumMod val="50000"/>
                  </a:schemeClr>
                </a:solidFill>
              </a:rPr>
              <a:t>#Mission Gemba bei TWH- Konkrete Praxisbeispiele (2)</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93861"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7</a:t>
            </a:fld>
            <a:r>
              <a:rPr lang="de-DE"/>
              <a:t>  </a:t>
            </a:r>
            <a:r>
              <a:rPr lang="de-DE" b="0">
                <a:solidFill>
                  <a:schemeClr val="accent1"/>
                </a:solidFill>
              </a:rPr>
              <a:t>|</a:t>
            </a:r>
            <a:endParaRPr lang="de-DE" sz="900" b="0">
              <a:solidFill>
                <a:schemeClr val="accent1"/>
              </a:solidFill>
            </a:endParaRPr>
          </a:p>
        </p:txBody>
      </p:sp>
      <p:sp>
        <p:nvSpPr>
          <p:cNvPr id="8" name="Titel 1">
            <a:extLst>
              <a:ext uri="{FF2B5EF4-FFF2-40B4-BE49-F238E27FC236}">
                <a16:creationId xmlns:a16="http://schemas.microsoft.com/office/drawing/2014/main" id="{9F78A8D4-BB13-DDCE-9659-8D1BE04FECD5}"/>
              </a:ext>
            </a:extLst>
          </p:cNvPr>
          <p:cNvSpPr txBox="1">
            <a:spLocks/>
          </p:cNvSpPr>
          <p:nvPr/>
        </p:nvSpPr>
        <p:spPr>
          <a:xfrm>
            <a:off x="377505" y="807225"/>
            <a:ext cx="8120012" cy="274654"/>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800" b="0" dirty="0">
                <a:solidFill>
                  <a:schemeClr val="accent5">
                    <a:lumMod val="50000"/>
                  </a:schemeClr>
                </a:solidFill>
              </a:rPr>
              <a:t>Mission Gemba „Power Week“</a:t>
            </a:r>
          </a:p>
        </p:txBody>
      </p:sp>
      <p:sp>
        <p:nvSpPr>
          <p:cNvPr id="9" name="Inhaltsplatzhalter 2">
            <a:extLst>
              <a:ext uri="{FF2B5EF4-FFF2-40B4-BE49-F238E27FC236}">
                <a16:creationId xmlns:a16="http://schemas.microsoft.com/office/drawing/2014/main" id="{0278BB28-1044-2F86-2B92-4032A5045549}"/>
              </a:ext>
            </a:extLst>
          </p:cNvPr>
          <p:cNvSpPr txBox="1">
            <a:spLocks/>
          </p:cNvSpPr>
          <p:nvPr/>
        </p:nvSpPr>
        <p:spPr>
          <a:xfrm>
            <a:off x="535534" y="1484405"/>
            <a:ext cx="10979787" cy="4449620"/>
          </a:xfrm>
          <a:custGeom>
            <a:avLst/>
            <a:gdLst>
              <a:gd name="connsiteX0" fmla="*/ 0 w 10979787"/>
              <a:gd name="connsiteY0" fmla="*/ 0 h 4449620"/>
              <a:gd name="connsiteX1" fmla="*/ 10979787 w 10979787"/>
              <a:gd name="connsiteY1" fmla="*/ 0 h 4449620"/>
              <a:gd name="connsiteX2" fmla="*/ 10979787 w 10979787"/>
              <a:gd name="connsiteY2" fmla="*/ 4449620 h 4449620"/>
              <a:gd name="connsiteX3" fmla="*/ 0 w 10979787"/>
              <a:gd name="connsiteY3" fmla="*/ 4449620 h 4449620"/>
              <a:gd name="connsiteX4" fmla="*/ 0 w 10979787"/>
              <a:gd name="connsiteY4" fmla="*/ 0 h 4449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787" h="4449620" fill="none" extrusionOk="0">
                <a:moveTo>
                  <a:pt x="0" y="0"/>
                </a:moveTo>
                <a:cubicBezTo>
                  <a:pt x="1229667" y="-77238"/>
                  <a:pt x="9177838" y="-79550"/>
                  <a:pt x="10979787" y="0"/>
                </a:cubicBezTo>
                <a:cubicBezTo>
                  <a:pt x="11021608" y="1046831"/>
                  <a:pt x="10823601" y="2239678"/>
                  <a:pt x="10979787" y="4449620"/>
                </a:cubicBezTo>
                <a:cubicBezTo>
                  <a:pt x="8664677" y="4536439"/>
                  <a:pt x="4007117" y="4473544"/>
                  <a:pt x="0" y="4449620"/>
                </a:cubicBezTo>
                <a:cubicBezTo>
                  <a:pt x="34590" y="2810469"/>
                  <a:pt x="1147" y="1297579"/>
                  <a:pt x="0" y="0"/>
                </a:cubicBezTo>
                <a:close/>
              </a:path>
              <a:path w="10979787" h="4449620" stroke="0" extrusionOk="0">
                <a:moveTo>
                  <a:pt x="0" y="0"/>
                </a:moveTo>
                <a:cubicBezTo>
                  <a:pt x="4048312" y="-41041"/>
                  <a:pt x="7515664" y="-64862"/>
                  <a:pt x="10979787" y="0"/>
                </a:cubicBezTo>
                <a:cubicBezTo>
                  <a:pt x="10907036" y="589123"/>
                  <a:pt x="11116258" y="3570033"/>
                  <a:pt x="10979787" y="4449620"/>
                </a:cubicBezTo>
                <a:cubicBezTo>
                  <a:pt x="9066421" y="4609619"/>
                  <a:pt x="3596289" y="4496490"/>
                  <a:pt x="0" y="4449620"/>
                </a:cubicBezTo>
                <a:cubicBezTo>
                  <a:pt x="-95498" y="3260617"/>
                  <a:pt x="-145830" y="921711"/>
                  <a:pt x="0" y="0"/>
                </a:cubicBezTo>
                <a:close/>
              </a:path>
            </a:pathLst>
          </a:custGeom>
          <a:ln w="28575">
            <a:solidFill>
              <a:schemeClr val="tx2"/>
            </a:solidFill>
            <a:extLst>
              <a:ext uri="{C807C97D-BFC1-408E-A445-0C87EB9F89A2}">
                <ask:lineSketchStyleProps xmlns:ask="http://schemas.microsoft.com/office/drawing/2018/sketchyshapes" sd="196146776">
                  <a:prstGeom prst="rect">
                    <a:avLst/>
                  </a:prstGeom>
                  <ask:type>
                    <ask:lineSketchCurved/>
                  </ask:type>
                </ask:lineSketchStyleProps>
              </a:ext>
            </a:extLst>
          </a:ln>
        </p:spPr>
        <p:txBody>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buNone/>
            </a:pPr>
            <a:endParaRPr lang="de-DE" sz="1600" i="1" dirty="0"/>
          </a:p>
          <a:p>
            <a:pPr marL="285750" indent="-285750"/>
            <a:endParaRPr lang="de-DE" sz="1600" i="1" dirty="0"/>
          </a:p>
          <a:p>
            <a:pPr>
              <a:buNone/>
            </a:pPr>
            <a:endParaRPr lang="de-DE" dirty="0"/>
          </a:p>
        </p:txBody>
      </p:sp>
      <p:pic>
        <p:nvPicPr>
          <p:cNvPr id="11" name="Grafik 10">
            <a:extLst>
              <a:ext uri="{FF2B5EF4-FFF2-40B4-BE49-F238E27FC236}">
                <a16:creationId xmlns:a16="http://schemas.microsoft.com/office/drawing/2014/main" id="{EBDC0275-6FED-53D8-1CD2-E8B1B4A05939}"/>
              </a:ext>
            </a:extLst>
          </p:cNvPr>
          <p:cNvPicPr>
            <a:picLocks noChangeAspect="1"/>
          </p:cNvPicPr>
          <p:nvPr/>
        </p:nvPicPr>
        <p:blipFill>
          <a:blip r:embed="rId3"/>
          <a:stretch>
            <a:fillRect/>
          </a:stretch>
        </p:blipFill>
        <p:spPr>
          <a:xfrm rot="614138">
            <a:off x="8151331" y="2011459"/>
            <a:ext cx="2811101" cy="1994975"/>
          </a:xfrm>
          <a:prstGeom prst="rect">
            <a:avLst/>
          </a:prstGeom>
          <a:ln>
            <a:noFill/>
          </a:ln>
          <a:effectLst>
            <a:outerShdw blurRad="292100" dist="139700" dir="2700000" algn="tl" rotWithShape="0">
              <a:srgbClr val="333333">
                <a:alpha val="65000"/>
              </a:srgbClr>
            </a:outerShdw>
          </a:effectLst>
        </p:spPr>
      </p:pic>
      <p:pic>
        <p:nvPicPr>
          <p:cNvPr id="13" name="Grafik 12">
            <a:extLst>
              <a:ext uri="{FF2B5EF4-FFF2-40B4-BE49-F238E27FC236}">
                <a16:creationId xmlns:a16="http://schemas.microsoft.com/office/drawing/2014/main" id="{D587C5F9-71A3-73DA-5DCB-1379C4C848FA}"/>
              </a:ext>
            </a:extLst>
          </p:cNvPr>
          <p:cNvPicPr>
            <a:picLocks noChangeAspect="1"/>
          </p:cNvPicPr>
          <p:nvPr/>
        </p:nvPicPr>
        <p:blipFill>
          <a:blip r:embed="rId4"/>
          <a:stretch>
            <a:fillRect/>
          </a:stretch>
        </p:blipFill>
        <p:spPr>
          <a:xfrm rot="20703529">
            <a:off x="5585660" y="2129819"/>
            <a:ext cx="2762218" cy="1957799"/>
          </a:xfrm>
          <a:prstGeom prst="rect">
            <a:avLst/>
          </a:prstGeom>
          <a:ln>
            <a:noFill/>
          </a:ln>
          <a:effectLst>
            <a:outerShdw blurRad="292100" dist="139700" dir="2700000" algn="tl" rotWithShape="0">
              <a:srgbClr val="333333">
                <a:alpha val="65000"/>
              </a:srgbClr>
            </a:outerShdw>
          </a:effectLst>
        </p:spPr>
      </p:pic>
      <p:pic>
        <p:nvPicPr>
          <p:cNvPr id="18" name="Grafik 17">
            <a:extLst>
              <a:ext uri="{FF2B5EF4-FFF2-40B4-BE49-F238E27FC236}">
                <a16:creationId xmlns:a16="http://schemas.microsoft.com/office/drawing/2014/main" id="{F95BF583-6FDA-1F36-2CCF-89F0556E3181}"/>
              </a:ext>
            </a:extLst>
          </p:cNvPr>
          <p:cNvPicPr>
            <a:picLocks noChangeAspect="1"/>
          </p:cNvPicPr>
          <p:nvPr/>
        </p:nvPicPr>
        <p:blipFill>
          <a:blip r:embed="rId5"/>
          <a:stretch>
            <a:fillRect/>
          </a:stretch>
        </p:blipFill>
        <p:spPr>
          <a:xfrm rot="174353">
            <a:off x="6796023" y="3102849"/>
            <a:ext cx="3726434" cy="2615523"/>
          </a:xfrm>
          <a:prstGeom prst="rect">
            <a:avLst/>
          </a:prstGeom>
        </p:spPr>
      </p:pic>
      <p:sp>
        <p:nvSpPr>
          <p:cNvPr id="19" name="Textfeld 18">
            <a:extLst>
              <a:ext uri="{FF2B5EF4-FFF2-40B4-BE49-F238E27FC236}">
                <a16:creationId xmlns:a16="http://schemas.microsoft.com/office/drawing/2014/main" id="{455B052F-AB1C-BC92-134C-2ECB98BCF437}"/>
              </a:ext>
            </a:extLst>
          </p:cNvPr>
          <p:cNvSpPr txBox="1"/>
          <p:nvPr/>
        </p:nvSpPr>
        <p:spPr>
          <a:xfrm>
            <a:off x="800278" y="1484405"/>
            <a:ext cx="4241461" cy="4708981"/>
          </a:xfrm>
          <a:prstGeom prst="rect">
            <a:avLst/>
          </a:prstGeom>
          <a:noFill/>
        </p:spPr>
        <p:txBody>
          <a:bodyPr wrap="square" lIns="0" tIns="0" rIns="0" bIns="0" rtlCol="0">
            <a:spAutoFit/>
          </a:bodyPr>
          <a:lstStyle/>
          <a:p>
            <a:pPr algn="l"/>
            <a:endParaRPr lang="de-DE" dirty="0">
              <a:solidFill>
                <a:schemeClr val="accent4">
                  <a:lumMod val="75000"/>
                </a:schemeClr>
              </a:solidFill>
            </a:endParaRPr>
          </a:p>
          <a:p>
            <a:r>
              <a:rPr lang="de-DE" dirty="0">
                <a:solidFill>
                  <a:schemeClr val="accent4">
                    <a:lumMod val="75000"/>
                  </a:schemeClr>
                </a:solidFill>
              </a:rPr>
              <a:t>Das Konzept der </a:t>
            </a:r>
            <a:r>
              <a:rPr lang="de-DE" b="1" dirty="0">
                <a:solidFill>
                  <a:schemeClr val="accent4">
                    <a:lumMod val="75000"/>
                  </a:schemeClr>
                </a:solidFill>
              </a:rPr>
              <a:t>Mission Gemba</a:t>
            </a:r>
            <a:r>
              <a:rPr lang="de-DE" dirty="0">
                <a:solidFill>
                  <a:schemeClr val="accent4">
                    <a:lumMod val="75000"/>
                  </a:schemeClr>
                </a:solidFill>
              </a:rPr>
              <a:t> Power Week:</a:t>
            </a:r>
          </a:p>
          <a:p>
            <a:pPr marL="285750" indent="-285750">
              <a:buFont typeface="Wingdings" panose="05000000000000000000" pitchFamily="2" charset="2"/>
              <a:buChar char="§"/>
            </a:pPr>
            <a:endParaRPr lang="de-DE" sz="1400" dirty="0">
              <a:solidFill>
                <a:schemeClr val="accent4">
                  <a:lumMod val="75000"/>
                </a:schemeClr>
              </a:solidFill>
            </a:endParaRPr>
          </a:p>
          <a:p>
            <a:pPr marL="285750" indent="-285750">
              <a:lnSpc>
                <a:spcPct val="150000"/>
              </a:lnSpc>
              <a:buFont typeface="Wingdings" panose="05000000000000000000" pitchFamily="2" charset="2"/>
              <a:buChar char="§"/>
            </a:pPr>
            <a:r>
              <a:rPr lang="de-DE" sz="1400" dirty="0">
                <a:solidFill>
                  <a:schemeClr val="accent4">
                    <a:lumMod val="75000"/>
                  </a:schemeClr>
                </a:solidFill>
              </a:rPr>
              <a:t>Jede 2. Woche im Monat</a:t>
            </a:r>
          </a:p>
          <a:p>
            <a:pPr marL="285750" indent="-285750">
              <a:lnSpc>
                <a:spcPct val="150000"/>
              </a:lnSpc>
              <a:buFont typeface="Wingdings" panose="05000000000000000000" pitchFamily="2" charset="2"/>
              <a:buChar char="§"/>
            </a:pPr>
            <a:r>
              <a:rPr lang="de-DE" sz="1400" dirty="0">
                <a:solidFill>
                  <a:schemeClr val="accent4">
                    <a:lumMod val="75000"/>
                  </a:schemeClr>
                </a:solidFill>
              </a:rPr>
              <a:t>2-stufige </a:t>
            </a:r>
            <a:r>
              <a:rPr lang="de-DE" sz="1400" b="1" dirty="0">
                <a:solidFill>
                  <a:schemeClr val="accent4">
                    <a:lumMod val="75000"/>
                  </a:schemeClr>
                </a:solidFill>
              </a:rPr>
              <a:t>Plakatinitiative</a:t>
            </a:r>
            <a:r>
              <a:rPr lang="de-DE" sz="1400" dirty="0">
                <a:solidFill>
                  <a:schemeClr val="accent4">
                    <a:lumMod val="75000"/>
                  </a:schemeClr>
                </a:solidFill>
              </a:rPr>
              <a:t> mit insgesamt 78 Plakaten</a:t>
            </a:r>
          </a:p>
          <a:p>
            <a:pPr marL="285750" indent="-285750">
              <a:lnSpc>
                <a:spcPct val="150000"/>
              </a:lnSpc>
              <a:buFont typeface="Wingdings" panose="05000000000000000000" pitchFamily="2" charset="2"/>
              <a:buChar char="§"/>
            </a:pPr>
            <a:r>
              <a:rPr lang="de-DE" sz="1400" dirty="0">
                <a:solidFill>
                  <a:schemeClr val="accent4">
                    <a:lumMod val="75000"/>
                  </a:schemeClr>
                </a:solidFill>
              </a:rPr>
              <a:t>Bearbeitung eines bestimmen Fokus Thema´s, bspw. „</a:t>
            </a:r>
            <a:r>
              <a:rPr lang="de-DE" sz="1400" b="1" dirty="0">
                <a:solidFill>
                  <a:schemeClr val="accent4">
                    <a:lumMod val="75000"/>
                  </a:schemeClr>
                </a:solidFill>
              </a:rPr>
              <a:t>Ordnung und Sauberkeit</a:t>
            </a:r>
            <a:r>
              <a:rPr lang="de-DE" sz="1400" dirty="0">
                <a:solidFill>
                  <a:schemeClr val="accent4">
                    <a:lumMod val="75000"/>
                  </a:schemeClr>
                </a:solidFill>
              </a:rPr>
              <a:t>“</a:t>
            </a:r>
          </a:p>
          <a:p>
            <a:pPr marL="285750" indent="-285750">
              <a:lnSpc>
                <a:spcPct val="150000"/>
              </a:lnSpc>
              <a:buFont typeface="Wingdings" panose="05000000000000000000" pitchFamily="2" charset="2"/>
              <a:buChar char="§"/>
            </a:pPr>
            <a:r>
              <a:rPr lang="de-DE" sz="1400" dirty="0">
                <a:solidFill>
                  <a:schemeClr val="accent4">
                    <a:lumMod val="75000"/>
                  </a:schemeClr>
                </a:solidFill>
              </a:rPr>
              <a:t>Jede Abteilung bekommt die Aufforderung, eine gewisse Anzahl </a:t>
            </a:r>
            <a:r>
              <a:rPr lang="de-DE" sz="1400" b="1" dirty="0">
                <a:solidFill>
                  <a:schemeClr val="accent4">
                    <a:lumMod val="75000"/>
                  </a:schemeClr>
                </a:solidFill>
              </a:rPr>
              <a:t>KVP´s</a:t>
            </a:r>
            <a:r>
              <a:rPr lang="de-DE" sz="1400" dirty="0">
                <a:solidFill>
                  <a:schemeClr val="accent4">
                    <a:lumMod val="75000"/>
                  </a:schemeClr>
                </a:solidFill>
              </a:rPr>
              <a:t> zu </a:t>
            </a:r>
            <a:r>
              <a:rPr lang="de-DE" sz="1400" b="1" dirty="0">
                <a:solidFill>
                  <a:schemeClr val="accent4">
                    <a:lumMod val="75000"/>
                  </a:schemeClr>
                </a:solidFill>
              </a:rPr>
              <a:t>schreiben</a:t>
            </a:r>
            <a:r>
              <a:rPr lang="de-DE" sz="1400" dirty="0">
                <a:solidFill>
                  <a:schemeClr val="accent4">
                    <a:lumMod val="75000"/>
                  </a:schemeClr>
                </a:solidFill>
              </a:rPr>
              <a:t> und zu </a:t>
            </a:r>
            <a:r>
              <a:rPr lang="de-DE" sz="1400" b="1" dirty="0">
                <a:solidFill>
                  <a:schemeClr val="accent4">
                    <a:lumMod val="75000"/>
                  </a:schemeClr>
                </a:solidFill>
              </a:rPr>
              <a:t>lösen</a:t>
            </a:r>
          </a:p>
          <a:p>
            <a:pPr marL="285750" indent="-285750">
              <a:lnSpc>
                <a:spcPct val="150000"/>
              </a:lnSpc>
              <a:buFont typeface="Wingdings" panose="05000000000000000000" pitchFamily="2" charset="2"/>
              <a:buChar char="§"/>
            </a:pPr>
            <a:r>
              <a:rPr lang="de-DE" sz="1400" dirty="0">
                <a:solidFill>
                  <a:schemeClr val="accent4">
                    <a:lumMod val="75000"/>
                  </a:schemeClr>
                </a:solidFill>
              </a:rPr>
              <a:t>2x in der Woche </a:t>
            </a:r>
            <a:r>
              <a:rPr lang="de-DE" sz="1400" b="1" dirty="0">
                <a:solidFill>
                  <a:schemeClr val="accent4">
                    <a:lumMod val="75000"/>
                  </a:schemeClr>
                </a:solidFill>
              </a:rPr>
              <a:t>Go &amp; See </a:t>
            </a:r>
            <a:r>
              <a:rPr lang="de-DE" sz="1400" dirty="0">
                <a:solidFill>
                  <a:schemeClr val="accent4">
                    <a:lumMod val="75000"/>
                  </a:schemeClr>
                </a:solidFill>
              </a:rPr>
              <a:t>des </a:t>
            </a:r>
            <a:r>
              <a:rPr lang="de-DE" sz="1400" b="1" dirty="0">
                <a:solidFill>
                  <a:schemeClr val="accent4">
                    <a:lumMod val="75000"/>
                  </a:schemeClr>
                </a:solidFill>
              </a:rPr>
              <a:t>Werkleitershopfloor´s  </a:t>
            </a:r>
            <a:r>
              <a:rPr lang="de-DE" sz="1400" dirty="0">
                <a:solidFill>
                  <a:schemeClr val="accent4">
                    <a:lumMod val="75000"/>
                  </a:schemeClr>
                </a:solidFill>
              </a:rPr>
              <a:t>zu den </a:t>
            </a:r>
            <a:r>
              <a:rPr lang="de-DE" sz="1400" b="1" dirty="0">
                <a:solidFill>
                  <a:schemeClr val="accent4">
                    <a:lumMod val="75000"/>
                  </a:schemeClr>
                </a:solidFill>
              </a:rPr>
              <a:t>TOP KVP´s </a:t>
            </a:r>
            <a:r>
              <a:rPr lang="de-DE" sz="1400" dirty="0">
                <a:solidFill>
                  <a:schemeClr val="accent4">
                    <a:lumMod val="75000"/>
                  </a:schemeClr>
                </a:solidFill>
              </a:rPr>
              <a:t>der Woche</a:t>
            </a:r>
          </a:p>
          <a:p>
            <a:pPr marL="285750" indent="-285750">
              <a:buFont typeface="Wingdings" panose="05000000000000000000" pitchFamily="2" charset="2"/>
              <a:buChar char="§"/>
            </a:pPr>
            <a:endParaRPr lang="de-DE" sz="1400" dirty="0">
              <a:solidFill>
                <a:schemeClr val="accent4">
                  <a:lumMod val="75000"/>
                </a:schemeClr>
              </a:solidFill>
            </a:endParaRPr>
          </a:p>
          <a:p>
            <a:endParaRPr lang="de-DE" sz="1400" dirty="0">
              <a:solidFill>
                <a:schemeClr val="accent4">
                  <a:lumMod val="75000"/>
                </a:schemeClr>
              </a:solidFill>
            </a:endParaRPr>
          </a:p>
        </p:txBody>
      </p:sp>
      <p:pic>
        <p:nvPicPr>
          <p:cNvPr id="21" name="Grafik 20">
            <a:extLst>
              <a:ext uri="{FF2B5EF4-FFF2-40B4-BE49-F238E27FC236}">
                <a16:creationId xmlns:a16="http://schemas.microsoft.com/office/drawing/2014/main" id="{ACE58FF7-0B79-BA36-D5D6-EA98F06E4989}"/>
              </a:ext>
            </a:extLst>
          </p:cNvPr>
          <p:cNvPicPr>
            <a:picLocks noChangeAspect="1"/>
          </p:cNvPicPr>
          <p:nvPr/>
        </p:nvPicPr>
        <p:blipFill>
          <a:blip r:embed="rId6"/>
          <a:stretch>
            <a:fillRect/>
          </a:stretch>
        </p:blipFill>
        <p:spPr>
          <a:xfrm>
            <a:off x="811024" y="1883644"/>
            <a:ext cx="5189110" cy="3658662"/>
          </a:xfrm>
          <a:prstGeom prst="rect">
            <a:avLst/>
          </a:prstGeom>
          <a:ln>
            <a:noFill/>
          </a:ln>
          <a:effectLst>
            <a:outerShdw blurRad="292100" dist="139700" dir="2700000" algn="tl" rotWithShape="0">
              <a:srgbClr val="333333">
                <a:alpha val="65000"/>
              </a:srgbClr>
            </a:outerShdw>
          </a:effectLst>
        </p:spPr>
      </p:pic>
      <p:pic>
        <p:nvPicPr>
          <p:cNvPr id="31" name="Grafik 30">
            <a:extLst>
              <a:ext uri="{FF2B5EF4-FFF2-40B4-BE49-F238E27FC236}">
                <a16:creationId xmlns:a16="http://schemas.microsoft.com/office/drawing/2014/main" id="{2B77071B-45D6-04E8-B8B2-F1E898146795}"/>
              </a:ext>
            </a:extLst>
          </p:cNvPr>
          <p:cNvPicPr>
            <a:picLocks noChangeAspect="1"/>
          </p:cNvPicPr>
          <p:nvPr/>
        </p:nvPicPr>
        <p:blipFill>
          <a:blip r:embed="rId7"/>
          <a:stretch>
            <a:fillRect/>
          </a:stretch>
        </p:blipFill>
        <p:spPr>
          <a:xfrm>
            <a:off x="6191867" y="1885287"/>
            <a:ext cx="5189111" cy="3667652"/>
          </a:xfrm>
          <a:prstGeom prst="rect">
            <a:avLst/>
          </a:prstGeom>
          <a:ln>
            <a:noFill/>
          </a:ln>
          <a:effectLst>
            <a:outerShdw blurRad="292100" dist="139700" dir="2700000" algn="tl" rotWithShape="0">
              <a:srgbClr val="333333">
                <a:alpha val="65000"/>
              </a:srgbClr>
            </a:outerShdw>
          </a:effectLst>
        </p:spPr>
      </p:pic>
      <p:sp>
        <p:nvSpPr>
          <p:cNvPr id="1040" name="Textfeld 1039">
            <a:extLst>
              <a:ext uri="{FF2B5EF4-FFF2-40B4-BE49-F238E27FC236}">
                <a16:creationId xmlns:a16="http://schemas.microsoft.com/office/drawing/2014/main" id="{DB56030D-5007-6D59-A010-0828EC9E79F5}"/>
              </a:ext>
            </a:extLst>
          </p:cNvPr>
          <p:cNvSpPr txBox="1"/>
          <p:nvPr/>
        </p:nvSpPr>
        <p:spPr>
          <a:xfrm>
            <a:off x="800278" y="1545525"/>
            <a:ext cx="3441209" cy="276999"/>
          </a:xfrm>
          <a:prstGeom prst="rect">
            <a:avLst/>
          </a:prstGeom>
          <a:noFill/>
        </p:spPr>
        <p:txBody>
          <a:bodyPr wrap="square" lIns="0" tIns="0" rIns="0" bIns="0" rtlCol="0">
            <a:spAutoFit/>
          </a:bodyPr>
          <a:lstStyle/>
          <a:p>
            <a:pPr algn="l"/>
            <a:r>
              <a:rPr lang="de-DE" dirty="0">
                <a:solidFill>
                  <a:schemeClr val="accent4">
                    <a:lumMod val="75000"/>
                  </a:schemeClr>
                </a:solidFill>
              </a:rPr>
              <a:t>Stufe 1 zu Wochenbeginn:</a:t>
            </a:r>
          </a:p>
        </p:txBody>
      </p:sp>
      <p:sp>
        <p:nvSpPr>
          <p:cNvPr id="1042" name="Textfeld 1041">
            <a:extLst>
              <a:ext uri="{FF2B5EF4-FFF2-40B4-BE49-F238E27FC236}">
                <a16:creationId xmlns:a16="http://schemas.microsoft.com/office/drawing/2014/main" id="{BCA7B06B-E821-C548-AFAA-996588ECA06F}"/>
              </a:ext>
            </a:extLst>
          </p:cNvPr>
          <p:cNvSpPr txBox="1"/>
          <p:nvPr/>
        </p:nvSpPr>
        <p:spPr>
          <a:xfrm>
            <a:off x="6191867" y="1529827"/>
            <a:ext cx="5189110" cy="276999"/>
          </a:xfrm>
          <a:prstGeom prst="rect">
            <a:avLst/>
          </a:prstGeom>
          <a:noFill/>
        </p:spPr>
        <p:txBody>
          <a:bodyPr wrap="square" lIns="0" tIns="0" rIns="0" bIns="0" rtlCol="0">
            <a:spAutoFit/>
          </a:bodyPr>
          <a:lstStyle/>
          <a:p>
            <a:pPr algn="l"/>
            <a:r>
              <a:rPr lang="de-DE" dirty="0">
                <a:solidFill>
                  <a:schemeClr val="accent4">
                    <a:lumMod val="75000"/>
                  </a:schemeClr>
                </a:solidFill>
              </a:rPr>
              <a:t>Stufe 2 zu Wochenmitte: (Plakat wird ausgetauscht)</a:t>
            </a:r>
            <a:endParaRPr lang="de-DE" dirty="0">
              <a:solidFill>
                <a:schemeClr val="accent4"/>
              </a:solidFill>
            </a:endParaRPr>
          </a:p>
        </p:txBody>
      </p:sp>
    </p:spTree>
    <p:extLst>
      <p:ext uri="{BB962C8B-B14F-4D97-AF65-F5344CB8AC3E}">
        <p14:creationId xmlns:p14="http://schemas.microsoft.com/office/powerpoint/2010/main" val="2823513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1"/>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13"/>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18"/>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104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4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9" grpId="0"/>
      <p:bldP spid="1040" grpId="0"/>
      <p:bldP spid="104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10394967" cy="387798"/>
          </a:xfrm>
        </p:spPr>
        <p:txBody>
          <a:bodyPr/>
          <a:lstStyle/>
          <a:p>
            <a:r>
              <a:rPr lang="de-DE" sz="2400" dirty="0">
                <a:solidFill>
                  <a:schemeClr val="accent5">
                    <a:lumMod val="50000"/>
                  </a:schemeClr>
                </a:solidFill>
              </a:rPr>
              <a:t>#Mission Gemba goe´s GLOBAL – neue SYNCHRO Organisationsstruktur </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dirty="0"/>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97365"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18</a:t>
            </a:fld>
            <a:r>
              <a:rPr lang="de-DE"/>
              <a:t>  </a:t>
            </a:r>
            <a:r>
              <a:rPr lang="de-DE" b="0">
                <a:solidFill>
                  <a:schemeClr val="accent1"/>
                </a:solidFill>
              </a:rPr>
              <a:t>|</a:t>
            </a:r>
            <a:endParaRPr lang="de-DE" sz="900" b="0">
              <a:solidFill>
                <a:schemeClr val="accent1"/>
              </a:solidFill>
            </a:endParaRPr>
          </a:p>
        </p:txBody>
      </p:sp>
      <p:grpSp>
        <p:nvGrpSpPr>
          <p:cNvPr id="1575" name="Gruppieren 1574">
            <a:extLst>
              <a:ext uri="{FF2B5EF4-FFF2-40B4-BE49-F238E27FC236}">
                <a16:creationId xmlns:a16="http://schemas.microsoft.com/office/drawing/2014/main" id="{A1EC8E4C-B4E5-6124-5D8A-3EA139373068}"/>
              </a:ext>
            </a:extLst>
          </p:cNvPr>
          <p:cNvGrpSpPr/>
          <p:nvPr/>
        </p:nvGrpSpPr>
        <p:grpSpPr>
          <a:xfrm>
            <a:off x="459441" y="878625"/>
            <a:ext cx="6456111" cy="4356000"/>
            <a:chOff x="2965569" y="1521272"/>
            <a:chExt cx="6456111" cy="4356000"/>
          </a:xfrm>
        </p:grpSpPr>
        <p:grpSp>
          <p:nvGrpSpPr>
            <p:cNvPr id="1576" name="Gruppieren 1575">
              <a:extLst>
                <a:ext uri="{FF2B5EF4-FFF2-40B4-BE49-F238E27FC236}">
                  <a16:creationId xmlns:a16="http://schemas.microsoft.com/office/drawing/2014/main" id="{55BD7586-CDA6-074B-EB2B-6A880969FE1A}"/>
                </a:ext>
              </a:extLst>
            </p:cNvPr>
            <p:cNvGrpSpPr/>
            <p:nvPr/>
          </p:nvGrpSpPr>
          <p:grpSpPr>
            <a:xfrm>
              <a:off x="2965569" y="1521272"/>
              <a:ext cx="6456111" cy="4356000"/>
              <a:chOff x="2965569" y="1521272"/>
              <a:chExt cx="6456111" cy="4356000"/>
            </a:xfrm>
          </p:grpSpPr>
          <p:grpSp>
            <p:nvGrpSpPr>
              <p:cNvPr id="1603" name="Gruppieren 18">
                <a:extLst>
                  <a:ext uri="{FF2B5EF4-FFF2-40B4-BE49-F238E27FC236}">
                    <a16:creationId xmlns:a16="http://schemas.microsoft.com/office/drawing/2014/main" id="{A67B94EF-31F6-C043-581F-33EBBADA5315}"/>
                  </a:ext>
                </a:extLst>
              </p:cNvPr>
              <p:cNvGrpSpPr/>
              <p:nvPr/>
            </p:nvGrpSpPr>
            <p:grpSpPr bwMode="gray">
              <a:xfrm>
                <a:off x="5547129" y="1797145"/>
                <a:ext cx="3874551" cy="2088529"/>
                <a:chOff x="4333654" y="2120458"/>
                <a:chExt cx="4234800" cy="2158558"/>
              </a:xfrm>
              <a:solidFill>
                <a:srgbClr val="D0D0D0"/>
              </a:solidFill>
            </p:grpSpPr>
            <p:grpSp>
              <p:nvGrpSpPr>
                <p:cNvPr id="1849" name="Gruppieren 17">
                  <a:extLst>
                    <a:ext uri="{FF2B5EF4-FFF2-40B4-BE49-F238E27FC236}">
                      <a16:creationId xmlns:a16="http://schemas.microsoft.com/office/drawing/2014/main" id="{B8952EB2-D8D8-8275-11AC-80F8C50A3D3F}"/>
                    </a:ext>
                  </a:extLst>
                </p:cNvPr>
                <p:cNvGrpSpPr/>
                <p:nvPr/>
              </p:nvGrpSpPr>
              <p:grpSpPr bwMode="gray">
                <a:xfrm>
                  <a:off x="4333654" y="2120458"/>
                  <a:ext cx="4234800" cy="2158558"/>
                  <a:chOff x="4333654" y="2120458"/>
                  <a:chExt cx="4234800" cy="2158558"/>
                </a:xfrm>
                <a:grpFill/>
              </p:grpSpPr>
              <p:sp>
                <p:nvSpPr>
                  <p:cNvPr id="1851" name="Line 37">
                    <a:extLst>
                      <a:ext uri="{FF2B5EF4-FFF2-40B4-BE49-F238E27FC236}">
                        <a16:creationId xmlns:a16="http://schemas.microsoft.com/office/drawing/2014/main" id="{18C02977-0DA5-F6CC-5F29-CDA282F80C7D}"/>
                      </a:ext>
                    </a:extLst>
                  </p:cNvPr>
                  <p:cNvSpPr>
                    <a:spLocks noChangeShapeType="1"/>
                  </p:cNvSpPr>
                  <p:nvPr/>
                </p:nvSpPr>
                <p:spPr bwMode="gray">
                  <a:xfrm>
                    <a:off x="5332500" y="4216945"/>
                    <a:ext cx="0" cy="11401"/>
                  </a:xfrm>
                  <a:prstGeom prst="line">
                    <a:avLst/>
                  </a:prstGeom>
                  <a:grp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852" name="Freeform 39">
                    <a:extLst>
                      <a:ext uri="{FF2B5EF4-FFF2-40B4-BE49-F238E27FC236}">
                        <a16:creationId xmlns:a16="http://schemas.microsoft.com/office/drawing/2014/main" id="{00F6EB33-8F35-A482-40D8-BFBDB6A8CB08}"/>
                      </a:ext>
                    </a:extLst>
                  </p:cNvPr>
                  <p:cNvSpPr>
                    <a:spLocks/>
                  </p:cNvSpPr>
                  <p:nvPr/>
                </p:nvSpPr>
                <p:spPr bwMode="gray">
                  <a:xfrm>
                    <a:off x="5358244" y="3983862"/>
                    <a:ext cx="278030" cy="172280"/>
                  </a:xfrm>
                  <a:custGeom>
                    <a:avLst/>
                    <a:gdLst>
                      <a:gd name="T0" fmla="*/ 114 w 180"/>
                      <a:gd name="T1" fmla="*/ 41 h 114"/>
                      <a:gd name="T2" fmla="*/ 105 w 180"/>
                      <a:gd name="T3" fmla="*/ 41 h 114"/>
                      <a:gd name="T4" fmla="*/ 89 w 180"/>
                      <a:gd name="T5" fmla="*/ 32 h 114"/>
                      <a:gd name="T6" fmla="*/ 130 w 180"/>
                      <a:gd name="T7" fmla="*/ 8 h 114"/>
                      <a:gd name="T8" fmla="*/ 145 w 180"/>
                      <a:gd name="T9" fmla="*/ 0 h 114"/>
                      <a:gd name="T10" fmla="*/ 154 w 180"/>
                      <a:gd name="T11" fmla="*/ 8 h 114"/>
                      <a:gd name="T12" fmla="*/ 130 w 180"/>
                      <a:gd name="T13" fmla="*/ 16 h 114"/>
                      <a:gd name="T14" fmla="*/ 139 w 180"/>
                      <a:gd name="T15" fmla="*/ 23 h 114"/>
                      <a:gd name="T16" fmla="*/ 120 w 180"/>
                      <a:gd name="T17" fmla="*/ 41 h 114"/>
                      <a:gd name="T18" fmla="*/ 114 w 180"/>
                      <a:gd name="T19" fmla="*/ 41 h 114"/>
                      <a:gd name="T20" fmla="*/ 120 w 180"/>
                      <a:gd name="T21" fmla="*/ 41 h 114"/>
                      <a:gd name="T22" fmla="*/ 179 w 180"/>
                      <a:gd name="T23" fmla="*/ 88 h 114"/>
                      <a:gd name="T24" fmla="*/ 179 w 180"/>
                      <a:gd name="T25" fmla="*/ 97 h 114"/>
                      <a:gd name="T26" fmla="*/ 179 w 180"/>
                      <a:gd name="T27" fmla="*/ 105 h 114"/>
                      <a:gd name="T28" fmla="*/ 154 w 180"/>
                      <a:gd name="T29" fmla="*/ 113 h 114"/>
                      <a:gd name="T30" fmla="*/ 120 w 180"/>
                      <a:gd name="T31" fmla="*/ 113 h 114"/>
                      <a:gd name="T32" fmla="*/ 97 w 180"/>
                      <a:gd name="T33" fmla="*/ 97 h 114"/>
                      <a:gd name="T34" fmla="*/ 73 w 180"/>
                      <a:gd name="T35" fmla="*/ 97 h 114"/>
                      <a:gd name="T36" fmla="*/ 49 w 180"/>
                      <a:gd name="T37" fmla="*/ 113 h 114"/>
                      <a:gd name="T38" fmla="*/ 33 w 180"/>
                      <a:gd name="T39" fmla="*/ 113 h 114"/>
                      <a:gd name="T40" fmla="*/ 15 w 180"/>
                      <a:gd name="T41" fmla="*/ 113 h 114"/>
                      <a:gd name="T42" fmla="*/ 8 w 180"/>
                      <a:gd name="T43" fmla="*/ 97 h 114"/>
                      <a:gd name="T44" fmla="*/ 0 w 180"/>
                      <a:gd name="T45" fmla="*/ 88 h 114"/>
                      <a:gd name="T46" fmla="*/ 8 w 180"/>
                      <a:gd name="T47" fmla="*/ 73 h 114"/>
                      <a:gd name="T48" fmla="*/ 15 w 180"/>
                      <a:gd name="T49" fmla="*/ 73 h 114"/>
                      <a:gd name="T50" fmla="*/ 15 w 180"/>
                      <a:gd name="T51" fmla="*/ 63 h 114"/>
                      <a:gd name="T52" fmla="*/ 15 w 180"/>
                      <a:gd name="T53" fmla="*/ 57 h 114"/>
                      <a:gd name="T54" fmla="*/ 24 w 180"/>
                      <a:gd name="T55" fmla="*/ 48 h 114"/>
                      <a:gd name="T56" fmla="*/ 24 w 180"/>
                      <a:gd name="T57" fmla="*/ 41 h 114"/>
                      <a:gd name="T58" fmla="*/ 24 w 180"/>
                      <a:gd name="T59" fmla="*/ 32 h 114"/>
                      <a:gd name="T60" fmla="*/ 33 w 180"/>
                      <a:gd name="T61" fmla="*/ 32 h 114"/>
                      <a:gd name="T62" fmla="*/ 40 w 180"/>
                      <a:gd name="T63" fmla="*/ 16 h 114"/>
                      <a:gd name="T64" fmla="*/ 55 w 180"/>
                      <a:gd name="T65" fmla="*/ 16 h 114"/>
                      <a:gd name="T66" fmla="*/ 55 w 180"/>
                      <a:gd name="T67" fmla="*/ 23 h 114"/>
                      <a:gd name="T68" fmla="*/ 80 w 180"/>
                      <a:gd name="T69" fmla="*/ 32 h 114"/>
                      <a:gd name="T70" fmla="*/ 65 w 180"/>
                      <a:gd name="T71" fmla="*/ 41 h 114"/>
                      <a:gd name="T72" fmla="*/ 73 w 180"/>
                      <a:gd name="T73" fmla="*/ 48 h 114"/>
                      <a:gd name="T74" fmla="*/ 73 w 180"/>
                      <a:gd name="T75" fmla="*/ 57 h 114"/>
                      <a:gd name="T76" fmla="*/ 80 w 180"/>
                      <a:gd name="T77" fmla="*/ 57 h 114"/>
                      <a:gd name="T78" fmla="*/ 105 w 180"/>
                      <a:gd name="T79" fmla="*/ 41 h 114"/>
                      <a:gd name="T80" fmla="*/ 114 w 180"/>
                      <a:gd name="T81" fmla="*/ 41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grpFill/>
                  <a:ln w="3175" cap="rnd" cmpd="sng">
                    <a:solidFill>
                      <a:schemeClr val="bg1"/>
                    </a:solidFill>
                    <a:prstDash val="solid"/>
                    <a:round/>
                    <a:headEnd/>
                    <a:tailEnd/>
                  </a:ln>
                  <a:effectLst/>
                </p:spPr>
                <p:txBody>
                  <a:bodyPr/>
                  <a:lstStyle/>
                  <a:p>
                    <a:endParaRPr lang="en-US"/>
                  </a:p>
                </p:txBody>
              </p:sp>
              <p:sp>
                <p:nvSpPr>
                  <p:cNvPr id="1853" name="Freeform 43">
                    <a:extLst>
                      <a:ext uri="{FF2B5EF4-FFF2-40B4-BE49-F238E27FC236}">
                        <a16:creationId xmlns:a16="http://schemas.microsoft.com/office/drawing/2014/main" id="{6C97CE93-B74E-81D2-A29D-680A2E0ACD31}"/>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a:tailEnd/>
                  </a:ln>
                  <a:effectLst/>
                </p:spPr>
                <p:txBody>
                  <a:bodyPr/>
                  <a:lstStyle/>
                  <a:p>
                    <a:endParaRPr lang="en-US"/>
                  </a:p>
                </p:txBody>
              </p:sp>
              <p:sp>
                <p:nvSpPr>
                  <p:cNvPr id="1854" name="Freeform 44">
                    <a:extLst>
                      <a:ext uri="{FF2B5EF4-FFF2-40B4-BE49-F238E27FC236}">
                        <a16:creationId xmlns:a16="http://schemas.microsoft.com/office/drawing/2014/main" id="{CD245487-AF0B-429B-3A43-657C554D14B8}"/>
                      </a:ext>
                    </a:extLst>
                  </p:cNvPr>
                  <p:cNvSpPr>
                    <a:spLocks/>
                  </p:cNvSpPr>
                  <p:nvPr/>
                </p:nvSpPr>
                <p:spPr bwMode="gray">
                  <a:xfrm>
                    <a:off x="5409731" y="3505027"/>
                    <a:ext cx="50200" cy="76006"/>
                  </a:xfrm>
                  <a:custGeom>
                    <a:avLst/>
                    <a:gdLst>
                      <a:gd name="T0" fmla="*/ 0 w 33"/>
                      <a:gd name="T1" fmla="*/ 16 h 50"/>
                      <a:gd name="T2" fmla="*/ 7 w 33"/>
                      <a:gd name="T3" fmla="*/ 25 h 50"/>
                      <a:gd name="T4" fmla="*/ 16 w 33"/>
                      <a:gd name="T5" fmla="*/ 49 h 50"/>
                      <a:gd name="T6" fmla="*/ 22 w 33"/>
                      <a:gd name="T7" fmla="*/ 40 h 50"/>
                      <a:gd name="T8" fmla="*/ 32 w 33"/>
                      <a:gd name="T9" fmla="*/ 40 h 50"/>
                      <a:gd name="T10" fmla="*/ 32 w 33"/>
                      <a:gd name="T11" fmla="*/ 25 h 50"/>
                      <a:gd name="T12" fmla="*/ 16 w 33"/>
                      <a:gd name="T13" fmla="*/ 0 h 50"/>
                      <a:gd name="T14" fmla="*/ 7 w 33"/>
                      <a:gd name="T15" fmla="*/ 0 h 50"/>
                      <a:gd name="T16" fmla="*/ 0 w 33"/>
                      <a:gd name="T17" fmla="*/ 1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0">
                        <a:moveTo>
                          <a:pt x="0" y="16"/>
                        </a:moveTo>
                        <a:lnTo>
                          <a:pt x="7" y="25"/>
                        </a:lnTo>
                        <a:lnTo>
                          <a:pt x="16" y="49"/>
                        </a:lnTo>
                        <a:lnTo>
                          <a:pt x="22" y="40"/>
                        </a:lnTo>
                        <a:lnTo>
                          <a:pt x="32" y="40"/>
                        </a:lnTo>
                        <a:lnTo>
                          <a:pt x="32" y="25"/>
                        </a:lnTo>
                        <a:lnTo>
                          <a:pt x="16" y="0"/>
                        </a:lnTo>
                        <a:lnTo>
                          <a:pt x="7" y="0"/>
                        </a:lnTo>
                        <a:lnTo>
                          <a:pt x="0" y="1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55" name="Freeform 45">
                    <a:extLst>
                      <a:ext uri="{FF2B5EF4-FFF2-40B4-BE49-F238E27FC236}">
                        <a16:creationId xmlns:a16="http://schemas.microsoft.com/office/drawing/2014/main" id="{E27B1B20-30D5-AA25-90E2-B2736EB75AA9}"/>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a:tailEnd/>
                  </a:ln>
                  <a:effectLst/>
                </p:spPr>
                <p:txBody>
                  <a:bodyPr/>
                  <a:lstStyle/>
                  <a:p>
                    <a:endParaRPr lang="en-US"/>
                  </a:p>
                </p:txBody>
              </p:sp>
              <p:sp>
                <p:nvSpPr>
                  <p:cNvPr id="1856" name="Freeform 46">
                    <a:extLst>
                      <a:ext uri="{FF2B5EF4-FFF2-40B4-BE49-F238E27FC236}">
                        <a16:creationId xmlns:a16="http://schemas.microsoft.com/office/drawing/2014/main" id="{C6EE9EBA-B70B-E807-F05B-A7C6B50B3634}"/>
                      </a:ext>
                    </a:extLst>
                  </p:cNvPr>
                  <p:cNvSpPr>
                    <a:spLocks/>
                  </p:cNvSpPr>
                  <p:nvPr/>
                </p:nvSpPr>
                <p:spPr bwMode="gray">
                  <a:xfrm>
                    <a:off x="5495971" y="3456889"/>
                    <a:ext cx="39902" cy="73472"/>
                  </a:xfrm>
                  <a:custGeom>
                    <a:avLst/>
                    <a:gdLst>
                      <a:gd name="T0" fmla="*/ 0 w 26"/>
                      <a:gd name="T1" fmla="*/ 32 h 49"/>
                      <a:gd name="T2" fmla="*/ 16 w 26"/>
                      <a:gd name="T3" fmla="*/ 41 h 49"/>
                      <a:gd name="T4" fmla="*/ 16 w 26"/>
                      <a:gd name="T5" fmla="*/ 48 h 49"/>
                      <a:gd name="T6" fmla="*/ 25 w 26"/>
                      <a:gd name="T7" fmla="*/ 48 h 49"/>
                      <a:gd name="T8" fmla="*/ 16 w 26"/>
                      <a:gd name="T9" fmla="*/ 23 h 49"/>
                      <a:gd name="T10" fmla="*/ 16 w 26"/>
                      <a:gd name="T11" fmla="*/ 7 h 49"/>
                      <a:gd name="T12" fmla="*/ 8 w 26"/>
                      <a:gd name="T13" fmla="*/ 7 h 49"/>
                      <a:gd name="T14" fmla="*/ 0 w 26"/>
                      <a:gd name="T15" fmla="*/ 0 h 49"/>
                      <a:gd name="T16" fmla="*/ 8 w 26"/>
                      <a:gd name="T17" fmla="*/ 7 h 49"/>
                      <a:gd name="T18" fmla="*/ 8 w 26"/>
                      <a:gd name="T19" fmla="*/ 17 h 49"/>
                      <a:gd name="T20" fmla="*/ 0 w 26"/>
                      <a:gd name="T21" fmla="*/ 17 h 49"/>
                      <a:gd name="T22" fmla="*/ 0 w 26"/>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57" name="Freeform 55">
                    <a:extLst>
                      <a:ext uri="{FF2B5EF4-FFF2-40B4-BE49-F238E27FC236}">
                        <a16:creationId xmlns:a16="http://schemas.microsoft.com/office/drawing/2014/main" id="{0B3B43E0-6953-E979-CA3A-17357C5E0E29}"/>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a:tailEnd/>
                  </a:ln>
                  <a:effectLst/>
                </p:spPr>
                <p:txBody>
                  <a:bodyPr/>
                  <a:lstStyle/>
                  <a:p>
                    <a:endParaRPr lang="en-US"/>
                  </a:p>
                </p:txBody>
              </p:sp>
              <p:sp>
                <p:nvSpPr>
                  <p:cNvPr id="1858" name="Freeform 56">
                    <a:extLst>
                      <a:ext uri="{FF2B5EF4-FFF2-40B4-BE49-F238E27FC236}">
                        <a16:creationId xmlns:a16="http://schemas.microsoft.com/office/drawing/2014/main" id="{6E3EA66E-A733-6FE8-0531-62BF02405250}"/>
                      </a:ext>
                    </a:extLst>
                  </p:cNvPr>
                  <p:cNvSpPr>
                    <a:spLocks/>
                  </p:cNvSpPr>
                  <p:nvPr/>
                </p:nvSpPr>
                <p:spPr bwMode="gray">
                  <a:xfrm>
                    <a:off x="5148435" y="3923057"/>
                    <a:ext cx="110697" cy="49404"/>
                  </a:xfrm>
                  <a:custGeom>
                    <a:avLst/>
                    <a:gdLst>
                      <a:gd name="T0" fmla="*/ 71 w 72"/>
                      <a:gd name="T1" fmla="*/ 8 h 33"/>
                      <a:gd name="T2" fmla="*/ 55 w 72"/>
                      <a:gd name="T3" fmla="*/ 0 h 33"/>
                      <a:gd name="T4" fmla="*/ 40 w 72"/>
                      <a:gd name="T5" fmla="*/ 8 h 33"/>
                      <a:gd name="T6" fmla="*/ 31 w 72"/>
                      <a:gd name="T7" fmla="*/ 0 h 33"/>
                      <a:gd name="T8" fmla="*/ 23 w 72"/>
                      <a:gd name="T9" fmla="*/ 0 h 33"/>
                      <a:gd name="T10" fmla="*/ 0 w 72"/>
                      <a:gd name="T11" fmla="*/ 16 h 33"/>
                      <a:gd name="T12" fmla="*/ 0 w 72"/>
                      <a:gd name="T13" fmla="*/ 32 h 33"/>
                      <a:gd name="T14" fmla="*/ 15 w 72"/>
                      <a:gd name="T15" fmla="*/ 32 h 33"/>
                      <a:gd name="T16" fmla="*/ 46 w 72"/>
                      <a:gd name="T17" fmla="*/ 16 h 33"/>
                      <a:gd name="T18" fmla="*/ 64 w 72"/>
                      <a:gd name="T19" fmla="*/ 23 h 33"/>
                      <a:gd name="T20" fmla="*/ 71 w 72"/>
                      <a:gd name="T2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59" name="Freeform 57">
                    <a:extLst>
                      <a:ext uri="{FF2B5EF4-FFF2-40B4-BE49-F238E27FC236}">
                        <a16:creationId xmlns:a16="http://schemas.microsoft.com/office/drawing/2014/main" id="{027AFBDA-CDC8-219E-8C21-0624622DBD78}"/>
                      </a:ext>
                    </a:extLst>
                  </p:cNvPr>
                  <p:cNvSpPr>
                    <a:spLocks/>
                  </p:cNvSpPr>
                  <p:nvPr/>
                </p:nvSpPr>
                <p:spPr bwMode="gray">
                  <a:xfrm>
                    <a:off x="5346660" y="2561291"/>
                    <a:ext cx="3220507" cy="1580916"/>
                  </a:xfrm>
                  <a:custGeom>
                    <a:avLst/>
                    <a:gdLst>
                      <a:gd name="T0" fmla="*/ 1030 w 2093"/>
                      <a:gd name="T1" fmla="*/ 210 h 1044"/>
                      <a:gd name="T2" fmla="*/ 1014 w 2093"/>
                      <a:gd name="T3" fmla="*/ 73 h 1044"/>
                      <a:gd name="T4" fmla="*/ 949 w 2093"/>
                      <a:gd name="T5" fmla="*/ 73 h 1044"/>
                      <a:gd name="T6" fmla="*/ 682 w 2093"/>
                      <a:gd name="T7" fmla="*/ 218 h 1044"/>
                      <a:gd name="T8" fmla="*/ 640 w 2093"/>
                      <a:gd name="T9" fmla="*/ 266 h 1044"/>
                      <a:gd name="T10" fmla="*/ 608 w 2093"/>
                      <a:gd name="T11" fmla="*/ 340 h 1044"/>
                      <a:gd name="T12" fmla="*/ 560 w 2093"/>
                      <a:gd name="T13" fmla="*/ 477 h 1044"/>
                      <a:gd name="T14" fmla="*/ 585 w 2093"/>
                      <a:gd name="T15" fmla="*/ 250 h 1044"/>
                      <a:gd name="T16" fmla="*/ 511 w 2093"/>
                      <a:gd name="T17" fmla="*/ 372 h 1044"/>
                      <a:gd name="T18" fmla="*/ 438 w 2093"/>
                      <a:gd name="T19" fmla="*/ 396 h 1044"/>
                      <a:gd name="T20" fmla="*/ 349 w 2093"/>
                      <a:gd name="T21" fmla="*/ 396 h 1044"/>
                      <a:gd name="T22" fmla="*/ 243 w 2093"/>
                      <a:gd name="T23" fmla="*/ 412 h 1044"/>
                      <a:gd name="T24" fmla="*/ 194 w 2093"/>
                      <a:gd name="T25" fmla="*/ 486 h 1044"/>
                      <a:gd name="T26" fmla="*/ 122 w 2093"/>
                      <a:gd name="T27" fmla="*/ 558 h 1044"/>
                      <a:gd name="T28" fmla="*/ 147 w 2093"/>
                      <a:gd name="T29" fmla="*/ 493 h 1044"/>
                      <a:gd name="T30" fmla="*/ 63 w 2093"/>
                      <a:gd name="T31" fmla="*/ 364 h 1044"/>
                      <a:gd name="T32" fmla="*/ 41 w 2093"/>
                      <a:gd name="T33" fmla="*/ 501 h 1044"/>
                      <a:gd name="T34" fmla="*/ 32 w 2093"/>
                      <a:gd name="T35" fmla="*/ 632 h 1044"/>
                      <a:gd name="T36" fmla="*/ 0 w 2093"/>
                      <a:gd name="T37" fmla="*/ 688 h 1044"/>
                      <a:gd name="T38" fmla="*/ 48 w 2093"/>
                      <a:gd name="T39" fmla="*/ 769 h 1044"/>
                      <a:gd name="T40" fmla="*/ 57 w 2093"/>
                      <a:gd name="T41" fmla="*/ 825 h 1044"/>
                      <a:gd name="T42" fmla="*/ 105 w 2093"/>
                      <a:gd name="T43" fmla="*/ 859 h 1044"/>
                      <a:gd name="T44" fmla="*/ 153 w 2093"/>
                      <a:gd name="T45" fmla="*/ 922 h 1044"/>
                      <a:gd name="T46" fmla="*/ 147 w 2093"/>
                      <a:gd name="T47" fmla="*/ 962 h 1044"/>
                      <a:gd name="T48" fmla="*/ 234 w 2093"/>
                      <a:gd name="T49" fmla="*/ 1021 h 1044"/>
                      <a:gd name="T50" fmla="*/ 259 w 2093"/>
                      <a:gd name="T51" fmla="*/ 1002 h 1044"/>
                      <a:gd name="T52" fmla="*/ 275 w 2093"/>
                      <a:gd name="T53" fmla="*/ 955 h 1044"/>
                      <a:gd name="T54" fmla="*/ 275 w 2093"/>
                      <a:gd name="T55" fmla="*/ 890 h 1044"/>
                      <a:gd name="T56" fmla="*/ 340 w 2093"/>
                      <a:gd name="T57" fmla="*/ 859 h 1044"/>
                      <a:gd name="T58" fmla="*/ 446 w 2093"/>
                      <a:gd name="T59" fmla="*/ 859 h 1044"/>
                      <a:gd name="T60" fmla="*/ 454 w 2093"/>
                      <a:gd name="T61" fmla="*/ 810 h 1044"/>
                      <a:gd name="T62" fmla="*/ 567 w 2093"/>
                      <a:gd name="T63" fmla="*/ 800 h 1044"/>
                      <a:gd name="T64" fmla="*/ 640 w 2093"/>
                      <a:gd name="T65" fmla="*/ 794 h 1044"/>
                      <a:gd name="T66" fmla="*/ 747 w 2093"/>
                      <a:gd name="T67" fmla="*/ 890 h 1044"/>
                      <a:gd name="T68" fmla="*/ 859 w 2093"/>
                      <a:gd name="T69" fmla="*/ 882 h 1044"/>
                      <a:gd name="T70" fmla="*/ 973 w 2093"/>
                      <a:gd name="T71" fmla="*/ 882 h 1044"/>
                      <a:gd name="T72" fmla="*/ 1120 w 2093"/>
                      <a:gd name="T73" fmla="*/ 882 h 1044"/>
                      <a:gd name="T74" fmla="*/ 1200 w 2093"/>
                      <a:gd name="T75" fmla="*/ 841 h 1044"/>
                      <a:gd name="T76" fmla="*/ 1290 w 2093"/>
                      <a:gd name="T77" fmla="*/ 899 h 1044"/>
                      <a:gd name="T78" fmla="*/ 1379 w 2093"/>
                      <a:gd name="T79" fmla="*/ 939 h 1044"/>
                      <a:gd name="T80" fmla="*/ 1347 w 2093"/>
                      <a:gd name="T81" fmla="*/ 1012 h 1044"/>
                      <a:gd name="T82" fmla="*/ 1461 w 2093"/>
                      <a:gd name="T83" fmla="*/ 850 h 1044"/>
                      <a:gd name="T84" fmla="*/ 1419 w 2093"/>
                      <a:gd name="T85" fmla="*/ 800 h 1044"/>
                      <a:gd name="T86" fmla="*/ 1518 w 2093"/>
                      <a:gd name="T87" fmla="*/ 679 h 1044"/>
                      <a:gd name="T88" fmla="*/ 1598 w 2093"/>
                      <a:gd name="T89" fmla="*/ 679 h 1044"/>
                      <a:gd name="T90" fmla="*/ 1704 w 2093"/>
                      <a:gd name="T91" fmla="*/ 614 h 1044"/>
                      <a:gd name="T92" fmla="*/ 1754 w 2093"/>
                      <a:gd name="T93" fmla="*/ 608 h 1044"/>
                      <a:gd name="T94" fmla="*/ 1663 w 2093"/>
                      <a:gd name="T95" fmla="*/ 874 h 1044"/>
                      <a:gd name="T96" fmla="*/ 1729 w 2093"/>
                      <a:gd name="T97" fmla="*/ 769 h 1044"/>
                      <a:gd name="T98" fmla="*/ 1744 w 2093"/>
                      <a:gd name="T99" fmla="*/ 688 h 1044"/>
                      <a:gd name="T100" fmla="*/ 1817 w 2093"/>
                      <a:gd name="T101" fmla="*/ 655 h 1044"/>
                      <a:gd name="T102" fmla="*/ 1938 w 2093"/>
                      <a:gd name="T103" fmla="*/ 551 h 1044"/>
                      <a:gd name="T104" fmla="*/ 1963 w 2093"/>
                      <a:gd name="T105" fmla="*/ 493 h 1044"/>
                      <a:gd name="T106" fmla="*/ 2061 w 2093"/>
                      <a:gd name="T107" fmla="*/ 526 h 1044"/>
                      <a:gd name="T108" fmla="*/ 1956 w 2093"/>
                      <a:gd name="T109" fmla="*/ 396 h 1044"/>
                      <a:gd name="T110" fmla="*/ 1809 w 2093"/>
                      <a:gd name="T111" fmla="*/ 372 h 1044"/>
                      <a:gd name="T112" fmla="*/ 1711 w 2093"/>
                      <a:gd name="T113" fmla="*/ 372 h 1044"/>
                      <a:gd name="T114" fmla="*/ 1598 w 2093"/>
                      <a:gd name="T115" fmla="*/ 307 h 1044"/>
                      <a:gd name="T116" fmla="*/ 1436 w 2093"/>
                      <a:gd name="T117" fmla="*/ 275 h 1044"/>
                      <a:gd name="T118" fmla="*/ 1322 w 2093"/>
                      <a:gd name="T119" fmla="*/ 324 h 1044"/>
                      <a:gd name="T120" fmla="*/ 1225 w 2093"/>
                      <a:gd name="T121" fmla="*/ 225 h 1044"/>
                      <a:gd name="T122" fmla="*/ 1063 w 2093"/>
                      <a:gd name="T123" fmla="*/ 194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0" name="Freeform 58">
                    <a:extLst>
                      <a:ext uri="{FF2B5EF4-FFF2-40B4-BE49-F238E27FC236}">
                        <a16:creationId xmlns:a16="http://schemas.microsoft.com/office/drawing/2014/main" id="{3858A093-2A22-1203-6491-CC62C11D445C}"/>
                      </a:ext>
                    </a:extLst>
                  </p:cNvPr>
                  <p:cNvSpPr>
                    <a:spLocks/>
                  </p:cNvSpPr>
                  <p:nvPr/>
                </p:nvSpPr>
                <p:spPr bwMode="gray">
                  <a:xfrm>
                    <a:off x="4907733" y="3038859"/>
                    <a:ext cx="527742" cy="604245"/>
                  </a:xfrm>
                  <a:custGeom>
                    <a:avLst/>
                    <a:gdLst>
                      <a:gd name="T0" fmla="*/ 81 w 343"/>
                      <a:gd name="T1" fmla="*/ 373 h 399"/>
                      <a:gd name="T2" fmla="*/ 74 w 343"/>
                      <a:gd name="T3" fmla="*/ 373 h 399"/>
                      <a:gd name="T4" fmla="*/ 40 w 343"/>
                      <a:gd name="T5" fmla="*/ 398 h 399"/>
                      <a:gd name="T6" fmla="*/ 9 w 343"/>
                      <a:gd name="T7" fmla="*/ 388 h 399"/>
                      <a:gd name="T8" fmla="*/ 0 w 343"/>
                      <a:gd name="T9" fmla="*/ 324 h 399"/>
                      <a:gd name="T10" fmla="*/ 0 w 343"/>
                      <a:gd name="T11" fmla="*/ 299 h 399"/>
                      <a:gd name="T12" fmla="*/ 40 w 343"/>
                      <a:gd name="T13" fmla="*/ 268 h 399"/>
                      <a:gd name="T14" fmla="*/ 81 w 343"/>
                      <a:gd name="T15" fmla="*/ 218 h 399"/>
                      <a:gd name="T16" fmla="*/ 114 w 343"/>
                      <a:gd name="T17" fmla="*/ 162 h 399"/>
                      <a:gd name="T18" fmla="*/ 146 w 343"/>
                      <a:gd name="T19" fmla="*/ 106 h 399"/>
                      <a:gd name="T20" fmla="*/ 106 w 343"/>
                      <a:gd name="T21" fmla="*/ 122 h 399"/>
                      <a:gd name="T22" fmla="*/ 122 w 343"/>
                      <a:gd name="T23" fmla="*/ 90 h 399"/>
                      <a:gd name="T24" fmla="*/ 146 w 343"/>
                      <a:gd name="T25" fmla="*/ 90 h 399"/>
                      <a:gd name="T26" fmla="*/ 156 w 343"/>
                      <a:gd name="T27" fmla="*/ 65 h 399"/>
                      <a:gd name="T28" fmla="*/ 179 w 343"/>
                      <a:gd name="T29" fmla="*/ 41 h 399"/>
                      <a:gd name="T30" fmla="*/ 211 w 343"/>
                      <a:gd name="T31" fmla="*/ 34 h 399"/>
                      <a:gd name="T32" fmla="*/ 251 w 343"/>
                      <a:gd name="T33" fmla="*/ 16 h 399"/>
                      <a:gd name="T34" fmla="*/ 293 w 343"/>
                      <a:gd name="T35" fmla="*/ 0 h 399"/>
                      <a:gd name="T36" fmla="*/ 342 w 343"/>
                      <a:gd name="T37" fmla="*/ 34 h 399"/>
                      <a:gd name="T38" fmla="*/ 308 w 343"/>
                      <a:gd name="T39" fmla="*/ 41 h 399"/>
                      <a:gd name="T40" fmla="*/ 333 w 343"/>
                      <a:gd name="T41" fmla="*/ 57 h 399"/>
                      <a:gd name="T42" fmla="*/ 317 w 343"/>
                      <a:gd name="T43" fmla="*/ 57 h 399"/>
                      <a:gd name="T44" fmla="*/ 276 w 343"/>
                      <a:gd name="T45" fmla="*/ 49 h 399"/>
                      <a:gd name="T46" fmla="*/ 261 w 343"/>
                      <a:gd name="T47" fmla="*/ 90 h 399"/>
                      <a:gd name="T48" fmla="*/ 211 w 343"/>
                      <a:gd name="T49" fmla="*/ 72 h 399"/>
                      <a:gd name="T50" fmla="*/ 196 w 343"/>
                      <a:gd name="T51" fmla="*/ 81 h 399"/>
                      <a:gd name="T52" fmla="*/ 179 w 343"/>
                      <a:gd name="T53" fmla="*/ 97 h 399"/>
                      <a:gd name="T54" fmla="*/ 171 w 343"/>
                      <a:gd name="T55" fmla="*/ 112 h 399"/>
                      <a:gd name="T56" fmla="*/ 156 w 343"/>
                      <a:gd name="T57" fmla="*/ 122 h 399"/>
                      <a:gd name="T58" fmla="*/ 146 w 343"/>
                      <a:gd name="T59" fmla="*/ 154 h 399"/>
                      <a:gd name="T60" fmla="*/ 122 w 343"/>
                      <a:gd name="T61" fmla="*/ 203 h 399"/>
                      <a:gd name="T62" fmla="*/ 122 w 343"/>
                      <a:gd name="T63" fmla="*/ 236 h 399"/>
                      <a:gd name="T64" fmla="*/ 99 w 343"/>
                      <a:gd name="T65" fmla="*/ 251 h 399"/>
                      <a:gd name="T66" fmla="*/ 99 w 343"/>
                      <a:gd name="T67" fmla="*/ 317 h 399"/>
                      <a:gd name="T68" fmla="*/ 90 w 343"/>
                      <a:gd name="T69" fmla="*/ 357 h 399"/>
                      <a:gd name="T70" fmla="*/ 81 w 343"/>
                      <a:gd name="T71" fmla="*/ 38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1" name="Freeform 59">
                    <a:extLst>
                      <a:ext uri="{FF2B5EF4-FFF2-40B4-BE49-F238E27FC236}">
                        <a16:creationId xmlns:a16="http://schemas.microsoft.com/office/drawing/2014/main" id="{040BCC1E-A977-9B33-78E8-909F09D51571}"/>
                      </a:ext>
                    </a:extLst>
                  </p:cNvPr>
                  <p:cNvSpPr>
                    <a:spLocks/>
                  </p:cNvSpPr>
                  <p:nvPr/>
                </p:nvSpPr>
                <p:spPr bwMode="gray">
                  <a:xfrm>
                    <a:off x="5320916" y="4130805"/>
                    <a:ext cx="375855" cy="148211"/>
                  </a:xfrm>
                  <a:custGeom>
                    <a:avLst/>
                    <a:gdLst>
                      <a:gd name="T0" fmla="*/ 244 w 245"/>
                      <a:gd name="T1" fmla="*/ 32 h 98"/>
                      <a:gd name="T2" fmla="*/ 236 w 245"/>
                      <a:gd name="T3" fmla="*/ 32 h 98"/>
                      <a:gd name="T4" fmla="*/ 227 w 245"/>
                      <a:gd name="T5" fmla="*/ 8 h 98"/>
                      <a:gd name="T6" fmla="*/ 204 w 245"/>
                      <a:gd name="T7" fmla="*/ 8 h 98"/>
                      <a:gd name="T8" fmla="*/ 179 w 245"/>
                      <a:gd name="T9" fmla="*/ 16 h 98"/>
                      <a:gd name="T10" fmla="*/ 145 w 245"/>
                      <a:gd name="T11" fmla="*/ 16 h 98"/>
                      <a:gd name="T12" fmla="*/ 122 w 245"/>
                      <a:gd name="T13" fmla="*/ 0 h 98"/>
                      <a:gd name="T14" fmla="*/ 98 w 245"/>
                      <a:gd name="T15" fmla="*/ 0 h 98"/>
                      <a:gd name="T16" fmla="*/ 74 w 245"/>
                      <a:gd name="T17" fmla="*/ 16 h 98"/>
                      <a:gd name="T18" fmla="*/ 58 w 245"/>
                      <a:gd name="T19" fmla="*/ 16 h 98"/>
                      <a:gd name="T20" fmla="*/ 40 w 245"/>
                      <a:gd name="T21" fmla="*/ 16 h 98"/>
                      <a:gd name="T22" fmla="*/ 33 w 245"/>
                      <a:gd name="T23" fmla="*/ 0 h 98"/>
                      <a:gd name="T24" fmla="*/ 17 w 245"/>
                      <a:gd name="T25" fmla="*/ 0 h 98"/>
                      <a:gd name="T26" fmla="*/ 8 w 245"/>
                      <a:gd name="T27" fmla="*/ 8 h 98"/>
                      <a:gd name="T28" fmla="*/ 0 w 245"/>
                      <a:gd name="T29" fmla="*/ 25 h 98"/>
                      <a:gd name="T30" fmla="*/ 8 w 245"/>
                      <a:gd name="T31" fmla="*/ 25 h 98"/>
                      <a:gd name="T32" fmla="*/ 8 w 245"/>
                      <a:gd name="T33" fmla="*/ 32 h 98"/>
                      <a:gd name="T34" fmla="*/ 25 w 245"/>
                      <a:gd name="T35" fmla="*/ 16 h 98"/>
                      <a:gd name="T36" fmla="*/ 40 w 245"/>
                      <a:gd name="T37" fmla="*/ 16 h 98"/>
                      <a:gd name="T38" fmla="*/ 49 w 245"/>
                      <a:gd name="T39" fmla="*/ 25 h 98"/>
                      <a:gd name="T40" fmla="*/ 40 w 245"/>
                      <a:gd name="T41" fmla="*/ 25 h 98"/>
                      <a:gd name="T42" fmla="*/ 40 w 245"/>
                      <a:gd name="T43" fmla="*/ 32 h 98"/>
                      <a:gd name="T44" fmla="*/ 17 w 245"/>
                      <a:gd name="T45" fmla="*/ 32 h 98"/>
                      <a:gd name="T46" fmla="*/ 8 w 245"/>
                      <a:gd name="T47" fmla="*/ 41 h 98"/>
                      <a:gd name="T48" fmla="*/ 8 w 245"/>
                      <a:gd name="T49" fmla="*/ 48 h 98"/>
                      <a:gd name="T50" fmla="*/ 17 w 245"/>
                      <a:gd name="T51" fmla="*/ 41 h 98"/>
                      <a:gd name="T52" fmla="*/ 17 w 245"/>
                      <a:gd name="T53" fmla="*/ 48 h 98"/>
                      <a:gd name="T54" fmla="*/ 8 w 245"/>
                      <a:gd name="T55" fmla="*/ 57 h 98"/>
                      <a:gd name="T56" fmla="*/ 8 w 245"/>
                      <a:gd name="T57" fmla="*/ 65 h 98"/>
                      <a:gd name="T58" fmla="*/ 17 w 245"/>
                      <a:gd name="T59" fmla="*/ 73 h 98"/>
                      <a:gd name="T60" fmla="*/ 25 w 245"/>
                      <a:gd name="T61" fmla="*/ 81 h 98"/>
                      <a:gd name="T62" fmla="*/ 33 w 245"/>
                      <a:gd name="T63" fmla="*/ 81 h 98"/>
                      <a:gd name="T64" fmla="*/ 33 w 245"/>
                      <a:gd name="T65" fmla="*/ 90 h 98"/>
                      <a:gd name="T66" fmla="*/ 49 w 245"/>
                      <a:gd name="T67" fmla="*/ 97 h 98"/>
                      <a:gd name="T68" fmla="*/ 65 w 245"/>
                      <a:gd name="T69" fmla="*/ 90 h 98"/>
                      <a:gd name="T70" fmla="*/ 74 w 245"/>
                      <a:gd name="T71" fmla="*/ 90 h 98"/>
                      <a:gd name="T72" fmla="*/ 90 w 245"/>
                      <a:gd name="T73" fmla="*/ 97 h 98"/>
                      <a:gd name="T74" fmla="*/ 98 w 245"/>
                      <a:gd name="T75" fmla="*/ 97 h 98"/>
                      <a:gd name="T76" fmla="*/ 114 w 245"/>
                      <a:gd name="T77" fmla="*/ 90 h 98"/>
                      <a:gd name="T78" fmla="*/ 130 w 245"/>
                      <a:gd name="T79" fmla="*/ 90 h 98"/>
                      <a:gd name="T80" fmla="*/ 130 w 245"/>
                      <a:gd name="T81" fmla="*/ 97 h 98"/>
                      <a:gd name="T82" fmla="*/ 139 w 245"/>
                      <a:gd name="T83" fmla="*/ 97 h 98"/>
                      <a:gd name="T84" fmla="*/ 139 w 245"/>
                      <a:gd name="T85" fmla="*/ 90 h 98"/>
                      <a:gd name="T86" fmla="*/ 164 w 245"/>
                      <a:gd name="T87" fmla="*/ 81 h 98"/>
                      <a:gd name="T88" fmla="*/ 170 w 245"/>
                      <a:gd name="T89" fmla="*/ 90 h 98"/>
                      <a:gd name="T90" fmla="*/ 195 w 245"/>
                      <a:gd name="T91" fmla="*/ 81 h 98"/>
                      <a:gd name="T92" fmla="*/ 219 w 245"/>
                      <a:gd name="T93" fmla="*/ 81 h 98"/>
                      <a:gd name="T94" fmla="*/ 219 w 245"/>
                      <a:gd name="T95" fmla="*/ 73 h 98"/>
                      <a:gd name="T96" fmla="*/ 244 w 245"/>
                      <a:gd name="T97" fmla="*/ 81 h 98"/>
                      <a:gd name="T98" fmla="*/ 236 w 245"/>
                      <a:gd name="T99" fmla="*/ 41 h 98"/>
                      <a:gd name="T100" fmla="*/ 244 w 245"/>
                      <a:gd name="T10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grpFill/>
                  <a:ln w="3175" cap="rnd" cmpd="sng">
                    <a:solidFill>
                      <a:schemeClr val="bg1"/>
                    </a:solidFill>
                    <a:prstDash val="solid"/>
                    <a:round/>
                    <a:headEnd/>
                    <a:tailEnd/>
                  </a:ln>
                  <a:effectLst/>
                </p:spPr>
                <p:txBody>
                  <a:bodyPr/>
                  <a:lstStyle/>
                  <a:p>
                    <a:endParaRPr lang="en-US"/>
                  </a:p>
                </p:txBody>
              </p:sp>
              <p:sp>
                <p:nvSpPr>
                  <p:cNvPr id="1862" name="Freeform 76">
                    <a:extLst>
                      <a:ext uri="{FF2B5EF4-FFF2-40B4-BE49-F238E27FC236}">
                        <a16:creationId xmlns:a16="http://schemas.microsoft.com/office/drawing/2014/main" id="{F6A66AB8-40FB-7332-DDEE-6E86C3DEA9E8}"/>
                      </a:ext>
                    </a:extLst>
                  </p:cNvPr>
                  <p:cNvSpPr>
                    <a:spLocks/>
                  </p:cNvSpPr>
                  <p:nvPr/>
                </p:nvSpPr>
                <p:spPr bwMode="gray">
                  <a:xfrm>
                    <a:off x="5219230" y="3100930"/>
                    <a:ext cx="216245" cy="466167"/>
                  </a:xfrm>
                  <a:custGeom>
                    <a:avLst/>
                    <a:gdLst>
                      <a:gd name="T0" fmla="*/ 106 w 141"/>
                      <a:gd name="T1" fmla="*/ 40 h 308"/>
                      <a:gd name="T2" fmla="*/ 106 w 141"/>
                      <a:gd name="T3" fmla="*/ 65 h 308"/>
                      <a:gd name="T4" fmla="*/ 124 w 141"/>
                      <a:gd name="T5" fmla="*/ 81 h 308"/>
                      <a:gd name="T6" fmla="*/ 115 w 141"/>
                      <a:gd name="T7" fmla="*/ 105 h 308"/>
                      <a:gd name="T8" fmla="*/ 124 w 141"/>
                      <a:gd name="T9" fmla="*/ 145 h 308"/>
                      <a:gd name="T10" fmla="*/ 115 w 141"/>
                      <a:gd name="T11" fmla="*/ 170 h 308"/>
                      <a:gd name="T12" fmla="*/ 131 w 141"/>
                      <a:gd name="T13" fmla="*/ 195 h 308"/>
                      <a:gd name="T14" fmla="*/ 124 w 141"/>
                      <a:gd name="T15" fmla="*/ 210 h 308"/>
                      <a:gd name="T16" fmla="*/ 140 w 141"/>
                      <a:gd name="T17" fmla="*/ 227 h 308"/>
                      <a:gd name="T18" fmla="*/ 140 w 141"/>
                      <a:gd name="T19" fmla="*/ 235 h 308"/>
                      <a:gd name="T20" fmla="*/ 115 w 141"/>
                      <a:gd name="T21" fmla="*/ 276 h 308"/>
                      <a:gd name="T22" fmla="*/ 91 w 141"/>
                      <a:gd name="T23" fmla="*/ 292 h 308"/>
                      <a:gd name="T24" fmla="*/ 83 w 141"/>
                      <a:gd name="T25" fmla="*/ 292 h 308"/>
                      <a:gd name="T26" fmla="*/ 41 w 141"/>
                      <a:gd name="T27" fmla="*/ 307 h 308"/>
                      <a:gd name="T28" fmla="*/ 9 w 141"/>
                      <a:gd name="T29" fmla="*/ 292 h 308"/>
                      <a:gd name="T30" fmla="*/ 18 w 141"/>
                      <a:gd name="T31" fmla="*/ 267 h 308"/>
                      <a:gd name="T32" fmla="*/ 9 w 141"/>
                      <a:gd name="T33" fmla="*/ 242 h 308"/>
                      <a:gd name="T34" fmla="*/ 18 w 141"/>
                      <a:gd name="T35" fmla="*/ 227 h 308"/>
                      <a:gd name="T36" fmla="*/ 49 w 141"/>
                      <a:gd name="T37" fmla="*/ 177 h 308"/>
                      <a:gd name="T38" fmla="*/ 59 w 141"/>
                      <a:gd name="T39" fmla="*/ 170 h 308"/>
                      <a:gd name="T40" fmla="*/ 59 w 141"/>
                      <a:gd name="T41" fmla="*/ 153 h 308"/>
                      <a:gd name="T42" fmla="*/ 49 w 141"/>
                      <a:gd name="T43" fmla="*/ 145 h 308"/>
                      <a:gd name="T44" fmla="*/ 41 w 141"/>
                      <a:gd name="T45" fmla="*/ 145 h 308"/>
                      <a:gd name="T46" fmla="*/ 34 w 141"/>
                      <a:gd name="T47" fmla="*/ 71 h 308"/>
                      <a:gd name="T48" fmla="*/ 0 w 141"/>
                      <a:gd name="T49" fmla="*/ 40 h 308"/>
                      <a:gd name="T50" fmla="*/ 9 w 141"/>
                      <a:gd name="T51" fmla="*/ 31 h 308"/>
                      <a:gd name="T52" fmla="*/ 25 w 141"/>
                      <a:gd name="T53" fmla="*/ 49 h 308"/>
                      <a:gd name="T54" fmla="*/ 59 w 141"/>
                      <a:gd name="T55" fmla="*/ 49 h 308"/>
                      <a:gd name="T56" fmla="*/ 66 w 141"/>
                      <a:gd name="T57" fmla="*/ 40 h 308"/>
                      <a:gd name="T58" fmla="*/ 74 w 141"/>
                      <a:gd name="T59" fmla="*/ 8 h 308"/>
                      <a:gd name="T60" fmla="*/ 91 w 141"/>
                      <a:gd name="T61" fmla="*/ 0 h 308"/>
                      <a:gd name="T62" fmla="*/ 115 w 141"/>
                      <a:gd name="T63" fmla="*/ 16 h 308"/>
                      <a:gd name="T64" fmla="*/ 106 w 141"/>
                      <a:gd name="T65" fmla="*/ 4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3" name="Freeform 103">
                    <a:extLst>
                      <a:ext uri="{FF2B5EF4-FFF2-40B4-BE49-F238E27FC236}">
                        <a16:creationId xmlns:a16="http://schemas.microsoft.com/office/drawing/2014/main" id="{09C19D69-9688-054D-9F31-668CB82FBC66}"/>
                      </a:ext>
                    </a:extLst>
                  </p:cNvPr>
                  <p:cNvSpPr>
                    <a:spLocks/>
                  </p:cNvSpPr>
                  <p:nvPr/>
                </p:nvSpPr>
                <p:spPr bwMode="gray">
                  <a:xfrm>
                    <a:off x="5270716" y="3701374"/>
                    <a:ext cx="189215" cy="162145"/>
                  </a:xfrm>
                  <a:custGeom>
                    <a:avLst/>
                    <a:gdLst>
                      <a:gd name="T0" fmla="*/ 112 w 123"/>
                      <a:gd name="T1" fmla="*/ 88 h 107"/>
                      <a:gd name="T2" fmla="*/ 106 w 123"/>
                      <a:gd name="T3" fmla="*/ 72 h 107"/>
                      <a:gd name="T4" fmla="*/ 106 w 123"/>
                      <a:gd name="T5" fmla="*/ 65 h 107"/>
                      <a:gd name="T6" fmla="*/ 112 w 123"/>
                      <a:gd name="T7" fmla="*/ 72 h 107"/>
                      <a:gd name="T8" fmla="*/ 122 w 123"/>
                      <a:gd name="T9" fmla="*/ 57 h 107"/>
                      <a:gd name="T10" fmla="*/ 112 w 123"/>
                      <a:gd name="T11" fmla="*/ 57 h 107"/>
                      <a:gd name="T12" fmla="*/ 97 w 123"/>
                      <a:gd name="T13" fmla="*/ 32 h 107"/>
                      <a:gd name="T14" fmla="*/ 97 w 123"/>
                      <a:gd name="T15" fmla="*/ 16 h 107"/>
                      <a:gd name="T16" fmla="*/ 90 w 123"/>
                      <a:gd name="T17" fmla="*/ 7 h 107"/>
                      <a:gd name="T18" fmla="*/ 65 w 123"/>
                      <a:gd name="T19" fmla="*/ 0 h 107"/>
                      <a:gd name="T20" fmla="*/ 49 w 123"/>
                      <a:gd name="T21" fmla="*/ 16 h 107"/>
                      <a:gd name="T22" fmla="*/ 49 w 123"/>
                      <a:gd name="T23" fmla="*/ 25 h 107"/>
                      <a:gd name="T24" fmla="*/ 32 w 123"/>
                      <a:gd name="T25" fmla="*/ 32 h 107"/>
                      <a:gd name="T26" fmla="*/ 32 w 123"/>
                      <a:gd name="T27" fmla="*/ 47 h 107"/>
                      <a:gd name="T28" fmla="*/ 25 w 123"/>
                      <a:gd name="T29" fmla="*/ 47 h 107"/>
                      <a:gd name="T30" fmla="*/ 7 w 123"/>
                      <a:gd name="T31" fmla="*/ 57 h 107"/>
                      <a:gd name="T32" fmla="*/ 0 w 123"/>
                      <a:gd name="T33" fmla="*/ 57 h 107"/>
                      <a:gd name="T34" fmla="*/ 7 w 123"/>
                      <a:gd name="T35" fmla="*/ 72 h 107"/>
                      <a:gd name="T36" fmla="*/ 0 w 123"/>
                      <a:gd name="T37" fmla="*/ 88 h 107"/>
                      <a:gd name="T38" fmla="*/ 0 w 123"/>
                      <a:gd name="T39" fmla="*/ 106 h 107"/>
                      <a:gd name="T40" fmla="*/ 15 w 123"/>
                      <a:gd name="T41" fmla="*/ 97 h 107"/>
                      <a:gd name="T42" fmla="*/ 32 w 123"/>
                      <a:gd name="T43" fmla="*/ 97 h 107"/>
                      <a:gd name="T44" fmla="*/ 57 w 123"/>
                      <a:gd name="T45" fmla="*/ 106 h 107"/>
                      <a:gd name="T46" fmla="*/ 65 w 123"/>
                      <a:gd name="T47" fmla="*/ 106 h 107"/>
                      <a:gd name="T48" fmla="*/ 72 w 123"/>
                      <a:gd name="T49" fmla="*/ 106 h 107"/>
                      <a:gd name="T50" fmla="*/ 81 w 123"/>
                      <a:gd name="T51" fmla="*/ 106 h 107"/>
                      <a:gd name="T52" fmla="*/ 97 w 123"/>
                      <a:gd name="T53" fmla="*/ 106 h 107"/>
                      <a:gd name="T54" fmla="*/ 106 w 123"/>
                      <a:gd name="T55" fmla="*/ 88 h 107"/>
                      <a:gd name="T56" fmla="*/ 112 w 123"/>
                      <a:gd name="T57" fmla="*/ 88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4" name="Freeform 104">
                    <a:extLst>
                      <a:ext uri="{FF2B5EF4-FFF2-40B4-BE49-F238E27FC236}">
                        <a16:creationId xmlns:a16="http://schemas.microsoft.com/office/drawing/2014/main" id="{EA451492-BAE1-FBF1-55DB-EA2AD6D29AB1}"/>
                      </a:ext>
                    </a:extLst>
                  </p:cNvPr>
                  <p:cNvSpPr>
                    <a:spLocks/>
                  </p:cNvSpPr>
                  <p:nvPr/>
                </p:nvSpPr>
                <p:spPr bwMode="gray">
                  <a:xfrm>
                    <a:off x="5246260" y="3835651"/>
                    <a:ext cx="361695" cy="234351"/>
                  </a:xfrm>
                  <a:custGeom>
                    <a:avLst/>
                    <a:gdLst>
                      <a:gd name="T0" fmla="*/ 97 w 235"/>
                      <a:gd name="T1" fmla="*/ 139 h 155"/>
                      <a:gd name="T2" fmla="*/ 81 w 235"/>
                      <a:gd name="T3" fmla="*/ 139 h 155"/>
                      <a:gd name="T4" fmla="*/ 81 w 235"/>
                      <a:gd name="T5" fmla="*/ 130 h 155"/>
                      <a:gd name="T6" fmla="*/ 88 w 235"/>
                      <a:gd name="T7" fmla="*/ 114 h 155"/>
                      <a:gd name="T8" fmla="*/ 106 w 235"/>
                      <a:gd name="T9" fmla="*/ 114 h 155"/>
                      <a:gd name="T10" fmla="*/ 106 w 235"/>
                      <a:gd name="T11" fmla="*/ 106 h 155"/>
                      <a:gd name="T12" fmla="*/ 97 w 235"/>
                      <a:gd name="T13" fmla="*/ 90 h 155"/>
                      <a:gd name="T14" fmla="*/ 97 w 235"/>
                      <a:gd name="T15" fmla="*/ 81 h 155"/>
                      <a:gd name="T16" fmla="*/ 73 w 235"/>
                      <a:gd name="T17" fmla="*/ 74 h 155"/>
                      <a:gd name="T18" fmla="*/ 56 w 235"/>
                      <a:gd name="T19" fmla="*/ 81 h 155"/>
                      <a:gd name="T20" fmla="*/ 41 w 235"/>
                      <a:gd name="T21" fmla="*/ 90 h 155"/>
                      <a:gd name="T22" fmla="*/ 31 w 235"/>
                      <a:gd name="T23" fmla="*/ 90 h 155"/>
                      <a:gd name="T24" fmla="*/ 7 w 235"/>
                      <a:gd name="T25" fmla="*/ 90 h 155"/>
                      <a:gd name="T26" fmla="*/ 0 w 235"/>
                      <a:gd name="T27" fmla="*/ 81 h 155"/>
                      <a:gd name="T28" fmla="*/ 7 w 235"/>
                      <a:gd name="T29" fmla="*/ 66 h 155"/>
                      <a:gd name="T30" fmla="*/ 16 w 235"/>
                      <a:gd name="T31" fmla="*/ 49 h 155"/>
                      <a:gd name="T32" fmla="*/ 23 w 235"/>
                      <a:gd name="T33" fmla="*/ 41 h 155"/>
                      <a:gd name="T34" fmla="*/ 16 w 235"/>
                      <a:gd name="T35" fmla="*/ 18 h 155"/>
                      <a:gd name="T36" fmla="*/ 31 w 235"/>
                      <a:gd name="T37" fmla="*/ 9 h 155"/>
                      <a:gd name="T38" fmla="*/ 48 w 235"/>
                      <a:gd name="T39" fmla="*/ 9 h 155"/>
                      <a:gd name="T40" fmla="*/ 73 w 235"/>
                      <a:gd name="T41" fmla="*/ 18 h 155"/>
                      <a:gd name="T42" fmla="*/ 81 w 235"/>
                      <a:gd name="T43" fmla="*/ 18 h 155"/>
                      <a:gd name="T44" fmla="*/ 88 w 235"/>
                      <a:gd name="T45" fmla="*/ 18 h 155"/>
                      <a:gd name="T46" fmla="*/ 97 w 235"/>
                      <a:gd name="T47" fmla="*/ 18 h 155"/>
                      <a:gd name="T48" fmla="*/ 113 w 235"/>
                      <a:gd name="T49" fmla="*/ 18 h 155"/>
                      <a:gd name="T50" fmla="*/ 122 w 235"/>
                      <a:gd name="T51" fmla="*/ 0 h 155"/>
                      <a:gd name="T52" fmla="*/ 128 w 235"/>
                      <a:gd name="T53" fmla="*/ 0 h 155"/>
                      <a:gd name="T54" fmla="*/ 153 w 235"/>
                      <a:gd name="T55" fmla="*/ 0 h 155"/>
                      <a:gd name="T56" fmla="*/ 162 w 235"/>
                      <a:gd name="T57" fmla="*/ 9 h 155"/>
                      <a:gd name="T58" fmla="*/ 153 w 235"/>
                      <a:gd name="T59" fmla="*/ 9 h 155"/>
                      <a:gd name="T60" fmla="*/ 162 w 235"/>
                      <a:gd name="T61" fmla="*/ 18 h 155"/>
                      <a:gd name="T62" fmla="*/ 170 w 235"/>
                      <a:gd name="T63" fmla="*/ 18 h 155"/>
                      <a:gd name="T64" fmla="*/ 178 w 235"/>
                      <a:gd name="T65" fmla="*/ 33 h 155"/>
                      <a:gd name="T66" fmla="*/ 187 w 235"/>
                      <a:gd name="T67" fmla="*/ 41 h 155"/>
                      <a:gd name="T68" fmla="*/ 193 w 235"/>
                      <a:gd name="T69" fmla="*/ 33 h 155"/>
                      <a:gd name="T70" fmla="*/ 235 w 235"/>
                      <a:gd name="T71" fmla="*/ 58 h 155"/>
                      <a:gd name="T72" fmla="*/ 227 w 235"/>
                      <a:gd name="T73" fmla="*/ 90 h 155"/>
                      <a:gd name="T74" fmla="*/ 218 w 235"/>
                      <a:gd name="T75" fmla="*/ 81 h 155"/>
                      <a:gd name="T76" fmla="*/ 212 w 235"/>
                      <a:gd name="T77" fmla="*/ 90 h 155"/>
                      <a:gd name="T78" fmla="*/ 212 w 235"/>
                      <a:gd name="T79" fmla="*/ 106 h 155"/>
                      <a:gd name="T80" fmla="*/ 203 w 235"/>
                      <a:gd name="T81" fmla="*/ 106 h 155"/>
                      <a:gd name="T82" fmla="*/ 162 w 235"/>
                      <a:gd name="T83" fmla="*/ 130 h 155"/>
                      <a:gd name="T84" fmla="*/ 178 w 235"/>
                      <a:gd name="T85" fmla="*/ 139 h 155"/>
                      <a:gd name="T86" fmla="*/ 178 w 235"/>
                      <a:gd name="T87" fmla="*/ 139 h 155"/>
                      <a:gd name="T88" fmla="*/ 153 w 235"/>
                      <a:gd name="T89" fmla="*/ 155 h 155"/>
                      <a:gd name="T90" fmla="*/ 146 w 235"/>
                      <a:gd name="T91" fmla="*/ 155 h 155"/>
                      <a:gd name="T92" fmla="*/ 146 w 235"/>
                      <a:gd name="T93" fmla="*/ 146 h 155"/>
                      <a:gd name="T94" fmla="*/ 138 w 235"/>
                      <a:gd name="T95" fmla="*/ 139 h 155"/>
                      <a:gd name="T96" fmla="*/ 153 w 235"/>
                      <a:gd name="T97" fmla="*/ 130 h 155"/>
                      <a:gd name="T98" fmla="*/ 128 w 235"/>
                      <a:gd name="T99" fmla="*/ 121 h 155"/>
                      <a:gd name="T100" fmla="*/ 128 w 235"/>
                      <a:gd name="T101" fmla="*/ 114 h 155"/>
                      <a:gd name="T102" fmla="*/ 113 w 235"/>
                      <a:gd name="T103" fmla="*/ 114 h 155"/>
                      <a:gd name="T104" fmla="*/ 106 w 235"/>
                      <a:gd name="T105" fmla="*/ 130 h 155"/>
                      <a:gd name="T106" fmla="*/ 97 w 235"/>
                      <a:gd name="T107" fmla="*/ 130 h 155"/>
                      <a:gd name="T108" fmla="*/ 97 w 235"/>
                      <a:gd name="T109" fmla="*/ 139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5" name="Freeform 105">
                    <a:extLst>
                      <a:ext uri="{FF2B5EF4-FFF2-40B4-BE49-F238E27FC236}">
                        <a16:creationId xmlns:a16="http://schemas.microsoft.com/office/drawing/2014/main" id="{2380C20D-439F-7BD3-E897-371C802B20D1}"/>
                      </a:ext>
                    </a:extLst>
                  </p:cNvPr>
                  <p:cNvSpPr>
                    <a:spLocks/>
                  </p:cNvSpPr>
                  <p:nvPr/>
                </p:nvSpPr>
                <p:spPr bwMode="gray">
                  <a:xfrm>
                    <a:off x="5232101" y="3641837"/>
                    <a:ext cx="140302" cy="86140"/>
                  </a:xfrm>
                  <a:custGeom>
                    <a:avLst/>
                    <a:gdLst>
                      <a:gd name="T0" fmla="*/ 40 w 91"/>
                      <a:gd name="T1" fmla="*/ 0 h 57"/>
                      <a:gd name="T2" fmla="*/ 40 w 91"/>
                      <a:gd name="T3" fmla="*/ 23 h 57"/>
                      <a:gd name="T4" fmla="*/ 25 w 91"/>
                      <a:gd name="T5" fmla="*/ 23 h 57"/>
                      <a:gd name="T6" fmla="*/ 16 w 91"/>
                      <a:gd name="T7" fmla="*/ 7 h 57"/>
                      <a:gd name="T8" fmla="*/ 9 w 91"/>
                      <a:gd name="T9" fmla="*/ 15 h 57"/>
                      <a:gd name="T10" fmla="*/ 0 w 91"/>
                      <a:gd name="T11" fmla="*/ 32 h 57"/>
                      <a:gd name="T12" fmla="*/ 0 w 91"/>
                      <a:gd name="T13" fmla="*/ 47 h 57"/>
                      <a:gd name="T14" fmla="*/ 9 w 91"/>
                      <a:gd name="T15" fmla="*/ 40 h 57"/>
                      <a:gd name="T16" fmla="*/ 50 w 91"/>
                      <a:gd name="T17" fmla="*/ 40 h 57"/>
                      <a:gd name="T18" fmla="*/ 74 w 91"/>
                      <a:gd name="T19" fmla="*/ 56 h 57"/>
                      <a:gd name="T20" fmla="*/ 90 w 91"/>
                      <a:gd name="T21" fmla="*/ 40 h 57"/>
                      <a:gd name="T22" fmla="*/ 82 w 91"/>
                      <a:gd name="T23" fmla="*/ 23 h 57"/>
                      <a:gd name="T24" fmla="*/ 82 w 91"/>
                      <a:gd name="T25" fmla="*/ 7 h 57"/>
                      <a:gd name="T26" fmla="*/ 65 w 91"/>
                      <a:gd name="T27" fmla="*/ 7 h 57"/>
                      <a:gd name="T28" fmla="*/ 50 w 91"/>
                      <a:gd name="T29" fmla="*/ 0 h 57"/>
                      <a:gd name="T30" fmla="*/ 40 w 91"/>
                      <a:gd name="T3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grpFill/>
                  <a:ln w="3175" cap="rnd" cmpd="sng">
                    <a:solidFill>
                      <a:schemeClr val="bg1"/>
                    </a:solidFill>
                    <a:prstDash val="solid"/>
                    <a:round/>
                    <a:headEnd/>
                    <a:tailEnd/>
                  </a:ln>
                  <a:effectLst/>
                </p:spPr>
                <p:txBody>
                  <a:bodyPr/>
                  <a:lstStyle/>
                  <a:p>
                    <a:endParaRPr lang="en-US"/>
                  </a:p>
                </p:txBody>
              </p:sp>
              <p:sp>
                <p:nvSpPr>
                  <p:cNvPr id="1866" name="Freeform 106">
                    <a:extLst>
                      <a:ext uri="{FF2B5EF4-FFF2-40B4-BE49-F238E27FC236}">
                        <a16:creationId xmlns:a16="http://schemas.microsoft.com/office/drawing/2014/main" id="{26ED8003-BBE4-FB90-2308-474F4BA410EF}"/>
                      </a:ext>
                    </a:extLst>
                  </p:cNvPr>
                  <p:cNvSpPr>
                    <a:spLocks/>
                  </p:cNvSpPr>
                  <p:nvPr/>
                </p:nvSpPr>
                <p:spPr bwMode="gray">
                  <a:xfrm>
                    <a:off x="5232101" y="3701374"/>
                    <a:ext cx="115845" cy="88673"/>
                  </a:xfrm>
                  <a:custGeom>
                    <a:avLst/>
                    <a:gdLst>
                      <a:gd name="T0" fmla="*/ 0 w 75"/>
                      <a:gd name="T1" fmla="*/ 25 h 58"/>
                      <a:gd name="T2" fmla="*/ 0 w 75"/>
                      <a:gd name="T3" fmla="*/ 16 h 58"/>
                      <a:gd name="T4" fmla="*/ 0 w 75"/>
                      <a:gd name="T5" fmla="*/ 7 h 58"/>
                      <a:gd name="T6" fmla="*/ 9 w 75"/>
                      <a:gd name="T7" fmla="*/ 0 h 58"/>
                      <a:gd name="T8" fmla="*/ 50 w 75"/>
                      <a:gd name="T9" fmla="*/ 0 h 58"/>
                      <a:gd name="T10" fmla="*/ 74 w 75"/>
                      <a:gd name="T11" fmla="*/ 16 h 58"/>
                      <a:gd name="T12" fmla="*/ 74 w 75"/>
                      <a:gd name="T13" fmla="*/ 25 h 58"/>
                      <a:gd name="T14" fmla="*/ 57 w 75"/>
                      <a:gd name="T15" fmla="*/ 32 h 58"/>
                      <a:gd name="T16" fmla="*/ 57 w 75"/>
                      <a:gd name="T17" fmla="*/ 47 h 58"/>
                      <a:gd name="T18" fmla="*/ 50 w 75"/>
                      <a:gd name="T19" fmla="*/ 47 h 58"/>
                      <a:gd name="T20" fmla="*/ 32 w 75"/>
                      <a:gd name="T21" fmla="*/ 57 h 58"/>
                      <a:gd name="T22" fmla="*/ 25 w 75"/>
                      <a:gd name="T23" fmla="*/ 57 h 58"/>
                      <a:gd name="T24" fmla="*/ 16 w 75"/>
                      <a:gd name="T25" fmla="*/ 47 h 58"/>
                      <a:gd name="T26" fmla="*/ 16 w 75"/>
                      <a:gd name="T27" fmla="*/ 25 h 58"/>
                      <a:gd name="T28" fmla="*/ 0 w 75"/>
                      <a:gd name="T29" fmla="*/ 2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67" name="Freeform 107">
                    <a:extLst>
                      <a:ext uri="{FF2B5EF4-FFF2-40B4-BE49-F238E27FC236}">
                        <a16:creationId xmlns:a16="http://schemas.microsoft.com/office/drawing/2014/main" id="{7942A1DE-9B46-69B9-73DE-0C3A4767F2D0}"/>
                      </a:ext>
                    </a:extLst>
                  </p:cNvPr>
                  <p:cNvSpPr>
                    <a:spLocks/>
                  </p:cNvSpPr>
                  <p:nvPr/>
                </p:nvSpPr>
                <p:spPr bwMode="gray">
                  <a:xfrm>
                    <a:off x="5282301" y="3589899"/>
                    <a:ext cx="90102" cy="63338"/>
                  </a:xfrm>
                  <a:custGeom>
                    <a:avLst/>
                    <a:gdLst>
                      <a:gd name="T0" fmla="*/ 8 w 59"/>
                      <a:gd name="T1" fmla="*/ 34 h 42"/>
                      <a:gd name="T2" fmla="*/ 0 w 59"/>
                      <a:gd name="T3" fmla="*/ 24 h 42"/>
                      <a:gd name="T4" fmla="*/ 0 w 59"/>
                      <a:gd name="T5" fmla="*/ 9 h 42"/>
                      <a:gd name="T6" fmla="*/ 8 w 59"/>
                      <a:gd name="T7" fmla="*/ 0 h 42"/>
                      <a:gd name="T8" fmla="*/ 58 w 59"/>
                      <a:gd name="T9" fmla="*/ 0 h 42"/>
                      <a:gd name="T10" fmla="*/ 50 w 59"/>
                      <a:gd name="T11" fmla="*/ 9 h 42"/>
                      <a:gd name="T12" fmla="*/ 42 w 59"/>
                      <a:gd name="T13" fmla="*/ 9 h 42"/>
                      <a:gd name="T14" fmla="*/ 50 w 59"/>
                      <a:gd name="T15" fmla="*/ 34 h 42"/>
                      <a:gd name="T16" fmla="*/ 50 w 59"/>
                      <a:gd name="T17" fmla="*/ 41 h 42"/>
                      <a:gd name="T18" fmla="*/ 33 w 59"/>
                      <a:gd name="T19" fmla="*/ 41 h 42"/>
                      <a:gd name="T20" fmla="*/ 18 w 59"/>
                      <a:gd name="T21" fmla="*/ 34 h 42"/>
                      <a:gd name="T22" fmla="*/ 8 w 59"/>
                      <a:gd name="T23" fmla="*/ 34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grpFill/>
                  <a:ln w="3175" cap="rnd" cmpd="sng">
                    <a:solidFill>
                      <a:schemeClr val="bg1"/>
                    </a:solidFill>
                    <a:prstDash val="solid"/>
                    <a:round/>
                    <a:headEnd/>
                    <a:tailEnd/>
                  </a:ln>
                  <a:effectLst/>
                </p:spPr>
                <p:txBody>
                  <a:bodyPr/>
                  <a:lstStyle/>
                  <a:p>
                    <a:endParaRPr lang="en-US"/>
                  </a:p>
                </p:txBody>
              </p:sp>
              <p:sp>
                <p:nvSpPr>
                  <p:cNvPr id="1868" name="Freeform 108">
                    <a:extLst>
                      <a:ext uri="{FF2B5EF4-FFF2-40B4-BE49-F238E27FC236}">
                        <a16:creationId xmlns:a16="http://schemas.microsoft.com/office/drawing/2014/main" id="{80E6A436-54FE-7318-C8F0-6DD1E15DDB04}"/>
                      </a:ext>
                    </a:extLst>
                  </p:cNvPr>
                  <p:cNvSpPr>
                    <a:spLocks/>
                  </p:cNvSpPr>
                  <p:nvPr/>
                </p:nvSpPr>
                <p:spPr bwMode="gray">
                  <a:xfrm>
                    <a:off x="5196060" y="3739377"/>
                    <a:ext cx="63072" cy="35469"/>
                  </a:xfrm>
                  <a:custGeom>
                    <a:avLst/>
                    <a:gdLst>
                      <a:gd name="T0" fmla="*/ 40 w 41"/>
                      <a:gd name="T1" fmla="*/ 0 h 23"/>
                      <a:gd name="T2" fmla="*/ 40 w 41"/>
                      <a:gd name="T3" fmla="*/ 22 h 23"/>
                      <a:gd name="T4" fmla="*/ 24 w 41"/>
                      <a:gd name="T5" fmla="*/ 22 h 23"/>
                      <a:gd name="T6" fmla="*/ 0 w 41"/>
                      <a:gd name="T7" fmla="*/ 16 h 23"/>
                      <a:gd name="T8" fmla="*/ 15 w 41"/>
                      <a:gd name="T9" fmla="*/ 7 h 23"/>
                      <a:gd name="T10" fmla="*/ 24 w 41"/>
                      <a:gd name="T11" fmla="*/ 0 h 23"/>
                      <a:gd name="T12" fmla="*/ 40 w 41"/>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41" h="23">
                        <a:moveTo>
                          <a:pt x="40" y="0"/>
                        </a:moveTo>
                        <a:lnTo>
                          <a:pt x="40" y="22"/>
                        </a:lnTo>
                        <a:lnTo>
                          <a:pt x="24" y="22"/>
                        </a:lnTo>
                        <a:lnTo>
                          <a:pt x="0" y="16"/>
                        </a:lnTo>
                        <a:lnTo>
                          <a:pt x="15" y="7"/>
                        </a:lnTo>
                        <a:lnTo>
                          <a:pt x="24" y="0"/>
                        </a:lnTo>
                        <a:lnTo>
                          <a:pt x="40" y="0"/>
                        </a:lnTo>
                      </a:path>
                    </a:pathLst>
                  </a:custGeom>
                  <a:grpFill/>
                  <a:ln w="3175" cap="rnd" cmpd="sng">
                    <a:solidFill>
                      <a:schemeClr val="bg1"/>
                    </a:solidFill>
                    <a:prstDash val="solid"/>
                    <a:round/>
                    <a:headEnd/>
                    <a:tailEnd/>
                  </a:ln>
                  <a:effectLst/>
                </p:spPr>
                <p:txBody>
                  <a:bodyPr/>
                  <a:lstStyle/>
                  <a:p>
                    <a:endParaRPr lang="en-US"/>
                  </a:p>
                </p:txBody>
              </p:sp>
              <p:sp>
                <p:nvSpPr>
                  <p:cNvPr id="1869" name="Freeform 109">
                    <a:extLst>
                      <a:ext uri="{FF2B5EF4-FFF2-40B4-BE49-F238E27FC236}">
                        <a16:creationId xmlns:a16="http://schemas.microsoft.com/office/drawing/2014/main" id="{2E252F5B-2B00-CD98-63A6-ACB54C375AF4}"/>
                      </a:ext>
                    </a:extLst>
                  </p:cNvPr>
                  <p:cNvSpPr>
                    <a:spLocks/>
                  </p:cNvSpPr>
                  <p:nvPr/>
                </p:nvSpPr>
                <p:spPr bwMode="gray">
                  <a:xfrm>
                    <a:off x="5596371" y="4094069"/>
                    <a:ext cx="136441" cy="49404"/>
                  </a:xfrm>
                  <a:custGeom>
                    <a:avLst/>
                    <a:gdLst>
                      <a:gd name="T0" fmla="*/ 25 w 89"/>
                      <a:gd name="T1" fmla="*/ 32 h 33"/>
                      <a:gd name="T2" fmla="*/ 25 w 89"/>
                      <a:gd name="T3" fmla="*/ 24 h 33"/>
                      <a:gd name="T4" fmla="*/ 25 w 89"/>
                      <a:gd name="T5" fmla="*/ 15 h 33"/>
                      <a:gd name="T6" fmla="*/ 0 w 89"/>
                      <a:gd name="T7" fmla="*/ 0 h 33"/>
                      <a:gd name="T8" fmla="*/ 40 w 89"/>
                      <a:gd name="T9" fmla="*/ 0 h 33"/>
                      <a:gd name="T10" fmla="*/ 57 w 89"/>
                      <a:gd name="T11" fmla="*/ 9 h 33"/>
                      <a:gd name="T12" fmla="*/ 72 w 89"/>
                      <a:gd name="T13" fmla="*/ 9 h 33"/>
                      <a:gd name="T14" fmla="*/ 88 w 89"/>
                      <a:gd name="T15" fmla="*/ 24 h 33"/>
                      <a:gd name="T16" fmla="*/ 81 w 89"/>
                      <a:gd name="T17" fmla="*/ 24 h 33"/>
                      <a:gd name="T18" fmla="*/ 88 w 89"/>
                      <a:gd name="T19" fmla="*/ 32 h 33"/>
                      <a:gd name="T20" fmla="*/ 72 w 89"/>
                      <a:gd name="T21" fmla="*/ 32 h 33"/>
                      <a:gd name="T22" fmla="*/ 65 w 89"/>
                      <a:gd name="T23" fmla="*/ 32 h 33"/>
                      <a:gd name="T24" fmla="*/ 48 w 89"/>
                      <a:gd name="T25" fmla="*/ 32 h 33"/>
                      <a:gd name="T26" fmla="*/ 25 w 89"/>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grpFill/>
                  <a:ln w="3175" cap="rnd" cmpd="sng">
                    <a:solidFill>
                      <a:schemeClr val="bg1"/>
                    </a:solidFill>
                    <a:prstDash val="solid"/>
                    <a:round/>
                    <a:headEnd/>
                    <a:tailEnd/>
                  </a:ln>
                  <a:effectLst/>
                </p:spPr>
                <p:txBody>
                  <a:bodyPr/>
                  <a:lstStyle/>
                  <a:p>
                    <a:endParaRPr lang="en-US"/>
                  </a:p>
                </p:txBody>
              </p:sp>
              <p:sp>
                <p:nvSpPr>
                  <p:cNvPr id="1870" name="Freeform 110">
                    <a:extLst>
                      <a:ext uri="{FF2B5EF4-FFF2-40B4-BE49-F238E27FC236}">
                        <a16:creationId xmlns:a16="http://schemas.microsoft.com/office/drawing/2014/main" id="{7CE8BA5E-B914-A672-C712-C1A6D53E5F0B}"/>
                      </a:ext>
                    </a:extLst>
                  </p:cNvPr>
                  <p:cNvSpPr>
                    <a:spLocks/>
                  </p:cNvSpPr>
                  <p:nvPr/>
                </p:nvSpPr>
                <p:spPr bwMode="gray">
                  <a:xfrm>
                    <a:off x="5669740" y="4142207"/>
                    <a:ext cx="63072" cy="62071"/>
                  </a:xfrm>
                  <a:custGeom>
                    <a:avLst/>
                    <a:gdLst>
                      <a:gd name="T0" fmla="*/ 40 w 41"/>
                      <a:gd name="T1" fmla="*/ 40 h 41"/>
                      <a:gd name="T2" fmla="*/ 40 w 41"/>
                      <a:gd name="T3" fmla="*/ 33 h 41"/>
                      <a:gd name="T4" fmla="*/ 33 w 41"/>
                      <a:gd name="T5" fmla="*/ 24 h 41"/>
                      <a:gd name="T6" fmla="*/ 33 w 41"/>
                      <a:gd name="T7" fmla="*/ 17 h 41"/>
                      <a:gd name="T8" fmla="*/ 17 w 41"/>
                      <a:gd name="T9" fmla="*/ 0 h 41"/>
                      <a:gd name="T10" fmla="*/ 0 w 41"/>
                      <a:gd name="T11" fmla="*/ 0 h 41"/>
                      <a:gd name="T12" fmla="*/ 9 w 41"/>
                      <a:gd name="T13" fmla="*/ 24 h 41"/>
                      <a:gd name="T14" fmla="*/ 17 w 41"/>
                      <a:gd name="T15" fmla="*/ 24 h 41"/>
                      <a:gd name="T16" fmla="*/ 33 w 41"/>
                      <a:gd name="T17" fmla="*/ 33 h 41"/>
                      <a:gd name="T18" fmla="*/ 33 w 41"/>
                      <a:gd name="T19" fmla="*/ 40 h 41"/>
                      <a:gd name="T20" fmla="*/ 40 w 41"/>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grpFill/>
                  <a:ln w="3175" cap="rnd" cmpd="sng">
                    <a:solidFill>
                      <a:schemeClr val="bg1"/>
                    </a:solidFill>
                    <a:prstDash val="solid"/>
                    <a:round/>
                    <a:headEnd/>
                    <a:tailEnd/>
                  </a:ln>
                  <a:effectLst/>
                </p:spPr>
                <p:txBody>
                  <a:bodyPr/>
                  <a:lstStyle/>
                  <a:p>
                    <a:endParaRPr lang="en-US"/>
                  </a:p>
                </p:txBody>
              </p:sp>
              <p:sp>
                <p:nvSpPr>
                  <p:cNvPr id="1871" name="Freeform 112">
                    <a:extLst>
                      <a:ext uri="{FF2B5EF4-FFF2-40B4-BE49-F238E27FC236}">
                        <a16:creationId xmlns:a16="http://schemas.microsoft.com/office/drawing/2014/main" id="{B83C8811-473B-BDB0-2CDD-90C0C943F12F}"/>
                      </a:ext>
                    </a:extLst>
                  </p:cNvPr>
                  <p:cNvSpPr>
                    <a:spLocks/>
                  </p:cNvSpPr>
                  <p:nvPr/>
                </p:nvSpPr>
                <p:spPr bwMode="gray">
                  <a:xfrm>
                    <a:off x="5695483" y="4130805"/>
                    <a:ext cx="111984" cy="87406"/>
                  </a:xfrm>
                  <a:custGeom>
                    <a:avLst/>
                    <a:gdLst>
                      <a:gd name="T0" fmla="*/ 23 w 73"/>
                      <a:gd name="T1" fmla="*/ 48 h 58"/>
                      <a:gd name="T2" fmla="*/ 40 w 73"/>
                      <a:gd name="T3" fmla="*/ 41 h 58"/>
                      <a:gd name="T4" fmla="*/ 48 w 73"/>
                      <a:gd name="T5" fmla="*/ 41 h 58"/>
                      <a:gd name="T6" fmla="*/ 40 w 73"/>
                      <a:gd name="T7" fmla="*/ 48 h 58"/>
                      <a:gd name="T8" fmla="*/ 57 w 73"/>
                      <a:gd name="T9" fmla="*/ 57 h 58"/>
                      <a:gd name="T10" fmla="*/ 48 w 73"/>
                      <a:gd name="T11" fmla="*/ 48 h 58"/>
                      <a:gd name="T12" fmla="*/ 57 w 73"/>
                      <a:gd name="T13" fmla="*/ 48 h 58"/>
                      <a:gd name="T14" fmla="*/ 57 w 73"/>
                      <a:gd name="T15" fmla="*/ 32 h 58"/>
                      <a:gd name="T16" fmla="*/ 72 w 73"/>
                      <a:gd name="T17" fmla="*/ 25 h 58"/>
                      <a:gd name="T18" fmla="*/ 57 w 73"/>
                      <a:gd name="T19" fmla="*/ 16 h 58"/>
                      <a:gd name="T20" fmla="*/ 48 w 73"/>
                      <a:gd name="T21" fmla="*/ 0 h 58"/>
                      <a:gd name="T22" fmla="*/ 40 w 73"/>
                      <a:gd name="T23" fmla="*/ 8 h 58"/>
                      <a:gd name="T24" fmla="*/ 32 w 73"/>
                      <a:gd name="T25" fmla="*/ 8 h 58"/>
                      <a:gd name="T26" fmla="*/ 23 w 73"/>
                      <a:gd name="T27" fmla="*/ 0 h 58"/>
                      <a:gd name="T28" fmla="*/ 16 w 73"/>
                      <a:gd name="T29" fmla="*/ 0 h 58"/>
                      <a:gd name="T30" fmla="*/ 23 w 73"/>
                      <a:gd name="T31" fmla="*/ 8 h 58"/>
                      <a:gd name="T32" fmla="*/ 7 w 73"/>
                      <a:gd name="T33" fmla="*/ 8 h 58"/>
                      <a:gd name="T34" fmla="*/ 0 w 73"/>
                      <a:gd name="T35" fmla="*/ 8 h 58"/>
                      <a:gd name="T36" fmla="*/ 16 w 73"/>
                      <a:gd name="T37" fmla="*/ 25 h 58"/>
                      <a:gd name="T38" fmla="*/ 16 w 73"/>
                      <a:gd name="T39" fmla="*/ 32 h 58"/>
                      <a:gd name="T40" fmla="*/ 23 w 73"/>
                      <a:gd name="T41" fmla="*/ 41 h 58"/>
                      <a:gd name="T42" fmla="*/ 23 w 73"/>
                      <a:gd name="T43" fmla="*/ 4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72" name="Freeform 113">
                    <a:extLst>
                      <a:ext uri="{FF2B5EF4-FFF2-40B4-BE49-F238E27FC236}">
                        <a16:creationId xmlns:a16="http://schemas.microsoft.com/office/drawing/2014/main" id="{158C3564-91D6-A3C1-6102-B56247D13555}"/>
                      </a:ext>
                    </a:extLst>
                  </p:cNvPr>
                  <p:cNvSpPr>
                    <a:spLocks/>
                  </p:cNvSpPr>
                  <p:nvPr/>
                </p:nvSpPr>
                <p:spPr bwMode="gray">
                  <a:xfrm>
                    <a:off x="5032589" y="3161734"/>
                    <a:ext cx="250999" cy="578910"/>
                  </a:xfrm>
                  <a:custGeom>
                    <a:avLst/>
                    <a:gdLst>
                      <a:gd name="T0" fmla="*/ 0 w 163"/>
                      <a:gd name="T1" fmla="*/ 299 h 383"/>
                      <a:gd name="T2" fmla="*/ 9 w 163"/>
                      <a:gd name="T3" fmla="*/ 299 h 383"/>
                      <a:gd name="T4" fmla="*/ 9 w 163"/>
                      <a:gd name="T5" fmla="*/ 276 h 383"/>
                      <a:gd name="T6" fmla="*/ 18 w 163"/>
                      <a:gd name="T7" fmla="*/ 267 h 383"/>
                      <a:gd name="T8" fmla="*/ 18 w 163"/>
                      <a:gd name="T9" fmla="*/ 243 h 383"/>
                      <a:gd name="T10" fmla="*/ 18 w 163"/>
                      <a:gd name="T11" fmla="*/ 236 h 383"/>
                      <a:gd name="T12" fmla="*/ 9 w 163"/>
                      <a:gd name="T13" fmla="*/ 202 h 383"/>
                      <a:gd name="T14" fmla="*/ 18 w 163"/>
                      <a:gd name="T15" fmla="*/ 170 h 383"/>
                      <a:gd name="T16" fmla="*/ 25 w 163"/>
                      <a:gd name="T17" fmla="*/ 162 h 383"/>
                      <a:gd name="T18" fmla="*/ 41 w 163"/>
                      <a:gd name="T19" fmla="*/ 155 h 383"/>
                      <a:gd name="T20" fmla="*/ 33 w 163"/>
                      <a:gd name="T21" fmla="*/ 137 h 383"/>
                      <a:gd name="T22" fmla="*/ 41 w 163"/>
                      <a:gd name="T23" fmla="*/ 122 h 383"/>
                      <a:gd name="T24" fmla="*/ 50 w 163"/>
                      <a:gd name="T25" fmla="*/ 97 h 383"/>
                      <a:gd name="T26" fmla="*/ 65 w 163"/>
                      <a:gd name="T27" fmla="*/ 73 h 383"/>
                      <a:gd name="T28" fmla="*/ 65 w 163"/>
                      <a:gd name="T29" fmla="*/ 56 h 383"/>
                      <a:gd name="T30" fmla="*/ 75 w 163"/>
                      <a:gd name="T31" fmla="*/ 41 h 383"/>
                      <a:gd name="T32" fmla="*/ 81 w 163"/>
                      <a:gd name="T33" fmla="*/ 31 h 383"/>
                      <a:gd name="T34" fmla="*/ 90 w 163"/>
                      <a:gd name="T35" fmla="*/ 31 h 383"/>
                      <a:gd name="T36" fmla="*/ 90 w 163"/>
                      <a:gd name="T37" fmla="*/ 16 h 383"/>
                      <a:gd name="T38" fmla="*/ 98 w 163"/>
                      <a:gd name="T39" fmla="*/ 16 h 383"/>
                      <a:gd name="T40" fmla="*/ 115 w 163"/>
                      <a:gd name="T41" fmla="*/ 16 h 383"/>
                      <a:gd name="T42" fmla="*/ 115 w 163"/>
                      <a:gd name="T43" fmla="*/ 0 h 383"/>
                      <a:gd name="T44" fmla="*/ 121 w 163"/>
                      <a:gd name="T45" fmla="*/ 0 h 383"/>
                      <a:gd name="T46" fmla="*/ 155 w 163"/>
                      <a:gd name="T47" fmla="*/ 31 h 383"/>
                      <a:gd name="T48" fmla="*/ 162 w 163"/>
                      <a:gd name="T49" fmla="*/ 105 h 383"/>
                      <a:gd name="T50" fmla="*/ 146 w 163"/>
                      <a:gd name="T51" fmla="*/ 105 h 383"/>
                      <a:gd name="T52" fmla="*/ 130 w 163"/>
                      <a:gd name="T53" fmla="*/ 122 h 383"/>
                      <a:gd name="T54" fmla="*/ 130 w 163"/>
                      <a:gd name="T55" fmla="*/ 130 h 383"/>
                      <a:gd name="T56" fmla="*/ 130 w 163"/>
                      <a:gd name="T57" fmla="*/ 137 h 383"/>
                      <a:gd name="T58" fmla="*/ 139 w 163"/>
                      <a:gd name="T59" fmla="*/ 146 h 383"/>
                      <a:gd name="T60" fmla="*/ 121 w 163"/>
                      <a:gd name="T61" fmla="*/ 162 h 383"/>
                      <a:gd name="T62" fmla="*/ 98 w 163"/>
                      <a:gd name="T63" fmla="*/ 187 h 383"/>
                      <a:gd name="T64" fmla="*/ 81 w 163"/>
                      <a:gd name="T65" fmla="*/ 212 h 383"/>
                      <a:gd name="T66" fmla="*/ 81 w 163"/>
                      <a:gd name="T67" fmla="*/ 252 h 383"/>
                      <a:gd name="T68" fmla="*/ 98 w 163"/>
                      <a:gd name="T69" fmla="*/ 276 h 383"/>
                      <a:gd name="T70" fmla="*/ 90 w 163"/>
                      <a:gd name="T71" fmla="*/ 283 h 383"/>
                      <a:gd name="T72" fmla="*/ 90 w 163"/>
                      <a:gd name="T73" fmla="*/ 292 h 383"/>
                      <a:gd name="T74" fmla="*/ 75 w 163"/>
                      <a:gd name="T75" fmla="*/ 307 h 383"/>
                      <a:gd name="T76" fmla="*/ 65 w 163"/>
                      <a:gd name="T77" fmla="*/ 364 h 383"/>
                      <a:gd name="T78" fmla="*/ 50 w 163"/>
                      <a:gd name="T79" fmla="*/ 364 h 383"/>
                      <a:gd name="T80" fmla="*/ 41 w 163"/>
                      <a:gd name="T81" fmla="*/ 373 h 383"/>
                      <a:gd name="T82" fmla="*/ 41 w 163"/>
                      <a:gd name="T83" fmla="*/ 382 h 383"/>
                      <a:gd name="T84" fmla="*/ 25 w 163"/>
                      <a:gd name="T85" fmla="*/ 382 h 383"/>
                      <a:gd name="T86" fmla="*/ 18 w 163"/>
                      <a:gd name="T87" fmla="*/ 364 h 383"/>
                      <a:gd name="T88" fmla="*/ 25 w 163"/>
                      <a:gd name="T89" fmla="*/ 357 h 383"/>
                      <a:gd name="T90" fmla="*/ 18 w 163"/>
                      <a:gd name="T91" fmla="*/ 349 h 383"/>
                      <a:gd name="T92" fmla="*/ 0 w 163"/>
                      <a:gd name="T93" fmla="*/ 2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73" name="Freeform 114">
                    <a:extLst>
                      <a:ext uri="{FF2B5EF4-FFF2-40B4-BE49-F238E27FC236}">
                        <a16:creationId xmlns:a16="http://schemas.microsoft.com/office/drawing/2014/main" id="{81C26B5E-351B-3B9B-7617-03A6543F9B36}"/>
                      </a:ext>
                    </a:extLst>
                  </p:cNvPr>
                  <p:cNvSpPr>
                    <a:spLocks/>
                  </p:cNvSpPr>
                  <p:nvPr/>
                </p:nvSpPr>
                <p:spPr bwMode="gray">
                  <a:xfrm>
                    <a:off x="4659309" y="3739377"/>
                    <a:ext cx="52774" cy="50670"/>
                  </a:xfrm>
                  <a:custGeom>
                    <a:avLst/>
                    <a:gdLst>
                      <a:gd name="T0" fmla="*/ 25 w 35"/>
                      <a:gd name="T1" fmla="*/ 32 h 33"/>
                      <a:gd name="T2" fmla="*/ 25 w 35"/>
                      <a:gd name="T3" fmla="*/ 22 h 33"/>
                      <a:gd name="T4" fmla="*/ 9 w 35"/>
                      <a:gd name="T5" fmla="*/ 22 h 33"/>
                      <a:gd name="T6" fmla="*/ 0 w 35"/>
                      <a:gd name="T7" fmla="*/ 16 h 33"/>
                      <a:gd name="T8" fmla="*/ 9 w 35"/>
                      <a:gd name="T9" fmla="*/ 0 h 33"/>
                      <a:gd name="T10" fmla="*/ 25 w 35"/>
                      <a:gd name="T11" fmla="*/ 7 h 33"/>
                      <a:gd name="T12" fmla="*/ 34 w 35"/>
                      <a:gd name="T13" fmla="*/ 22 h 33"/>
                      <a:gd name="T14" fmla="*/ 25 w 35"/>
                      <a:gd name="T15" fmla="*/ 32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33">
                        <a:moveTo>
                          <a:pt x="25" y="32"/>
                        </a:moveTo>
                        <a:lnTo>
                          <a:pt x="25" y="22"/>
                        </a:lnTo>
                        <a:lnTo>
                          <a:pt x="9" y="22"/>
                        </a:lnTo>
                        <a:lnTo>
                          <a:pt x="0" y="16"/>
                        </a:lnTo>
                        <a:lnTo>
                          <a:pt x="9" y="0"/>
                        </a:lnTo>
                        <a:lnTo>
                          <a:pt x="25" y="7"/>
                        </a:lnTo>
                        <a:lnTo>
                          <a:pt x="34" y="22"/>
                        </a:lnTo>
                        <a:lnTo>
                          <a:pt x="25" y="32"/>
                        </a:lnTo>
                      </a:path>
                    </a:pathLst>
                  </a:custGeom>
                  <a:grpFill/>
                  <a:ln w="3175" cap="rnd" cmpd="sng">
                    <a:solidFill>
                      <a:schemeClr val="bg1"/>
                    </a:solidFill>
                    <a:prstDash val="solid"/>
                    <a:round/>
                    <a:headEnd/>
                    <a:tailEnd/>
                  </a:ln>
                  <a:effectLst/>
                </p:spPr>
                <p:txBody>
                  <a:bodyPr/>
                  <a:lstStyle/>
                  <a:p>
                    <a:endParaRPr lang="en-US"/>
                  </a:p>
                </p:txBody>
              </p:sp>
              <p:sp>
                <p:nvSpPr>
                  <p:cNvPr id="1874" name="Freeform 115">
                    <a:extLst>
                      <a:ext uri="{FF2B5EF4-FFF2-40B4-BE49-F238E27FC236}">
                        <a16:creationId xmlns:a16="http://schemas.microsoft.com/office/drawing/2014/main" id="{A6325381-DE48-AB5C-B322-A8D14A41C434}"/>
                      </a:ext>
                    </a:extLst>
                  </p:cNvPr>
                  <p:cNvSpPr>
                    <a:spLocks/>
                  </p:cNvSpPr>
                  <p:nvPr/>
                </p:nvSpPr>
                <p:spPr bwMode="gray">
                  <a:xfrm>
                    <a:off x="4607821" y="3739377"/>
                    <a:ext cx="91389" cy="124142"/>
                  </a:xfrm>
                  <a:custGeom>
                    <a:avLst/>
                    <a:gdLst>
                      <a:gd name="T0" fmla="*/ 42 w 59"/>
                      <a:gd name="T1" fmla="*/ 0 h 82"/>
                      <a:gd name="T2" fmla="*/ 33 w 59"/>
                      <a:gd name="T3" fmla="*/ 16 h 82"/>
                      <a:gd name="T4" fmla="*/ 42 w 59"/>
                      <a:gd name="T5" fmla="*/ 22 h 82"/>
                      <a:gd name="T6" fmla="*/ 58 w 59"/>
                      <a:gd name="T7" fmla="*/ 22 h 82"/>
                      <a:gd name="T8" fmla="*/ 58 w 59"/>
                      <a:gd name="T9" fmla="*/ 32 h 82"/>
                      <a:gd name="T10" fmla="*/ 58 w 59"/>
                      <a:gd name="T11" fmla="*/ 47 h 82"/>
                      <a:gd name="T12" fmla="*/ 49 w 59"/>
                      <a:gd name="T13" fmla="*/ 72 h 82"/>
                      <a:gd name="T14" fmla="*/ 8 w 59"/>
                      <a:gd name="T15" fmla="*/ 81 h 82"/>
                      <a:gd name="T16" fmla="*/ 0 w 59"/>
                      <a:gd name="T17" fmla="*/ 72 h 82"/>
                      <a:gd name="T18" fmla="*/ 8 w 59"/>
                      <a:gd name="T19" fmla="*/ 72 h 82"/>
                      <a:gd name="T20" fmla="*/ 18 w 59"/>
                      <a:gd name="T21" fmla="*/ 47 h 82"/>
                      <a:gd name="T22" fmla="*/ 8 w 59"/>
                      <a:gd name="T23" fmla="*/ 40 h 82"/>
                      <a:gd name="T24" fmla="*/ 18 w 59"/>
                      <a:gd name="T25" fmla="*/ 32 h 82"/>
                      <a:gd name="T26" fmla="*/ 8 w 59"/>
                      <a:gd name="T27" fmla="*/ 32 h 82"/>
                      <a:gd name="T28" fmla="*/ 8 w 59"/>
                      <a:gd name="T29" fmla="*/ 22 h 82"/>
                      <a:gd name="T30" fmla="*/ 25 w 59"/>
                      <a:gd name="T31" fmla="*/ 22 h 82"/>
                      <a:gd name="T32" fmla="*/ 33 w 59"/>
                      <a:gd name="T33" fmla="*/ 16 h 82"/>
                      <a:gd name="T34" fmla="*/ 25 w 59"/>
                      <a:gd name="T35" fmla="*/ 16 h 82"/>
                      <a:gd name="T36" fmla="*/ 25 w 59"/>
                      <a:gd name="T37" fmla="*/ 7 h 82"/>
                      <a:gd name="T38" fmla="*/ 42 w 59"/>
                      <a:gd name="T3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grpFill/>
                  <a:ln w="3175" cap="rnd" cmpd="sng">
                    <a:solidFill>
                      <a:schemeClr val="bg1"/>
                    </a:solidFill>
                    <a:prstDash val="solid"/>
                    <a:round/>
                    <a:headEnd/>
                    <a:tailEnd/>
                  </a:ln>
                  <a:effectLst/>
                </p:spPr>
                <p:txBody>
                  <a:bodyPr/>
                  <a:lstStyle/>
                  <a:p>
                    <a:endParaRPr lang="en-US"/>
                  </a:p>
                </p:txBody>
              </p:sp>
              <p:sp>
                <p:nvSpPr>
                  <p:cNvPr id="1875" name="Freeform 116">
                    <a:extLst>
                      <a:ext uri="{FF2B5EF4-FFF2-40B4-BE49-F238E27FC236}">
                        <a16:creationId xmlns:a16="http://schemas.microsoft.com/office/drawing/2014/main" id="{EB9C2C8C-FEC8-FFDF-E8D0-CEB1B20F15DA}"/>
                      </a:ext>
                    </a:extLst>
                  </p:cNvPr>
                  <p:cNvSpPr>
                    <a:spLocks/>
                  </p:cNvSpPr>
                  <p:nvPr/>
                </p:nvSpPr>
                <p:spPr bwMode="gray">
                  <a:xfrm>
                    <a:off x="4969518" y="3663372"/>
                    <a:ext cx="64359" cy="88673"/>
                  </a:xfrm>
                  <a:custGeom>
                    <a:avLst/>
                    <a:gdLst>
                      <a:gd name="T0" fmla="*/ 9 w 42"/>
                      <a:gd name="T1" fmla="*/ 57 h 58"/>
                      <a:gd name="T2" fmla="*/ 19 w 42"/>
                      <a:gd name="T3" fmla="*/ 57 h 58"/>
                      <a:gd name="T4" fmla="*/ 25 w 42"/>
                      <a:gd name="T5" fmla="*/ 57 h 58"/>
                      <a:gd name="T6" fmla="*/ 34 w 42"/>
                      <a:gd name="T7" fmla="*/ 32 h 58"/>
                      <a:gd name="T8" fmla="*/ 41 w 42"/>
                      <a:gd name="T9" fmla="*/ 32 h 58"/>
                      <a:gd name="T10" fmla="*/ 41 w 42"/>
                      <a:gd name="T11" fmla="*/ 25 h 58"/>
                      <a:gd name="T12" fmla="*/ 34 w 42"/>
                      <a:gd name="T13" fmla="*/ 25 h 58"/>
                      <a:gd name="T14" fmla="*/ 34 w 42"/>
                      <a:gd name="T15" fmla="*/ 0 h 58"/>
                      <a:gd name="T16" fmla="*/ 9 w 42"/>
                      <a:gd name="T17" fmla="*/ 8 h 58"/>
                      <a:gd name="T18" fmla="*/ 0 w 42"/>
                      <a:gd name="T19" fmla="*/ 25 h 58"/>
                      <a:gd name="T20" fmla="*/ 0 w 42"/>
                      <a:gd name="T21" fmla="*/ 41 h 58"/>
                      <a:gd name="T22" fmla="*/ 9 w 42"/>
                      <a:gd name="T23" fmla="*/ 50 h 58"/>
                      <a:gd name="T24" fmla="*/ 9 w 42"/>
                      <a:gd name="T25" fmla="*/ 5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grpFill/>
                  <a:ln w="3175" cap="rnd" cmpd="sng">
                    <a:solidFill>
                      <a:schemeClr val="bg1"/>
                    </a:solidFill>
                    <a:prstDash val="solid"/>
                    <a:round/>
                    <a:headEnd/>
                    <a:tailEnd/>
                  </a:ln>
                  <a:effectLst/>
                </p:spPr>
                <p:txBody>
                  <a:bodyPr/>
                  <a:lstStyle/>
                  <a:p>
                    <a:endParaRPr lang="en-US"/>
                  </a:p>
                </p:txBody>
              </p:sp>
              <p:sp>
                <p:nvSpPr>
                  <p:cNvPr id="1876" name="Freeform 117">
                    <a:extLst>
                      <a:ext uri="{FF2B5EF4-FFF2-40B4-BE49-F238E27FC236}">
                        <a16:creationId xmlns:a16="http://schemas.microsoft.com/office/drawing/2014/main" id="{5543C9DC-B051-7504-57A1-4A8198CCD132}"/>
                      </a:ext>
                    </a:extLst>
                  </p:cNvPr>
                  <p:cNvSpPr>
                    <a:spLocks/>
                  </p:cNvSpPr>
                  <p:nvPr/>
                </p:nvSpPr>
                <p:spPr bwMode="gray">
                  <a:xfrm>
                    <a:off x="4883277" y="3800182"/>
                    <a:ext cx="78517" cy="86140"/>
                  </a:xfrm>
                  <a:custGeom>
                    <a:avLst/>
                    <a:gdLst>
                      <a:gd name="T0" fmla="*/ 33 w 51"/>
                      <a:gd name="T1" fmla="*/ 56 h 57"/>
                      <a:gd name="T2" fmla="*/ 33 w 51"/>
                      <a:gd name="T3" fmla="*/ 32 h 57"/>
                      <a:gd name="T4" fmla="*/ 41 w 51"/>
                      <a:gd name="T5" fmla="*/ 23 h 57"/>
                      <a:gd name="T6" fmla="*/ 50 w 51"/>
                      <a:gd name="T7" fmla="*/ 0 h 57"/>
                      <a:gd name="T8" fmla="*/ 25 w 51"/>
                      <a:gd name="T9" fmla="*/ 7 h 57"/>
                      <a:gd name="T10" fmla="*/ 33 w 51"/>
                      <a:gd name="T11" fmla="*/ 23 h 57"/>
                      <a:gd name="T12" fmla="*/ 25 w 51"/>
                      <a:gd name="T13" fmla="*/ 23 h 57"/>
                      <a:gd name="T14" fmla="*/ 25 w 51"/>
                      <a:gd name="T15" fmla="*/ 16 h 57"/>
                      <a:gd name="T16" fmla="*/ 16 w 51"/>
                      <a:gd name="T17" fmla="*/ 16 h 57"/>
                      <a:gd name="T18" fmla="*/ 0 w 51"/>
                      <a:gd name="T19" fmla="*/ 47 h 57"/>
                      <a:gd name="T20" fmla="*/ 25 w 51"/>
                      <a:gd name="T21" fmla="*/ 47 h 57"/>
                      <a:gd name="T22" fmla="*/ 33 w 51"/>
                      <a:gd name="T23"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grpFill/>
                  <a:ln w="3175" cap="rnd" cmpd="sng">
                    <a:solidFill>
                      <a:schemeClr val="bg1"/>
                    </a:solidFill>
                    <a:prstDash val="solid"/>
                    <a:round/>
                    <a:headEnd/>
                    <a:tailEnd/>
                  </a:ln>
                  <a:effectLst/>
                </p:spPr>
                <p:txBody>
                  <a:bodyPr/>
                  <a:lstStyle/>
                  <a:p>
                    <a:endParaRPr lang="en-US"/>
                  </a:p>
                </p:txBody>
              </p:sp>
              <p:sp>
                <p:nvSpPr>
                  <p:cNvPr id="1877" name="Freeform 118">
                    <a:extLst>
                      <a:ext uri="{FF2B5EF4-FFF2-40B4-BE49-F238E27FC236}">
                        <a16:creationId xmlns:a16="http://schemas.microsoft.com/office/drawing/2014/main" id="{4CB0D757-6B3D-DA08-F0CB-8276343788AD}"/>
                      </a:ext>
                    </a:extLst>
                  </p:cNvPr>
                  <p:cNvSpPr>
                    <a:spLocks/>
                  </p:cNvSpPr>
                  <p:nvPr/>
                </p:nvSpPr>
                <p:spPr bwMode="gray">
                  <a:xfrm>
                    <a:off x="4869118" y="3871119"/>
                    <a:ext cx="66933" cy="53203"/>
                  </a:xfrm>
                  <a:custGeom>
                    <a:avLst/>
                    <a:gdLst>
                      <a:gd name="T0" fmla="*/ 34 w 43"/>
                      <a:gd name="T1" fmla="*/ 34 h 35"/>
                      <a:gd name="T2" fmla="*/ 25 w 43"/>
                      <a:gd name="T3" fmla="*/ 34 h 35"/>
                      <a:gd name="T4" fmla="*/ 25 w 43"/>
                      <a:gd name="T5" fmla="*/ 25 h 35"/>
                      <a:gd name="T6" fmla="*/ 18 w 43"/>
                      <a:gd name="T7" fmla="*/ 25 h 35"/>
                      <a:gd name="T8" fmla="*/ 18 w 43"/>
                      <a:gd name="T9" fmla="*/ 17 h 35"/>
                      <a:gd name="T10" fmla="*/ 0 w 43"/>
                      <a:gd name="T11" fmla="*/ 9 h 35"/>
                      <a:gd name="T12" fmla="*/ 0 w 43"/>
                      <a:gd name="T13" fmla="*/ 0 h 35"/>
                      <a:gd name="T14" fmla="*/ 9 w 43"/>
                      <a:gd name="T15" fmla="*/ 0 h 35"/>
                      <a:gd name="T16" fmla="*/ 34 w 43"/>
                      <a:gd name="T17" fmla="*/ 0 h 35"/>
                      <a:gd name="T18" fmla="*/ 42 w 43"/>
                      <a:gd name="T19" fmla="*/ 9 h 35"/>
                      <a:gd name="T20" fmla="*/ 42 w 43"/>
                      <a:gd name="T21" fmla="*/ 25 h 35"/>
                      <a:gd name="T22" fmla="*/ 34 w 43"/>
                      <a:gd name="T23" fmla="*/ 25 h 35"/>
                      <a:gd name="T24" fmla="*/ 34 w 43"/>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grpFill/>
                  <a:ln w="3175" cap="rnd" cmpd="sng">
                    <a:solidFill>
                      <a:schemeClr val="bg1"/>
                    </a:solidFill>
                    <a:prstDash val="solid"/>
                    <a:round/>
                    <a:headEnd/>
                    <a:tailEnd/>
                  </a:ln>
                  <a:effectLst/>
                </p:spPr>
                <p:txBody>
                  <a:bodyPr/>
                  <a:lstStyle/>
                  <a:p>
                    <a:endParaRPr lang="en-US"/>
                  </a:p>
                </p:txBody>
              </p:sp>
              <p:sp>
                <p:nvSpPr>
                  <p:cNvPr id="1878" name="Freeform 119">
                    <a:extLst>
                      <a:ext uri="{FF2B5EF4-FFF2-40B4-BE49-F238E27FC236}">
                        <a16:creationId xmlns:a16="http://schemas.microsoft.com/office/drawing/2014/main" id="{B5575887-5727-7DF8-0510-EF86FF5A4CCA}"/>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3175" cap="rnd" cmpd="sng">
                    <a:solidFill>
                      <a:schemeClr val="bg1"/>
                    </a:solidFill>
                    <a:prstDash val="solid"/>
                    <a:round/>
                    <a:headEnd/>
                    <a:tailEnd/>
                  </a:ln>
                  <a:effectLst/>
                </p:spPr>
                <p:txBody>
                  <a:bodyPr/>
                  <a:lstStyle/>
                  <a:p>
                    <a:endParaRPr lang="en-US"/>
                  </a:p>
                </p:txBody>
              </p:sp>
              <p:sp>
                <p:nvSpPr>
                  <p:cNvPr id="1879" name="Freeform 120">
                    <a:extLst>
                      <a:ext uri="{FF2B5EF4-FFF2-40B4-BE49-F238E27FC236}">
                        <a16:creationId xmlns:a16="http://schemas.microsoft.com/office/drawing/2014/main" id="{2108D6FF-4780-920A-4176-E2801EA12A2E}"/>
                      </a:ext>
                    </a:extLst>
                  </p:cNvPr>
                  <p:cNvSpPr>
                    <a:spLocks/>
                  </p:cNvSpPr>
                  <p:nvPr/>
                </p:nvSpPr>
                <p:spPr bwMode="gray">
                  <a:xfrm>
                    <a:off x="4921892" y="3909123"/>
                    <a:ext cx="25743" cy="25335"/>
                  </a:xfrm>
                  <a:custGeom>
                    <a:avLst/>
                    <a:gdLst>
                      <a:gd name="T0" fmla="*/ 0 w 17"/>
                      <a:gd name="T1" fmla="*/ 16 h 17"/>
                      <a:gd name="T2" fmla="*/ 0 w 17"/>
                      <a:gd name="T3" fmla="*/ 0 h 17"/>
                      <a:gd name="T4" fmla="*/ 16 w 17"/>
                      <a:gd name="T5" fmla="*/ 0 h 17"/>
                      <a:gd name="T6" fmla="*/ 16 w 17"/>
                      <a:gd name="T7" fmla="*/ 16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0" y="0"/>
                        </a:lnTo>
                        <a:lnTo>
                          <a:pt x="16" y="0"/>
                        </a:lnTo>
                        <a:lnTo>
                          <a:pt x="16" y="16"/>
                        </a:lnTo>
                        <a:lnTo>
                          <a:pt x="0" y="1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80" name="Freeform 121">
                    <a:extLst>
                      <a:ext uri="{FF2B5EF4-FFF2-40B4-BE49-F238E27FC236}">
                        <a16:creationId xmlns:a16="http://schemas.microsoft.com/office/drawing/2014/main" id="{B4DF688E-DE84-6A4C-7C74-819402DF9334}"/>
                      </a:ext>
                    </a:extLst>
                  </p:cNvPr>
                  <p:cNvSpPr>
                    <a:spLocks/>
                  </p:cNvSpPr>
                  <p:nvPr/>
                </p:nvSpPr>
                <p:spPr bwMode="gray">
                  <a:xfrm>
                    <a:off x="5095661" y="3750778"/>
                    <a:ext cx="187928" cy="186214"/>
                  </a:xfrm>
                  <a:custGeom>
                    <a:avLst/>
                    <a:gdLst>
                      <a:gd name="T0" fmla="*/ 105 w 122"/>
                      <a:gd name="T1" fmla="*/ 122 h 123"/>
                      <a:gd name="T2" fmla="*/ 114 w 122"/>
                      <a:gd name="T3" fmla="*/ 105 h 123"/>
                      <a:gd name="T4" fmla="*/ 121 w 122"/>
                      <a:gd name="T5" fmla="*/ 97 h 123"/>
                      <a:gd name="T6" fmla="*/ 114 w 122"/>
                      <a:gd name="T7" fmla="*/ 56 h 123"/>
                      <a:gd name="T8" fmla="*/ 121 w 122"/>
                      <a:gd name="T9" fmla="*/ 40 h 123"/>
                      <a:gd name="T10" fmla="*/ 114 w 122"/>
                      <a:gd name="T11" fmla="*/ 25 h 123"/>
                      <a:gd name="T12" fmla="*/ 105 w 122"/>
                      <a:gd name="T13" fmla="*/ 15 h 123"/>
                      <a:gd name="T14" fmla="*/ 89 w 122"/>
                      <a:gd name="T15" fmla="*/ 15 h 123"/>
                      <a:gd name="T16" fmla="*/ 65 w 122"/>
                      <a:gd name="T17" fmla="*/ 9 h 123"/>
                      <a:gd name="T18" fmla="*/ 65 w 122"/>
                      <a:gd name="T19" fmla="*/ 15 h 123"/>
                      <a:gd name="T20" fmla="*/ 57 w 122"/>
                      <a:gd name="T21" fmla="*/ 15 h 123"/>
                      <a:gd name="T22" fmla="*/ 49 w 122"/>
                      <a:gd name="T23" fmla="*/ 0 h 123"/>
                      <a:gd name="T24" fmla="*/ 0 w 122"/>
                      <a:gd name="T25" fmla="*/ 25 h 123"/>
                      <a:gd name="T26" fmla="*/ 9 w 122"/>
                      <a:gd name="T27" fmla="*/ 80 h 123"/>
                      <a:gd name="T28" fmla="*/ 17 w 122"/>
                      <a:gd name="T29" fmla="*/ 89 h 123"/>
                      <a:gd name="T30" fmla="*/ 34 w 122"/>
                      <a:gd name="T31" fmla="*/ 97 h 123"/>
                      <a:gd name="T32" fmla="*/ 40 w 122"/>
                      <a:gd name="T33" fmla="*/ 97 h 123"/>
                      <a:gd name="T34" fmla="*/ 57 w 122"/>
                      <a:gd name="T35" fmla="*/ 114 h 123"/>
                      <a:gd name="T36" fmla="*/ 65 w 122"/>
                      <a:gd name="T37" fmla="*/ 114 h 123"/>
                      <a:gd name="T38" fmla="*/ 74 w 122"/>
                      <a:gd name="T39" fmla="*/ 122 h 123"/>
                      <a:gd name="T40" fmla="*/ 89 w 122"/>
                      <a:gd name="T41" fmla="*/ 114 h 123"/>
                      <a:gd name="T42" fmla="*/ 105 w 122"/>
                      <a:gd name="T43" fmla="*/ 12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81" name="Freeform 122">
                    <a:extLst>
                      <a:ext uri="{FF2B5EF4-FFF2-40B4-BE49-F238E27FC236}">
                        <a16:creationId xmlns:a16="http://schemas.microsoft.com/office/drawing/2014/main" id="{471B2550-9139-B81A-A2E2-F10B4E8DBF07}"/>
                      </a:ext>
                    </a:extLst>
                  </p:cNvPr>
                  <p:cNvSpPr>
                    <a:spLocks/>
                  </p:cNvSpPr>
                  <p:nvPr/>
                </p:nvSpPr>
                <p:spPr bwMode="gray">
                  <a:xfrm>
                    <a:off x="4934764" y="3750778"/>
                    <a:ext cx="176343" cy="234351"/>
                  </a:xfrm>
                  <a:custGeom>
                    <a:avLst/>
                    <a:gdLst>
                      <a:gd name="T0" fmla="*/ 64 w 115"/>
                      <a:gd name="T1" fmla="*/ 25 h 155"/>
                      <a:gd name="T2" fmla="*/ 97 w 115"/>
                      <a:gd name="T3" fmla="*/ 9 h 155"/>
                      <a:gd name="T4" fmla="*/ 97 w 115"/>
                      <a:gd name="T5" fmla="*/ 15 h 155"/>
                      <a:gd name="T6" fmla="*/ 89 w 115"/>
                      <a:gd name="T7" fmla="*/ 15 h 155"/>
                      <a:gd name="T8" fmla="*/ 105 w 115"/>
                      <a:gd name="T9" fmla="*/ 25 h 155"/>
                      <a:gd name="T10" fmla="*/ 114 w 115"/>
                      <a:gd name="T11" fmla="*/ 80 h 155"/>
                      <a:gd name="T12" fmla="*/ 105 w 115"/>
                      <a:gd name="T13" fmla="*/ 80 h 155"/>
                      <a:gd name="T14" fmla="*/ 89 w 115"/>
                      <a:gd name="T15" fmla="*/ 89 h 155"/>
                      <a:gd name="T16" fmla="*/ 73 w 115"/>
                      <a:gd name="T17" fmla="*/ 97 h 155"/>
                      <a:gd name="T18" fmla="*/ 82 w 115"/>
                      <a:gd name="T19" fmla="*/ 114 h 155"/>
                      <a:gd name="T20" fmla="*/ 97 w 115"/>
                      <a:gd name="T21" fmla="*/ 130 h 155"/>
                      <a:gd name="T22" fmla="*/ 89 w 115"/>
                      <a:gd name="T23" fmla="*/ 137 h 155"/>
                      <a:gd name="T24" fmla="*/ 89 w 115"/>
                      <a:gd name="T25" fmla="*/ 146 h 155"/>
                      <a:gd name="T26" fmla="*/ 57 w 115"/>
                      <a:gd name="T27" fmla="*/ 154 h 155"/>
                      <a:gd name="T28" fmla="*/ 42 w 115"/>
                      <a:gd name="T29" fmla="*/ 154 h 155"/>
                      <a:gd name="T30" fmla="*/ 17 w 115"/>
                      <a:gd name="T31" fmla="*/ 154 h 155"/>
                      <a:gd name="T32" fmla="*/ 23 w 115"/>
                      <a:gd name="T33" fmla="*/ 130 h 155"/>
                      <a:gd name="T34" fmla="*/ 0 w 115"/>
                      <a:gd name="T35" fmla="*/ 114 h 155"/>
                      <a:gd name="T36" fmla="*/ 0 w 115"/>
                      <a:gd name="T37" fmla="*/ 105 h 155"/>
                      <a:gd name="T38" fmla="*/ 0 w 115"/>
                      <a:gd name="T39" fmla="*/ 89 h 155"/>
                      <a:gd name="T40" fmla="*/ 0 w 115"/>
                      <a:gd name="T41" fmla="*/ 65 h 155"/>
                      <a:gd name="T42" fmla="*/ 8 w 115"/>
                      <a:gd name="T43" fmla="*/ 56 h 155"/>
                      <a:gd name="T44" fmla="*/ 17 w 115"/>
                      <a:gd name="T45" fmla="*/ 33 h 155"/>
                      <a:gd name="T46" fmla="*/ 32 w 115"/>
                      <a:gd name="T47" fmla="*/ 33 h 155"/>
                      <a:gd name="T48" fmla="*/ 42 w 115"/>
                      <a:gd name="T49" fmla="*/ 15 h 155"/>
                      <a:gd name="T50" fmla="*/ 32 w 115"/>
                      <a:gd name="T51" fmla="*/ 15 h 155"/>
                      <a:gd name="T52" fmla="*/ 42 w 115"/>
                      <a:gd name="T53" fmla="*/ 9 h 155"/>
                      <a:gd name="T54" fmla="*/ 32 w 115"/>
                      <a:gd name="T55" fmla="*/ 0 h 155"/>
                      <a:gd name="T56" fmla="*/ 42 w 115"/>
                      <a:gd name="T57" fmla="*/ 0 h 155"/>
                      <a:gd name="T58" fmla="*/ 48 w 115"/>
                      <a:gd name="T59" fmla="*/ 0 h 155"/>
                      <a:gd name="T60" fmla="*/ 48 w 115"/>
                      <a:gd name="T61" fmla="*/ 9 h 155"/>
                      <a:gd name="T62" fmla="*/ 64 w 115"/>
                      <a:gd name="T63" fmla="*/ 15 h 155"/>
                      <a:gd name="T64" fmla="*/ 57 w 115"/>
                      <a:gd name="T65" fmla="*/ 25 h 155"/>
                      <a:gd name="T66" fmla="*/ 64 w 115"/>
                      <a:gd name="T67"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grpFill/>
                  <a:ln w="3175" cap="rnd" cmpd="sng">
                    <a:solidFill>
                      <a:schemeClr val="bg1"/>
                    </a:solidFill>
                    <a:prstDash val="solid"/>
                    <a:round/>
                    <a:headEnd/>
                    <a:tailEnd/>
                  </a:ln>
                  <a:effectLst/>
                </p:spPr>
                <p:txBody>
                  <a:bodyPr/>
                  <a:lstStyle/>
                  <a:p>
                    <a:endParaRPr lang="en-US"/>
                  </a:p>
                </p:txBody>
              </p:sp>
              <p:sp>
                <p:nvSpPr>
                  <p:cNvPr id="1882" name="Freeform 123">
                    <a:extLst>
                      <a:ext uri="{FF2B5EF4-FFF2-40B4-BE49-F238E27FC236}">
                        <a16:creationId xmlns:a16="http://schemas.microsoft.com/office/drawing/2014/main" id="{624DF464-B295-E623-E206-E1E5B7EB3D87}"/>
                      </a:ext>
                    </a:extLst>
                  </p:cNvPr>
                  <p:cNvSpPr>
                    <a:spLocks/>
                  </p:cNvSpPr>
                  <p:nvPr/>
                </p:nvSpPr>
                <p:spPr bwMode="gray">
                  <a:xfrm>
                    <a:off x="4999122" y="3934458"/>
                    <a:ext cx="150599" cy="74739"/>
                  </a:xfrm>
                  <a:custGeom>
                    <a:avLst/>
                    <a:gdLst>
                      <a:gd name="T0" fmla="*/ 0 w 98"/>
                      <a:gd name="T1" fmla="*/ 32 h 49"/>
                      <a:gd name="T2" fmla="*/ 15 w 98"/>
                      <a:gd name="T3" fmla="*/ 32 h 49"/>
                      <a:gd name="T4" fmla="*/ 47 w 98"/>
                      <a:gd name="T5" fmla="*/ 24 h 49"/>
                      <a:gd name="T6" fmla="*/ 47 w 98"/>
                      <a:gd name="T7" fmla="*/ 15 h 49"/>
                      <a:gd name="T8" fmla="*/ 55 w 98"/>
                      <a:gd name="T9" fmla="*/ 8 h 49"/>
                      <a:gd name="T10" fmla="*/ 72 w 98"/>
                      <a:gd name="T11" fmla="*/ 8 h 49"/>
                      <a:gd name="T12" fmla="*/ 72 w 98"/>
                      <a:gd name="T13" fmla="*/ 0 h 49"/>
                      <a:gd name="T14" fmla="*/ 97 w 98"/>
                      <a:gd name="T15" fmla="*/ 8 h 49"/>
                      <a:gd name="T16" fmla="*/ 97 w 98"/>
                      <a:gd name="T17" fmla="*/ 24 h 49"/>
                      <a:gd name="T18" fmla="*/ 87 w 98"/>
                      <a:gd name="T19" fmla="*/ 40 h 49"/>
                      <a:gd name="T20" fmla="*/ 55 w 98"/>
                      <a:gd name="T21" fmla="*/ 48 h 49"/>
                      <a:gd name="T22" fmla="*/ 40 w 98"/>
                      <a:gd name="T23" fmla="*/ 40 h 49"/>
                      <a:gd name="T24" fmla="*/ 15 w 98"/>
                      <a:gd name="T25" fmla="*/ 40 h 49"/>
                      <a:gd name="T26" fmla="*/ 6 w 98"/>
                      <a:gd name="T27" fmla="*/ 40 h 49"/>
                      <a:gd name="T28" fmla="*/ 0 w 98"/>
                      <a:gd name="T29"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83" name="Line 124">
                    <a:extLst>
                      <a:ext uri="{FF2B5EF4-FFF2-40B4-BE49-F238E27FC236}">
                        <a16:creationId xmlns:a16="http://schemas.microsoft.com/office/drawing/2014/main" id="{3F2E4F30-04D2-ADCF-5EAB-23D82A826E37}"/>
                      </a:ext>
                    </a:extLst>
                  </p:cNvPr>
                  <p:cNvSpPr>
                    <a:spLocks noChangeShapeType="1"/>
                  </p:cNvSpPr>
                  <p:nvPr/>
                </p:nvSpPr>
                <p:spPr bwMode="gray">
                  <a:xfrm flipH="1" flipV="1">
                    <a:off x="4999122" y="3983862"/>
                    <a:ext cx="9010" cy="11401"/>
                  </a:xfrm>
                  <a:prstGeom prst="line">
                    <a:avLst/>
                  </a:prstGeom>
                  <a:grp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884" name="Freeform 125">
                    <a:extLst>
                      <a:ext uri="{FF2B5EF4-FFF2-40B4-BE49-F238E27FC236}">
                        <a16:creationId xmlns:a16="http://schemas.microsoft.com/office/drawing/2014/main" id="{4198B7FC-E113-3F60-854B-FD86FF3847CF}"/>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85" name="Line 126">
                    <a:extLst>
                      <a:ext uri="{FF2B5EF4-FFF2-40B4-BE49-F238E27FC236}">
                        <a16:creationId xmlns:a16="http://schemas.microsoft.com/office/drawing/2014/main" id="{322AA166-02BD-E0E4-7D91-D44A27210E04}"/>
                      </a:ext>
                    </a:extLst>
                  </p:cNvPr>
                  <p:cNvSpPr>
                    <a:spLocks noChangeShapeType="1"/>
                  </p:cNvSpPr>
                  <p:nvPr/>
                </p:nvSpPr>
                <p:spPr bwMode="gray">
                  <a:xfrm flipH="1" flipV="1">
                    <a:off x="4999122" y="3983862"/>
                    <a:ext cx="9010" cy="11401"/>
                  </a:xfrm>
                  <a:prstGeom prst="line">
                    <a:avLst/>
                  </a:prstGeom>
                  <a:grp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886" name="Freeform 127">
                    <a:extLst>
                      <a:ext uri="{FF2B5EF4-FFF2-40B4-BE49-F238E27FC236}">
                        <a16:creationId xmlns:a16="http://schemas.microsoft.com/office/drawing/2014/main" id="{DBD6BD6B-B41B-3952-F6A7-57783579C669}"/>
                      </a:ext>
                    </a:extLst>
                  </p:cNvPr>
                  <p:cNvSpPr>
                    <a:spLocks/>
                  </p:cNvSpPr>
                  <p:nvPr/>
                </p:nvSpPr>
                <p:spPr bwMode="gray">
                  <a:xfrm>
                    <a:off x="4999122" y="3983862"/>
                    <a:ext cx="25743" cy="25335"/>
                  </a:xfrm>
                  <a:custGeom>
                    <a:avLst/>
                    <a:gdLst>
                      <a:gd name="T0" fmla="*/ 16 w 17"/>
                      <a:gd name="T1" fmla="*/ 16 h 17"/>
                      <a:gd name="T2" fmla="*/ 0 w 17"/>
                      <a:gd name="T3" fmla="*/ 0 h 17"/>
                      <a:gd name="T4" fmla="*/ 16 w 17"/>
                      <a:gd name="T5" fmla="*/ 16 h 17"/>
                    </a:gdLst>
                    <a:ahLst/>
                    <a:cxnLst>
                      <a:cxn ang="0">
                        <a:pos x="T0" y="T1"/>
                      </a:cxn>
                      <a:cxn ang="0">
                        <a:pos x="T2" y="T3"/>
                      </a:cxn>
                      <a:cxn ang="0">
                        <a:pos x="T4" y="T5"/>
                      </a:cxn>
                    </a:cxnLst>
                    <a:rect l="0" t="0" r="r" b="b"/>
                    <a:pathLst>
                      <a:path w="17" h="17">
                        <a:moveTo>
                          <a:pt x="16" y="16"/>
                        </a:moveTo>
                        <a:lnTo>
                          <a:pt x="0" y="0"/>
                        </a:lnTo>
                        <a:lnTo>
                          <a:pt x="16" y="1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87" name="Freeform 128">
                    <a:extLst>
                      <a:ext uri="{FF2B5EF4-FFF2-40B4-BE49-F238E27FC236}">
                        <a16:creationId xmlns:a16="http://schemas.microsoft.com/office/drawing/2014/main" id="{C89A2229-F009-1B95-2524-E4D02E8DC7C8}"/>
                      </a:ext>
                    </a:extLst>
                  </p:cNvPr>
                  <p:cNvSpPr>
                    <a:spLocks/>
                  </p:cNvSpPr>
                  <p:nvPr/>
                </p:nvSpPr>
                <p:spPr bwMode="gray">
                  <a:xfrm>
                    <a:off x="4934764" y="3983862"/>
                    <a:ext cx="88815" cy="49404"/>
                  </a:xfrm>
                  <a:custGeom>
                    <a:avLst/>
                    <a:gdLst>
                      <a:gd name="T0" fmla="*/ 17 w 58"/>
                      <a:gd name="T1" fmla="*/ 32 h 33"/>
                      <a:gd name="T2" fmla="*/ 32 w 58"/>
                      <a:gd name="T3" fmla="*/ 23 h 33"/>
                      <a:gd name="T4" fmla="*/ 42 w 58"/>
                      <a:gd name="T5" fmla="*/ 23 h 33"/>
                      <a:gd name="T6" fmla="*/ 42 w 58"/>
                      <a:gd name="T7" fmla="*/ 16 h 33"/>
                      <a:gd name="T8" fmla="*/ 48 w 58"/>
                      <a:gd name="T9" fmla="*/ 23 h 33"/>
                      <a:gd name="T10" fmla="*/ 57 w 58"/>
                      <a:gd name="T11" fmla="*/ 8 h 33"/>
                      <a:gd name="T12" fmla="*/ 48 w 58"/>
                      <a:gd name="T13" fmla="*/ 8 h 33"/>
                      <a:gd name="T14" fmla="*/ 42 w 58"/>
                      <a:gd name="T15" fmla="*/ 0 h 33"/>
                      <a:gd name="T16" fmla="*/ 17 w 58"/>
                      <a:gd name="T17" fmla="*/ 0 h 33"/>
                      <a:gd name="T18" fmla="*/ 8 w 58"/>
                      <a:gd name="T19" fmla="*/ 0 h 33"/>
                      <a:gd name="T20" fmla="*/ 0 w 58"/>
                      <a:gd name="T21" fmla="*/ 16 h 33"/>
                      <a:gd name="T22" fmla="*/ 0 w 58"/>
                      <a:gd name="T23" fmla="*/ 23 h 33"/>
                      <a:gd name="T24" fmla="*/ 8 w 58"/>
                      <a:gd name="T25" fmla="*/ 16 h 33"/>
                      <a:gd name="T26" fmla="*/ 8 w 58"/>
                      <a:gd name="T27" fmla="*/ 32 h 33"/>
                      <a:gd name="T28" fmla="*/ 17 w 58"/>
                      <a:gd name="T29"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grpFill/>
                  <a:ln w="3175" cap="rnd" cmpd="sng">
                    <a:solidFill>
                      <a:schemeClr val="bg1"/>
                    </a:solidFill>
                    <a:prstDash val="solid"/>
                    <a:round/>
                    <a:headEnd/>
                    <a:tailEnd/>
                  </a:ln>
                  <a:effectLst/>
                </p:spPr>
                <p:txBody>
                  <a:bodyPr/>
                  <a:lstStyle/>
                  <a:p>
                    <a:endParaRPr lang="en-US"/>
                  </a:p>
                </p:txBody>
              </p:sp>
              <p:sp>
                <p:nvSpPr>
                  <p:cNvPr id="1888" name="Freeform 129">
                    <a:extLst>
                      <a:ext uri="{FF2B5EF4-FFF2-40B4-BE49-F238E27FC236}">
                        <a16:creationId xmlns:a16="http://schemas.microsoft.com/office/drawing/2014/main" id="{D67CFF2F-0659-DC18-9512-8B8BD9027582}"/>
                      </a:ext>
                    </a:extLst>
                  </p:cNvPr>
                  <p:cNvSpPr>
                    <a:spLocks/>
                  </p:cNvSpPr>
                  <p:nvPr/>
                </p:nvSpPr>
                <p:spPr bwMode="gray">
                  <a:xfrm>
                    <a:off x="4719806" y="3871119"/>
                    <a:ext cx="250999" cy="247018"/>
                  </a:xfrm>
                  <a:custGeom>
                    <a:avLst/>
                    <a:gdLst>
                      <a:gd name="T0" fmla="*/ 97 w 163"/>
                      <a:gd name="T1" fmla="*/ 0 h 163"/>
                      <a:gd name="T2" fmla="*/ 82 w 163"/>
                      <a:gd name="T3" fmla="*/ 9 h 163"/>
                      <a:gd name="T4" fmla="*/ 82 w 163"/>
                      <a:gd name="T5" fmla="*/ 25 h 163"/>
                      <a:gd name="T6" fmla="*/ 66 w 163"/>
                      <a:gd name="T7" fmla="*/ 34 h 163"/>
                      <a:gd name="T8" fmla="*/ 57 w 163"/>
                      <a:gd name="T9" fmla="*/ 42 h 163"/>
                      <a:gd name="T10" fmla="*/ 50 w 163"/>
                      <a:gd name="T11" fmla="*/ 42 h 163"/>
                      <a:gd name="T12" fmla="*/ 42 w 163"/>
                      <a:gd name="T13" fmla="*/ 34 h 163"/>
                      <a:gd name="T14" fmla="*/ 34 w 163"/>
                      <a:gd name="T15" fmla="*/ 34 h 163"/>
                      <a:gd name="T16" fmla="*/ 42 w 163"/>
                      <a:gd name="T17" fmla="*/ 50 h 163"/>
                      <a:gd name="T18" fmla="*/ 25 w 163"/>
                      <a:gd name="T19" fmla="*/ 57 h 163"/>
                      <a:gd name="T20" fmla="*/ 25 w 163"/>
                      <a:gd name="T21" fmla="*/ 50 h 163"/>
                      <a:gd name="T22" fmla="*/ 0 w 163"/>
                      <a:gd name="T23" fmla="*/ 57 h 163"/>
                      <a:gd name="T24" fmla="*/ 0 w 163"/>
                      <a:gd name="T25" fmla="*/ 66 h 163"/>
                      <a:gd name="T26" fmla="*/ 34 w 163"/>
                      <a:gd name="T27" fmla="*/ 74 h 163"/>
                      <a:gd name="T28" fmla="*/ 50 w 163"/>
                      <a:gd name="T29" fmla="*/ 97 h 163"/>
                      <a:gd name="T30" fmla="*/ 50 w 163"/>
                      <a:gd name="T31" fmla="*/ 106 h 163"/>
                      <a:gd name="T32" fmla="*/ 42 w 163"/>
                      <a:gd name="T33" fmla="*/ 147 h 163"/>
                      <a:gd name="T34" fmla="*/ 57 w 163"/>
                      <a:gd name="T35" fmla="*/ 156 h 163"/>
                      <a:gd name="T36" fmla="*/ 97 w 163"/>
                      <a:gd name="T37" fmla="*/ 162 h 163"/>
                      <a:gd name="T38" fmla="*/ 97 w 163"/>
                      <a:gd name="T39" fmla="*/ 156 h 163"/>
                      <a:gd name="T40" fmla="*/ 115 w 163"/>
                      <a:gd name="T41" fmla="*/ 147 h 163"/>
                      <a:gd name="T42" fmla="*/ 139 w 163"/>
                      <a:gd name="T43" fmla="*/ 156 h 163"/>
                      <a:gd name="T44" fmla="*/ 147 w 163"/>
                      <a:gd name="T45" fmla="*/ 156 h 163"/>
                      <a:gd name="T46" fmla="*/ 156 w 163"/>
                      <a:gd name="T47" fmla="*/ 137 h 163"/>
                      <a:gd name="T48" fmla="*/ 147 w 163"/>
                      <a:gd name="T49" fmla="*/ 122 h 163"/>
                      <a:gd name="T50" fmla="*/ 147 w 163"/>
                      <a:gd name="T51" fmla="*/ 106 h 163"/>
                      <a:gd name="T52" fmla="*/ 147 w 163"/>
                      <a:gd name="T53" fmla="*/ 90 h 163"/>
                      <a:gd name="T54" fmla="*/ 139 w 163"/>
                      <a:gd name="T55" fmla="*/ 97 h 163"/>
                      <a:gd name="T56" fmla="*/ 139 w 163"/>
                      <a:gd name="T57" fmla="*/ 90 h 163"/>
                      <a:gd name="T58" fmla="*/ 147 w 163"/>
                      <a:gd name="T59" fmla="*/ 74 h 163"/>
                      <a:gd name="T60" fmla="*/ 156 w 163"/>
                      <a:gd name="T61" fmla="*/ 74 h 163"/>
                      <a:gd name="T62" fmla="*/ 162 w 163"/>
                      <a:gd name="T63" fmla="*/ 50 h 163"/>
                      <a:gd name="T64" fmla="*/ 139 w 163"/>
                      <a:gd name="T65" fmla="*/ 34 h 163"/>
                      <a:gd name="T66" fmla="*/ 131 w 163"/>
                      <a:gd name="T67" fmla="*/ 34 h 163"/>
                      <a:gd name="T68" fmla="*/ 122 w 163"/>
                      <a:gd name="T69" fmla="*/ 34 h 163"/>
                      <a:gd name="T70" fmla="*/ 122 w 163"/>
                      <a:gd name="T71" fmla="*/ 25 h 163"/>
                      <a:gd name="T72" fmla="*/ 115 w 163"/>
                      <a:gd name="T73" fmla="*/ 25 h 163"/>
                      <a:gd name="T74" fmla="*/ 115 w 163"/>
                      <a:gd name="T75" fmla="*/ 17 h 163"/>
                      <a:gd name="T76" fmla="*/ 97 w 163"/>
                      <a:gd name="T77" fmla="*/ 9 h 163"/>
                      <a:gd name="T78" fmla="*/ 97 w 163"/>
                      <a:gd name="T79"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grpFill/>
                  <a:ln w="3175" cap="rnd" cmpd="sng">
                    <a:solidFill>
                      <a:schemeClr val="bg1"/>
                    </a:solidFill>
                    <a:prstDash val="solid"/>
                    <a:round/>
                    <a:headEnd/>
                    <a:tailEnd/>
                  </a:ln>
                  <a:effectLst/>
                </p:spPr>
                <p:txBody>
                  <a:bodyPr/>
                  <a:lstStyle/>
                  <a:p>
                    <a:endParaRPr lang="en-US"/>
                  </a:p>
                </p:txBody>
              </p:sp>
              <p:sp>
                <p:nvSpPr>
                  <p:cNvPr id="1889" name="Freeform 130">
                    <a:extLst>
                      <a:ext uri="{FF2B5EF4-FFF2-40B4-BE49-F238E27FC236}">
                        <a16:creationId xmlns:a16="http://schemas.microsoft.com/office/drawing/2014/main" id="{0CB001A3-488A-9AFC-8002-6D9DE64DEF25}"/>
                      </a:ext>
                    </a:extLst>
                  </p:cNvPr>
                  <p:cNvSpPr>
                    <a:spLocks/>
                  </p:cNvSpPr>
                  <p:nvPr/>
                </p:nvSpPr>
                <p:spPr bwMode="gray">
                  <a:xfrm>
                    <a:off x="4636140" y="4078868"/>
                    <a:ext cx="235553" cy="200148"/>
                  </a:xfrm>
                  <a:custGeom>
                    <a:avLst/>
                    <a:gdLst>
                      <a:gd name="T0" fmla="*/ 7 w 153"/>
                      <a:gd name="T1" fmla="*/ 34 h 132"/>
                      <a:gd name="T2" fmla="*/ 40 w 153"/>
                      <a:gd name="T3" fmla="*/ 34 h 132"/>
                      <a:gd name="T4" fmla="*/ 40 w 153"/>
                      <a:gd name="T5" fmla="*/ 42 h 132"/>
                      <a:gd name="T6" fmla="*/ 31 w 153"/>
                      <a:gd name="T7" fmla="*/ 50 h 132"/>
                      <a:gd name="T8" fmla="*/ 31 w 153"/>
                      <a:gd name="T9" fmla="*/ 66 h 132"/>
                      <a:gd name="T10" fmla="*/ 24 w 153"/>
                      <a:gd name="T11" fmla="*/ 75 h 132"/>
                      <a:gd name="T12" fmla="*/ 31 w 153"/>
                      <a:gd name="T13" fmla="*/ 99 h 132"/>
                      <a:gd name="T14" fmla="*/ 24 w 153"/>
                      <a:gd name="T15" fmla="*/ 115 h 132"/>
                      <a:gd name="T16" fmla="*/ 49 w 153"/>
                      <a:gd name="T17" fmla="*/ 131 h 132"/>
                      <a:gd name="T18" fmla="*/ 55 w 153"/>
                      <a:gd name="T19" fmla="*/ 124 h 132"/>
                      <a:gd name="T20" fmla="*/ 89 w 153"/>
                      <a:gd name="T21" fmla="*/ 124 h 132"/>
                      <a:gd name="T22" fmla="*/ 121 w 153"/>
                      <a:gd name="T23" fmla="*/ 91 h 132"/>
                      <a:gd name="T24" fmla="*/ 112 w 153"/>
                      <a:gd name="T25" fmla="*/ 75 h 132"/>
                      <a:gd name="T26" fmla="*/ 129 w 153"/>
                      <a:gd name="T27" fmla="*/ 50 h 132"/>
                      <a:gd name="T28" fmla="*/ 152 w 153"/>
                      <a:gd name="T29" fmla="*/ 34 h 132"/>
                      <a:gd name="T30" fmla="*/ 152 w 153"/>
                      <a:gd name="T31" fmla="*/ 25 h 132"/>
                      <a:gd name="T32" fmla="*/ 112 w 153"/>
                      <a:gd name="T33" fmla="*/ 19 h 132"/>
                      <a:gd name="T34" fmla="*/ 97 w 153"/>
                      <a:gd name="T35" fmla="*/ 10 h 132"/>
                      <a:gd name="T36" fmla="*/ 89 w 153"/>
                      <a:gd name="T37" fmla="*/ 10 h 132"/>
                      <a:gd name="T38" fmla="*/ 72 w 153"/>
                      <a:gd name="T39" fmla="*/ 10 h 132"/>
                      <a:gd name="T40" fmla="*/ 64 w 153"/>
                      <a:gd name="T41" fmla="*/ 10 h 132"/>
                      <a:gd name="T42" fmla="*/ 15 w 153"/>
                      <a:gd name="T43" fmla="*/ 0 h 132"/>
                      <a:gd name="T44" fmla="*/ 7 w 153"/>
                      <a:gd name="T45" fmla="*/ 10 h 132"/>
                      <a:gd name="T46" fmla="*/ 0 w 153"/>
                      <a:gd name="T47" fmla="*/ 10 h 132"/>
                      <a:gd name="T48" fmla="*/ 0 w 153"/>
                      <a:gd name="T49" fmla="*/ 19 h 132"/>
                      <a:gd name="T50" fmla="*/ 7 w 153"/>
                      <a:gd name="T51" fmla="*/ 3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90" name="Freeform 131">
                    <a:extLst>
                      <a:ext uri="{FF2B5EF4-FFF2-40B4-BE49-F238E27FC236}">
                        <a16:creationId xmlns:a16="http://schemas.microsoft.com/office/drawing/2014/main" id="{78225669-BD38-ABDD-1B86-1FE5B6D2EA04}"/>
                      </a:ext>
                    </a:extLst>
                  </p:cNvPr>
                  <p:cNvSpPr>
                    <a:spLocks/>
                  </p:cNvSpPr>
                  <p:nvPr/>
                </p:nvSpPr>
                <p:spPr bwMode="gray">
                  <a:xfrm>
                    <a:off x="4636140" y="4130805"/>
                    <a:ext cx="63072" cy="124142"/>
                  </a:xfrm>
                  <a:custGeom>
                    <a:avLst/>
                    <a:gdLst>
                      <a:gd name="T0" fmla="*/ 24 w 41"/>
                      <a:gd name="T1" fmla="*/ 81 h 82"/>
                      <a:gd name="T2" fmla="*/ 31 w 41"/>
                      <a:gd name="T3" fmla="*/ 65 h 82"/>
                      <a:gd name="T4" fmla="*/ 24 w 41"/>
                      <a:gd name="T5" fmla="*/ 41 h 82"/>
                      <a:gd name="T6" fmla="*/ 31 w 41"/>
                      <a:gd name="T7" fmla="*/ 32 h 82"/>
                      <a:gd name="T8" fmla="*/ 31 w 41"/>
                      <a:gd name="T9" fmla="*/ 16 h 82"/>
                      <a:gd name="T10" fmla="*/ 40 w 41"/>
                      <a:gd name="T11" fmla="*/ 8 h 82"/>
                      <a:gd name="T12" fmla="*/ 40 w 41"/>
                      <a:gd name="T13" fmla="*/ 0 h 82"/>
                      <a:gd name="T14" fmla="*/ 7 w 41"/>
                      <a:gd name="T15" fmla="*/ 0 h 82"/>
                      <a:gd name="T16" fmla="*/ 7 w 41"/>
                      <a:gd name="T17" fmla="*/ 16 h 82"/>
                      <a:gd name="T18" fmla="*/ 0 w 41"/>
                      <a:gd name="T19" fmla="*/ 57 h 82"/>
                      <a:gd name="T20" fmla="*/ 7 w 41"/>
                      <a:gd name="T21" fmla="*/ 57 h 82"/>
                      <a:gd name="T22" fmla="*/ 0 w 41"/>
                      <a:gd name="T23" fmla="*/ 81 h 82"/>
                      <a:gd name="T24" fmla="*/ 24 w 41"/>
                      <a:gd name="T25" fmla="*/ 8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grpFill/>
                  <a:ln w="3175" cap="rnd" cmpd="sng">
                    <a:solidFill>
                      <a:schemeClr val="bg1"/>
                    </a:solidFill>
                    <a:prstDash val="solid"/>
                    <a:round/>
                    <a:headEnd/>
                    <a:tailEnd/>
                  </a:ln>
                  <a:effectLst/>
                </p:spPr>
                <p:txBody>
                  <a:bodyPr/>
                  <a:lstStyle/>
                  <a:p>
                    <a:endParaRPr lang="en-US"/>
                  </a:p>
                </p:txBody>
              </p:sp>
              <p:sp>
                <p:nvSpPr>
                  <p:cNvPr id="1891" name="Freeform 132">
                    <a:extLst>
                      <a:ext uri="{FF2B5EF4-FFF2-40B4-BE49-F238E27FC236}">
                        <a16:creationId xmlns:a16="http://schemas.microsoft.com/office/drawing/2014/main" id="{317FAA4B-266B-29F7-9B5B-F121B0C52FA5}"/>
                      </a:ext>
                    </a:extLst>
                  </p:cNvPr>
                  <p:cNvSpPr>
                    <a:spLocks/>
                  </p:cNvSpPr>
                  <p:nvPr/>
                </p:nvSpPr>
                <p:spPr bwMode="gray">
                  <a:xfrm>
                    <a:off x="4946348" y="3995262"/>
                    <a:ext cx="238127" cy="235617"/>
                  </a:xfrm>
                  <a:custGeom>
                    <a:avLst/>
                    <a:gdLst>
                      <a:gd name="T0" fmla="*/ 9 w 155"/>
                      <a:gd name="T1" fmla="*/ 55 h 155"/>
                      <a:gd name="T2" fmla="*/ 24 w 155"/>
                      <a:gd name="T3" fmla="*/ 49 h 155"/>
                      <a:gd name="T4" fmla="*/ 40 w 155"/>
                      <a:gd name="T5" fmla="*/ 55 h 155"/>
                      <a:gd name="T6" fmla="*/ 56 w 155"/>
                      <a:gd name="T7" fmla="*/ 80 h 155"/>
                      <a:gd name="T8" fmla="*/ 65 w 155"/>
                      <a:gd name="T9" fmla="*/ 80 h 155"/>
                      <a:gd name="T10" fmla="*/ 74 w 155"/>
                      <a:gd name="T11" fmla="*/ 97 h 155"/>
                      <a:gd name="T12" fmla="*/ 89 w 155"/>
                      <a:gd name="T13" fmla="*/ 105 h 155"/>
                      <a:gd name="T14" fmla="*/ 106 w 155"/>
                      <a:gd name="T15" fmla="*/ 121 h 155"/>
                      <a:gd name="T16" fmla="*/ 114 w 155"/>
                      <a:gd name="T17" fmla="*/ 121 h 155"/>
                      <a:gd name="T18" fmla="*/ 121 w 155"/>
                      <a:gd name="T19" fmla="*/ 146 h 155"/>
                      <a:gd name="T20" fmla="*/ 114 w 155"/>
                      <a:gd name="T21" fmla="*/ 154 h 155"/>
                      <a:gd name="T22" fmla="*/ 121 w 155"/>
                      <a:gd name="T23" fmla="*/ 154 h 155"/>
                      <a:gd name="T24" fmla="*/ 131 w 155"/>
                      <a:gd name="T25" fmla="*/ 146 h 155"/>
                      <a:gd name="T26" fmla="*/ 131 w 155"/>
                      <a:gd name="T27" fmla="*/ 137 h 155"/>
                      <a:gd name="T28" fmla="*/ 131 w 155"/>
                      <a:gd name="T29" fmla="*/ 130 h 155"/>
                      <a:gd name="T30" fmla="*/ 131 w 155"/>
                      <a:gd name="T31" fmla="*/ 114 h 155"/>
                      <a:gd name="T32" fmla="*/ 146 w 155"/>
                      <a:gd name="T33" fmla="*/ 130 h 155"/>
                      <a:gd name="T34" fmla="*/ 154 w 155"/>
                      <a:gd name="T35" fmla="*/ 121 h 155"/>
                      <a:gd name="T36" fmla="*/ 114 w 155"/>
                      <a:gd name="T37" fmla="*/ 97 h 155"/>
                      <a:gd name="T38" fmla="*/ 121 w 155"/>
                      <a:gd name="T39" fmla="*/ 89 h 155"/>
                      <a:gd name="T40" fmla="*/ 114 w 155"/>
                      <a:gd name="T41" fmla="*/ 89 h 155"/>
                      <a:gd name="T42" fmla="*/ 97 w 155"/>
                      <a:gd name="T43" fmla="*/ 80 h 155"/>
                      <a:gd name="T44" fmla="*/ 89 w 155"/>
                      <a:gd name="T45" fmla="*/ 65 h 155"/>
                      <a:gd name="T46" fmla="*/ 74 w 155"/>
                      <a:gd name="T47" fmla="*/ 49 h 155"/>
                      <a:gd name="T48" fmla="*/ 74 w 155"/>
                      <a:gd name="T49" fmla="*/ 24 h 155"/>
                      <a:gd name="T50" fmla="*/ 89 w 155"/>
                      <a:gd name="T51" fmla="*/ 24 h 155"/>
                      <a:gd name="T52" fmla="*/ 89 w 155"/>
                      <a:gd name="T53" fmla="*/ 15 h 155"/>
                      <a:gd name="T54" fmla="*/ 89 w 155"/>
                      <a:gd name="T55" fmla="*/ 8 h 155"/>
                      <a:gd name="T56" fmla="*/ 74 w 155"/>
                      <a:gd name="T57" fmla="*/ 0 h 155"/>
                      <a:gd name="T58" fmla="*/ 49 w 155"/>
                      <a:gd name="T59" fmla="*/ 0 h 155"/>
                      <a:gd name="T60" fmla="*/ 40 w 155"/>
                      <a:gd name="T61" fmla="*/ 15 h 155"/>
                      <a:gd name="T62" fmla="*/ 34 w 155"/>
                      <a:gd name="T63" fmla="*/ 8 h 155"/>
                      <a:gd name="T64" fmla="*/ 34 w 155"/>
                      <a:gd name="T65" fmla="*/ 15 h 155"/>
                      <a:gd name="T66" fmla="*/ 24 w 155"/>
                      <a:gd name="T67" fmla="*/ 15 h 155"/>
                      <a:gd name="T68" fmla="*/ 9 w 155"/>
                      <a:gd name="T69" fmla="*/ 24 h 155"/>
                      <a:gd name="T70" fmla="*/ 0 w 155"/>
                      <a:gd name="T71" fmla="*/ 24 h 155"/>
                      <a:gd name="T72" fmla="*/ 0 w 155"/>
                      <a:gd name="T73" fmla="*/ 40 h 155"/>
                      <a:gd name="T74" fmla="*/ 9 w 155"/>
                      <a:gd name="T75"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grpFill/>
                  <a:ln w="3175" cap="rnd" cmpd="sng">
                    <a:solidFill>
                      <a:schemeClr val="bg1"/>
                    </a:solidFill>
                    <a:prstDash val="solid"/>
                    <a:round/>
                    <a:headEnd/>
                    <a:tailEnd/>
                  </a:ln>
                  <a:effectLst/>
                </p:spPr>
                <p:txBody>
                  <a:bodyPr/>
                  <a:lstStyle/>
                  <a:p>
                    <a:endParaRPr lang="en-US"/>
                  </a:p>
                </p:txBody>
              </p:sp>
              <p:sp>
                <p:nvSpPr>
                  <p:cNvPr id="1892" name="Freeform 134">
                    <a:extLst>
                      <a:ext uri="{FF2B5EF4-FFF2-40B4-BE49-F238E27FC236}">
                        <a16:creationId xmlns:a16="http://schemas.microsoft.com/office/drawing/2014/main" id="{21F33D8D-12E2-9E0B-2EFE-5E1CD294B05B}"/>
                      </a:ext>
                    </a:extLst>
                  </p:cNvPr>
                  <p:cNvSpPr>
                    <a:spLocks/>
                  </p:cNvSpPr>
                  <p:nvPr/>
                </p:nvSpPr>
                <p:spPr bwMode="gray">
                  <a:xfrm>
                    <a:off x="5208932" y="4142207"/>
                    <a:ext cx="124856" cy="100074"/>
                  </a:xfrm>
                  <a:custGeom>
                    <a:avLst/>
                    <a:gdLst>
                      <a:gd name="T0" fmla="*/ 15 w 81"/>
                      <a:gd name="T1" fmla="*/ 8 h 66"/>
                      <a:gd name="T2" fmla="*/ 40 w 81"/>
                      <a:gd name="T3" fmla="*/ 0 h 66"/>
                      <a:gd name="T4" fmla="*/ 55 w 81"/>
                      <a:gd name="T5" fmla="*/ 0 h 66"/>
                      <a:gd name="T6" fmla="*/ 72 w 81"/>
                      <a:gd name="T7" fmla="*/ 8 h 66"/>
                      <a:gd name="T8" fmla="*/ 80 w 81"/>
                      <a:gd name="T9" fmla="*/ 0 h 66"/>
                      <a:gd name="T10" fmla="*/ 72 w 81"/>
                      <a:gd name="T11" fmla="*/ 17 h 66"/>
                      <a:gd name="T12" fmla="*/ 55 w 81"/>
                      <a:gd name="T13" fmla="*/ 8 h 66"/>
                      <a:gd name="T14" fmla="*/ 47 w 81"/>
                      <a:gd name="T15" fmla="*/ 17 h 66"/>
                      <a:gd name="T16" fmla="*/ 47 w 81"/>
                      <a:gd name="T17" fmla="*/ 24 h 66"/>
                      <a:gd name="T18" fmla="*/ 40 w 81"/>
                      <a:gd name="T19" fmla="*/ 24 h 66"/>
                      <a:gd name="T20" fmla="*/ 31 w 81"/>
                      <a:gd name="T21" fmla="*/ 17 h 66"/>
                      <a:gd name="T22" fmla="*/ 31 w 81"/>
                      <a:gd name="T23" fmla="*/ 24 h 66"/>
                      <a:gd name="T24" fmla="*/ 40 w 81"/>
                      <a:gd name="T25" fmla="*/ 40 h 66"/>
                      <a:gd name="T26" fmla="*/ 55 w 81"/>
                      <a:gd name="T27" fmla="*/ 57 h 66"/>
                      <a:gd name="T28" fmla="*/ 47 w 81"/>
                      <a:gd name="T29" fmla="*/ 57 h 66"/>
                      <a:gd name="T30" fmla="*/ 47 w 81"/>
                      <a:gd name="T31" fmla="*/ 65 h 66"/>
                      <a:gd name="T32" fmla="*/ 31 w 81"/>
                      <a:gd name="T33" fmla="*/ 57 h 66"/>
                      <a:gd name="T34" fmla="*/ 15 w 81"/>
                      <a:gd name="T35" fmla="*/ 57 h 66"/>
                      <a:gd name="T36" fmla="*/ 0 w 81"/>
                      <a:gd name="T37" fmla="*/ 33 h 66"/>
                      <a:gd name="T38" fmla="*/ 15 w 81"/>
                      <a:gd name="T39" fmla="*/ 17 h 66"/>
                      <a:gd name="T40" fmla="*/ 15 w 81"/>
                      <a:gd name="T41"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93" name="Freeform 167">
                    <a:extLst>
                      <a:ext uri="{FF2B5EF4-FFF2-40B4-BE49-F238E27FC236}">
                        <a16:creationId xmlns:a16="http://schemas.microsoft.com/office/drawing/2014/main" id="{2C7A6F94-0147-9079-EACC-C078A0CE2173}"/>
                      </a:ext>
                    </a:extLst>
                  </p:cNvPr>
                  <p:cNvSpPr>
                    <a:spLocks/>
                  </p:cNvSpPr>
                  <p:nvPr/>
                </p:nvSpPr>
                <p:spPr bwMode="gray">
                  <a:xfrm>
                    <a:off x="7017410" y="2818443"/>
                    <a:ext cx="28318" cy="38002"/>
                  </a:xfrm>
                  <a:custGeom>
                    <a:avLst/>
                    <a:gdLst>
                      <a:gd name="T0" fmla="*/ 17 w 18"/>
                      <a:gd name="T1" fmla="*/ 24 h 25"/>
                      <a:gd name="T2" fmla="*/ 17 w 18"/>
                      <a:gd name="T3" fmla="*/ 8 h 25"/>
                      <a:gd name="T4" fmla="*/ 0 w 18"/>
                      <a:gd name="T5" fmla="*/ 0 h 25"/>
                      <a:gd name="T6" fmla="*/ 0 w 18"/>
                      <a:gd name="T7" fmla="*/ 8 h 25"/>
                      <a:gd name="T8" fmla="*/ 17 w 18"/>
                      <a:gd name="T9" fmla="*/ 24 h 25"/>
                    </a:gdLst>
                    <a:ahLst/>
                    <a:cxnLst>
                      <a:cxn ang="0">
                        <a:pos x="T0" y="T1"/>
                      </a:cxn>
                      <a:cxn ang="0">
                        <a:pos x="T2" y="T3"/>
                      </a:cxn>
                      <a:cxn ang="0">
                        <a:pos x="T4" y="T5"/>
                      </a:cxn>
                      <a:cxn ang="0">
                        <a:pos x="T6" y="T7"/>
                      </a:cxn>
                      <a:cxn ang="0">
                        <a:pos x="T8" y="T9"/>
                      </a:cxn>
                    </a:cxnLst>
                    <a:rect l="0" t="0" r="r" b="b"/>
                    <a:pathLst>
                      <a:path w="18" h="25">
                        <a:moveTo>
                          <a:pt x="17" y="24"/>
                        </a:moveTo>
                        <a:lnTo>
                          <a:pt x="17" y="8"/>
                        </a:lnTo>
                        <a:lnTo>
                          <a:pt x="0" y="0"/>
                        </a:lnTo>
                        <a:lnTo>
                          <a:pt x="0" y="8"/>
                        </a:lnTo>
                        <a:lnTo>
                          <a:pt x="17" y="24"/>
                        </a:lnTo>
                      </a:path>
                    </a:pathLst>
                  </a:custGeom>
                  <a:grpFill/>
                  <a:ln w="3175" cap="rnd" cmpd="sng">
                    <a:solidFill>
                      <a:schemeClr val="bg1"/>
                    </a:solidFill>
                    <a:prstDash val="solid"/>
                    <a:round/>
                    <a:headEnd/>
                    <a:tailEnd/>
                  </a:ln>
                  <a:effectLst/>
                </p:spPr>
                <p:txBody>
                  <a:bodyPr/>
                  <a:lstStyle/>
                  <a:p>
                    <a:endParaRPr lang="en-US"/>
                  </a:p>
                </p:txBody>
              </p:sp>
              <p:sp>
                <p:nvSpPr>
                  <p:cNvPr id="1894" name="Freeform 205">
                    <a:extLst>
                      <a:ext uri="{FF2B5EF4-FFF2-40B4-BE49-F238E27FC236}">
                        <a16:creationId xmlns:a16="http://schemas.microsoft.com/office/drawing/2014/main" id="{C4E71586-851E-7277-1FA0-1A6CAB79956E}"/>
                      </a:ext>
                    </a:extLst>
                  </p:cNvPr>
                  <p:cNvSpPr>
                    <a:spLocks/>
                  </p:cNvSpPr>
                  <p:nvPr/>
                </p:nvSpPr>
                <p:spPr bwMode="gray">
                  <a:xfrm>
                    <a:off x="6767698" y="2389011"/>
                    <a:ext cx="115845" cy="148211"/>
                  </a:xfrm>
                  <a:custGeom>
                    <a:avLst/>
                    <a:gdLst>
                      <a:gd name="T0" fmla="*/ 0 w 75"/>
                      <a:gd name="T1" fmla="*/ 97 h 98"/>
                      <a:gd name="T2" fmla="*/ 25 w 75"/>
                      <a:gd name="T3" fmla="*/ 90 h 98"/>
                      <a:gd name="T4" fmla="*/ 49 w 75"/>
                      <a:gd name="T5" fmla="*/ 90 h 98"/>
                      <a:gd name="T6" fmla="*/ 74 w 75"/>
                      <a:gd name="T7" fmla="*/ 72 h 98"/>
                      <a:gd name="T8" fmla="*/ 74 w 75"/>
                      <a:gd name="T9" fmla="*/ 40 h 98"/>
                      <a:gd name="T10" fmla="*/ 40 w 75"/>
                      <a:gd name="T11" fmla="*/ 0 h 98"/>
                      <a:gd name="T12" fmla="*/ 25 w 75"/>
                      <a:gd name="T13" fmla="*/ 16 h 98"/>
                      <a:gd name="T14" fmla="*/ 0 w 75"/>
                      <a:gd name="T15" fmla="*/ 97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98">
                        <a:moveTo>
                          <a:pt x="0" y="97"/>
                        </a:moveTo>
                        <a:lnTo>
                          <a:pt x="25" y="90"/>
                        </a:lnTo>
                        <a:lnTo>
                          <a:pt x="49" y="90"/>
                        </a:lnTo>
                        <a:lnTo>
                          <a:pt x="74" y="72"/>
                        </a:lnTo>
                        <a:lnTo>
                          <a:pt x="74" y="40"/>
                        </a:lnTo>
                        <a:lnTo>
                          <a:pt x="40" y="0"/>
                        </a:lnTo>
                        <a:lnTo>
                          <a:pt x="25" y="16"/>
                        </a:lnTo>
                        <a:lnTo>
                          <a:pt x="0" y="97"/>
                        </a:lnTo>
                      </a:path>
                    </a:pathLst>
                  </a:custGeom>
                  <a:grpFill/>
                  <a:ln w="3175" cap="rnd" cmpd="sng">
                    <a:solidFill>
                      <a:schemeClr val="bg1"/>
                    </a:solidFill>
                    <a:prstDash val="solid"/>
                    <a:round/>
                    <a:headEnd/>
                    <a:tailEnd/>
                  </a:ln>
                  <a:effectLst/>
                </p:spPr>
                <p:txBody>
                  <a:bodyPr/>
                  <a:lstStyle/>
                  <a:p>
                    <a:endParaRPr lang="en-US"/>
                  </a:p>
                </p:txBody>
              </p:sp>
              <p:sp>
                <p:nvSpPr>
                  <p:cNvPr id="1895" name="Freeform 206">
                    <a:extLst>
                      <a:ext uri="{FF2B5EF4-FFF2-40B4-BE49-F238E27FC236}">
                        <a16:creationId xmlns:a16="http://schemas.microsoft.com/office/drawing/2014/main" id="{C907A7E5-6970-528B-B7E0-E7BFC7D1E565}"/>
                      </a:ext>
                    </a:extLst>
                  </p:cNvPr>
                  <p:cNvSpPr>
                    <a:spLocks/>
                  </p:cNvSpPr>
                  <p:nvPr/>
                </p:nvSpPr>
                <p:spPr bwMode="gray">
                  <a:xfrm>
                    <a:off x="6606802" y="2181263"/>
                    <a:ext cx="187928" cy="285021"/>
                  </a:xfrm>
                  <a:custGeom>
                    <a:avLst/>
                    <a:gdLst>
                      <a:gd name="T0" fmla="*/ 0 w 122"/>
                      <a:gd name="T1" fmla="*/ 97 h 188"/>
                      <a:gd name="T2" fmla="*/ 8 w 122"/>
                      <a:gd name="T3" fmla="*/ 122 h 188"/>
                      <a:gd name="T4" fmla="*/ 40 w 122"/>
                      <a:gd name="T5" fmla="*/ 137 h 188"/>
                      <a:gd name="T6" fmla="*/ 49 w 122"/>
                      <a:gd name="T7" fmla="*/ 162 h 188"/>
                      <a:gd name="T8" fmla="*/ 98 w 122"/>
                      <a:gd name="T9" fmla="*/ 187 h 188"/>
                      <a:gd name="T10" fmla="*/ 114 w 122"/>
                      <a:gd name="T11" fmla="*/ 177 h 188"/>
                      <a:gd name="T12" fmla="*/ 114 w 122"/>
                      <a:gd name="T13" fmla="*/ 153 h 188"/>
                      <a:gd name="T14" fmla="*/ 121 w 122"/>
                      <a:gd name="T15" fmla="*/ 122 h 188"/>
                      <a:gd name="T16" fmla="*/ 105 w 122"/>
                      <a:gd name="T17" fmla="*/ 97 h 188"/>
                      <a:gd name="T18" fmla="*/ 80 w 122"/>
                      <a:gd name="T19" fmla="*/ 88 h 188"/>
                      <a:gd name="T20" fmla="*/ 80 w 122"/>
                      <a:gd name="T21" fmla="*/ 65 h 188"/>
                      <a:gd name="T22" fmla="*/ 80 w 122"/>
                      <a:gd name="T23" fmla="*/ 40 h 188"/>
                      <a:gd name="T24" fmla="*/ 56 w 122"/>
                      <a:gd name="T25" fmla="*/ 0 h 188"/>
                      <a:gd name="T26" fmla="*/ 33 w 122"/>
                      <a:gd name="T27" fmla="*/ 32 h 188"/>
                      <a:gd name="T28" fmla="*/ 25 w 122"/>
                      <a:gd name="T29" fmla="*/ 65 h 188"/>
                      <a:gd name="T30" fmla="*/ 0 w 122"/>
                      <a:gd name="T31" fmla="*/ 9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896" name="Freeform 207">
                    <a:extLst>
                      <a:ext uri="{FF2B5EF4-FFF2-40B4-BE49-F238E27FC236}">
                        <a16:creationId xmlns:a16="http://schemas.microsoft.com/office/drawing/2014/main" id="{1E0AB387-4D28-C22D-9F5F-6354D00A3D18}"/>
                      </a:ext>
                    </a:extLst>
                  </p:cNvPr>
                  <p:cNvSpPr>
                    <a:spLocks/>
                  </p:cNvSpPr>
                  <p:nvPr/>
                </p:nvSpPr>
                <p:spPr bwMode="gray">
                  <a:xfrm>
                    <a:off x="5920739" y="2158461"/>
                    <a:ext cx="175056" cy="158345"/>
                  </a:xfrm>
                  <a:custGeom>
                    <a:avLst/>
                    <a:gdLst>
                      <a:gd name="T0" fmla="*/ 0 w 114"/>
                      <a:gd name="T1" fmla="*/ 103 h 104"/>
                      <a:gd name="T2" fmla="*/ 25 w 114"/>
                      <a:gd name="T3" fmla="*/ 103 h 104"/>
                      <a:gd name="T4" fmla="*/ 41 w 114"/>
                      <a:gd name="T5" fmla="*/ 80 h 104"/>
                      <a:gd name="T6" fmla="*/ 73 w 114"/>
                      <a:gd name="T7" fmla="*/ 87 h 104"/>
                      <a:gd name="T8" fmla="*/ 81 w 114"/>
                      <a:gd name="T9" fmla="*/ 80 h 104"/>
                      <a:gd name="T10" fmla="*/ 81 w 114"/>
                      <a:gd name="T11" fmla="*/ 47 h 104"/>
                      <a:gd name="T12" fmla="*/ 97 w 114"/>
                      <a:gd name="T13" fmla="*/ 47 h 104"/>
                      <a:gd name="T14" fmla="*/ 113 w 114"/>
                      <a:gd name="T15" fmla="*/ 40 h 104"/>
                      <a:gd name="T16" fmla="*/ 106 w 114"/>
                      <a:gd name="T17" fmla="*/ 0 h 104"/>
                      <a:gd name="T18" fmla="*/ 88 w 114"/>
                      <a:gd name="T19" fmla="*/ 22 h 104"/>
                      <a:gd name="T20" fmla="*/ 81 w 114"/>
                      <a:gd name="T21" fmla="*/ 47 h 104"/>
                      <a:gd name="T22" fmla="*/ 48 w 114"/>
                      <a:gd name="T23" fmla="*/ 55 h 104"/>
                      <a:gd name="T24" fmla="*/ 41 w 114"/>
                      <a:gd name="T25" fmla="*/ 80 h 104"/>
                      <a:gd name="T26" fmla="*/ 16 w 114"/>
                      <a:gd name="T27" fmla="*/ 80 h 104"/>
                      <a:gd name="T28" fmla="*/ 0 w 114"/>
                      <a:gd name="T29" fmla="*/ 103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grpFill/>
                  <a:ln w="3175" cap="rnd" cmpd="sng">
                    <a:solidFill>
                      <a:schemeClr val="bg1"/>
                    </a:solidFill>
                    <a:prstDash val="solid"/>
                    <a:round/>
                    <a:headEnd/>
                    <a:tailEnd/>
                  </a:ln>
                  <a:effectLst/>
                </p:spPr>
                <p:txBody>
                  <a:bodyPr/>
                  <a:lstStyle/>
                  <a:p>
                    <a:endParaRPr lang="en-US"/>
                  </a:p>
                </p:txBody>
              </p:sp>
              <p:sp>
                <p:nvSpPr>
                  <p:cNvPr id="1897" name="Freeform 208">
                    <a:extLst>
                      <a:ext uri="{FF2B5EF4-FFF2-40B4-BE49-F238E27FC236}">
                        <a16:creationId xmlns:a16="http://schemas.microsoft.com/office/drawing/2014/main" id="{E46EF7A4-AF98-81C7-8FA8-3B94928D6377}"/>
                      </a:ext>
                    </a:extLst>
                  </p:cNvPr>
                  <p:cNvSpPr>
                    <a:spLocks/>
                  </p:cNvSpPr>
                  <p:nvPr/>
                </p:nvSpPr>
                <p:spPr bwMode="gray">
                  <a:xfrm>
                    <a:off x="5883411" y="2120458"/>
                    <a:ext cx="87528" cy="135544"/>
                  </a:xfrm>
                  <a:custGeom>
                    <a:avLst/>
                    <a:gdLst>
                      <a:gd name="T0" fmla="*/ 0 w 57"/>
                      <a:gd name="T1" fmla="*/ 80 h 89"/>
                      <a:gd name="T2" fmla="*/ 24 w 57"/>
                      <a:gd name="T3" fmla="*/ 88 h 89"/>
                      <a:gd name="T4" fmla="*/ 56 w 57"/>
                      <a:gd name="T5" fmla="*/ 80 h 89"/>
                      <a:gd name="T6" fmla="*/ 49 w 57"/>
                      <a:gd name="T7" fmla="*/ 65 h 89"/>
                      <a:gd name="T8" fmla="*/ 56 w 57"/>
                      <a:gd name="T9" fmla="*/ 31 h 89"/>
                      <a:gd name="T10" fmla="*/ 56 w 57"/>
                      <a:gd name="T11" fmla="*/ 0 h 89"/>
                      <a:gd name="T12" fmla="*/ 32 w 57"/>
                      <a:gd name="T13" fmla="*/ 25 h 89"/>
                      <a:gd name="T14" fmla="*/ 32 w 57"/>
                      <a:gd name="T15" fmla="*/ 56 h 89"/>
                      <a:gd name="T16" fmla="*/ 7 w 57"/>
                      <a:gd name="T17" fmla="*/ 56 h 89"/>
                      <a:gd name="T18" fmla="*/ 0 w 57"/>
                      <a:gd name="T19" fmla="*/ 8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grpFill/>
                  <a:ln w="3175" cap="rnd" cmpd="sng">
                    <a:solidFill>
                      <a:schemeClr val="bg1"/>
                    </a:solidFill>
                    <a:prstDash val="solid"/>
                    <a:round/>
                    <a:headEnd/>
                    <a:tailEnd/>
                  </a:ln>
                  <a:effectLst/>
                </p:spPr>
                <p:txBody>
                  <a:bodyPr/>
                  <a:lstStyle/>
                  <a:p>
                    <a:endParaRPr lang="en-US"/>
                  </a:p>
                </p:txBody>
              </p:sp>
              <p:sp>
                <p:nvSpPr>
                  <p:cNvPr id="1898" name="Freeform 209">
                    <a:extLst>
                      <a:ext uri="{FF2B5EF4-FFF2-40B4-BE49-F238E27FC236}">
                        <a16:creationId xmlns:a16="http://schemas.microsoft.com/office/drawing/2014/main" id="{67E457B9-BE65-B658-689B-E35B9AEE38D9}"/>
                      </a:ext>
                    </a:extLst>
                  </p:cNvPr>
                  <p:cNvSpPr>
                    <a:spLocks/>
                  </p:cNvSpPr>
                  <p:nvPr/>
                </p:nvSpPr>
                <p:spPr bwMode="gray">
                  <a:xfrm>
                    <a:off x="5858954" y="2280069"/>
                    <a:ext cx="37328" cy="25335"/>
                  </a:xfrm>
                  <a:custGeom>
                    <a:avLst/>
                    <a:gdLst>
                      <a:gd name="T0" fmla="*/ 0 w 24"/>
                      <a:gd name="T1" fmla="*/ 16 h 17"/>
                      <a:gd name="T2" fmla="*/ 23 w 24"/>
                      <a:gd name="T3" fmla="*/ 16 h 17"/>
                      <a:gd name="T4" fmla="*/ 16 w 24"/>
                      <a:gd name="T5" fmla="*/ 0 h 17"/>
                      <a:gd name="T6" fmla="*/ 0 w 24"/>
                      <a:gd name="T7" fmla="*/ 16 h 17"/>
                    </a:gdLst>
                    <a:ahLst/>
                    <a:cxnLst>
                      <a:cxn ang="0">
                        <a:pos x="T0" y="T1"/>
                      </a:cxn>
                      <a:cxn ang="0">
                        <a:pos x="T2" y="T3"/>
                      </a:cxn>
                      <a:cxn ang="0">
                        <a:pos x="T4" y="T5"/>
                      </a:cxn>
                      <a:cxn ang="0">
                        <a:pos x="T6" y="T7"/>
                      </a:cxn>
                    </a:cxnLst>
                    <a:rect l="0" t="0" r="r" b="b"/>
                    <a:pathLst>
                      <a:path w="24" h="17">
                        <a:moveTo>
                          <a:pt x="0" y="16"/>
                        </a:moveTo>
                        <a:lnTo>
                          <a:pt x="23" y="16"/>
                        </a:lnTo>
                        <a:lnTo>
                          <a:pt x="16" y="0"/>
                        </a:lnTo>
                        <a:lnTo>
                          <a:pt x="0" y="16"/>
                        </a:lnTo>
                      </a:path>
                    </a:pathLst>
                  </a:custGeom>
                  <a:grpFill/>
                  <a:ln w="3175" cap="rnd" cmpd="sng">
                    <a:solidFill>
                      <a:schemeClr val="bg1"/>
                    </a:solidFill>
                    <a:prstDash val="solid"/>
                    <a:round/>
                    <a:headEnd/>
                    <a:tailEnd/>
                  </a:ln>
                  <a:effectLst/>
                </p:spPr>
                <p:txBody>
                  <a:bodyPr/>
                  <a:lstStyle/>
                  <a:p>
                    <a:endParaRPr lang="en-US"/>
                  </a:p>
                </p:txBody>
              </p:sp>
              <p:sp>
                <p:nvSpPr>
                  <p:cNvPr id="1899" name="Freeform 210">
                    <a:extLst>
                      <a:ext uri="{FF2B5EF4-FFF2-40B4-BE49-F238E27FC236}">
                        <a16:creationId xmlns:a16="http://schemas.microsoft.com/office/drawing/2014/main" id="{3ACEBDB6-30F8-81A6-846C-7400267AAECE}"/>
                      </a:ext>
                    </a:extLst>
                  </p:cNvPr>
                  <p:cNvSpPr>
                    <a:spLocks/>
                  </p:cNvSpPr>
                  <p:nvPr/>
                </p:nvSpPr>
                <p:spPr bwMode="gray">
                  <a:xfrm>
                    <a:off x="5695483" y="2229400"/>
                    <a:ext cx="127430" cy="100074"/>
                  </a:xfrm>
                  <a:custGeom>
                    <a:avLst/>
                    <a:gdLst>
                      <a:gd name="T0" fmla="*/ 0 w 83"/>
                      <a:gd name="T1" fmla="*/ 24 h 66"/>
                      <a:gd name="T2" fmla="*/ 16 w 83"/>
                      <a:gd name="T3" fmla="*/ 33 h 66"/>
                      <a:gd name="T4" fmla="*/ 32 w 83"/>
                      <a:gd name="T5" fmla="*/ 33 h 66"/>
                      <a:gd name="T6" fmla="*/ 32 w 83"/>
                      <a:gd name="T7" fmla="*/ 56 h 66"/>
                      <a:gd name="T8" fmla="*/ 48 w 83"/>
                      <a:gd name="T9" fmla="*/ 65 h 66"/>
                      <a:gd name="T10" fmla="*/ 65 w 83"/>
                      <a:gd name="T11" fmla="*/ 56 h 66"/>
                      <a:gd name="T12" fmla="*/ 65 w 83"/>
                      <a:gd name="T13" fmla="*/ 40 h 66"/>
                      <a:gd name="T14" fmla="*/ 82 w 83"/>
                      <a:gd name="T15" fmla="*/ 16 h 66"/>
                      <a:gd name="T16" fmla="*/ 72 w 83"/>
                      <a:gd name="T17" fmla="*/ 8 h 66"/>
                      <a:gd name="T18" fmla="*/ 40 w 83"/>
                      <a:gd name="T19" fmla="*/ 24 h 66"/>
                      <a:gd name="T20" fmla="*/ 40 w 83"/>
                      <a:gd name="T21" fmla="*/ 8 h 66"/>
                      <a:gd name="T22" fmla="*/ 32 w 83"/>
                      <a:gd name="T23" fmla="*/ 0 h 66"/>
                      <a:gd name="T24" fmla="*/ 0 w 83"/>
                      <a:gd name="T25" fmla="*/ 2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grpFill/>
                  <a:ln w="3175" cap="rnd" cmpd="sng">
                    <a:solidFill>
                      <a:schemeClr val="bg1"/>
                    </a:solidFill>
                    <a:prstDash val="solid"/>
                    <a:round/>
                    <a:headEnd/>
                    <a:tailEnd/>
                  </a:ln>
                  <a:effectLst/>
                </p:spPr>
                <p:txBody>
                  <a:bodyPr/>
                  <a:lstStyle/>
                  <a:p>
                    <a:endParaRPr lang="en-US"/>
                  </a:p>
                </p:txBody>
              </p:sp>
              <p:sp>
                <p:nvSpPr>
                  <p:cNvPr id="1900" name="Freeform 211">
                    <a:extLst>
                      <a:ext uri="{FF2B5EF4-FFF2-40B4-BE49-F238E27FC236}">
                        <a16:creationId xmlns:a16="http://schemas.microsoft.com/office/drawing/2014/main" id="{616DDE69-67F2-1113-7493-F91AF1FB310E}"/>
                      </a:ext>
                    </a:extLst>
                  </p:cNvPr>
                  <p:cNvSpPr>
                    <a:spLocks/>
                  </p:cNvSpPr>
                  <p:nvPr/>
                </p:nvSpPr>
                <p:spPr bwMode="gray">
                  <a:xfrm>
                    <a:off x="5032589" y="2280069"/>
                    <a:ext cx="315358" cy="393962"/>
                  </a:xfrm>
                  <a:custGeom>
                    <a:avLst/>
                    <a:gdLst>
                      <a:gd name="T0" fmla="*/ 0 w 205"/>
                      <a:gd name="T1" fmla="*/ 57 h 260"/>
                      <a:gd name="T2" fmla="*/ 9 w 205"/>
                      <a:gd name="T3" fmla="*/ 122 h 260"/>
                      <a:gd name="T4" fmla="*/ 25 w 205"/>
                      <a:gd name="T5" fmla="*/ 153 h 260"/>
                      <a:gd name="T6" fmla="*/ 50 w 205"/>
                      <a:gd name="T7" fmla="*/ 153 h 260"/>
                      <a:gd name="T8" fmla="*/ 33 w 205"/>
                      <a:gd name="T9" fmla="*/ 169 h 260"/>
                      <a:gd name="T10" fmla="*/ 41 w 205"/>
                      <a:gd name="T11" fmla="*/ 202 h 260"/>
                      <a:gd name="T12" fmla="*/ 75 w 205"/>
                      <a:gd name="T13" fmla="*/ 259 h 260"/>
                      <a:gd name="T14" fmla="*/ 106 w 205"/>
                      <a:gd name="T15" fmla="*/ 144 h 260"/>
                      <a:gd name="T16" fmla="*/ 115 w 205"/>
                      <a:gd name="T17" fmla="*/ 128 h 260"/>
                      <a:gd name="T18" fmla="*/ 121 w 205"/>
                      <a:gd name="T19" fmla="*/ 153 h 260"/>
                      <a:gd name="T20" fmla="*/ 139 w 205"/>
                      <a:gd name="T21" fmla="*/ 169 h 260"/>
                      <a:gd name="T22" fmla="*/ 121 w 205"/>
                      <a:gd name="T23" fmla="*/ 202 h 260"/>
                      <a:gd name="T24" fmla="*/ 146 w 205"/>
                      <a:gd name="T25" fmla="*/ 209 h 260"/>
                      <a:gd name="T26" fmla="*/ 180 w 205"/>
                      <a:gd name="T27" fmla="*/ 186 h 260"/>
                      <a:gd name="T28" fmla="*/ 155 w 205"/>
                      <a:gd name="T29" fmla="*/ 162 h 260"/>
                      <a:gd name="T30" fmla="*/ 130 w 205"/>
                      <a:gd name="T31" fmla="*/ 112 h 260"/>
                      <a:gd name="T32" fmla="*/ 106 w 205"/>
                      <a:gd name="T33" fmla="*/ 97 h 260"/>
                      <a:gd name="T34" fmla="*/ 98 w 205"/>
                      <a:gd name="T35" fmla="*/ 57 h 260"/>
                      <a:gd name="T36" fmla="*/ 130 w 205"/>
                      <a:gd name="T37" fmla="*/ 81 h 260"/>
                      <a:gd name="T38" fmla="*/ 162 w 205"/>
                      <a:gd name="T39" fmla="*/ 97 h 260"/>
                      <a:gd name="T40" fmla="*/ 187 w 205"/>
                      <a:gd name="T41" fmla="*/ 72 h 260"/>
                      <a:gd name="T42" fmla="*/ 204 w 205"/>
                      <a:gd name="T43" fmla="*/ 40 h 260"/>
                      <a:gd name="T44" fmla="*/ 204 w 205"/>
                      <a:gd name="T45" fmla="*/ 23 h 260"/>
                      <a:gd name="T46" fmla="*/ 155 w 205"/>
                      <a:gd name="T47" fmla="*/ 0 h 260"/>
                      <a:gd name="T48" fmla="*/ 130 w 205"/>
                      <a:gd name="T49" fmla="*/ 23 h 260"/>
                      <a:gd name="T50" fmla="*/ 115 w 205"/>
                      <a:gd name="T51" fmla="*/ 0 h 260"/>
                      <a:gd name="T52" fmla="*/ 90 w 205"/>
                      <a:gd name="T53" fmla="*/ 15 h 260"/>
                      <a:gd name="T54" fmla="*/ 90 w 205"/>
                      <a:gd name="T55" fmla="*/ 40 h 260"/>
                      <a:gd name="T56" fmla="*/ 65 w 205"/>
                      <a:gd name="T57" fmla="*/ 32 h 260"/>
                      <a:gd name="T58" fmla="*/ 58 w 205"/>
                      <a:gd name="T59" fmla="*/ 57 h 260"/>
                      <a:gd name="T60" fmla="*/ 33 w 205"/>
                      <a:gd name="T61" fmla="*/ 48 h 260"/>
                      <a:gd name="T62" fmla="*/ 0 w 205"/>
                      <a:gd name="T63" fmla="*/ 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01" name="Freeform 227">
                    <a:extLst>
                      <a:ext uri="{FF2B5EF4-FFF2-40B4-BE49-F238E27FC236}">
                        <a16:creationId xmlns:a16="http://schemas.microsoft.com/office/drawing/2014/main" id="{E23E2119-F7C2-8119-1CA9-AA8CBC1153BC}"/>
                      </a:ext>
                    </a:extLst>
                  </p:cNvPr>
                  <p:cNvSpPr>
                    <a:spLocks/>
                  </p:cNvSpPr>
                  <p:nvPr/>
                </p:nvSpPr>
                <p:spPr bwMode="gray">
                  <a:xfrm>
                    <a:off x="8528552" y="3418887"/>
                    <a:ext cx="39902" cy="26602"/>
                  </a:xfrm>
                  <a:custGeom>
                    <a:avLst/>
                    <a:gdLst>
                      <a:gd name="T0" fmla="*/ 0 w 26"/>
                      <a:gd name="T1" fmla="*/ 0 h 18"/>
                      <a:gd name="T2" fmla="*/ 9 w 26"/>
                      <a:gd name="T3" fmla="*/ 0 h 18"/>
                      <a:gd name="T4" fmla="*/ 25 w 26"/>
                      <a:gd name="T5" fmla="*/ 8 h 18"/>
                      <a:gd name="T6" fmla="*/ 25 w 26"/>
                      <a:gd name="T7" fmla="*/ 17 h 18"/>
                      <a:gd name="T8" fmla="*/ 9 w 26"/>
                      <a:gd name="T9" fmla="*/ 8 h 18"/>
                      <a:gd name="T10" fmla="*/ 0 w 26"/>
                      <a:gd name="T11" fmla="*/ 8 h 18"/>
                      <a:gd name="T12" fmla="*/ 0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0" y="0"/>
                        </a:moveTo>
                        <a:lnTo>
                          <a:pt x="9" y="0"/>
                        </a:lnTo>
                        <a:lnTo>
                          <a:pt x="25" y="8"/>
                        </a:lnTo>
                        <a:lnTo>
                          <a:pt x="25" y="17"/>
                        </a:lnTo>
                        <a:lnTo>
                          <a:pt x="9" y="8"/>
                        </a:lnTo>
                        <a:lnTo>
                          <a:pt x="0" y="8"/>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02" name="Freeform 236">
                    <a:extLst>
                      <a:ext uri="{FF2B5EF4-FFF2-40B4-BE49-F238E27FC236}">
                        <a16:creationId xmlns:a16="http://schemas.microsoft.com/office/drawing/2014/main" id="{BBA9249F-2DC8-788E-4464-944E43896061}"/>
                      </a:ext>
                    </a:extLst>
                  </p:cNvPr>
                  <p:cNvSpPr>
                    <a:spLocks/>
                  </p:cNvSpPr>
                  <p:nvPr/>
                </p:nvSpPr>
                <p:spPr bwMode="gray">
                  <a:xfrm>
                    <a:off x="4333654" y="3283343"/>
                    <a:ext cx="212384" cy="149477"/>
                  </a:xfrm>
                  <a:custGeom>
                    <a:avLst/>
                    <a:gdLst>
                      <a:gd name="T0" fmla="*/ 0 w 138"/>
                      <a:gd name="T1" fmla="*/ 32 h 98"/>
                      <a:gd name="T2" fmla="*/ 9 w 138"/>
                      <a:gd name="T3" fmla="*/ 41 h 98"/>
                      <a:gd name="T4" fmla="*/ 25 w 138"/>
                      <a:gd name="T5" fmla="*/ 32 h 98"/>
                      <a:gd name="T6" fmla="*/ 34 w 138"/>
                      <a:gd name="T7" fmla="*/ 41 h 98"/>
                      <a:gd name="T8" fmla="*/ 9 w 138"/>
                      <a:gd name="T9" fmla="*/ 56 h 98"/>
                      <a:gd name="T10" fmla="*/ 25 w 138"/>
                      <a:gd name="T11" fmla="*/ 56 h 98"/>
                      <a:gd name="T12" fmla="*/ 34 w 138"/>
                      <a:gd name="T13" fmla="*/ 74 h 98"/>
                      <a:gd name="T14" fmla="*/ 25 w 138"/>
                      <a:gd name="T15" fmla="*/ 81 h 98"/>
                      <a:gd name="T16" fmla="*/ 41 w 138"/>
                      <a:gd name="T17" fmla="*/ 81 h 98"/>
                      <a:gd name="T18" fmla="*/ 74 w 138"/>
                      <a:gd name="T19" fmla="*/ 97 h 98"/>
                      <a:gd name="T20" fmla="*/ 131 w 138"/>
                      <a:gd name="T21" fmla="*/ 65 h 98"/>
                      <a:gd name="T22" fmla="*/ 137 w 138"/>
                      <a:gd name="T23" fmla="*/ 56 h 98"/>
                      <a:gd name="T24" fmla="*/ 137 w 138"/>
                      <a:gd name="T25" fmla="*/ 32 h 98"/>
                      <a:gd name="T26" fmla="*/ 121 w 138"/>
                      <a:gd name="T27" fmla="*/ 24 h 98"/>
                      <a:gd name="T28" fmla="*/ 121 w 138"/>
                      <a:gd name="T29" fmla="*/ 9 h 98"/>
                      <a:gd name="T30" fmla="*/ 114 w 138"/>
                      <a:gd name="T31" fmla="*/ 9 h 98"/>
                      <a:gd name="T32" fmla="*/ 106 w 138"/>
                      <a:gd name="T33" fmla="*/ 0 h 98"/>
                      <a:gd name="T34" fmla="*/ 89 w 138"/>
                      <a:gd name="T35" fmla="*/ 16 h 98"/>
                      <a:gd name="T36" fmla="*/ 81 w 138"/>
                      <a:gd name="T37" fmla="*/ 16 h 98"/>
                      <a:gd name="T38" fmla="*/ 65 w 138"/>
                      <a:gd name="T39" fmla="*/ 16 h 98"/>
                      <a:gd name="T40" fmla="*/ 57 w 138"/>
                      <a:gd name="T41" fmla="*/ 24 h 98"/>
                      <a:gd name="T42" fmla="*/ 57 w 138"/>
                      <a:gd name="T43" fmla="*/ 16 h 98"/>
                      <a:gd name="T44" fmla="*/ 49 w 138"/>
                      <a:gd name="T45" fmla="*/ 32 h 98"/>
                      <a:gd name="T46" fmla="*/ 41 w 138"/>
                      <a:gd name="T47" fmla="*/ 41 h 98"/>
                      <a:gd name="T48" fmla="*/ 41 w 138"/>
                      <a:gd name="T49" fmla="*/ 16 h 98"/>
                      <a:gd name="T50" fmla="*/ 25 w 138"/>
                      <a:gd name="T51" fmla="*/ 9 h 98"/>
                      <a:gd name="T52" fmla="*/ 16 w 138"/>
                      <a:gd name="T53" fmla="*/ 9 h 98"/>
                      <a:gd name="T54" fmla="*/ 16 w 138"/>
                      <a:gd name="T55" fmla="*/ 16 h 98"/>
                      <a:gd name="T56" fmla="*/ 9 w 138"/>
                      <a:gd name="T57" fmla="*/ 16 h 98"/>
                      <a:gd name="T58" fmla="*/ 9 w 138"/>
                      <a:gd name="T59" fmla="*/ 24 h 98"/>
                      <a:gd name="T60" fmla="*/ 0 w 138"/>
                      <a:gd name="T61" fmla="*/ 3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03" name="Freeform 256">
                    <a:extLst>
                      <a:ext uri="{FF2B5EF4-FFF2-40B4-BE49-F238E27FC236}">
                        <a16:creationId xmlns:a16="http://schemas.microsoft.com/office/drawing/2014/main" id="{9333D89C-41D0-3920-6C86-A5BEC520A9F8}"/>
                      </a:ext>
                    </a:extLst>
                  </p:cNvPr>
                  <p:cNvSpPr>
                    <a:spLocks/>
                  </p:cNvSpPr>
                  <p:nvPr/>
                </p:nvSpPr>
                <p:spPr bwMode="gray">
                  <a:xfrm>
                    <a:off x="8329040" y="3014791"/>
                    <a:ext cx="90102" cy="49404"/>
                  </a:xfrm>
                  <a:custGeom>
                    <a:avLst/>
                    <a:gdLst>
                      <a:gd name="T0" fmla="*/ 18 w 59"/>
                      <a:gd name="T1" fmla="*/ 25 h 33"/>
                      <a:gd name="T2" fmla="*/ 33 w 59"/>
                      <a:gd name="T3" fmla="*/ 25 h 33"/>
                      <a:gd name="T4" fmla="*/ 58 w 59"/>
                      <a:gd name="T5" fmla="*/ 16 h 33"/>
                      <a:gd name="T6" fmla="*/ 42 w 59"/>
                      <a:gd name="T7" fmla="*/ 0 h 33"/>
                      <a:gd name="T8" fmla="*/ 18 w 59"/>
                      <a:gd name="T9" fmla="*/ 0 h 33"/>
                      <a:gd name="T10" fmla="*/ 0 w 59"/>
                      <a:gd name="T11" fmla="*/ 16 h 33"/>
                      <a:gd name="T12" fmla="*/ 8 w 59"/>
                      <a:gd name="T13" fmla="*/ 32 h 33"/>
                      <a:gd name="T14" fmla="*/ 18 w 59"/>
                      <a:gd name="T15" fmla="*/ 25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3">
                        <a:moveTo>
                          <a:pt x="18" y="25"/>
                        </a:moveTo>
                        <a:lnTo>
                          <a:pt x="33" y="25"/>
                        </a:lnTo>
                        <a:lnTo>
                          <a:pt x="58" y="16"/>
                        </a:lnTo>
                        <a:lnTo>
                          <a:pt x="42" y="0"/>
                        </a:lnTo>
                        <a:lnTo>
                          <a:pt x="18" y="0"/>
                        </a:lnTo>
                        <a:lnTo>
                          <a:pt x="0" y="16"/>
                        </a:lnTo>
                        <a:lnTo>
                          <a:pt x="8" y="32"/>
                        </a:lnTo>
                        <a:lnTo>
                          <a:pt x="18" y="25"/>
                        </a:lnTo>
                      </a:path>
                    </a:pathLst>
                  </a:custGeom>
                  <a:grpFill/>
                  <a:ln w="3175" cap="rnd" cmpd="sng">
                    <a:solidFill>
                      <a:schemeClr val="bg1"/>
                    </a:solidFill>
                    <a:prstDash val="solid"/>
                    <a:round/>
                    <a:headEnd/>
                    <a:tailEnd/>
                  </a:ln>
                  <a:effectLst/>
                </p:spPr>
                <p:txBody>
                  <a:bodyPr/>
                  <a:lstStyle/>
                  <a:p>
                    <a:endParaRPr lang="en-US"/>
                  </a:p>
                </p:txBody>
              </p:sp>
              <p:sp>
                <p:nvSpPr>
                  <p:cNvPr id="1904" name="Freeform 257">
                    <a:extLst>
                      <a:ext uri="{FF2B5EF4-FFF2-40B4-BE49-F238E27FC236}">
                        <a16:creationId xmlns:a16="http://schemas.microsoft.com/office/drawing/2014/main" id="{6B671245-EDC7-5367-2FBA-5350312E622D}"/>
                      </a:ext>
                    </a:extLst>
                  </p:cNvPr>
                  <p:cNvSpPr>
                    <a:spLocks/>
                  </p:cNvSpPr>
                  <p:nvPr/>
                </p:nvSpPr>
                <p:spPr bwMode="gray">
                  <a:xfrm>
                    <a:off x="7581192" y="2865313"/>
                    <a:ext cx="64359" cy="53203"/>
                  </a:xfrm>
                  <a:custGeom>
                    <a:avLst/>
                    <a:gdLst>
                      <a:gd name="T0" fmla="*/ 0 w 42"/>
                      <a:gd name="T1" fmla="*/ 17 h 35"/>
                      <a:gd name="T2" fmla="*/ 16 w 42"/>
                      <a:gd name="T3" fmla="*/ 24 h 35"/>
                      <a:gd name="T4" fmla="*/ 41 w 42"/>
                      <a:gd name="T5" fmla="*/ 34 h 35"/>
                      <a:gd name="T6" fmla="*/ 41 w 42"/>
                      <a:gd name="T7" fmla="*/ 17 h 35"/>
                      <a:gd name="T8" fmla="*/ 24 w 42"/>
                      <a:gd name="T9" fmla="*/ 0 h 35"/>
                      <a:gd name="T10" fmla="*/ 9 w 42"/>
                      <a:gd name="T11" fmla="*/ 0 h 35"/>
                      <a:gd name="T12" fmla="*/ 0 w 42"/>
                      <a:gd name="T13" fmla="*/ 17 h 35"/>
                    </a:gdLst>
                    <a:ahLst/>
                    <a:cxnLst>
                      <a:cxn ang="0">
                        <a:pos x="T0" y="T1"/>
                      </a:cxn>
                      <a:cxn ang="0">
                        <a:pos x="T2" y="T3"/>
                      </a:cxn>
                      <a:cxn ang="0">
                        <a:pos x="T4" y="T5"/>
                      </a:cxn>
                      <a:cxn ang="0">
                        <a:pos x="T6" y="T7"/>
                      </a:cxn>
                      <a:cxn ang="0">
                        <a:pos x="T8" y="T9"/>
                      </a:cxn>
                      <a:cxn ang="0">
                        <a:pos x="T10" y="T11"/>
                      </a:cxn>
                      <a:cxn ang="0">
                        <a:pos x="T12" y="T13"/>
                      </a:cxn>
                    </a:cxnLst>
                    <a:rect l="0" t="0" r="r" b="b"/>
                    <a:pathLst>
                      <a:path w="42" h="35">
                        <a:moveTo>
                          <a:pt x="0" y="17"/>
                        </a:moveTo>
                        <a:lnTo>
                          <a:pt x="16" y="24"/>
                        </a:lnTo>
                        <a:lnTo>
                          <a:pt x="41" y="34"/>
                        </a:lnTo>
                        <a:lnTo>
                          <a:pt x="41" y="17"/>
                        </a:lnTo>
                        <a:lnTo>
                          <a:pt x="24" y="0"/>
                        </a:lnTo>
                        <a:lnTo>
                          <a:pt x="9" y="0"/>
                        </a:lnTo>
                        <a:lnTo>
                          <a:pt x="0" y="17"/>
                        </a:lnTo>
                      </a:path>
                    </a:pathLst>
                  </a:custGeom>
                  <a:grpFill/>
                  <a:ln w="3175" cap="rnd" cmpd="sng">
                    <a:solidFill>
                      <a:schemeClr val="bg1"/>
                    </a:solidFill>
                    <a:prstDash val="solid"/>
                    <a:round/>
                    <a:headEnd/>
                    <a:tailEnd/>
                  </a:ln>
                  <a:effectLst/>
                </p:spPr>
                <p:txBody>
                  <a:bodyPr/>
                  <a:lstStyle/>
                  <a:p>
                    <a:endParaRPr lang="en-US"/>
                  </a:p>
                </p:txBody>
              </p:sp>
              <p:sp>
                <p:nvSpPr>
                  <p:cNvPr id="1905" name="Freeform 258">
                    <a:extLst>
                      <a:ext uri="{FF2B5EF4-FFF2-40B4-BE49-F238E27FC236}">
                        <a16:creationId xmlns:a16="http://schemas.microsoft.com/office/drawing/2014/main" id="{19D9625E-EABC-CF46-6C93-1510E2C66378}"/>
                      </a:ext>
                    </a:extLst>
                  </p:cNvPr>
                  <p:cNvSpPr>
                    <a:spLocks/>
                  </p:cNvSpPr>
                  <p:nvPr/>
                </p:nvSpPr>
                <p:spPr bwMode="gray">
                  <a:xfrm>
                    <a:off x="7581192" y="2841245"/>
                    <a:ext cx="25743" cy="26602"/>
                  </a:xfrm>
                  <a:custGeom>
                    <a:avLst/>
                    <a:gdLst>
                      <a:gd name="T0" fmla="*/ 0 w 17"/>
                      <a:gd name="T1" fmla="*/ 0 h 17"/>
                      <a:gd name="T2" fmla="*/ 0 w 17"/>
                      <a:gd name="T3" fmla="*/ 16 h 17"/>
                      <a:gd name="T4" fmla="*/ 16 w 17"/>
                      <a:gd name="T5" fmla="*/ 9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0" y="16"/>
                        </a:lnTo>
                        <a:lnTo>
                          <a:pt x="16" y="9"/>
                        </a:lnTo>
                        <a:lnTo>
                          <a:pt x="16" y="0"/>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06" name="Freeform 259">
                    <a:extLst>
                      <a:ext uri="{FF2B5EF4-FFF2-40B4-BE49-F238E27FC236}">
                        <a16:creationId xmlns:a16="http://schemas.microsoft.com/office/drawing/2014/main" id="{CA550EDE-99F1-BE45-8CA7-0EE831BF606C}"/>
                      </a:ext>
                    </a:extLst>
                  </p:cNvPr>
                  <p:cNvSpPr>
                    <a:spLocks/>
                  </p:cNvSpPr>
                  <p:nvPr/>
                </p:nvSpPr>
                <p:spPr bwMode="gray">
                  <a:xfrm>
                    <a:off x="7704761" y="2746237"/>
                    <a:ext cx="90102" cy="62071"/>
                  </a:xfrm>
                  <a:custGeom>
                    <a:avLst/>
                    <a:gdLst>
                      <a:gd name="T0" fmla="*/ 0 w 58"/>
                      <a:gd name="T1" fmla="*/ 0 h 41"/>
                      <a:gd name="T2" fmla="*/ 9 w 58"/>
                      <a:gd name="T3" fmla="*/ 23 h 41"/>
                      <a:gd name="T4" fmla="*/ 32 w 58"/>
                      <a:gd name="T5" fmla="*/ 40 h 41"/>
                      <a:gd name="T6" fmla="*/ 50 w 58"/>
                      <a:gd name="T7" fmla="*/ 40 h 41"/>
                      <a:gd name="T8" fmla="*/ 57 w 58"/>
                      <a:gd name="T9" fmla="*/ 16 h 41"/>
                      <a:gd name="T10" fmla="*/ 9 w 58"/>
                      <a:gd name="T11" fmla="*/ 6 h 41"/>
                      <a:gd name="T12" fmla="*/ 0 w 58"/>
                      <a:gd name="T13" fmla="*/ 0 h 41"/>
                    </a:gdLst>
                    <a:ahLst/>
                    <a:cxnLst>
                      <a:cxn ang="0">
                        <a:pos x="T0" y="T1"/>
                      </a:cxn>
                      <a:cxn ang="0">
                        <a:pos x="T2" y="T3"/>
                      </a:cxn>
                      <a:cxn ang="0">
                        <a:pos x="T4" y="T5"/>
                      </a:cxn>
                      <a:cxn ang="0">
                        <a:pos x="T6" y="T7"/>
                      </a:cxn>
                      <a:cxn ang="0">
                        <a:pos x="T8" y="T9"/>
                      </a:cxn>
                      <a:cxn ang="0">
                        <a:pos x="T10" y="T11"/>
                      </a:cxn>
                      <a:cxn ang="0">
                        <a:pos x="T12" y="T13"/>
                      </a:cxn>
                    </a:cxnLst>
                    <a:rect l="0" t="0" r="r" b="b"/>
                    <a:pathLst>
                      <a:path w="58" h="41">
                        <a:moveTo>
                          <a:pt x="0" y="0"/>
                        </a:moveTo>
                        <a:lnTo>
                          <a:pt x="9" y="23"/>
                        </a:lnTo>
                        <a:lnTo>
                          <a:pt x="32" y="40"/>
                        </a:lnTo>
                        <a:lnTo>
                          <a:pt x="50" y="40"/>
                        </a:lnTo>
                        <a:lnTo>
                          <a:pt x="57" y="16"/>
                        </a:lnTo>
                        <a:lnTo>
                          <a:pt x="9" y="6"/>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07" name="Freeform 260">
                    <a:extLst>
                      <a:ext uri="{FF2B5EF4-FFF2-40B4-BE49-F238E27FC236}">
                        <a16:creationId xmlns:a16="http://schemas.microsoft.com/office/drawing/2014/main" id="{06AD9FD1-42BE-6AD6-60CF-9BDF5799C3D8}"/>
                      </a:ext>
                    </a:extLst>
                  </p:cNvPr>
                  <p:cNvSpPr>
                    <a:spLocks/>
                  </p:cNvSpPr>
                  <p:nvPr/>
                </p:nvSpPr>
                <p:spPr bwMode="gray">
                  <a:xfrm>
                    <a:off x="7518120" y="2694301"/>
                    <a:ext cx="150599" cy="114008"/>
                  </a:xfrm>
                  <a:custGeom>
                    <a:avLst/>
                    <a:gdLst>
                      <a:gd name="T0" fmla="*/ 0 w 98"/>
                      <a:gd name="T1" fmla="*/ 50 h 75"/>
                      <a:gd name="T2" fmla="*/ 8 w 98"/>
                      <a:gd name="T3" fmla="*/ 74 h 75"/>
                      <a:gd name="T4" fmla="*/ 25 w 98"/>
                      <a:gd name="T5" fmla="*/ 74 h 75"/>
                      <a:gd name="T6" fmla="*/ 65 w 98"/>
                      <a:gd name="T7" fmla="*/ 57 h 75"/>
                      <a:gd name="T8" fmla="*/ 73 w 98"/>
                      <a:gd name="T9" fmla="*/ 65 h 75"/>
                      <a:gd name="T10" fmla="*/ 97 w 98"/>
                      <a:gd name="T11" fmla="*/ 40 h 75"/>
                      <a:gd name="T12" fmla="*/ 97 w 98"/>
                      <a:gd name="T13" fmla="*/ 25 h 75"/>
                      <a:gd name="T14" fmla="*/ 90 w 98"/>
                      <a:gd name="T15" fmla="*/ 16 h 75"/>
                      <a:gd name="T16" fmla="*/ 82 w 98"/>
                      <a:gd name="T17" fmla="*/ 16 h 75"/>
                      <a:gd name="T18" fmla="*/ 65 w 98"/>
                      <a:gd name="T19" fmla="*/ 0 h 75"/>
                      <a:gd name="T20" fmla="*/ 50 w 98"/>
                      <a:gd name="T21" fmla="*/ 16 h 75"/>
                      <a:gd name="T22" fmla="*/ 25 w 98"/>
                      <a:gd name="T23" fmla="*/ 0 h 75"/>
                      <a:gd name="T24" fmla="*/ 0 w 98"/>
                      <a:gd name="T25" fmla="*/ 9 h 75"/>
                      <a:gd name="T26" fmla="*/ 0 w 98"/>
                      <a:gd name="T27" fmla="*/ 5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08" name="Freeform 261">
                    <a:extLst>
                      <a:ext uri="{FF2B5EF4-FFF2-40B4-BE49-F238E27FC236}">
                        <a16:creationId xmlns:a16="http://schemas.microsoft.com/office/drawing/2014/main" id="{6A273295-9D93-7900-FF51-F603A700A2B2}"/>
                      </a:ext>
                    </a:extLst>
                  </p:cNvPr>
                  <p:cNvSpPr>
                    <a:spLocks/>
                  </p:cNvSpPr>
                  <p:nvPr/>
                </p:nvSpPr>
                <p:spPr bwMode="gray">
                  <a:xfrm>
                    <a:off x="5830637" y="2623362"/>
                    <a:ext cx="341101" cy="454767"/>
                  </a:xfrm>
                  <a:custGeom>
                    <a:avLst/>
                    <a:gdLst>
                      <a:gd name="T0" fmla="*/ 0 w 221"/>
                      <a:gd name="T1" fmla="*/ 258 h 300"/>
                      <a:gd name="T2" fmla="*/ 25 w 221"/>
                      <a:gd name="T3" fmla="*/ 290 h 300"/>
                      <a:gd name="T4" fmla="*/ 66 w 221"/>
                      <a:gd name="T5" fmla="*/ 299 h 300"/>
                      <a:gd name="T6" fmla="*/ 74 w 221"/>
                      <a:gd name="T7" fmla="*/ 290 h 300"/>
                      <a:gd name="T8" fmla="*/ 58 w 221"/>
                      <a:gd name="T9" fmla="*/ 274 h 300"/>
                      <a:gd name="T10" fmla="*/ 49 w 221"/>
                      <a:gd name="T11" fmla="*/ 258 h 300"/>
                      <a:gd name="T12" fmla="*/ 49 w 221"/>
                      <a:gd name="T13" fmla="*/ 218 h 300"/>
                      <a:gd name="T14" fmla="*/ 58 w 221"/>
                      <a:gd name="T15" fmla="*/ 202 h 300"/>
                      <a:gd name="T16" fmla="*/ 114 w 221"/>
                      <a:gd name="T17" fmla="*/ 104 h 300"/>
                      <a:gd name="T18" fmla="*/ 155 w 221"/>
                      <a:gd name="T19" fmla="*/ 72 h 300"/>
                      <a:gd name="T20" fmla="*/ 220 w 221"/>
                      <a:gd name="T21" fmla="*/ 40 h 300"/>
                      <a:gd name="T22" fmla="*/ 220 w 221"/>
                      <a:gd name="T23" fmla="*/ 7 h 300"/>
                      <a:gd name="T24" fmla="*/ 205 w 221"/>
                      <a:gd name="T25" fmla="*/ 0 h 300"/>
                      <a:gd name="T26" fmla="*/ 188 w 221"/>
                      <a:gd name="T27" fmla="*/ 16 h 300"/>
                      <a:gd name="T28" fmla="*/ 171 w 221"/>
                      <a:gd name="T29" fmla="*/ 32 h 300"/>
                      <a:gd name="T30" fmla="*/ 146 w 221"/>
                      <a:gd name="T31" fmla="*/ 40 h 300"/>
                      <a:gd name="T32" fmla="*/ 123 w 221"/>
                      <a:gd name="T33" fmla="*/ 40 h 300"/>
                      <a:gd name="T34" fmla="*/ 99 w 221"/>
                      <a:gd name="T35" fmla="*/ 56 h 300"/>
                      <a:gd name="T36" fmla="*/ 74 w 221"/>
                      <a:gd name="T37" fmla="*/ 87 h 300"/>
                      <a:gd name="T38" fmla="*/ 49 w 221"/>
                      <a:gd name="T39" fmla="*/ 104 h 300"/>
                      <a:gd name="T40" fmla="*/ 49 w 221"/>
                      <a:gd name="T41" fmla="*/ 121 h 300"/>
                      <a:gd name="T42" fmla="*/ 41 w 221"/>
                      <a:gd name="T43" fmla="*/ 144 h 300"/>
                      <a:gd name="T44" fmla="*/ 25 w 221"/>
                      <a:gd name="T45" fmla="*/ 160 h 300"/>
                      <a:gd name="T46" fmla="*/ 34 w 221"/>
                      <a:gd name="T47" fmla="*/ 177 h 300"/>
                      <a:gd name="T48" fmla="*/ 25 w 221"/>
                      <a:gd name="T49" fmla="*/ 194 h 300"/>
                      <a:gd name="T50" fmla="*/ 9 w 221"/>
                      <a:gd name="T51" fmla="*/ 209 h 300"/>
                      <a:gd name="T52" fmla="*/ 18 w 221"/>
                      <a:gd name="T53" fmla="*/ 225 h 300"/>
                      <a:gd name="T54" fmla="*/ 0 w 221"/>
                      <a:gd name="T55" fmla="*/ 234 h 300"/>
                      <a:gd name="T56" fmla="*/ 0 w 221"/>
                      <a:gd name="T57"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grpFill/>
                  <a:ln w="3175" cap="rnd" cmpd="sng">
                    <a:solidFill>
                      <a:schemeClr val="bg1"/>
                    </a:solidFill>
                    <a:prstDash val="solid"/>
                    <a:round/>
                    <a:headEnd/>
                    <a:tailEnd/>
                  </a:ln>
                  <a:effectLst/>
                </p:spPr>
                <p:txBody>
                  <a:bodyPr/>
                  <a:lstStyle/>
                  <a:p>
                    <a:endParaRPr lang="en-US"/>
                  </a:p>
                </p:txBody>
              </p:sp>
              <p:sp>
                <p:nvSpPr>
                  <p:cNvPr id="1909" name="Freeform 262">
                    <a:extLst>
                      <a:ext uri="{FF2B5EF4-FFF2-40B4-BE49-F238E27FC236}">
                        <a16:creationId xmlns:a16="http://schemas.microsoft.com/office/drawing/2014/main" id="{314D5AF4-C9D6-7AFB-FE6E-3492A89A5B29}"/>
                      </a:ext>
                    </a:extLst>
                  </p:cNvPr>
                  <p:cNvSpPr>
                    <a:spLocks/>
                  </p:cNvSpPr>
                  <p:nvPr/>
                </p:nvSpPr>
                <p:spPr bwMode="gray">
                  <a:xfrm>
                    <a:off x="5770139" y="3124998"/>
                    <a:ext cx="37328" cy="51937"/>
                  </a:xfrm>
                  <a:custGeom>
                    <a:avLst/>
                    <a:gdLst>
                      <a:gd name="T0" fmla="*/ 0 w 25"/>
                      <a:gd name="T1" fmla="*/ 33 h 34"/>
                      <a:gd name="T2" fmla="*/ 17 w 25"/>
                      <a:gd name="T3" fmla="*/ 24 h 34"/>
                      <a:gd name="T4" fmla="*/ 24 w 25"/>
                      <a:gd name="T5" fmla="*/ 15 h 34"/>
                      <a:gd name="T6" fmla="*/ 9 w 25"/>
                      <a:gd name="T7" fmla="*/ 0 h 34"/>
                      <a:gd name="T8" fmla="*/ 0 w 25"/>
                      <a:gd name="T9" fmla="*/ 15 h 34"/>
                      <a:gd name="T10" fmla="*/ 0 w 25"/>
                      <a:gd name="T11" fmla="*/ 33 h 34"/>
                    </a:gdLst>
                    <a:ahLst/>
                    <a:cxnLst>
                      <a:cxn ang="0">
                        <a:pos x="T0" y="T1"/>
                      </a:cxn>
                      <a:cxn ang="0">
                        <a:pos x="T2" y="T3"/>
                      </a:cxn>
                      <a:cxn ang="0">
                        <a:pos x="T4" y="T5"/>
                      </a:cxn>
                      <a:cxn ang="0">
                        <a:pos x="T6" y="T7"/>
                      </a:cxn>
                      <a:cxn ang="0">
                        <a:pos x="T8" y="T9"/>
                      </a:cxn>
                      <a:cxn ang="0">
                        <a:pos x="T10" y="T11"/>
                      </a:cxn>
                    </a:cxnLst>
                    <a:rect l="0" t="0" r="r" b="b"/>
                    <a:pathLst>
                      <a:path w="25" h="34">
                        <a:moveTo>
                          <a:pt x="0" y="33"/>
                        </a:moveTo>
                        <a:lnTo>
                          <a:pt x="17" y="24"/>
                        </a:lnTo>
                        <a:lnTo>
                          <a:pt x="24" y="15"/>
                        </a:lnTo>
                        <a:lnTo>
                          <a:pt x="9" y="0"/>
                        </a:lnTo>
                        <a:lnTo>
                          <a:pt x="0" y="15"/>
                        </a:lnTo>
                        <a:lnTo>
                          <a:pt x="0" y="33"/>
                        </a:lnTo>
                      </a:path>
                    </a:pathLst>
                  </a:custGeom>
                  <a:grpFill/>
                  <a:ln w="3175" cap="rnd" cmpd="sng">
                    <a:solidFill>
                      <a:schemeClr val="bg1"/>
                    </a:solidFill>
                    <a:prstDash val="solid"/>
                    <a:round/>
                    <a:headEnd/>
                    <a:tailEnd/>
                  </a:ln>
                  <a:effectLst/>
                </p:spPr>
                <p:txBody>
                  <a:bodyPr/>
                  <a:lstStyle/>
                  <a:p>
                    <a:endParaRPr lang="en-US"/>
                  </a:p>
                </p:txBody>
              </p:sp>
              <p:sp>
                <p:nvSpPr>
                  <p:cNvPr id="1910" name="Freeform 263">
                    <a:extLst>
                      <a:ext uri="{FF2B5EF4-FFF2-40B4-BE49-F238E27FC236}">
                        <a16:creationId xmlns:a16="http://schemas.microsoft.com/office/drawing/2014/main" id="{D1692397-C8E0-31B9-B404-C3103529F902}"/>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3175" cap="rnd" cmpd="sng">
                    <a:solidFill>
                      <a:schemeClr val="bg1"/>
                    </a:solidFill>
                    <a:prstDash val="solid"/>
                    <a:round/>
                    <a:headEnd/>
                    <a:tailEnd/>
                  </a:ln>
                  <a:effectLst/>
                </p:spPr>
                <p:txBody>
                  <a:bodyPr/>
                  <a:lstStyle/>
                  <a:p>
                    <a:endParaRPr lang="en-US"/>
                  </a:p>
                </p:txBody>
              </p:sp>
              <p:sp>
                <p:nvSpPr>
                  <p:cNvPr id="1911" name="Freeform 264">
                    <a:extLst>
                      <a:ext uri="{FF2B5EF4-FFF2-40B4-BE49-F238E27FC236}">
                        <a16:creationId xmlns:a16="http://schemas.microsoft.com/office/drawing/2014/main" id="{745F9993-F7CC-9A2E-B0FB-81A3BC77B8CD}"/>
                      </a:ext>
                    </a:extLst>
                  </p:cNvPr>
                  <p:cNvSpPr>
                    <a:spLocks/>
                  </p:cNvSpPr>
                  <p:nvPr/>
                </p:nvSpPr>
                <p:spPr bwMode="gray">
                  <a:xfrm>
                    <a:off x="4672181" y="3626636"/>
                    <a:ext cx="27031" cy="39270"/>
                  </a:xfrm>
                  <a:custGeom>
                    <a:avLst/>
                    <a:gdLst>
                      <a:gd name="T0" fmla="*/ 0 w 17"/>
                      <a:gd name="T1" fmla="*/ 25 h 26"/>
                      <a:gd name="T2" fmla="*/ 7 w 17"/>
                      <a:gd name="T3" fmla="*/ 10 h 26"/>
                      <a:gd name="T4" fmla="*/ 16 w 17"/>
                      <a:gd name="T5" fmla="*/ 0 h 26"/>
                      <a:gd name="T6" fmla="*/ 0 w 17"/>
                      <a:gd name="T7" fmla="*/ 10 h 26"/>
                      <a:gd name="T8" fmla="*/ 0 w 17"/>
                      <a:gd name="T9" fmla="*/ 25 h 26"/>
                    </a:gdLst>
                    <a:ahLst/>
                    <a:cxnLst>
                      <a:cxn ang="0">
                        <a:pos x="T0" y="T1"/>
                      </a:cxn>
                      <a:cxn ang="0">
                        <a:pos x="T2" y="T3"/>
                      </a:cxn>
                      <a:cxn ang="0">
                        <a:pos x="T4" y="T5"/>
                      </a:cxn>
                      <a:cxn ang="0">
                        <a:pos x="T6" y="T7"/>
                      </a:cxn>
                      <a:cxn ang="0">
                        <a:pos x="T8" y="T9"/>
                      </a:cxn>
                    </a:cxnLst>
                    <a:rect l="0" t="0" r="r" b="b"/>
                    <a:pathLst>
                      <a:path w="17" h="26">
                        <a:moveTo>
                          <a:pt x="0" y="25"/>
                        </a:moveTo>
                        <a:lnTo>
                          <a:pt x="7" y="10"/>
                        </a:lnTo>
                        <a:lnTo>
                          <a:pt x="16" y="0"/>
                        </a:lnTo>
                        <a:lnTo>
                          <a:pt x="0" y="10"/>
                        </a:lnTo>
                        <a:lnTo>
                          <a:pt x="0" y="25"/>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12" name="Freeform 265">
                    <a:extLst>
                      <a:ext uri="{FF2B5EF4-FFF2-40B4-BE49-F238E27FC236}">
                        <a16:creationId xmlns:a16="http://schemas.microsoft.com/office/drawing/2014/main" id="{38815770-001B-7061-60AB-62B519F21262}"/>
                      </a:ext>
                    </a:extLst>
                  </p:cNvPr>
                  <p:cNvSpPr>
                    <a:spLocks/>
                  </p:cNvSpPr>
                  <p:nvPr/>
                </p:nvSpPr>
                <p:spPr bwMode="gray">
                  <a:xfrm>
                    <a:off x="5008133" y="3725443"/>
                    <a:ext cx="25743" cy="26602"/>
                  </a:xfrm>
                  <a:custGeom>
                    <a:avLst/>
                    <a:gdLst>
                      <a:gd name="T0" fmla="*/ 0 w 17"/>
                      <a:gd name="T1" fmla="*/ 9 h 17"/>
                      <a:gd name="T2" fmla="*/ 0 w 17"/>
                      <a:gd name="T3" fmla="*/ 16 h 17"/>
                      <a:gd name="T4" fmla="*/ 16 w 17"/>
                      <a:gd name="T5" fmla="*/ 16 h 17"/>
                      <a:gd name="T6" fmla="*/ 16 w 17"/>
                      <a:gd name="T7" fmla="*/ 9 h 17"/>
                      <a:gd name="T8" fmla="*/ 16 w 17"/>
                      <a:gd name="T9" fmla="*/ 0 h 17"/>
                      <a:gd name="T10" fmla="*/ 0 w 17"/>
                      <a:gd name="T11" fmla="*/ 9 h 17"/>
                    </a:gdLst>
                    <a:ahLst/>
                    <a:cxnLst>
                      <a:cxn ang="0">
                        <a:pos x="T0" y="T1"/>
                      </a:cxn>
                      <a:cxn ang="0">
                        <a:pos x="T2" y="T3"/>
                      </a:cxn>
                      <a:cxn ang="0">
                        <a:pos x="T4" y="T5"/>
                      </a:cxn>
                      <a:cxn ang="0">
                        <a:pos x="T6" y="T7"/>
                      </a:cxn>
                      <a:cxn ang="0">
                        <a:pos x="T8" y="T9"/>
                      </a:cxn>
                      <a:cxn ang="0">
                        <a:pos x="T10" y="T11"/>
                      </a:cxn>
                    </a:cxnLst>
                    <a:rect l="0" t="0" r="r" b="b"/>
                    <a:pathLst>
                      <a:path w="17" h="17">
                        <a:moveTo>
                          <a:pt x="0" y="9"/>
                        </a:moveTo>
                        <a:lnTo>
                          <a:pt x="0" y="16"/>
                        </a:lnTo>
                        <a:lnTo>
                          <a:pt x="16" y="16"/>
                        </a:lnTo>
                        <a:lnTo>
                          <a:pt x="16" y="9"/>
                        </a:lnTo>
                        <a:lnTo>
                          <a:pt x="16" y="0"/>
                        </a:lnTo>
                        <a:lnTo>
                          <a:pt x="0" y="9"/>
                        </a:lnTo>
                      </a:path>
                    </a:pathLst>
                  </a:custGeom>
                  <a:grpFill/>
                  <a:ln w="3175" cap="rnd" cmpd="sng">
                    <a:solidFill>
                      <a:schemeClr val="bg1"/>
                    </a:solidFill>
                    <a:prstDash val="solid"/>
                    <a:round/>
                    <a:headEnd/>
                    <a:tailEnd/>
                  </a:ln>
                  <a:effectLst/>
                </p:spPr>
                <p:txBody>
                  <a:bodyPr/>
                  <a:lstStyle/>
                  <a:p>
                    <a:endParaRPr lang="en-US"/>
                  </a:p>
                </p:txBody>
              </p:sp>
              <p:sp>
                <p:nvSpPr>
                  <p:cNvPr id="1913" name="Freeform 266">
                    <a:extLst>
                      <a:ext uri="{FF2B5EF4-FFF2-40B4-BE49-F238E27FC236}">
                        <a16:creationId xmlns:a16="http://schemas.microsoft.com/office/drawing/2014/main" id="{D009D0A8-0E4F-E38D-1C60-DDF54D7F1B69}"/>
                      </a:ext>
                    </a:extLst>
                  </p:cNvPr>
                  <p:cNvSpPr>
                    <a:spLocks/>
                  </p:cNvSpPr>
                  <p:nvPr/>
                </p:nvSpPr>
                <p:spPr bwMode="gray">
                  <a:xfrm>
                    <a:off x="5032589" y="3712775"/>
                    <a:ext cx="29605" cy="27868"/>
                  </a:xfrm>
                  <a:custGeom>
                    <a:avLst/>
                    <a:gdLst>
                      <a:gd name="T0" fmla="*/ 0 w 19"/>
                      <a:gd name="T1" fmla="*/ 9 h 19"/>
                      <a:gd name="T2" fmla="*/ 0 w 19"/>
                      <a:gd name="T3" fmla="*/ 18 h 19"/>
                      <a:gd name="T4" fmla="*/ 18 w 19"/>
                      <a:gd name="T5" fmla="*/ 18 h 19"/>
                      <a:gd name="T6" fmla="*/ 18 w 19"/>
                      <a:gd name="T7" fmla="*/ 9 h 19"/>
                      <a:gd name="T8" fmla="*/ 18 w 19"/>
                      <a:gd name="T9" fmla="*/ 0 h 19"/>
                      <a:gd name="T10" fmla="*/ 0 w 19"/>
                      <a:gd name="T11" fmla="*/ 9 h 19"/>
                    </a:gdLst>
                    <a:ahLst/>
                    <a:cxnLst>
                      <a:cxn ang="0">
                        <a:pos x="T0" y="T1"/>
                      </a:cxn>
                      <a:cxn ang="0">
                        <a:pos x="T2" y="T3"/>
                      </a:cxn>
                      <a:cxn ang="0">
                        <a:pos x="T4" y="T5"/>
                      </a:cxn>
                      <a:cxn ang="0">
                        <a:pos x="T6" y="T7"/>
                      </a:cxn>
                      <a:cxn ang="0">
                        <a:pos x="T8" y="T9"/>
                      </a:cxn>
                      <a:cxn ang="0">
                        <a:pos x="T10" y="T11"/>
                      </a:cxn>
                    </a:cxnLst>
                    <a:rect l="0" t="0" r="r" b="b"/>
                    <a:pathLst>
                      <a:path w="19" h="19">
                        <a:moveTo>
                          <a:pt x="0" y="9"/>
                        </a:moveTo>
                        <a:lnTo>
                          <a:pt x="0" y="18"/>
                        </a:lnTo>
                        <a:lnTo>
                          <a:pt x="18" y="18"/>
                        </a:lnTo>
                        <a:lnTo>
                          <a:pt x="18" y="9"/>
                        </a:lnTo>
                        <a:lnTo>
                          <a:pt x="18" y="0"/>
                        </a:lnTo>
                        <a:lnTo>
                          <a:pt x="0" y="9"/>
                        </a:lnTo>
                      </a:path>
                    </a:pathLst>
                  </a:custGeom>
                  <a:grpFill/>
                  <a:ln w="3175" cap="rnd" cmpd="sng">
                    <a:solidFill>
                      <a:schemeClr val="bg1"/>
                    </a:solidFill>
                    <a:prstDash val="solid"/>
                    <a:round/>
                    <a:headEnd/>
                    <a:tailEnd/>
                  </a:ln>
                  <a:effectLst/>
                </p:spPr>
                <p:txBody>
                  <a:bodyPr/>
                  <a:lstStyle/>
                  <a:p>
                    <a:endParaRPr lang="en-US"/>
                  </a:p>
                </p:txBody>
              </p:sp>
              <p:sp>
                <p:nvSpPr>
                  <p:cNvPr id="1914" name="Freeform 267">
                    <a:extLst>
                      <a:ext uri="{FF2B5EF4-FFF2-40B4-BE49-F238E27FC236}">
                        <a16:creationId xmlns:a16="http://schemas.microsoft.com/office/drawing/2014/main" id="{92CAE828-680A-9321-3A2C-2E8A73EF2825}"/>
                      </a:ext>
                    </a:extLst>
                  </p:cNvPr>
                  <p:cNvSpPr>
                    <a:spLocks/>
                  </p:cNvSpPr>
                  <p:nvPr/>
                </p:nvSpPr>
                <p:spPr bwMode="gray">
                  <a:xfrm>
                    <a:off x="5032589" y="3750778"/>
                    <a:ext cx="29605" cy="25335"/>
                  </a:xfrm>
                  <a:custGeom>
                    <a:avLst/>
                    <a:gdLst>
                      <a:gd name="T0" fmla="*/ 0 w 19"/>
                      <a:gd name="T1" fmla="*/ 0 h 17"/>
                      <a:gd name="T2" fmla="*/ 0 w 19"/>
                      <a:gd name="T3" fmla="*/ 16 h 17"/>
                      <a:gd name="T4" fmla="*/ 18 w 19"/>
                      <a:gd name="T5" fmla="*/ 0 h 17"/>
                      <a:gd name="T6" fmla="*/ 0 w 19"/>
                      <a:gd name="T7" fmla="*/ 0 h 17"/>
                    </a:gdLst>
                    <a:ahLst/>
                    <a:cxnLst>
                      <a:cxn ang="0">
                        <a:pos x="T0" y="T1"/>
                      </a:cxn>
                      <a:cxn ang="0">
                        <a:pos x="T2" y="T3"/>
                      </a:cxn>
                      <a:cxn ang="0">
                        <a:pos x="T4" y="T5"/>
                      </a:cxn>
                      <a:cxn ang="0">
                        <a:pos x="T6" y="T7"/>
                      </a:cxn>
                    </a:cxnLst>
                    <a:rect l="0" t="0" r="r" b="b"/>
                    <a:pathLst>
                      <a:path w="19" h="17">
                        <a:moveTo>
                          <a:pt x="0" y="0"/>
                        </a:moveTo>
                        <a:lnTo>
                          <a:pt x="0" y="16"/>
                        </a:lnTo>
                        <a:lnTo>
                          <a:pt x="18" y="0"/>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15" name="Freeform 268">
                    <a:extLst>
                      <a:ext uri="{FF2B5EF4-FFF2-40B4-BE49-F238E27FC236}">
                        <a16:creationId xmlns:a16="http://schemas.microsoft.com/office/drawing/2014/main" id="{A152C136-AB5B-2CD8-55EE-6F5B71962082}"/>
                      </a:ext>
                    </a:extLst>
                  </p:cNvPr>
                  <p:cNvSpPr>
                    <a:spLocks/>
                  </p:cNvSpPr>
                  <p:nvPr/>
                </p:nvSpPr>
                <p:spPr bwMode="gray">
                  <a:xfrm>
                    <a:off x="4683765" y="3626636"/>
                    <a:ext cx="164758" cy="283754"/>
                  </a:xfrm>
                  <a:custGeom>
                    <a:avLst/>
                    <a:gdLst>
                      <a:gd name="T0" fmla="*/ 18 w 107"/>
                      <a:gd name="T1" fmla="*/ 187 h 188"/>
                      <a:gd name="T2" fmla="*/ 24 w 107"/>
                      <a:gd name="T3" fmla="*/ 179 h 188"/>
                      <a:gd name="T4" fmla="*/ 41 w 107"/>
                      <a:gd name="T5" fmla="*/ 187 h 188"/>
                      <a:gd name="T6" fmla="*/ 41 w 107"/>
                      <a:gd name="T7" fmla="*/ 179 h 188"/>
                      <a:gd name="T8" fmla="*/ 49 w 107"/>
                      <a:gd name="T9" fmla="*/ 171 h 188"/>
                      <a:gd name="T10" fmla="*/ 58 w 107"/>
                      <a:gd name="T11" fmla="*/ 179 h 188"/>
                      <a:gd name="T12" fmla="*/ 66 w 107"/>
                      <a:gd name="T13" fmla="*/ 171 h 188"/>
                      <a:gd name="T14" fmla="*/ 98 w 107"/>
                      <a:gd name="T15" fmla="*/ 171 h 188"/>
                      <a:gd name="T16" fmla="*/ 106 w 107"/>
                      <a:gd name="T17" fmla="*/ 162 h 188"/>
                      <a:gd name="T18" fmla="*/ 90 w 107"/>
                      <a:gd name="T19" fmla="*/ 162 h 188"/>
                      <a:gd name="T20" fmla="*/ 106 w 107"/>
                      <a:gd name="T21" fmla="*/ 138 h 188"/>
                      <a:gd name="T22" fmla="*/ 98 w 107"/>
                      <a:gd name="T23" fmla="*/ 131 h 188"/>
                      <a:gd name="T24" fmla="*/ 90 w 107"/>
                      <a:gd name="T25" fmla="*/ 131 h 188"/>
                      <a:gd name="T26" fmla="*/ 81 w 107"/>
                      <a:gd name="T27" fmla="*/ 131 h 188"/>
                      <a:gd name="T28" fmla="*/ 90 w 107"/>
                      <a:gd name="T29" fmla="*/ 122 h 188"/>
                      <a:gd name="T30" fmla="*/ 90 w 107"/>
                      <a:gd name="T31" fmla="*/ 115 h 188"/>
                      <a:gd name="T32" fmla="*/ 81 w 107"/>
                      <a:gd name="T33" fmla="*/ 97 h 188"/>
                      <a:gd name="T34" fmla="*/ 74 w 107"/>
                      <a:gd name="T35" fmla="*/ 91 h 188"/>
                      <a:gd name="T36" fmla="*/ 58 w 107"/>
                      <a:gd name="T37" fmla="*/ 66 h 188"/>
                      <a:gd name="T38" fmla="*/ 41 w 107"/>
                      <a:gd name="T39" fmla="*/ 57 h 188"/>
                      <a:gd name="T40" fmla="*/ 66 w 107"/>
                      <a:gd name="T41" fmla="*/ 25 h 188"/>
                      <a:gd name="T42" fmla="*/ 58 w 107"/>
                      <a:gd name="T43" fmla="*/ 17 h 188"/>
                      <a:gd name="T44" fmla="*/ 33 w 107"/>
                      <a:gd name="T45" fmla="*/ 25 h 188"/>
                      <a:gd name="T46" fmla="*/ 33 w 107"/>
                      <a:gd name="T47" fmla="*/ 10 h 188"/>
                      <a:gd name="T48" fmla="*/ 49 w 107"/>
                      <a:gd name="T49" fmla="*/ 0 h 188"/>
                      <a:gd name="T50" fmla="*/ 41 w 107"/>
                      <a:gd name="T51" fmla="*/ 0 h 188"/>
                      <a:gd name="T52" fmla="*/ 24 w 107"/>
                      <a:gd name="T53" fmla="*/ 0 h 188"/>
                      <a:gd name="T54" fmla="*/ 9 w 107"/>
                      <a:gd name="T55" fmla="*/ 25 h 188"/>
                      <a:gd name="T56" fmla="*/ 0 w 107"/>
                      <a:gd name="T57" fmla="*/ 25 h 188"/>
                      <a:gd name="T58" fmla="*/ 9 w 107"/>
                      <a:gd name="T59" fmla="*/ 33 h 188"/>
                      <a:gd name="T60" fmla="*/ 18 w 107"/>
                      <a:gd name="T61" fmla="*/ 33 h 188"/>
                      <a:gd name="T62" fmla="*/ 9 w 107"/>
                      <a:gd name="T63" fmla="*/ 50 h 188"/>
                      <a:gd name="T64" fmla="*/ 18 w 107"/>
                      <a:gd name="T65" fmla="*/ 50 h 188"/>
                      <a:gd name="T66" fmla="*/ 18 w 107"/>
                      <a:gd name="T67" fmla="*/ 57 h 188"/>
                      <a:gd name="T68" fmla="*/ 9 w 107"/>
                      <a:gd name="T69" fmla="*/ 66 h 188"/>
                      <a:gd name="T70" fmla="*/ 18 w 107"/>
                      <a:gd name="T71" fmla="*/ 66 h 188"/>
                      <a:gd name="T72" fmla="*/ 24 w 107"/>
                      <a:gd name="T73" fmla="*/ 75 h 188"/>
                      <a:gd name="T74" fmla="*/ 18 w 107"/>
                      <a:gd name="T75" fmla="*/ 82 h 188"/>
                      <a:gd name="T76" fmla="*/ 24 w 107"/>
                      <a:gd name="T77" fmla="*/ 91 h 188"/>
                      <a:gd name="T78" fmla="*/ 41 w 107"/>
                      <a:gd name="T79" fmla="*/ 82 h 188"/>
                      <a:gd name="T80" fmla="*/ 41 w 107"/>
                      <a:gd name="T81" fmla="*/ 91 h 188"/>
                      <a:gd name="T82" fmla="*/ 41 w 107"/>
                      <a:gd name="T83" fmla="*/ 97 h 188"/>
                      <a:gd name="T84" fmla="*/ 49 w 107"/>
                      <a:gd name="T85" fmla="*/ 97 h 188"/>
                      <a:gd name="T86" fmla="*/ 49 w 107"/>
                      <a:gd name="T87" fmla="*/ 115 h 188"/>
                      <a:gd name="T88" fmla="*/ 24 w 107"/>
                      <a:gd name="T89" fmla="*/ 115 h 188"/>
                      <a:gd name="T90" fmla="*/ 33 w 107"/>
                      <a:gd name="T91" fmla="*/ 122 h 188"/>
                      <a:gd name="T92" fmla="*/ 24 w 107"/>
                      <a:gd name="T93" fmla="*/ 131 h 188"/>
                      <a:gd name="T94" fmla="*/ 33 w 107"/>
                      <a:gd name="T95" fmla="*/ 131 h 188"/>
                      <a:gd name="T96" fmla="*/ 33 w 107"/>
                      <a:gd name="T97" fmla="*/ 138 h 188"/>
                      <a:gd name="T98" fmla="*/ 18 w 107"/>
                      <a:gd name="T99" fmla="*/ 147 h 188"/>
                      <a:gd name="T100" fmla="*/ 24 w 107"/>
                      <a:gd name="T101" fmla="*/ 156 h 188"/>
                      <a:gd name="T102" fmla="*/ 33 w 107"/>
                      <a:gd name="T103" fmla="*/ 156 h 188"/>
                      <a:gd name="T104" fmla="*/ 41 w 107"/>
                      <a:gd name="T105" fmla="*/ 162 h 188"/>
                      <a:gd name="T106" fmla="*/ 49 w 107"/>
                      <a:gd name="T107" fmla="*/ 156 h 188"/>
                      <a:gd name="T108" fmla="*/ 49 w 107"/>
                      <a:gd name="T109" fmla="*/ 162 h 188"/>
                      <a:gd name="T110" fmla="*/ 33 w 107"/>
                      <a:gd name="T111" fmla="*/ 162 h 188"/>
                      <a:gd name="T112" fmla="*/ 18 w 107"/>
                      <a:gd name="T113" fmla="*/ 18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grpFill/>
                  <a:ln w="3175" cap="rnd" cmpd="sng">
                    <a:solidFill>
                      <a:schemeClr val="bg1"/>
                    </a:solidFill>
                    <a:prstDash val="solid"/>
                    <a:round/>
                    <a:headEnd/>
                    <a:tailEnd/>
                  </a:ln>
                  <a:effectLst/>
                </p:spPr>
                <p:txBody>
                  <a:bodyPr/>
                  <a:lstStyle/>
                  <a:p>
                    <a:endParaRPr lang="en-US"/>
                  </a:p>
                </p:txBody>
              </p:sp>
              <p:sp>
                <p:nvSpPr>
                  <p:cNvPr id="1916" name="Freeform 269">
                    <a:extLst>
                      <a:ext uri="{FF2B5EF4-FFF2-40B4-BE49-F238E27FC236}">
                        <a16:creationId xmlns:a16="http://schemas.microsoft.com/office/drawing/2014/main" id="{44B29B14-CDCF-F462-0C08-4E6FE8C23D83}"/>
                      </a:ext>
                    </a:extLst>
                  </p:cNvPr>
                  <p:cNvSpPr>
                    <a:spLocks/>
                  </p:cNvSpPr>
                  <p:nvPr/>
                </p:nvSpPr>
                <p:spPr bwMode="gray">
                  <a:xfrm>
                    <a:off x="4983676" y="4108004"/>
                    <a:ext cx="25743" cy="48136"/>
                  </a:xfrm>
                  <a:custGeom>
                    <a:avLst/>
                    <a:gdLst>
                      <a:gd name="T0" fmla="*/ 0 w 17"/>
                      <a:gd name="T1" fmla="*/ 6 h 32"/>
                      <a:gd name="T2" fmla="*/ 0 w 17"/>
                      <a:gd name="T3" fmla="*/ 23 h 32"/>
                      <a:gd name="T4" fmla="*/ 16 w 17"/>
                      <a:gd name="T5" fmla="*/ 31 h 32"/>
                      <a:gd name="T6" fmla="*/ 16 w 17"/>
                      <a:gd name="T7" fmla="*/ 0 h 32"/>
                      <a:gd name="T8" fmla="*/ 0 w 17"/>
                      <a:gd name="T9" fmla="*/ 6 h 32"/>
                    </a:gdLst>
                    <a:ahLst/>
                    <a:cxnLst>
                      <a:cxn ang="0">
                        <a:pos x="T0" y="T1"/>
                      </a:cxn>
                      <a:cxn ang="0">
                        <a:pos x="T2" y="T3"/>
                      </a:cxn>
                      <a:cxn ang="0">
                        <a:pos x="T4" y="T5"/>
                      </a:cxn>
                      <a:cxn ang="0">
                        <a:pos x="T6" y="T7"/>
                      </a:cxn>
                      <a:cxn ang="0">
                        <a:pos x="T8" y="T9"/>
                      </a:cxn>
                    </a:cxnLst>
                    <a:rect l="0" t="0" r="r" b="b"/>
                    <a:pathLst>
                      <a:path w="17" h="32">
                        <a:moveTo>
                          <a:pt x="0" y="6"/>
                        </a:moveTo>
                        <a:lnTo>
                          <a:pt x="0" y="23"/>
                        </a:lnTo>
                        <a:lnTo>
                          <a:pt x="16" y="31"/>
                        </a:lnTo>
                        <a:lnTo>
                          <a:pt x="16" y="0"/>
                        </a:lnTo>
                        <a:lnTo>
                          <a:pt x="0" y="6"/>
                        </a:lnTo>
                      </a:path>
                    </a:pathLst>
                  </a:custGeom>
                  <a:grpFill/>
                  <a:ln w="3175" cap="rnd" cmpd="sng">
                    <a:solidFill>
                      <a:schemeClr val="bg1"/>
                    </a:solidFill>
                    <a:prstDash val="solid"/>
                    <a:round/>
                    <a:headEnd/>
                    <a:tailEnd/>
                  </a:ln>
                  <a:effectLst/>
                </p:spPr>
                <p:txBody>
                  <a:bodyPr/>
                  <a:lstStyle/>
                  <a:p>
                    <a:endParaRPr lang="en-US"/>
                  </a:p>
                </p:txBody>
              </p:sp>
              <p:sp>
                <p:nvSpPr>
                  <p:cNvPr id="1917" name="Freeform 270">
                    <a:extLst>
                      <a:ext uri="{FF2B5EF4-FFF2-40B4-BE49-F238E27FC236}">
                        <a16:creationId xmlns:a16="http://schemas.microsoft.com/office/drawing/2014/main" id="{6275DE0D-9D63-E9D2-4CE9-ACC3BE106331}"/>
                      </a:ext>
                    </a:extLst>
                  </p:cNvPr>
                  <p:cNvSpPr>
                    <a:spLocks/>
                  </p:cNvSpPr>
                  <p:nvPr/>
                </p:nvSpPr>
                <p:spPr bwMode="gray">
                  <a:xfrm>
                    <a:off x="4969518" y="4154874"/>
                    <a:ext cx="39902" cy="63338"/>
                  </a:xfrm>
                  <a:custGeom>
                    <a:avLst/>
                    <a:gdLst>
                      <a:gd name="T0" fmla="*/ 0 w 26"/>
                      <a:gd name="T1" fmla="*/ 0 h 42"/>
                      <a:gd name="T2" fmla="*/ 9 w 26"/>
                      <a:gd name="T3" fmla="*/ 32 h 42"/>
                      <a:gd name="T4" fmla="*/ 9 w 26"/>
                      <a:gd name="T5" fmla="*/ 41 h 42"/>
                      <a:gd name="T6" fmla="*/ 19 w 26"/>
                      <a:gd name="T7" fmla="*/ 32 h 42"/>
                      <a:gd name="T8" fmla="*/ 25 w 26"/>
                      <a:gd name="T9" fmla="*/ 9 h 42"/>
                      <a:gd name="T10" fmla="*/ 19 w 26"/>
                      <a:gd name="T11" fmla="*/ 0 h 42"/>
                      <a:gd name="T12" fmla="*/ 0 w 26"/>
                      <a:gd name="T13" fmla="*/ 0 h 42"/>
                    </a:gdLst>
                    <a:ahLst/>
                    <a:cxnLst>
                      <a:cxn ang="0">
                        <a:pos x="T0" y="T1"/>
                      </a:cxn>
                      <a:cxn ang="0">
                        <a:pos x="T2" y="T3"/>
                      </a:cxn>
                      <a:cxn ang="0">
                        <a:pos x="T4" y="T5"/>
                      </a:cxn>
                      <a:cxn ang="0">
                        <a:pos x="T6" y="T7"/>
                      </a:cxn>
                      <a:cxn ang="0">
                        <a:pos x="T8" y="T9"/>
                      </a:cxn>
                      <a:cxn ang="0">
                        <a:pos x="T10" y="T11"/>
                      </a:cxn>
                      <a:cxn ang="0">
                        <a:pos x="T12" y="T13"/>
                      </a:cxn>
                    </a:cxnLst>
                    <a:rect l="0" t="0" r="r" b="b"/>
                    <a:pathLst>
                      <a:path w="26" h="42">
                        <a:moveTo>
                          <a:pt x="0" y="0"/>
                        </a:moveTo>
                        <a:lnTo>
                          <a:pt x="9" y="32"/>
                        </a:lnTo>
                        <a:lnTo>
                          <a:pt x="9" y="41"/>
                        </a:lnTo>
                        <a:lnTo>
                          <a:pt x="19" y="32"/>
                        </a:lnTo>
                        <a:lnTo>
                          <a:pt x="25" y="9"/>
                        </a:lnTo>
                        <a:lnTo>
                          <a:pt x="19" y="0"/>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18" name="Freeform 271">
                    <a:extLst>
                      <a:ext uri="{FF2B5EF4-FFF2-40B4-BE49-F238E27FC236}">
                        <a16:creationId xmlns:a16="http://schemas.microsoft.com/office/drawing/2014/main" id="{08E6D86C-BEA5-5507-EA25-DBD26ADFCA09}"/>
                      </a:ext>
                    </a:extLst>
                  </p:cNvPr>
                  <p:cNvSpPr>
                    <a:spLocks/>
                  </p:cNvSpPr>
                  <p:nvPr/>
                </p:nvSpPr>
                <p:spPr bwMode="gray">
                  <a:xfrm>
                    <a:off x="5060907" y="4228346"/>
                    <a:ext cx="63072" cy="39270"/>
                  </a:xfrm>
                  <a:custGeom>
                    <a:avLst/>
                    <a:gdLst>
                      <a:gd name="T0" fmla="*/ 0 w 41"/>
                      <a:gd name="T1" fmla="*/ 0 h 26"/>
                      <a:gd name="T2" fmla="*/ 0 w 41"/>
                      <a:gd name="T3" fmla="*/ 8 h 26"/>
                      <a:gd name="T4" fmla="*/ 32 w 41"/>
                      <a:gd name="T5" fmla="*/ 25 h 26"/>
                      <a:gd name="T6" fmla="*/ 40 w 41"/>
                      <a:gd name="T7" fmla="*/ 0 h 26"/>
                      <a:gd name="T8" fmla="*/ 23 w 41"/>
                      <a:gd name="T9" fmla="*/ 0 h 26"/>
                      <a:gd name="T10" fmla="*/ 7 w 41"/>
                      <a:gd name="T11" fmla="*/ 0 h 26"/>
                      <a:gd name="T12" fmla="*/ 0 w 4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0" y="0"/>
                        </a:moveTo>
                        <a:lnTo>
                          <a:pt x="0" y="8"/>
                        </a:lnTo>
                        <a:lnTo>
                          <a:pt x="32" y="25"/>
                        </a:lnTo>
                        <a:lnTo>
                          <a:pt x="40" y="0"/>
                        </a:lnTo>
                        <a:lnTo>
                          <a:pt x="23" y="0"/>
                        </a:lnTo>
                        <a:lnTo>
                          <a:pt x="7" y="0"/>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19" name="Freeform 272">
                    <a:extLst>
                      <a:ext uri="{FF2B5EF4-FFF2-40B4-BE49-F238E27FC236}">
                        <a16:creationId xmlns:a16="http://schemas.microsoft.com/office/drawing/2014/main" id="{AB8219B1-F8DF-8948-D839-A8A167120238}"/>
                      </a:ext>
                    </a:extLst>
                  </p:cNvPr>
                  <p:cNvSpPr>
                    <a:spLocks/>
                  </p:cNvSpPr>
                  <p:nvPr/>
                </p:nvSpPr>
                <p:spPr bwMode="gray">
                  <a:xfrm>
                    <a:off x="5232101" y="4228346"/>
                    <a:ext cx="41189" cy="39270"/>
                  </a:xfrm>
                  <a:custGeom>
                    <a:avLst/>
                    <a:gdLst>
                      <a:gd name="T0" fmla="*/ 0 w 26"/>
                      <a:gd name="T1" fmla="*/ 8 h 26"/>
                      <a:gd name="T2" fmla="*/ 9 w 26"/>
                      <a:gd name="T3" fmla="*/ 8 h 26"/>
                      <a:gd name="T4" fmla="*/ 9 w 26"/>
                      <a:gd name="T5" fmla="*/ 25 h 26"/>
                      <a:gd name="T6" fmla="*/ 16 w 26"/>
                      <a:gd name="T7" fmla="*/ 25 h 26"/>
                      <a:gd name="T8" fmla="*/ 25 w 26"/>
                      <a:gd name="T9" fmla="*/ 25 h 26"/>
                      <a:gd name="T10" fmla="*/ 16 w 26"/>
                      <a:gd name="T11" fmla="*/ 8 h 26"/>
                      <a:gd name="T12" fmla="*/ 25 w 26"/>
                      <a:gd name="T13" fmla="*/ 16 h 26"/>
                      <a:gd name="T14" fmla="*/ 25 w 26"/>
                      <a:gd name="T15" fmla="*/ 8 h 26"/>
                      <a:gd name="T16" fmla="*/ 9 w 26"/>
                      <a:gd name="T17" fmla="*/ 0 h 26"/>
                      <a:gd name="T18" fmla="*/ 0 w 26"/>
                      <a:gd name="T19" fmla="*/ 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grpFill/>
                  <a:ln w="3175" cap="rnd" cmpd="sng">
                    <a:solidFill>
                      <a:schemeClr val="bg1"/>
                    </a:solidFill>
                    <a:prstDash val="solid"/>
                    <a:round/>
                    <a:headEnd/>
                    <a:tailEnd/>
                  </a:ln>
                  <a:effectLst/>
                </p:spPr>
                <p:txBody>
                  <a:bodyPr/>
                  <a:lstStyle/>
                  <a:p>
                    <a:endParaRPr lang="en-US"/>
                  </a:p>
                </p:txBody>
              </p:sp>
              <p:sp>
                <p:nvSpPr>
                  <p:cNvPr id="1920" name="Freeform 274">
                    <a:extLst>
                      <a:ext uri="{FF2B5EF4-FFF2-40B4-BE49-F238E27FC236}">
                        <a16:creationId xmlns:a16="http://schemas.microsoft.com/office/drawing/2014/main" id="{DEE6C173-2C45-FBA4-6E14-F91621A965CB}"/>
                      </a:ext>
                    </a:extLst>
                  </p:cNvPr>
                  <p:cNvSpPr>
                    <a:spLocks/>
                  </p:cNvSpPr>
                  <p:nvPr/>
                </p:nvSpPr>
                <p:spPr bwMode="gray">
                  <a:xfrm>
                    <a:off x="4860107" y="4178943"/>
                    <a:ext cx="25743" cy="25335"/>
                  </a:xfrm>
                  <a:custGeom>
                    <a:avLst/>
                    <a:gdLst>
                      <a:gd name="T0" fmla="*/ 0 w 17"/>
                      <a:gd name="T1" fmla="*/ 9 h 17"/>
                      <a:gd name="T2" fmla="*/ 6 w 17"/>
                      <a:gd name="T3" fmla="*/ 16 h 17"/>
                      <a:gd name="T4" fmla="*/ 16 w 17"/>
                      <a:gd name="T5" fmla="*/ 9 h 17"/>
                      <a:gd name="T6" fmla="*/ 6 w 17"/>
                      <a:gd name="T7" fmla="*/ 0 h 17"/>
                      <a:gd name="T8" fmla="*/ 0 w 17"/>
                      <a:gd name="T9" fmla="*/ 9 h 17"/>
                    </a:gdLst>
                    <a:ahLst/>
                    <a:cxnLst>
                      <a:cxn ang="0">
                        <a:pos x="T0" y="T1"/>
                      </a:cxn>
                      <a:cxn ang="0">
                        <a:pos x="T2" y="T3"/>
                      </a:cxn>
                      <a:cxn ang="0">
                        <a:pos x="T4" y="T5"/>
                      </a:cxn>
                      <a:cxn ang="0">
                        <a:pos x="T6" y="T7"/>
                      </a:cxn>
                      <a:cxn ang="0">
                        <a:pos x="T8" y="T9"/>
                      </a:cxn>
                    </a:cxnLst>
                    <a:rect l="0" t="0" r="r" b="b"/>
                    <a:pathLst>
                      <a:path w="17" h="17">
                        <a:moveTo>
                          <a:pt x="0" y="9"/>
                        </a:moveTo>
                        <a:lnTo>
                          <a:pt x="6" y="16"/>
                        </a:lnTo>
                        <a:lnTo>
                          <a:pt x="16" y="9"/>
                        </a:lnTo>
                        <a:lnTo>
                          <a:pt x="6" y="0"/>
                        </a:lnTo>
                        <a:lnTo>
                          <a:pt x="0" y="9"/>
                        </a:lnTo>
                      </a:path>
                    </a:pathLst>
                  </a:custGeom>
                  <a:grpFill/>
                  <a:ln w="3175" cap="rnd" cmpd="sng">
                    <a:solidFill>
                      <a:schemeClr val="bg1"/>
                    </a:solidFill>
                    <a:prstDash val="solid"/>
                    <a:round/>
                    <a:headEnd/>
                    <a:tailEnd/>
                  </a:ln>
                  <a:effectLst/>
                </p:spPr>
                <p:txBody>
                  <a:bodyPr/>
                  <a:lstStyle/>
                  <a:p>
                    <a:endParaRPr lang="en-US"/>
                  </a:p>
                </p:txBody>
              </p:sp>
              <p:sp>
                <p:nvSpPr>
                  <p:cNvPr id="1921" name="Freeform 315">
                    <a:extLst>
                      <a:ext uri="{FF2B5EF4-FFF2-40B4-BE49-F238E27FC236}">
                        <a16:creationId xmlns:a16="http://schemas.microsoft.com/office/drawing/2014/main" id="{571318C0-6B02-109D-E85A-55121DEB8997}"/>
                      </a:ext>
                    </a:extLst>
                  </p:cNvPr>
                  <p:cNvSpPr>
                    <a:spLocks/>
                  </p:cNvSpPr>
                  <p:nvPr/>
                </p:nvSpPr>
                <p:spPr bwMode="gray">
                  <a:xfrm>
                    <a:off x="5196060" y="4116872"/>
                    <a:ext cx="38615" cy="77272"/>
                  </a:xfrm>
                  <a:custGeom>
                    <a:avLst/>
                    <a:gdLst>
                      <a:gd name="T0" fmla="*/ 0 w 25"/>
                      <a:gd name="T1" fmla="*/ 0 h 51"/>
                      <a:gd name="T2" fmla="*/ 9 w 25"/>
                      <a:gd name="T3" fmla="*/ 0 h 51"/>
                      <a:gd name="T4" fmla="*/ 15 w 25"/>
                      <a:gd name="T5" fmla="*/ 9 h 51"/>
                      <a:gd name="T6" fmla="*/ 15 w 25"/>
                      <a:gd name="T7" fmla="*/ 17 h 51"/>
                      <a:gd name="T8" fmla="*/ 24 w 25"/>
                      <a:gd name="T9" fmla="*/ 25 h 51"/>
                      <a:gd name="T10" fmla="*/ 24 w 25"/>
                      <a:gd name="T11" fmla="*/ 34 h 51"/>
                      <a:gd name="T12" fmla="*/ 9 w 25"/>
                      <a:gd name="T13" fmla="*/ 50 h 51"/>
                      <a:gd name="T14" fmla="*/ 0 w 25"/>
                      <a:gd name="T15" fmla="*/ 41 h 51"/>
                      <a:gd name="T16" fmla="*/ 0 w 25"/>
                      <a:gd name="T17" fmla="*/ 9 h 51"/>
                      <a:gd name="T18" fmla="*/ 0 w 25"/>
                      <a:gd name="T1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grpFill/>
                  <a:ln w="3175" cap="rnd" cmpd="sng">
                    <a:solidFill>
                      <a:schemeClr val="bg1"/>
                    </a:solidFill>
                    <a:prstDash val="solid"/>
                    <a:round/>
                    <a:headEnd/>
                    <a:tailEnd/>
                  </a:ln>
                  <a:effectLst/>
                </p:spPr>
                <p:txBody>
                  <a:bodyPr/>
                  <a:lstStyle/>
                  <a:p>
                    <a:endParaRPr lang="en-US"/>
                  </a:p>
                </p:txBody>
              </p:sp>
              <p:sp>
                <p:nvSpPr>
                  <p:cNvPr id="1922" name="Freeform 316">
                    <a:extLst>
                      <a:ext uri="{FF2B5EF4-FFF2-40B4-BE49-F238E27FC236}">
                        <a16:creationId xmlns:a16="http://schemas.microsoft.com/office/drawing/2014/main" id="{97B49F56-8AC9-AA9B-F0CA-02CA751CB548}"/>
                      </a:ext>
                    </a:extLst>
                  </p:cNvPr>
                  <p:cNvSpPr>
                    <a:spLocks/>
                  </p:cNvSpPr>
                  <p:nvPr/>
                </p:nvSpPr>
                <p:spPr bwMode="gray">
                  <a:xfrm>
                    <a:off x="5257845" y="4070002"/>
                    <a:ext cx="126143" cy="86140"/>
                  </a:xfrm>
                  <a:custGeom>
                    <a:avLst/>
                    <a:gdLst>
                      <a:gd name="T0" fmla="*/ 81 w 82"/>
                      <a:gd name="T1" fmla="*/ 6 h 57"/>
                      <a:gd name="T2" fmla="*/ 81 w 82"/>
                      <a:gd name="T3" fmla="*/ 16 h 57"/>
                      <a:gd name="T4" fmla="*/ 74 w 82"/>
                      <a:gd name="T5" fmla="*/ 16 h 57"/>
                      <a:gd name="T6" fmla="*/ 66 w 82"/>
                      <a:gd name="T7" fmla="*/ 31 h 57"/>
                      <a:gd name="T8" fmla="*/ 74 w 82"/>
                      <a:gd name="T9" fmla="*/ 40 h 57"/>
                      <a:gd name="T10" fmla="*/ 58 w 82"/>
                      <a:gd name="T11" fmla="*/ 40 h 57"/>
                      <a:gd name="T12" fmla="*/ 49 w 82"/>
                      <a:gd name="T13" fmla="*/ 48 h 57"/>
                      <a:gd name="T14" fmla="*/ 41 w 82"/>
                      <a:gd name="T15" fmla="*/ 56 h 57"/>
                      <a:gd name="T16" fmla="*/ 24 w 82"/>
                      <a:gd name="T17" fmla="*/ 48 h 57"/>
                      <a:gd name="T18" fmla="*/ 9 w 82"/>
                      <a:gd name="T19" fmla="*/ 48 h 57"/>
                      <a:gd name="T20" fmla="*/ 9 w 82"/>
                      <a:gd name="T21" fmla="*/ 40 h 57"/>
                      <a:gd name="T22" fmla="*/ 0 w 82"/>
                      <a:gd name="T23" fmla="*/ 31 h 57"/>
                      <a:gd name="T24" fmla="*/ 9 w 82"/>
                      <a:gd name="T25" fmla="*/ 25 h 57"/>
                      <a:gd name="T26" fmla="*/ 0 w 82"/>
                      <a:gd name="T27" fmla="*/ 6 h 57"/>
                      <a:gd name="T28" fmla="*/ 0 w 82"/>
                      <a:gd name="T29" fmla="*/ 0 h 57"/>
                      <a:gd name="T30" fmla="*/ 9 w 82"/>
                      <a:gd name="T31" fmla="*/ 6 h 57"/>
                      <a:gd name="T32" fmla="*/ 16 w 82"/>
                      <a:gd name="T33" fmla="*/ 6 h 57"/>
                      <a:gd name="T34" fmla="*/ 41 w 82"/>
                      <a:gd name="T35" fmla="*/ 16 h 57"/>
                      <a:gd name="T36" fmla="*/ 58 w 82"/>
                      <a:gd name="T37" fmla="*/ 0 h 57"/>
                      <a:gd name="T38" fmla="*/ 81 w 82"/>
                      <a:gd name="T39"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23" name="Freeform 317">
                    <a:extLst>
                      <a:ext uri="{FF2B5EF4-FFF2-40B4-BE49-F238E27FC236}">
                        <a16:creationId xmlns:a16="http://schemas.microsoft.com/office/drawing/2014/main" id="{53E41A11-FF33-28F0-2954-9C0B4A560068}"/>
                      </a:ext>
                    </a:extLst>
                  </p:cNvPr>
                  <p:cNvSpPr>
                    <a:spLocks/>
                  </p:cNvSpPr>
                  <p:nvPr/>
                </p:nvSpPr>
                <p:spPr bwMode="gray">
                  <a:xfrm>
                    <a:off x="5132989" y="3947125"/>
                    <a:ext cx="126143" cy="86140"/>
                  </a:xfrm>
                  <a:custGeom>
                    <a:avLst/>
                    <a:gdLst>
                      <a:gd name="T0" fmla="*/ 33 w 82"/>
                      <a:gd name="T1" fmla="*/ 56 h 57"/>
                      <a:gd name="T2" fmla="*/ 50 w 82"/>
                      <a:gd name="T3" fmla="*/ 47 h 57"/>
                      <a:gd name="T4" fmla="*/ 65 w 82"/>
                      <a:gd name="T5" fmla="*/ 47 h 57"/>
                      <a:gd name="T6" fmla="*/ 74 w 82"/>
                      <a:gd name="T7" fmla="*/ 16 h 57"/>
                      <a:gd name="T8" fmla="*/ 81 w 82"/>
                      <a:gd name="T9" fmla="*/ 16 h 57"/>
                      <a:gd name="T10" fmla="*/ 74 w 82"/>
                      <a:gd name="T11" fmla="*/ 7 h 57"/>
                      <a:gd name="T12" fmla="*/ 56 w 82"/>
                      <a:gd name="T13" fmla="*/ 0 h 57"/>
                      <a:gd name="T14" fmla="*/ 25 w 82"/>
                      <a:gd name="T15" fmla="*/ 16 h 57"/>
                      <a:gd name="T16" fmla="*/ 10 w 82"/>
                      <a:gd name="T17" fmla="*/ 16 h 57"/>
                      <a:gd name="T18" fmla="*/ 0 w 82"/>
                      <a:gd name="T19" fmla="*/ 32 h 57"/>
                      <a:gd name="T20" fmla="*/ 0 w 82"/>
                      <a:gd name="T21" fmla="*/ 40 h 57"/>
                      <a:gd name="T22" fmla="*/ 25 w 82"/>
                      <a:gd name="T23" fmla="*/ 56 h 57"/>
                      <a:gd name="T24" fmla="*/ 33 w 82"/>
                      <a:gd name="T25" fmla="*/ 5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24" name="Freeform 318">
                    <a:extLst>
                      <a:ext uri="{FF2B5EF4-FFF2-40B4-BE49-F238E27FC236}">
                        <a16:creationId xmlns:a16="http://schemas.microsoft.com/office/drawing/2014/main" id="{8C1C9AC1-6FDF-0368-8099-EBC6701B6C9D}"/>
                      </a:ext>
                    </a:extLst>
                  </p:cNvPr>
                  <p:cNvSpPr>
                    <a:spLocks/>
                  </p:cNvSpPr>
                  <p:nvPr/>
                </p:nvSpPr>
                <p:spPr bwMode="gray">
                  <a:xfrm>
                    <a:off x="5082789" y="3995262"/>
                    <a:ext cx="51487" cy="38002"/>
                  </a:xfrm>
                  <a:custGeom>
                    <a:avLst/>
                    <a:gdLst>
                      <a:gd name="T0" fmla="*/ 32 w 33"/>
                      <a:gd name="T1" fmla="*/ 8 h 25"/>
                      <a:gd name="T2" fmla="*/ 25 w 33"/>
                      <a:gd name="T3" fmla="*/ 8 h 25"/>
                      <a:gd name="T4" fmla="*/ 17 w 33"/>
                      <a:gd name="T5" fmla="*/ 24 h 25"/>
                      <a:gd name="T6" fmla="*/ 8 w 33"/>
                      <a:gd name="T7" fmla="*/ 24 h 25"/>
                      <a:gd name="T8" fmla="*/ 0 w 33"/>
                      <a:gd name="T9" fmla="*/ 24 h 25"/>
                      <a:gd name="T10" fmla="*/ 0 w 33"/>
                      <a:gd name="T11" fmla="*/ 15 h 25"/>
                      <a:gd name="T12" fmla="*/ 0 w 33"/>
                      <a:gd name="T13" fmla="*/ 8 h 25"/>
                      <a:gd name="T14" fmla="*/ 32 w 33"/>
                      <a:gd name="T15" fmla="*/ 0 h 25"/>
                      <a:gd name="T16" fmla="*/ 32 w 33"/>
                      <a:gd name="T1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25">
                        <a:moveTo>
                          <a:pt x="32" y="8"/>
                        </a:moveTo>
                        <a:lnTo>
                          <a:pt x="25" y="8"/>
                        </a:lnTo>
                        <a:lnTo>
                          <a:pt x="17" y="24"/>
                        </a:lnTo>
                        <a:lnTo>
                          <a:pt x="8" y="24"/>
                        </a:lnTo>
                        <a:lnTo>
                          <a:pt x="0" y="24"/>
                        </a:lnTo>
                        <a:lnTo>
                          <a:pt x="0" y="15"/>
                        </a:lnTo>
                        <a:lnTo>
                          <a:pt x="0" y="8"/>
                        </a:lnTo>
                        <a:lnTo>
                          <a:pt x="32" y="0"/>
                        </a:lnTo>
                        <a:lnTo>
                          <a:pt x="32" y="8"/>
                        </a:lnTo>
                      </a:path>
                    </a:pathLst>
                  </a:custGeom>
                  <a:grpFill/>
                  <a:ln w="3175" cap="rnd" cmpd="sng">
                    <a:solidFill>
                      <a:schemeClr val="bg1"/>
                    </a:solidFill>
                    <a:prstDash val="solid"/>
                    <a:round/>
                    <a:headEnd/>
                    <a:tailEnd/>
                  </a:ln>
                  <a:effectLst/>
                </p:spPr>
                <p:txBody>
                  <a:bodyPr/>
                  <a:lstStyle/>
                  <a:p>
                    <a:endParaRPr lang="en-US"/>
                  </a:p>
                </p:txBody>
              </p:sp>
              <p:sp>
                <p:nvSpPr>
                  <p:cNvPr id="1925" name="Freeform 319">
                    <a:extLst>
                      <a:ext uri="{FF2B5EF4-FFF2-40B4-BE49-F238E27FC236}">
                        <a16:creationId xmlns:a16="http://schemas.microsoft.com/office/drawing/2014/main" id="{957A6E7D-0CFB-7F26-2637-DD6FC845911B}"/>
                      </a:ext>
                    </a:extLst>
                  </p:cNvPr>
                  <p:cNvSpPr>
                    <a:spLocks/>
                  </p:cNvSpPr>
                  <p:nvPr/>
                </p:nvSpPr>
                <p:spPr bwMode="gray">
                  <a:xfrm>
                    <a:off x="5082789" y="4007930"/>
                    <a:ext cx="114558" cy="110208"/>
                  </a:xfrm>
                  <a:custGeom>
                    <a:avLst/>
                    <a:gdLst>
                      <a:gd name="T0" fmla="*/ 32 w 74"/>
                      <a:gd name="T1" fmla="*/ 0 h 73"/>
                      <a:gd name="T2" fmla="*/ 57 w 74"/>
                      <a:gd name="T3" fmla="*/ 16 h 73"/>
                      <a:gd name="T4" fmla="*/ 65 w 74"/>
                      <a:gd name="T5" fmla="*/ 16 h 73"/>
                      <a:gd name="T6" fmla="*/ 73 w 74"/>
                      <a:gd name="T7" fmla="*/ 25 h 73"/>
                      <a:gd name="T8" fmla="*/ 73 w 74"/>
                      <a:gd name="T9" fmla="*/ 32 h 73"/>
                      <a:gd name="T10" fmla="*/ 65 w 74"/>
                      <a:gd name="T11" fmla="*/ 32 h 73"/>
                      <a:gd name="T12" fmla="*/ 65 w 74"/>
                      <a:gd name="T13" fmla="*/ 25 h 73"/>
                      <a:gd name="T14" fmla="*/ 42 w 74"/>
                      <a:gd name="T15" fmla="*/ 16 h 73"/>
                      <a:gd name="T16" fmla="*/ 32 w 74"/>
                      <a:gd name="T17" fmla="*/ 25 h 73"/>
                      <a:gd name="T18" fmla="*/ 32 w 74"/>
                      <a:gd name="T19" fmla="*/ 16 h 73"/>
                      <a:gd name="T20" fmla="*/ 25 w 74"/>
                      <a:gd name="T21" fmla="*/ 25 h 73"/>
                      <a:gd name="T22" fmla="*/ 32 w 74"/>
                      <a:gd name="T23" fmla="*/ 32 h 73"/>
                      <a:gd name="T24" fmla="*/ 48 w 74"/>
                      <a:gd name="T25" fmla="*/ 57 h 73"/>
                      <a:gd name="T26" fmla="*/ 57 w 74"/>
                      <a:gd name="T27" fmla="*/ 66 h 73"/>
                      <a:gd name="T28" fmla="*/ 57 w 74"/>
                      <a:gd name="T29" fmla="*/ 72 h 73"/>
                      <a:gd name="T30" fmla="*/ 42 w 74"/>
                      <a:gd name="T31" fmla="*/ 57 h 73"/>
                      <a:gd name="T32" fmla="*/ 32 w 74"/>
                      <a:gd name="T33" fmla="*/ 57 h 73"/>
                      <a:gd name="T34" fmla="*/ 17 w 74"/>
                      <a:gd name="T35" fmla="*/ 41 h 73"/>
                      <a:gd name="T36" fmla="*/ 17 w 74"/>
                      <a:gd name="T37" fmla="*/ 25 h 73"/>
                      <a:gd name="T38" fmla="*/ 8 w 74"/>
                      <a:gd name="T39" fmla="*/ 25 h 73"/>
                      <a:gd name="T40" fmla="*/ 0 w 74"/>
                      <a:gd name="T41" fmla="*/ 32 h 73"/>
                      <a:gd name="T42" fmla="*/ 0 w 74"/>
                      <a:gd name="T43" fmla="*/ 16 h 73"/>
                      <a:gd name="T44" fmla="*/ 17 w 74"/>
                      <a:gd name="T45" fmla="*/ 16 h 73"/>
                      <a:gd name="T46" fmla="*/ 25 w 74"/>
                      <a:gd name="T47" fmla="*/ 0 h 73"/>
                      <a:gd name="T48" fmla="*/ 32 w 74"/>
                      <a:gd name="T4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grpFill/>
                  <a:ln w="3175" cap="rnd" cmpd="sng">
                    <a:solidFill>
                      <a:schemeClr val="bg1"/>
                    </a:solidFill>
                    <a:prstDash val="solid"/>
                    <a:round/>
                    <a:headEnd/>
                    <a:tailEnd/>
                  </a:ln>
                  <a:effectLst/>
                </p:spPr>
                <p:txBody>
                  <a:bodyPr/>
                  <a:lstStyle/>
                  <a:p>
                    <a:endParaRPr lang="en-US"/>
                  </a:p>
                </p:txBody>
              </p:sp>
              <p:sp>
                <p:nvSpPr>
                  <p:cNvPr id="1926" name="Freeform 320">
                    <a:extLst>
                      <a:ext uri="{FF2B5EF4-FFF2-40B4-BE49-F238E27FC236}">
                        <a16:creationId xmlns:a16="http://schemas.microsoft.com/office/drawing/2014/main" id="{49B0E748-2757-54FD-705C-D4334C0E8EBF}"/>
                      </a:ext>
                    </a:extLst>
                  </p:cNvPr>
                  <p:cNvSpPr>
                    <a:spLocks/>
                  </p:cNvSpPr>
                  <p:nvPr/>
                </p:nvSpPr>
                <p:spPr bwMode="gray">
                  <a:xfrm>
                    <a:off x="5171604" y="4094069"/>
                    <a:ext cx="39902" cy="38002"/>
                  </a:xfrm>
                  <a:custGeom>
                    <a:avLst/>
                    <a:gdLst>
                      <a:gd name="T0" fmla="*/ 0 w 26"/>
                      <a:gd name="T1" fmla="*/ 15 h 25"/>
                      <a:gd name="T2" fmla="*/ 16 w 26"/>
                      <a:gd name="T3" fmla="*/ 24 h 25"/>
                      <a:gd name="T4" fmla="*/ 16 w 26"/>
                      <a:gd name="T5" fmla="*/ 15 h 25"/>
                      <a:gd name="T6" fmla="*/ 25 w 26"/>
                      <a:gd name="T7" fmla="*/ 15 h 25"/>
                      <a:gd name="T8" fmla="*/ 25 w 26"/>
                      <a:gd name="T9" fmla="*/ 9 h 25"/>
                      <a:gd name="T10" fmla="*/ 16 w 26"/>
                      <a:gd name="T11" fmla="*/ 0 h 25"/>
                      <a:gd name="T12" fmla="*/ 8 w 26"/>
                      <a:gd name="T13" fmla="*/ 0 h 25"/>
                      <a:gd name="T14" fmla="*/ 0 w 26"/>
                      <a:gd name="T15" fmla="*/ 9 h 25"/>
                      <a:gd name="T16" fmla="*/ 0 w 26"/>
                      <a:gd name="T17"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5">
                        <a:moveTo>
                          <a:pt x="0" y="15"/>
                        </a:moveTo>
                        <a:lnTo>
                          <a:pt x="16" y="24"/>
                        </a:lnTo>
                        <a:lnTo>
                          <a:pt x="16" y="15"/>
                        </a:lnTo>
                        <a:lnTo>
                          <a:pt x="25" y="15"/>
                        </a:lnTo>
                        <a:lnTo>
                          <a:pt x="25" y="9"/>
                        </a:lnTo>
                        <a:lnTo>
                          <a:pt x="16" y="0"/>
                        </a:lnTo>
                        <a:lnTo>
                          <a:pt x="8" y="0"/>
                        </a:lnTo>
                        <a:lnTo>
                          <a:pt x="0" y="9"/>
                        </a:lnTo>
                        <a:lnTo>
                          <a:pt x="0" y="15"/>
                        </a:lnTo>
                      </a:path>
                    </a:pathLst>
                  </a:custGeom>
                  <a:grpFill/>
                  <a:ln w="3175" cap="rnd" cmpd="sng">
                    <a:solidFill>
                      <a:schemeClr val="bg1"/>
                    </a:solidFill>
                    <a:prstDash val="solid"/>
                    <a:round/>
                    <a:headEnd/>
                    <a:tailEnd/>
                  </a:ln>
                  <a:effectLst/>
                </p:spPr>
                <p:txBody>
                  <a:bodyPr/>
                  <a:lstStyle/>
                  <a:p>
                    <a:endParaRPr lang="en-US"/>
                  </a:p>
                </p:txBody>
              </p:sp>
              <p:sp>
                <p:nvSpPr>
                  <p:cNvPr id="1927" name="Freeform 321">
                    <a:extLst>
                      <a:ext uri="{FF2B5EF4-FFF2-40B4-BE49-F238E27FC236}">
                        <a16:creationId xmlns:a16="http://schemas.microsoft.com/office/drawing/2014/main" id="{1415A8AF-8922-CAC1-449D-B18078333648}"/>
                      </a:ext>
                    </a:extLst>
                  </p:cNvPr>
                  <p:cNvSpPr>
                    <a:spLocks/>
                  </p:cNvSpPr>
                  <p:nvPr/>
                </p:nvSpPr>
                <p:spPr bwMode="gray">
                  <a:xfrm>
                    <a:off x="5183189" y="4018064"/>
                    <a:ext cx="90102" cy="114008"/>
                  </a:xfrm>
                  <a:custGeom>
                    <a:avLst/>
                    <a:gdLst>
                      <a:gd name="T0" fmla="*/ 8 w 58"/>
                      <a:gd name="T1" fmla="*/ 25 h 75"/>
                      <a:gd name="T2" fmla="*/ 8 w 58"/>
                      <a:gd name="T3" fmla="*/ 18 h 75"/>
                      <a:gd name="T4" fmla="*/ 0 w 58"/>
                      <a:gd name="T5" fmla="*/ 9 h 75"/>
                      <a:gd name="T6" fmla="*/ 17 w 58"/>
                      <a:gd name="T7" fmla="*/ 0 h 75"/>
                      <a:gd name="T8" fmla="*/ 32 w 58"/>
                      <a:gd name="T9" fmla="*/ 25 h 75"/>
                      <a:gd name="T10" fmla="*/ 48 w 58"/>
                      <a:gd name="T11" fmla="*/ 25 h 75"/>
                      <a:gd name="T12" fmla="*/ 48 w 58"/>
                      <a:gd name="T13" fmla="*/ 34 h 75"/>
                      <a:gd name="T14" fmla="*/ 48 w 58"/>
                      <a:gd name="T15" fmla="*/ 40 h 75"/>
                      <a:gd name="T16" fmla="*/ 57 w 58"/>
                      <a:gd name="T17" fmla="*/ 59 h 75"/>
                      <a:gd name="T18" fmla="*/ 48 w 58"/>
                      <a:gd name="T19" fmla="*/ 65 h 75"/>
                      <a:gd name="T20" fmla="*/ 32 w 58"/>
                      <a:gd name="T21" fmla="*/ 65 h 75"/>
                      <a:gd name="T22" fmla="*/ 23 w 58"/>
                      <a:gd name="T23" fmla="*/ 74 h 75"/>
                      <a:gd name="T24" fmla="*/ 17 w 58"/>
                      <a:gd name="T25" fmla="*/ 65 h 75"/>
                      <a:gd name="T26" fmla="*/ 17 w 58"/>
                      <a:gd name="T27" fmla="*/ 59 h 75"/>
                      <a:gd name="T28" fmla="*/ 8 w 58"/>
                      <a:gd name="T29" fmla="*/ 50 h 75"/>
                      <a:gd name="T30" fmla="*/ 8 w 58"/>
                      <a:gd name="T31"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grpFill/>
                  <a:ln w="3175" cap="rnd" cmpd="sng">
                    <a:solidFill>
                      <a:schemeClr val="bg1"/>
                    </a:solidFill>
                    <a:prstDash val="solid"/>
                    <a:round/>
                    <a:headEnd/>
                    <a:tailEnd/>
                  </a:ln>
                  <a:effectLst/>
                </p:spPr>
                <p:txBody>
                  <a:bodyPr/>
                  <a:lstStyle/>
                  <a:p>
                    <a:endParaRPr lang="en-US"/>
                  </a:p>
                </p:txBody>
              </p:sp>
              <p:sp>
                <p:nvSpPr>
                  <p:cNvPr id="1928" name="Freeform 322">
                    <a:extLst>
                      <a:ext uri="{FF2B5EF4-FFF2-40B4-BE49-F238E27FC236}">
                        <a16:creationId xmlns:a16="http://schemas.microsoft.com/office/drawing/2014/main" id="{1FAE0F56-3E0A-7F66-E078-BDDB02E58EDD}"/>
                      </a:ext>
                    </a:extLst>
                  </p:cNvPr>
                  <p:cNvSpPr>
                    <a:spLocks/>
                  </p:cNvSpPr>
                  <p:nvPr/>
                </p:nvSpPr>
                <p:spPr bwMode="gray">
                  <a:xfrm>
                    <a:off x="5219230" y="4116872"/>
                    <a:ext cx="54061" cy="39270"/>
                  </a:xfrm>
                  <a:custGeom>
                    <a:avLst/>
                    <a:gdLst>
                      <a:gd name="T0" fmla="*/ 9 w 35"/>
                      <a:gd name="T1" fmla="*/ 25 h 26"/>
                      <a:gd name="T2" fmla="*/ 0 w 35"/>
                      <a:gd name="T3" fmla="*/ 17 h 26"/>
                      <a:gd name="T4" fmla="*/ 0 w 35"/>
                      <a:gd name="T5" fmla="*/ 9 h 26"/>
                      <a:gd name="T6" fmla="*/ 9 w 35"/>
                      <a:gd name="T7" fmla="*/ 0 h 26"/>
                      <a:gd name="T8" fmla="*/ 25 w 35"/>
                      <a:gd name="T9" fmla="*/ 0 h 26"/>
                      <a:gd name="T10" fmla="*/ 34 w 35"/>
                      <a:gd name="T11" fmla="*/ 9 h 26"/>
                      <a:gd name="T12" fmla="*/ 34 w 35"/>
                      <a:gd name="T13" fmla="*/ 17 h 26"/>
                      <a:gd name="T14" fmla="*/ 9 w 35"/>
                      <a:gd name="T15" fmla="*/ 25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6">
                        <a:moveTo>
                          <a:pt x="9" y="25"/>
                        </a:moveTo>
                        <a:lnTo>
                          <a:pt x="0" y="17"/>
                        </a:lnTo>
                        <a:lnTo>
                          <a:pt x="0" y="9"/>
                        </a:lnTo>
                        <a:lnTo>
                          <a:pt x="9" y="0"/>
                        </a:lnTo>
                        <a:lnTo>
                          <a:pt x="25" y="0"/>
                        </a:lnTo>
                        <a:lnTo>
                          <a:pt x="34" y="9"/>
                        </a:lnTo>
                        <a:lnTo>
                          <a:pt x="34" y="17"/>
                        </a:lnTo>
                        <a:lnTo>
                          <a:pt x="9" y="25"/>
                        </a:lnTo>
                      </a:path>
                    </a:pathLst>
                  </a:custGeom>
                  <a:grpFill/>
                  <a:ln w="3175" cap="rnd" cmpd="sng">
                    <a:solidFill>
                      <a:schemeClr val="bg1"/>
                    </a:solidFill>
                    <a:prstDash val="solid"/>
                    <a:round/>
                    <a:headEnd/>
                    <a:tailEnd/>
                  </a:ln>
                  <a:effectLst/>
                </p:spPr>
                <p:txBody>
                  <a:bodyPr/>
                  <a:lstStyle/>
                  <a:p>
                    <a:endParaRPr lang="en-US"/>
                  </a:p>
                </p:txBody>
              </p:sp>
              <p:sp>
                <p:nvSpPr>
                  <p:cNvPr id="1929" name="Freeform 323">
                    <a:extLst>
                      <a:ext uri="{FF2B5EF4-FFF2-40B4-BE49-F238E27FC236}">
                        <a16:creationId xmlns:a16="http://schemas.microsoft.com/office/drawing/2014/main" id="{8EE03EDD-CC2F-F95C-7FE2-D909A13F3198}"/>
                      </a:ext>
                    </a:extLst>
                  </p:cNvPr>
                  <p:cNvSpPr>
                    <a:spLocks/>
                  </p:cNvSpPr>
                  <p:nvPr/>
                </p:nvSpPr>
                <p:spPr bwMode="gray">
                  <a:xfrm>
                    <a:off x="5121404" y="4031998"/>
                    <a:ext cx="75943" cy="77272"/>
                  </a:xfrm>
                  <a:custGeom>
                    <a:avLst/>
                    <a:gdLst>
                      <a:gd name="T0" fmla="*/ 7 w 49"/>
                      <a:gd name="T1" fmla="*/ 16 h 51"/>
                      <a:gd name="T2" fmla="*/ 23 w 49"/>
                      <a:gd name="T3" fmla="*/ 41 h 51"/>
                      <a:gd name="T4" fmla="*/ 32 w 49"/>
                      <a:gd name="T5" fmla="*/ 50 h 51"/>
                      <a:gd name="T6" fmla="*/ 40 w 49"/>
                      <a:gd name="T7" fmla="*/ 41 h 51"/>
                      <a:gd name="T8" fmla="*/ 48 w 49"/>
                      <a:gd name="T9" fmla="*/ 41 h 51"/>
                      <a:gd name="T10" fmla="*/ 48 w 49"/>
                      <a:gd name="T11" fmla="*/ 16 h 51"/>
                      <a:gd name="T12" fmla="*/ 40 w 49"/>
                      <a:gd name="T13" fmla="*/ 16 h 51"/>
                      <a:gd name="T14" fmla="*/ 40 w 49"/>
                      <a:gd name="T15" fmla="*/ 9 h 51"/>
                      <a:gd name="T16" fmla="*/ 17 w 49"/>
                      <a:gd name="T17" fmla="*/ 0 h 51"/>
                      <a:gd name="T18" fmla="*/ 7 w 49"/>
                      <a:gd name="T19" fmla="*/ 9 h 51"/>
                      <a:gd name="T20" fmla="*/ 7 w 49"/>
                      <a:gd name="T21" fmla="*/ 0 h 51"/>
                      <a:gd name="T22" fmla="*/ 0 w 49"/>
                      <a:gd name="T23" fmla="*/ 9 h 51"/>
                      <a:gd name="T24" fmla="*/ 7 w 49"/>
                      <a:gd name="T25" fmla="*/ 1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grpFill/>
                  <a:ln w="3175" cap="rnd" cmpd="sng">
                    <a:solidFill>
                      <a:schemeClr val="bg1"/>
                    </a:solidFill>
                    <a:prstDash val="solid"/>
                    <a:round/>
                    <a:headEnd/>
                    <a:tailEnd/>
                  </a:ln>
                  <a:effectLst/>
                </p:spPr>
                <p:txBody>
                  <a:bodyPr/>
                  <a:lstStyle/>
                  <a:p>
                    <a:endParaRPr lang="en-US"/>
                  </a:p>
                </p:txBody>
              </p:sp>
              <p:sp>
                <p:nvSpPr>
                  <p:cNvPr id="1930" name="Freeform 324">
                    <a:extLst>
                      <a:ext uri="{FF2B5EF4-FFF2-40B4-BE49-F238E27FC236}">
                        <a16:creationId xmlns:a16="http://schemas.microsoft.com/office/drawing/2014/main" id="{583F67A7-84E9-5DD0-83DE-B54E89E85F50}"/>
                      </a:ext>
                    </a:extLst>
                  </p:cNvPr>
                  <p:cNvSpPr>
                    <a:spLocks/>
                  </p:cNvSpPr>
                  <p:nvPr/>
                </p:nvSpPr>
                <p:spPr bwMode="gray">
                  <a:xfrm>
                    <a:off x="5046748" y="3871119"/>
                    <a:ext cx="137728" cy="77272"/>
                  </a:xfrm>
                  <a:custGeom>
                    <a:avLst/>
                    <a:gdLst>
                      <a:gd name="T0" fmla="*/ 89 w 90"/>
                      <a:gd name="T1" fmla="*/ 34 h 51"/>
                      <a:gd name="T2" fmla="*/ 72 w 90"/>
                      <a:gd name="T3" fmla="*/ 17 h 51"/>
                      <a:gd name="T4" fmla="*/ 66 w 90"/>
                      <a:gd name="T5" fmla="*/ 17 h 51"/>
                      <a:gd name="T6" fmla="*/ 49 w 90"/>
                      <a:gd name="T7" fmla="*/ 9 h 51"/>
                      <a:gd name="T8" fmla="*/ 41 w 90"/>
                      <a:gd name="T9" fmla="*/ 0 h 51"/>
                      <a:gd name="T10" fmla="*/ 32 w 90"/>
                      <a:gd name="T11" fmla="*/ 0 h 51"/>
                      <a:gd name="T12" fmla="*/ 16 w 90"/>
                      <a:gd name="T13" fmla="*/ 9 h 51"/>
                      <a:gd name="T14" fmla="*/ 0 w 90"/>
                      <a:gd name="T15" fmla="*/ 17 h 51"/>
                      <a:gd name="T16" fmla="*/ 9 w 90"/>
                      <a:gd name="T17" fmla="*/ 34 h 51"/>
                      <a:gd name="T18" fmla="*/ 24 w 90"/>
                      <a:gd name="T19" fmla="*/ 50 h 51"/>
                      <a:gd name="T20" fmla="*/ 41 w 90"/>
                      <a:gd name="T21" fmla="*/ 50 h 51"/>
                      <a:gd name="T22" fmla="*/ 41 w 90"/>
                      <a:gd name="T23" fmla="*/ 42 h 51"/>
                      <a:gd name="T24" fmla="*/ 66 w 90"/>
                      <a:gd name="T25" fmla="*/ 50 h 51"/>
                      <a:gd name="T26" fmla="*/ 89 w 90"/>
                      <a:gd name="T27" fmla="*/ 3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931" name="Freeform 328">
                    <a:extLst>
                      <a:ext uri="{FF2B5EF4-FFF2-40B4-BE49-F238E27FC236}">
                        <a16:creationId xmlns:a16="http://schemas.microsoft.com/office/drawing/2014/main" id="{924012C1-8FBF-091E-786E-24BF2309AAF4}"/>
                      </a:ext>
                    </a:extLst>
                  </p:cNvPr>
                  <p:cNvSpPr>
                    <a:spLocks/>
                  </p:cNvSpPr>
                  <p:nvPr/>
                </p:nvSpPr>
                <p:spPr bwMode="gray">
                  <a:xfrm>
                    <a:off x="5328639" y="3947125"/>
                    <a:ext cx="84954" cy="93740"/>
                  </a:xfrm>
                  <a:custGeom>
                    <a:avLst/>
                    <a:gdLst>
                      <a:gd name="T0" fmla="*/ 36 w 53"/>
                      <a:gd name="T1" fmla="*/ 41 h 60"/>
                      <a:gd name="T2" fmla="*/ 53 w 53"/>
                      <a:gd name="T3" fmla="*/ 39 h 60"/>
                      <a:gd name="T4" fmla="*/ 44 w 53"/>
                      <a:gd name="T5" fmla="*/ 18 h 60"/>
                      <a:gd name="T6" fmla="*/ 45 w 53"/>
                      <a:gd name="T7" fmla="*/ 5 h 60"/>
                      <a:gd name="T8" fmla="*/ 18 w 53"/>
                      <a:gd name="T9" fmla="*/ 0 h 60"/>
                      <a:gd name="T10" fmla="*/ 0 w 53"/>
                      <a:gd name="T11" fmla="*/ 9 h 60"/>
                      <a:gd name="T12" fmla="*/ 12 w 53"/>
                      <a:gd name="T13" fmla="*/ 11 h 60"/>
                      <a:gd name="T14" fmla="*/ 26 w 53"/>
                      <a:gd name="T15" fmla="*/ 36 h 60"/>
                      <a:gd name="T16" fmla="*/ 27 w 53"/>
                      <a:gd name="T17" fmla="*/ 60 h 60"/>
                      <a:gd name="T18" fmla="*/ 36 w 53"/>
                      <a:gd name="T19"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grpFill/>
                  <a:ln w="3175" cap="flat" cmpd="sng">
                    <a:solidFill>
                      <a:schemeClr val="bg1"/>
                    </a:solidFill>
                    <a:prstDash val="solid"/>
                    <a:round/>
                    <a:headEnd type="none" w="med" len="med"/>
                    <a:tailEnd type="none" w="med" len="med"/>
                  </a:ln>
                  <a:effectLst/>
                </p:spPr>
                <p:txBody>
                  <a:bodyPr wrap="none" anchor="ctr"/>
                  <a:lstStyle/>
                  <a:p>
                    <a:endParaRPr lang="en-US"/>
                  </a:p>
                </p:txBody>
              </p:sp>
            </p:grpSp>
            <p:sp>
              <p:nvSpPr>
                <p:cNvPr id="1850" name="Freeform 133">
                  <a:extLst>
                    <a:ext uri="{FF2B5EF4-FFF2-40B4-BE49-F238E27FC236}">
                      <a16:creationId xmlns:a16="http://schemas.microsoft.com/office/drawing/2014/main" id="{A62C116D-5F33-7CE3-0023-70ECBE847C64}"/>
                    </a:ext>
                  </a:extLst>
                </p:cNvPr>
                <p:cNvSpPr>
                  <a:spLocks/>
                </p:cNvSpPr>
                <p:nvPr/>
              </p:nvSpPr>
              <p:spPr bwMode="gray">
                <a:xfrm>
                  <a:off x="5208932" y="3957709"/>
                  <a:ext cx="187928" cy="138077"/>
                </a:xfrm>
                <a:custGeom>
                  <a:avLst/>
                  <a:gdLst>
                    <a:gd name="T0" fmla="*/ 15 w 122"/>
                    <a:gd name="T1" fmla="*/ 65 h 91"/>
                    <a:gd name="T2" fmla="*/ 31 w 122"/>
                    <a:gd name="T3" fmla="*/ 65 h 91"/>
                    <a:gd name="T4" fmla="*/ 31 w 122"/>
                    <a:gd name="T5" fmla="*/ 74 h 91"/>
                    <a:gd name="T6" fmla="*/ 40 w 122"/>
                    <a:gd name="T7" fmla="*/ 80 h 91"/>
                    <a:gd name="T8" fmla="*/ 47 w 122"/>
                    <a:gd name="T9" fmla="*/ 80 h 91"/>
                    <a:gd name="T10" fmla="*/ 72 w 122"/>
                    <a:gd name="T11" fmla="*/ 90 h 91"/>
                    <a:gd name="T12" fmla="*/ 89 w 122"/>
                    <a:gd name="T13" fmla="*/ 74 h 91"/>
                    <a:gd name="T14" fmla="*/ 112 w 122"/>
                    <a:gd name="T15" fmla="*/ 80 h 91"/>
                    <a:gd name="T16" fmla="*/ 112 w 122"/>
                    <a:gd name="T17" fmla="*/ 74 h 91"/>
                    <a:gd name="T18" fmla="*/ 121 w 122"/>
                    <a:gd name="T19" fmla="*/ 65 h 91"/>
                    <a:gd name="T20" fmla="*/ 121 w 122"/>
                    <a:gd name="T21" fmla="*/ 58 h 91"/>
                    <a:gd name="T22" fmla="*/ 105 w 122"/>
                    <a:gd name="T23" fmla="*/ 58 h 91"/>
                    <a:gd name="T24" fmla="*/ 105 w 122"/>
                    <a:gd name="T25" fmla="*/ 49 h 91"/>
                    <a:gd name="T26" fmla="*/ 105 w 122"/>
                    <a:gd name="T27" fmla="*/ 25 h 91"/>
                    <a:gd name="T28" fmla="*/ 89 w 122"/>
                    <a:gd name="T29" fmla="*/ 0 h 91"/>
                    <a:gd name="T30" fmla="*/ 80 w 122"/>
                    <a:gd name="T31" fmla="*/ 0 h 91"/>
                    <a:gd name="T32" fmla="*/ 65 w 122"/>
                    <a:gd name="T33" fmla="*/ 9 h 91"/>
                    <a:gd name="T34" fmla="*/ 55 w 122"/>
                    <a:gd name="T35" fmla="*/ 9 h 91"/>
                    <a:gd name="T36" fmla="*/ 31 w 122"/>
                    <a:gd name="T37" fmla="*/ 9 h 91"/>
                    <a:gd name="T38" fmla="*/ 24 w 122"/>
                    <a:gd name="T39" fmla="*/ 9 h 91"/>
                    <a:gd name="T40" fmla="*/ 15 w 122"/>
                    <a:gd name="T41" fmla="*/ 40 h 91"/>
                    <a:gd name="T42" fmla="*/ 0 w 122"/>
                    <a:gd name="T43" fmla="*/ 40 h 91"/>
                    <a:gd name="T44" fmla="*/ 15 w 122"/>
                    <a:gd name="T45" fmla="*/ 6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grpFill/>
                <a:ln w="3175" cap="rnd" cmpd="sng">
                  <a:solidFill>
                    <a:schemeClr val="bg1"/>
                  </a:solidFill>
                  <a:prstDash val="solid"/>
                  <a:round/>
                  <a:headEnd type="none" w="sm" len="sm"/>
                  <a:tailEnd type="none" w="sm" len="sm"/>
                </a:ln>
                <a:effectLst/>
              </p:spPr>
              <p:txBody>
                <a:bodyPr/>
                <a:lstStyle/>
                <a:p>
                  <a:endParaRPr lang="en-US"/>
                </a:p>
              </p:txBody>
            </p:sp>
          </p:grpSp>
          <p:grpSp>
            <p:nvGrpSpPr>
              <p:cNvPr id="1604" name="Gruppieren 16">
                <a:extLst>
                  <a:ext uri="{FF2B5EF4-FFF2-40B4-BE49-F238E27FC236}">
                    <a16:creationId xmlns:a16="http://schemas.microsoft.com/office/drawing/2014/main" id="{A0CB5877-8EE5-3ACD-39E7-49515CE82FDA}"/>
                  </a:ext>
                </a:extLst>
              </p:cNvPr>
              <p:cNvGrpSpPr/>
              <p:nvPr/>
            </p:nvGrpSpPr>
            <p:grpSpPr bwMode="gray">
              <a:xfrm>
                <a:off x="5673040" y="3233958"/>
                <a:ext cx="3530667" cy="2361842"/>
                <a:chOff x="4471381" y="3624512"/>
                <a:chExt cx="3858945" cy="2441045"/>
              </a:xfrm>
              <a:solidFill>
                <a:srgbClr val="D0D0D0"/>
              </a:solidFill>
            </p:grpSpPr>
            <p:sp>
              <p:nvSpPr>
                <p:cNvPr id="1696" name="Freihandform 744">
                  <a:extLst>
                    <a:ext uri="{FF2B5EF4-FFF2-40B4-BE49-F238E27FC236}">
                      <a16:creationId xmlns:a16="http://schemas.microsoft.com/office/drawing/2014/main" id="{44F70CF1-90D6-430B-036A-0F259BE4F56F}"/>
                    </a:ext>
                  </a:extLst>
                </p:cNvPr>
                <p:cNvSpPr/>
                <p:nvPr/>
              </p:nvSpPr>
              <p:spPr bwMode="gray">
                <a:xfrm>
                  <a:off x="6141244" y="4171950"/>
                  <a:ext cx="178594" cy="126206"/>
                </a:xfrm>
                <a:custGeom>
                  <a:avLst/>
                  <a:gdLst>
                    <a:gd name="connsiteX0" fmla="*/ 0 w 178594"/>
                    <a:gd name="connsiteY0" fmla="*/ 104775 h 126206"/>
                    <a:gd name="connsiteX1" fmla="*/ 2381 w 178594"/>
                    <a:gd name="connsiteY1" fmla="*/ 42863 h 126206"/>
                    <a:gd name="connsiteX2" fmla="*/ 26194 w 178594"/>
                    <a:gd name="connsiteY2" fmla="*/ 35719 h 126206"/>
                    <a:gd name="connsiteX3" fmla="*/ 52387 w 178594"/>
                    <a:gd name="connsiteY3" fmla="*/ 0 h 126206"/>
                    <a:gd name="connsiteX4" fmla="*/ 69056 w 178594"/>
                    <a:gd name="connsiteY4" fmla="*/ 7144 h 126206"/>
                    <a:gd name="connsiteX5" fmla="*/ 88106 w 178594"/>
                    <a:gd name="connsiteY5" fmla="*/ 30956 h 126206"/>
                    <a:gd name="connsiteX6" fmla="*/ 150019 w 178594"/>
                    <a:gd name="connsiteY6" fmla="*/ 40481 h 126206"/>
                    <a:gd name="connsiteX7" fmla="*/ 178594 w 178594"/>
                    <a:gd name="connsiteY7" fmla="*/ 66675 h 126206"/>
                    <a:gd name="connsiteX8" fmla="*/ 173831 w 178594"/>
                    <a:gd name="connsiteY8" fmla="*/ 111919 h 126206"/>
                    <a:gd name="connsiteX9" fmla="*/ 135731 w 178594"/>
                    <a:gd name="connsiteY9" fmla="*/ 119063 h 126206"/>
                    <a:gd name="connsiteX10" fmla="*/ 92869 w 178594"/>
                    <a:gd name="connsiteY10" fmla="*/ 126206 h 126206"/>
                    <a:gd name="connsiteX11" fmla="*/ 61912 w 178594"/>
                    <a:gd name="connsiteY11" fmla="*/ 107156 h 126206"/>
                    <a:gd name="connsiteX12" fmla="*/ 0 w 178594"/>
                    <a:gd name="connsiteY12" fmla="*/ 104775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594" h="126206">
                      <a:moveTo>
                        <a:pt x="0" y="104775"/>
                      </a:moveTo>
                      <a:cubicBezTo>
                        <a:pt x="794" y="84138"/>
                        <a:pt x="1587" y="63500"/>
                        <a:pt x="2381" y="42863"/>
                      </a:cubicBezTo>
                      <a:lnTo>
                        <a:pt x="26194" y="35719"/>
                      </a:lnTo>
                      <a:lnTo>
                        <a:pt x="52387" y="0"/>
                      </a:lnTo>
                      <a:lnTo>
                        <a:pt x="69056" y="7144"/>
                      </a:lnTo>
                      <a:lnTo>
                        <a:pt x="88106" y="30956"/>
                      </a:lnTo>
                      <a:lnTo>
                        <a:pt x="150019" y="40481"/>
                      </a:lnTo>
                      <a:lnTo>
                        <a:pt x="178594" y="66675"/>
                      </a:lnTo>
                      <a:lnTo>
                        <a:pt x="173831" y="111919"/>
                      </a:lnTo>
                      <a:lnTo>
                        <a:pt x="135731" y="119063"/>
                      </a:lnTo>
                      <a:lnTo>
                        <a:pt x="92869" y="126206"/>
                      </a:lnTo>
                      <a:lnTo>
                        <a:pt x="61912" y="107156"/>
                      </a:lnTo>
                      <a:lnTo>
                        <a:pt x="0" y="104775"/>
                      </a:lnTo>
                      <a:close/>
                    </a:path>
                  </a:pathLst>
                </a:cu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1697" name="Gruppieren 15">
                  <a:extLst>
                    <a:ext uri="{FF2B5EF4-FFF2-40B4-BE49-F238E27FC236}">
                      <a16:creationId xmlns:a16="http://schemas.microsoft.com/office/drawing/2014/main" id="{1CECCF1E-45B1-9B2B-0AC5-227314470AD3}"/>
                    </a:ext>
                  </a:extLst>
                </p:cNvPr>
                <p:cNvGrpSpPr/>
                <p:nvPr/>
              </p:nvGrpSpPr>
              <p:grpSpPr bwMode="gray">
                <a:xfrm>
                  <a:off x="4471381" y="3624512"/>
                  <a:ext cx="3858945" cy="2441045"/>
                  <a:chOff x="4471381" y="3624512"/>
                  <a:chExt cx="3858945" cy="2441045"/>
                </a:xfrm>
                <a:grpFill/>
              </p:grpSpPr>
              <p:sp>
                <p:nvSpPr>
                  <p:cNvPr id="1698" name="Freeform 18">
                    <a:extLst>
                      <a:ext uri="{FF2B5EF4-FFF2-40B4-BE49-F238E27FC236}">
                        <a16:creationId xmlns:a16="http://schemas.microsoft.com/office/drawing/2014/main" id="{19C0FB31-3BC8-C476-8828-E5478A11A894}"/>
                      </a:ext>
                    </a:extLst>
                  </p:cNvPr>
                  <p:cNvSpPr>
                    <a:spLocks/>
                  </p:cNvSpPr>
                  <p:nvPr/>
                </p:nvSpPr>
                <p:spPr bwMode="gray">
                  <a:xfrm>
                    <a:off x="4646437" y="4273092"/>
                    <a:ext cx="401598" cy="392695"/>
                  </a:xfrm>
                  <a:custGeom>
                    <a:avLst/>
                    <a:gdLst>
                      <a:gd name="T0" fmla="*/ 82 w 261"/>
                      <a:gd name="T1" fmla="*/ 32 h 259"/>
                      <a:gd name="T2" fmla="*/ 90 w 261"/>
                      <a:gd name="T3" fmla="*/ 32 h 259"/>
                      <a:gd name="T4" fmla="*/ 98 w 261"/>
                      <a:gd name="T5" fmla="*/ 72 h 259"/>
                      <a:gd name="T6" fmla="*/ 65 w 261"/>
                      <a:gd name="T7" fmla="*/ 81 h 259"/>
                      <a:gd name="T8" fmla="*/ 65 w 261"/>
                      <a:gd name="T9" fmla="*/ 90 h 259"/>
                      <a:gd name="T10" fmla="*/ 42 w 261"/>
                      <a:gd name="T11" fmla="*/ 106 h 259"/>
                      <a:gd name="T12" fmla="*/ 8 w 261"/>
                      <a:gd name="T13" fmla="*/ 121 h 259"/>
                      <a:gd name="T14" fmla="*/ 0 w 261"/>
                      <a:gd name="T15" fmla="*/ 129 h 259"/>
                      <a:gd name="T16" fmla="*/ 0 w 261"/>
                      <a:gd name="T17" fmla="*/ 146 h 259"/>
                      <a:gd name="T18" fmla="*/ 48 w 261"/>
                      <a:gd name="T19" fmla="*/ 178 h 259"/>
                      <a:gd name="T20" fmla="*/ 122 w 261"/>
                      <a:gd name="T21" fmla="*/ 234 h 259"/>
                      <a:gd name="T22" fmla="*/ 130 w 261"/>
                      <a:gd name="T23" fmla="*/ 243 h 259"/>
                      <a:gd name="T24" fmla="*/ 145 w 261"/>
                      <a:gd name="T25" fmla="*/ 252 h 259"/>
                      <a:gd name="T26" fmla="*/ 154 w 261"/>
                      <a:gd name="T27" fmla="*/ 258 h 259"/>
                      <a:gd name="T28" fmla="*/ 163 w 261"/>
                      <a:gd name="T29" fmla="*/ 258 h 259"/>
                      <a:gd name="T30" fmla="*/ 179 w 261"/>
                      <a:gd name="T31" fmla="*/ 258 h 259"/>
                      <a:gd name="T32" fmla="*/ 260 w 261"/>
                      <a:gd name="T33" fmla="*/ 203 h 259"/>
                      <a:gd name="T34" fmla="*/ 251 w 261"/>
                      <a:gd name="T35" fmla="*/ 186 h 259"/>
                      <a:gd name="T36" fmla="*/ 244 w 261"/>
                      <a:gd name="T37" fmla="*/ 186 h 259"/>
                      <a:gd name="T38" fmla="*/ 229 w 261"/>
                      <a:gd name="T39" fmla="*/ 162 h 259"/>
                      <a:gd name="T40" fmla="*/ 235 w 261"/>
                      <a:gd name="T41" fmla="*/ 153 h 259"/>
                      <a:gd name="T42" fmla="*/ 235 w 261"/>
                      <a:gd name="T43" fmla="*/ 137 h 259"/>
                      <a:gd name="T44" fmla="*/ 235 w 261"/>
                      <a:gd name="T45" fmla="*/ 121 h 259"/>
                      <a:gd name="T46" fmla="*/ 229 w 261"/>
                      <a:gd name="T47" fmla="*/ 113 h 259"/>
                      <a:gd name="T48" fmla="*/ 229 w 261"/>
                      <a:gd name="T49" fmla="*/ 106 h 259"/>
                      <a:gd name="T50" fmla="*/ 229 w 261"/>
                      <a:gd name="T51" fmla="*/ 81 h 259"/>
                      <a:gd name="T52" fmla="*/ 210 w 261"/>
                      <a:gd name="T53" fmla="*/ 72 h 259"/>
                      <a:gd name="T54" fmla="*/ 204 w 261"/>
                      <a:gd name="T55" fmla="*/ 56 h 259"/>
                      <a:gd name="T56" fmla="*/ 219 w 261"/>
                      <a:gd name="T57" fmla="*/ 41 h 259"/>
                      <a:gd name="T58" fmla="*/ 210 w 261"/>
                      <a:gd name="T59" fmla="*/ 9 h 259"/>
                      <a:gd name="T60" fmla="*/ 219 w 261"/>
                      <a:gd name="T61" fmla="*/ 0 h 259"/>
                      <a:gd name="T62" fmla="*/ 210 w 261"/>
                      <a:gd name="T63" fmla="*/ 9 h 259"/>
                      <a:gd name="T64" fmla="*/ 187 w 261"/>
                      <a:gd name="T65" fmla="*/ 0 h 259"/>
                      <a:gd name="T66" fmla="*/ 179 w 261"/>
                      <a:gd name="T67" fmla="*/ 9 h 259"/>
                      <a:gd name="T68" fmla="*/ 163 w 261"/>
                      <a:gd name="T69" fmla="*/ 0 h 259"/>
                      <a:gd name="T70" fmla="*/ 145 w 261"/>
                      <a:gd name="T71" fmla="*/ 9 h 259"/>
                      <a:gd name="T72" fmla="*/ 122 w 261"/>
                      <a:gd name="T73" fmla="*/ 9 h 259"/>
                      <a:gd name="T74" fmla="*/ 82 w 261"/>
                      <a:gd name="T75" fmla="*/ 32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699" name="Freeform 141">
                    <a:extLst>
                      <a:ext uri="{FF2B5EF4-FFF2-40B4-BE49-F238E27FC236}">
                        <a16:creationId xmlns:a16="http://schemas.microsoft.com/office/drawing/2014/main" id="{E6B8CA27-0873-1A08-99A2-98D36D1740D0}"/>
                      </a:ext>
                    </a:extLst>
                  </p:cNvPr>
                  <p:cNvSpPr>
                    <a:spLocks/>
                  </p:cNvSpPr>
                  <p:nvPr/>
                </p:nvSpPr>
                <p:spPr bwMode="gray">
                  <a:xfrm>
                    <a:off x="5582211" y="4261692"/>
                    <a:ext cx="189215" cy="196348"/>
                  </a:xfrm>
                  <a:custGeom>
                    <a:avLst/>
                    <a:gdLst>
                      <a:gd name="T0" fmla="*/ 74 w 123"/>
                      <a:gd name="T1" fmla="*/ 8 h 130"/>
                      <a:gd name="T2" fmla="*/ 81 w 123"/>
                      <a:gd name="T3" fmla="*/ 24 h 130"/>
                      <a:gd name="T4" fmla="*/ 90 w 123"/>
                      <a:gd name="T5" fmla="*/ 24 h 130"/>
                      <a:gd name="T6" fmla="*/ 90 w 123"/>
                      <a:gd name="T7" fmla="*/ 40 h 130"/>
                      <a:gd name="T8" fmla="*/ 81 w 123"/>
                      <a:gd name="T9" fmla="*/ 57 h 130"/>
                      <a:gd name="T10" fmla="*/ 90 w 123"/>
                      <a:gd name="T11" fmla="*/ 74 h 130"/>
                      <a:gd name="T12" fmla="*/ 106 w 123"/>
                      <a:gd name="T13" fmla="*/ 80 h 130"/>
                      <a:gd name="T14" fmla="*/ 114 w 123"/>
                      <a:gd name="T15" fmla="*/ 105 h 130"/>
                      <a:gd name="T16" fmla="*/ 122 w 123"/>
                      <a:gd name="T17" fmla="*/ 114 h 130"/>
                      <a:gd name="T18" fmla="*/ 122 w 123"/>
                      <a:gd name="T19" fmla="*/ 121 h 130"/>
                      <a:gd name="T20" fmla="*/ 106 w 123"/>
                      <a:gd name="T21" fmla="*/ 121 h 130"/>
                      <a:gd name="T22" fmla="*/ 97 w 123"/>
                      <a:gd name="T23" fmla="*/ 129 h 130"/>
                      <a:gd name="T24" fmla="*/ 81 w 123"/>
                      <a:gd name="T25" fmla="*/ 121 h 130"/>
                      <a:gd name="T26" fmla="*/ 74 w 123"/>
                      <a:gd name="T27" fmla="*/ 129 h 130"/>
                      <a:gd name="T28" fmla="*/ 57 w 123"/>
                      <a:gd name="T29" fmla="*/ 121 h 130"/>
                      <a:gd name="T30" fmla="*/ 57 w 123"/>
                      <a:gd name="T31" fmla="*/ 114 h 130"/>
                      <a:gd name="T32" fmla="*/ 49 w 123"/>
                      <a:gd name="T33" fmla="*/ 105 h 130"/>
                      <a:gd name="T34" fmla="*/ 25 w 123"/>
                      <a:gd name="T35" fmla="*/ 89 h 130"/>
                      <a:gd name="T36" fmla="*/ 0 w 123"/>
                      <a:gd name="T37" fmla="*/ 80 h 130"/>
                      <a:gd name="T38" fmla="*/ 0 w 123"/>
                      <a:gd name="T39" fmla="*/ 64 h 130"/>
                      <a:gd name="T40" fmla="*/ 25 w 123"/>
                      <a:gd name="T41" fmla="*/ 49 h 130"/>
                      <a:gd name="T42" fmla="*/ 34 w 123"/>
                      <a:gd name="T43" fmla="*/ 17 h 130"/>
                      <a:gd name="T44" fmla="*/ 49 w 123"/>
                      <a:gd name="T45" fmla="*/ 8 h 130"/>
                      <a:gd name="T46" fmla="*/ 49 w 123"/>
                      <a:gd name="T47" fmla="*/ 0 h 130"/>
                      <a:gd name="T48" fmla="*/ 74 w 123"/>
                      <a:gd name="T49" fmla="*/ 8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0" name="Freeform 8">
                    <a:extLst>
                      <a:ext uri="{FF2B5EF4-FFF2-40B4-BE49-F238E27FC236}">
                        <a16:creationId xmlns:a16="http://schemas.microsoft.com/office/drawing/2014/main" id="{69AFAE33-2AC5-F446-A2B7-AFEBCC528117}"/>
                      </a:ext>
                    </a:extLst>
                  </p:cNvPr>
                  <p:cNvSpPr>
                    <a:spLocks/>
                  </p:cNvSpPr>
                  <p:nvPr/>
                </p:nvSpPr>
                <p:spPr bwMode="gray">
                  <a:xfrm>
                    <a:off x="6269562" y="3820860"/>
                    <a:ext cx="1200932" cy="822126"/>
                  </a:xfrm>
                  <a:custGeom>
                    <a:avLst/>
                    <a:gdLst>
                      <a:gd name="T0" fmla="*/ 194 w 780"/>
                      <a:gd name="T1" fmla="*/ 113 h 543"/>
                      <a:gd name="T2" fmla="*/ 219 w 780"/>
                      <a:gd name="T3" fmla="*/ 162 h 543"/>
                      <a:gd name="T4" fmla="*/ 340 w 780"/>
                      <a:gd name="T5" fmla="*/ 203 h 543"/>
                      <a:gd name="T6" fmla="*/ 430 w 780"/>
                      <a:gd name="T7" fmla="*/ 209 h 543"/>
                      <a:gd name="T8" fmla="*/ 480 w 780"/>
                      <a:gd name="T9" fmla="*/ 178 h 543"/>
                      <a:gd name="T10" fmla="*/ 535 w 780"/>
                      <a:gd name="T11" fmla="*/ 153 h 543"/>
                      <a:gd name="T12" fmla="*/ 575 w 780"/>
                      <a:gd name="T13" fmla="*/ 121 h 543"/>
                      <a:gd name="T14" fmla="*/ 535 w 780"/>
                      <a:gd name="T15" fmla="*/ 121 h 543"/>
                      <a:gd name="T16" fmla="*/ 560 w 780"/>
                      <a:gd name="T17" fmla="*/ 81 h 543"/>
                      <a:gd name="T18" fmla="*/ 600 w 780"/>
                      <a:gd name="T19" fmla="*/ 32 h 543"/>
                      <a:gd name="T20" fmla="*/ 600 w 780"/>
                      <a:gd name="T21" fmla="*/ 7 h 543"/>
                      <a:gd name="T22" fmla="*/ 672 w 780"/>
                      <a:gd name="T23" fmla="*/ 23 h 543"/>
                      <a:gd name="T24" fmla="*/ 731 w 780"/>
                      <a:gd name="T25" fmla="*/ 97 h 543"/>
                      <a:gd name="T26" fmla="*/ 779 w 780"/>
                      <a:gd name="T27" fmla="*/ 104 h 543"/>
                      <a:gd name="T28" fmla="*/ 747 w 780"/>
                      <a:gd name="T29" fmla="*/ 162 h 543"/>
                      <a:gd name="T30" fmla="*/ 731 w 780"/>
                      <a:gd name="T31" fmla="*/ 209 h 543"/>
                      <a:gd name="T32" fmla="*/ 697 w 780"/>
                      <a:gd name="T33" fmla="*/ 218 h 543"/>
                      <a:gd name="T34" fmla="*/ 650 w 780"/>
                      <a:gd name="T35" fmla="*/ 250 h 543"/>
                      <a:gd name="T36" fmla="*/ 609 w 780"/>
                      <a:gd name="T37" fmla="*/ 275 h 543"/>
                      <a:gd name="T38" fmla="*/ 617 w 780"/>
                      <a:gd name="T39" fmla="*/ 243 h 543"/>
                      <a:gd name="T40" fmla="*/ 575 w 780"/>
                      <a:gd name="T41" fmla="*/ 266 h 543"/>
                      <a:gd name="T42" fmla="*/ 585 w 780"/>
                      <a:gd name="T43" fmla="*/ 299 h 543"/>
                      <a:gd name="T44" fmla="*/ 625 w 780"/>
                      <a:gd name="T45" fmla="*/ 308 h 543"/>
                      <a:gd name="T46" fmla="*/ 585 w 780"/>
                      <a:gd name="T47" fmla="*/ 331 h 543"/>
                      <a:gd name="T48" fmla="*/ 617 w 780"/>
                      <a:gd name="T49" fmla="*/ 380 h 543"/>
                      <a:gd name="T50" fmla="*/ 592 w 780"/>
                      <a:gd name="T51" fmla="*/ 405 h 543"/>
                      <a:gd name="T52" fmla="*/ 592 w 780"/>
                      <a:gd name="T53" fmla="*/ 452 h 543"/>
                      <a:gd name="T54" fmla="*/ 575 w 780"/>
                      <a:gd name="T55" fmla="*/ 485 h 543"/>
                      <a:gd name="T56" fmla="*/ 544 w 780"/>
                      <a:gd name="T57" fmla="*/ 510 h 543"/>
                      <a:gd name="T58" fmla="*/ 511 w 780"/>
                      <a:gd name="T59" fmla="*/ 510 h 543"/>
                      <a:gd name="T60" fmla="*/ 470 w 780"/>
                      <a:gd name="T61" fmla="*/ 533 h 543"/>
                      <a:gd name="T62" fmla="*/ 446 w 780"/>
                      <a:gd name="T63" fmla="*/ 526 h 543"/>
                      <a:gd name="T64" fmla="*/ 423 w 780"/>
                      <a:gd name="T65" fmla="*/ 510 h 543"/>
                      <a:gd name="T66" fmla="*/ 364 w 780"/>
                      <a:gd name="T67" fmla="*/ 510 h 543"/>
                      <a:gd name="T68" fmla="*/ 358 w 780"/>
                      <a:gd name="T69" fmla="*/ 533 h 543"/>
                      <a:gd name="T70" fmla="*/ 340 w 780"/>
                      <a:gd name="T71" fmla="*/ 526 h 543"/>
                      <a:gd name="T72" fmla="*/ 324 w 780"/>
                      <a:gd name="T73" fmla="*/ 502 h 543"/>
                      <a:gd name="T74" fmla="*/ 317 w 780"/>
                      <a:gd name="T75" fmla="*/ 452 h 543"/>
                      <a:gd name="T76" fmla="*/ 284 w 780"/>
                      <a:gd name="T77" fmla="*/ 420 h 543"/>
                      <a:gd name="T78" fmla="*/ 202 w 780"/>
                      <a:gd name="T79" fmla="*/ 436 h 543"/>
                      <a:gd name="T80" fmla="*/ 178 w 780"/>
                      <a:gd name="T81" fmla="*/ 436 h 543"/>
                      <a:gd name="T82" fmla="*/ 129 w 780"/>
                      <a:gd name="T83" fmla="*/ 420 h 543"/>
                      <a:gd name="T84" fmla="*/ 88 w 780"/>
                      <a:gd name="T85" fmla="*/ 405 h 543"/>
                      <a:gd name="T86" fmla="*/ 73 w 780"/>
                      <a:gd name="T87" fmla="*/ 371 h 543"/>
                      <a:gd name="T88" fmla="*/ 82 w 780"/>
                      <a:gd name="T89" fmla="*/ 323 h 543"/>
                      <a:gd name="T90" fmla="*/ 32 w 780"/>
                      <a:gd name="T91" fmla="*/ 315 h 543"/>
                      <a:gd name="T92" fmla="*/ 16 w 780"/>
                      <a:gd name="T93" fmla="*/ 299 h 543"/>
                      <a:gd name="T94" fmla="*/ 0 w 780"/>
                      <a:gd name="T95" fmla="*/ 250 h 543"/>
                      <a:gd name="T96" fmla="*/ 40 w 780"/>
                      <a:gd name="T97" fmla="*/ 234 h 543"/>
                      <a:gd name="T98" fmla="*/ 88 w 780"/>
                      <a:gd name="T99" fmla="*/ 203 h 543"/>
                      <a:gd name="T100" fmla="*/ 106 w 780"/>
                      <a:gd name="T101" fmla="*/ 162 h 543"/>
                      <a:gd name="T102" fmla="*/ 147 w 780"/>
                      <a:gd name="T103" fmla="*/ 12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1" name="Freeform 9">
                    <a:extLst>
                      <a:ext uri="{FF2B5EF4-FFF2-40B4-BE49-F238E27FC236}">
                        <a16:creationId xmlns:a16="http://schemas.microsoft.com/office/drawing/2014/main" id="{51395B1A-4ED2-A401-7B83-E74751DC4890}"/>
                      </a:ext>
                    </a:extLst>
                  </p:cNvPr>
                  <p:cNvSpPr>
                    <a:spLocks/>
                  </p:cNvSpPr>
                  <p:nvPr/>
                </p:nvSpPr>
                <p:spPr bwMode="gray">
                  <a:xfrm>
                    <a:off x="6019851" y="4273092"/>
                    <a:ext cx="325655" cy="309090"/>
                  </a:xfrm>
                  <a:custGeom>
                    <a:avLst/>
                    <a:gdLst>
                      <a:gd name="T0" fmla="*/ 8 w 211"/>
                      <a:gd name="T1" fmla="*/ 178 h 204"/>
                      <a:gd name="T2" fmla="*/ 8 w 211"/>
                      <a:gd name="T3" fmla="*/ 162 h 204"/>
                      <a:gd name="T4" fmla="*/ 23 w 211"/>
                      <a:gd name="T5" fmla="*/ 153 h 204"/>
                      <a:gd name="T6" fmla="*/ 16 w 211"/>
                      <a:gd name="T7" fmla="*/ 137 h 204"/>
                      <a:gd name="T8" fmla="*/ 8 w 211"/>
                      <a:gd name="T9" fmla="*/ 129 h 204"/>
                      <a:gd name="T10" fmla="*/ 0 w 211"/>
                      <a:gd name="T11" fmla="*/ 113 h 204"/>
                      <a:gd name="T12" fmla="*/ 16 w 211"/>
                      <a:gd name="T13" fmla="*/ 121 h 204"/>
                      <a:gd name="T14" fmla="*/ 65 w 211"/>
                      <a:gd name="T15" fmla="*/ 113 h 204"/>
                      <a:gd name="T16" fmla="*/ 65 w 211"/>
                      <a:gd name="T17" fmla="*/ 97 h 204"/>
                      <a:gd name="T18" fmla="*/ 73 w 211"/>
                      <a:gd name="T19" fmla="*/ 90 h 204"/>
                      <a:gd name="T20" fmla="*/ 107 w 211"/>
                      <a:gd name="T21" fmla="*/ 81 h 204"/>
                      <a:gd name="T22" fmla="*/ 107 w 211"/>
                      <a:gd name="T23" fmla="*/ 66 h 204"/>
                      <a:gd name="T24" fmla="*/ 113 w 211"/>
                      <a:gd name="T25" fmla="*/ 56 h 204"/>
                      <a:gd name="T26" fmla="*/ 113 w 211"/>
                      <a:gd name="T27" fmla="*/ 49 h 204"/>
                      <a:gd name="T28" fmla="*/ 122 w 211"/>
                      <a:gd name="T29" fmla="*/ 49 h 204"/>
                      <a:gd name="T30" fmla="*/ 129 w 211"/>
                      <a:gd name="T31" fmla="*/ 32 h 204"/>
                      <a:gd name="T32" fmla="*/ 129 w 211"/>
                      <a:gd name="T33" fmla="*/ 16 h 204"/>
                      <a:gd name="T34" fmla="*/ 147 w 211"/>
                      <a:gd name="T35" fmla="*/ 9 h 204"/>
                      <a:gd name="T36" fmla="*/ 162 w 211"/>
                      <a:gd name="T37" fmla="*/ 0 h 204"/>
                      <a:gd name="T38" fmla="*/ 170 w 211"/>
                      <a:gd name="T39" fmla="*/ 0 h 204"/>
                      <a:gd name="T40" fmla="*/ 187 w 211"/>
                      <a:gd name="T41" fmla="*/ 9 h 204"/>
                      <a:gd name="T42" fmla="*/ 194 w 211"/>
                      <a:gd name="T43" fmla="*/ 16 h 204"/>
                      <a:gd name="T44" fmla="*/ 210 w 211"/>
                      <a:gd name="T45" fmla="*/ 24 h 204"/>
                      <a:gd name="T46" fmla="*/ 202 w 211"/>
                      <a:gd name="T47" fmla="*/ 32 h 204"/>
                      <a:gd name="T48" fmla="*/ 187 w 211"/>
                      <a:gd name="T49" fmla="*/ 41 h 204"/>
                      <a:gd name="T50" fmla="*/ 170 w 211"/>
                      <a:gd name="T51" fmla="*/ 32 h 204"/>
                      <a:gd name="T52" fmla="*/ 162 w 211"/>
                      <a:gd name="T53" fmla="*/ 41 h 204"/>
                      <a:gd name="T54" fmla="*/ 170 w 211"/>
                      <a:gd name="T55" fmla="*/ 49 h 204"/>
                      <a:gd name="T56" fmla="*/ 162 w 211"/>
                      <a:gd name="T57" fmla="*/ 66 h 204"/>
                      <a:gd name="T58" fmla="*/ 178 w 211"/>
                      <a:gd name="T59" fmla="*/ 72 h 204"/>
                      <a:gd name="T60" fmla="*/ 178 w 211"/>
                      <a:gd name="T61" fmla="*/ 81 h 204"/>
                      <a:gd name="T62" fmla="*/ 170 w 211"/>
                      <a:gd name="T63" fmla="*/ 81 h 204"/>
                      <a:gd name="T64" fmla="*/ 178 w 211"/>
                      <a:gd name="T65" fmla="*/ 90 h 204"/>
                      <a:gd name="T66" fmla="*/ 138 w 211"/>
                      <a:gd name="T67" fmla="*/ 137 h 204"/>
                      <a:gd name="T68" fmla="*/ 122 w 211"/>
                      <a:gd name="T69" fmla="*/ 146 h 204"/>
                      <a:gd name="T70" fmla="*/ 113 w 211"/>
                      <a:gd name="T71" fmla="*/ 137 h 204"/>
                      <a:gd name="T72" fmla="*/ 107 w 211"/>
                      <a:gd name="T73" fmla="*/ 146 h 204"/>
                      <a:gd name="T74" fmla="*/ 107 w 211"/>
                      <a:gd name="T75" fmla="*/ 162 h 204"/>
                      <a:gd name="T76" fmla="*/ 113 w 211"/>
                      <a:gd name="T77" fmla="*/ 162 h 204"/>
                      <a:gd name="T78" fmla="*/ 113 w 211"/>
                      <a:gd name="T79" fmla="*/ 169 h 204"/>
                      <a:gd name="T80" fmla="*/ 122 w 211"/>
                      <a:gd name="T81" fmla="*/ 169 h 204"/>
                      <a:gd name="T82" fmla="*/ 122 w 211"/>
                      <a:gd name="T83" fmla="*/ 186 h 204"/>
                      <a:gd name="T84" fmla="*/ 122 w 211"/>
                      <a:gd name="T85" fmla="*/ 194 h 204"/>
                      <a:gd name="T86" fmla="*/ 97 w 211"/>
                      <a:gd name="T87" fmla="*/ 194 h 204"/>
                      <a:gd name="T88" fmla="*/ 88 w 211"/>
                      <a:gd name="T89" fmla="*/ 203 h 204"/>
                      <a:gd name="T90" fmla="*/ 82 w 211"/>
                      <a:gd name="T91" fmla="*/ 194 h 204"/>
                      <a:gd name="T92" fmla="*/ 73 w 211"/>
                      <a:gd name="T93" fmla="*/ 178 h 204"/>
                      <a:gd name="T94" fmla="*/ 48 w 211"/>
                      <a:gd name="T95" fmla="*/ 178 h 204"/>
                      <a:gd name="T96" fmla="*/ 32 w 211"/>
                      <a:gd name="T97" fmla="*/ 178 h 204"/>
                      <a:gd name="T98" fmla="*/ 8 w 211"/>
                      <a:gd name="T99" fmla="*/ 17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2" name="Freeform 10">
                    <a:extLst>
                      <a:ext uri="{FF2B5EF4-FFF2-40B4-BE49-F238E27FC236}">
                        <a16:creationId xmlns:a16="http://schemas.microsoft.com/office/drawing/2014/main" id="{3F484CC4-E61E-3C92-57FB-FF338C42CCF9}"/>
                      </a:ext>
                    </a:extLst>
                  </p:cNvPr>
                  <p:cNvSpPr>
                    <a:spLocks/>
                  </p:cNvSpPr>
                  <p:nvPr/>
                </p:nvSpPr>
                <p:spPr bwMode="gray">
                  <a:xfrm>
                    <a:off x="6006979" y="4237623"/>
                    <a:ext cx="288327" cy="220416"/>
                  </a:xfrm>
                  <a:custGeom>
                    <a:avLst/>
                    <a:gdLst>
                      <a:gd name="T0" fmla="*/ 179 w 188"/>
                      <a:gd name="T1" fmla="*/ 24 h 146"/>
                      <a:gd name="T2" fmla="*/ 171 w 188"/>
                      <a:gd name="T3" fmla="*/ 24 h 146"/>
                      <a:gd name="T4" fmla="*/ 156 w 188"/>
                      <a:gd name="T5" fmla="*/ 33 h 146"/>
                      <a:gd name="T6" fmla="*/ 138 w 188"/>
                      <a:gd name="T7" fmla="*/ 40 h 146"/>
                      <a:gd name="T8" fmla="*/ 138 w 188"/>
                      <a:gd name="T9" fmla="*/ 56 h 146"/>
                      <a:gd name="T10" fmla="*/ 131 w 188"/>
                      <a:gd name="T11" fmla="*/ 73 h 146"/>
                      <a:gd name="T12" fmla="*/ 122 w 188"/>
                      <a:gd name="T13" fmla="*/ 73 h 146"/>
                      <a:gd name="T14" fmla="*/ 122 w 188"/>
                      <a:gd name="T15" fmla="*/ 80 h 146"/>
                      <a:gd name="T16" fmla="*/ 116 w 188"/>
                      <a:gd name="T17" fmla="*/ 90 h 146"/>
                      <a:gd name="T18" fmla="*/ 116 w 188"/>
                      <a:gd name="T19" fmla="*/ 105 h 146"/>
                      <a:gd name="T20" fmla="*/ 82 w 188"/>
                      <a:gd name="T21" fmla="*/ 114 h 146"/>
                      <a:gd name="T22" fmla="*/ 74 w 188"/>
                      <a:gd name="T23" fmla="*/ 121 h 146"/>
                      <a:gd name="T24" fmla="*/ 74 w 188"/>
                      <a:gd name="T25" fmla="*/ 137 h 146"/>
                      <a:gd name="T26" fmla="*/ 25 w 188"/>
                      <a:gd name="T27" fmla="*/ 145 h 146"/>
                      <a:gd name="T28" fmla="*/ 9 w 188"/>
                      <a:gd name="T29" fmla="*/ 137 h 146"/>
                      <a:gd name="T30" fmla="*/ 17 w 188"/>
                      <a:gd name="T31" fmla="*/ 121 h 146"/>
                      <a:gd name="T32" fmla="*/ 17 w 188"/>
                      <a:gd name="T33" fmla="*/ 114 h 146"/>
                      <a:gd name="T34" fmla="*/ 0 w 188"/>
                      <a:gd name="T35" fmla="*/ 105 h 146"/>
                      <a:gd name="T36" fmla="*/ 0 w 188"/>
                      <a:gd name="T37" fmla="*/ 73 h 146"/>
                      <a:gd name="T38" fmla="*/ 9 w 188"/>
                      <a:gd name="T39" fmla="*/ 56 h 146"/>
                      <a:gd name="T40" fmla="*/ 9 w 188"/>
                      <a:gd name="T41" fmla="*/ 48 h 146"/>
                      <a:gd name="T42" fmla="*/ 32 w 188"/>
                      <a:gd name="T43" fmla="*/ 48 h 146"/>
                      <a:gd name="T44" fmla="*/ 32 w 188"/>
                      <a:gd name="T45" fmla="*/ 40 h 146"/>
                      <a:gd name="T46" fmla="*/ 50 w 188"/>
                      <a:gd name="T47" fmla="*/ 40 h 146"/>
                      <a:gd name="T48" fmla="*/ 57 w 188"/>
                      <a:gd name="T49" fmla="*/ 24 h 146"/>
                      <a:gd name="T50" fmla="*/ 66 w 188"/>
                      <a:gd name="T51" fmla="*/ 24 h 146"/>
                      <a:gd name="T52" fmla="*/ 66 w 188"/>
                      <a:gd name="T53" fmla="*/ 16 h 146"/>
                      <a:gd name="T54" fmla="*/ 97 w 188"/>
                      <a:gd name="T55" fmla="*/ 24 h 146"/>
                      <a:gd name="T56" fmla="*/ 116 w 188"/>
                      <a:gd name="T57" fmla="*/ 24 h 146"/>
                      <a:gd name="T58" fmla="*/ 116 w 188"/>
                      <a:gd name="T59" fmla="*/ 16 h 146"/>
                      <a:gd name="T60" fmla="*/ 122 w 188"/>
                      <a:gd name="T61" fmla="*/ 16 h 146"/>
                      <a:gd name="T62" fmla="*/ 131 w 188"/>
                      <a:gd name="T63" fmla="*/ 0 h 146"/>
                      <a:gd name="T64" fmla="*/ 138 w 188"/>
                      <a:gd name="T65" fmla="*/ 8 h 146"/>
                      <a:gd name="T66" fmla="*/ 147 w 188"/>
                      <a:gd name="T67" fmla="*/ 33 h 146"/>
                      <a:gd name="T68" fmla="*/ 162 w 188"/>
                      <a:gd name="T69" fmla="*/ 16 h 146"/>
                      <a:gd name="T70" fmla="*/ 187 w 188"/>
                      <a:gd name="T71" fmla="*/ 24 h 146"/>
                      <a:gd name="T72" fmla="*/ 179 w 188"/>
                      <a:gd name="T73" fmla="*/ 2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3" name="Freeform 11">
                    <a:extLst>
                      <a:ext uri="{FF2B5EF4-FFF2-40B4-BE49-F238E27FC236}">
                        <a16:creationId xmlns:a16="http://schemas.microsoft.com/office/drawing/2014/main" id="{4E83E3DB-8C79-966C-3905-FC80CED301C7}"/>
                      </a:ext>
                    </a:extLst>
                  </p:cNvPr>
                  <p:cNvSpPr>
                    <a:spLocks/>
                  </p:cNvSpPr>
                  <p:nvPr/>
                </p:nvSpPr>
                <p:spPr bwMode="gray">
                  <a:xfrm>
                    <a:off x="5683898" y="4199621"/>
                    <a:ext cx="373280" cy="344559"/>
                  </a:xfrm>
                  <a:custGeom>
                    <a:avLst/>
                    <a:gdLst>
                      <a:gd name="T0" fmla="*/ 227 w 243"/>
                      <a:gd name="T1" fmla="*/ 227 h 228"/>
                      <a:gd name="T2" fmla="*/ 170 w 243"/>
                      <a:gd name="T3" fmla="*/ 218 h 228"/>
                      <a:gd name="T4" fmla="*/ 162 w 243"/>
                      <a:gd name="T5" fmla="*/ 202 h 228"/>
                      <a:gd name="T6" fmla="*/ 137 w 243"/>
                      <a:gd name="T7" fmla="*/ 211 h 228"/>
                      <a:gd name="T8" fmla="*/ 121 w 243"/>
                      <a:gd name="T9" fmla="*/ 211 h 228"/>
                      <a:gd name="T10" fmla="*/ 96 w 243"/>
                      <a:gd name="T11" fmla="*/ 186 h 228"/>
                      <a:gd name="T12" fmla="*/ 80 w 243"/>
                      <a:gd name="T13" fmla="*/ 162 h 228"/>
                      <a:gd name="T14" fmla="*/ 65 w 243"/>
                      <a:gd name="T15" fmla="*/ 155 h 228"/>
                      <a:gd name="T16" fmla="*/ 56 w 243"/>
                      <a:gd name="T17" fmla="*/ 155 h 228"/>
                      <a:gd name="T18" fmla="*/ 48 w 243"/>
                      <a:gd name="T19" fmla="*/ 146 h 228"/>
                      <a:gd name="T20" fmla="*/ 40 w 243"/>
                      <a:gd name="T21" fmla="*/ 121 h 228"/>
                      <a:gd name="T22" fmla="*/ 24 w 243"/>
                      <a:gd name="T23" fmla="*/ 115 h 228"/>
                      <a:gd name="T24" fmla="*/ 15 w 243"/>
                      <a:gd name="T25" fmla="*/ 98 h 228"/>
                      <a:gd name="T26" fmla="*/ 24 w 243"/>
                      <a:gd name="T27" fmla="*/ 81 h 228"/>
                      <a:gd name="T28" fmla="*/ 24 w 243"/>
                      <a:gd name="T29" fmla="*/ 65 h 228"/>
                      <a:gd name="T30" fmla="*/ 15 w 243"/>
                      <a:gd name="T31" fmla="*/ 65 h 228"/>
                      <a:gd name="T32" fmla="*/ 8 w 243"/>
                      <a:gd name="T33" fmla="*/ 49 h 228"/>
                      <a:gd name="T34" fmla="*/ 0 w 243"/>
                      <a:gd name="T35" fmla="*/ 9 h 228"/>
                      <a:gd name="T36" fmla="*/ 8 w 243"/>
                      <a:gd name="T37" fmla="*/ 0 h 228"/>
                      <a:gd name="T38" fmla="*/ 15 w 243"/>
                      <a:gd name="T39" fmla="*/ 16 h 228"/>
                      <a:gd name="T40" fmla="*/ 24 w 243"/>
                      <a:gd name="T41" fmla="*/ 16 h 228"/>
                      <a:gd name="T42" fmla="*/ 31 w 243"/>
                      <a:gd name="T43" fmla="*/ 16 h 228"/>
                      <a:gd name="T44" fmla="*/ 48 w 243"/>
                      <a:gd name="T45" fmla="*/ 9 h 228"/>
                      <a:gd name="T46" fmla="*/ 56 w 243"/>
                      <a:gd name="T47" fmla="*/ 9 h 228"/>
                      <a:gd name="T48" fmla="*/ 48 w 243"/>
                      <a:gd name="T49" fmla="*/ 16 h 228"/>
                      <a:gd name="T50" fmla="*/ 65 w 243"/>
                      <a:gd name="T51" fmla="*/ 25 h 228"/>
                      <a:gd name="T52" fmla="*/ 65 w 243"/>
                      <a:gd name="T53" fmla="*/ 41 h 228"/>
                      <a:gd name="T54" fmla="*/ 96 w 243"/>
                      <a:gd name="T55" fmla="*/ 58 h 228"/>
                      <a:gd name="T56" fmla="*/ 130 w 243"/>
                      <a:gd name="T57" fmla="*/ 58 h 228"/>
                      <a:gd name="T58" fmla="*/ 130 w 243"/>
                      <a:gd name="T59" fmla="*/ 41 h 228"/>
                      <a:gd name="T60" fmla="*/ 145 w 243"/>
                      <a:gd name="T61" fmla="*/ 33 h 228"/>
                      <a:gd name="T62" fmla="*/ 170 w 243"/>
                      <a:gd name="T63" fmla="*/ 33 h 228"/>
                      <a:gd name="T64" fmla="*/ 219 w 243"/>
                      <a:gd name="T65" fmla="*/ 58 h 228"/>
                      <a:gd name="T66" fmla="*/ 219 w 243"/>
                      <a:gd name="T67" fmla="*/ 65 h 228"/>
                      <a:gd name="T68" fmla="*/ 219 w 243"/>
                      <a:gd name="T69" fmla="*/ 73 h 228"/>
                      <a:gd name="T70" fmla="*/ 219 w 243"/>
                      <a:gd name="T71" fmla="*/ 81 h 228"/>
                      <a:gd name="T72" fmla="*/ 210 w 243"/>
                      <a:gd name="T73" fmla="*/ 98 h 228"/>
                      <a:gd name="T74" fmla="*/ 210 w 243"/>
                      <a:gd name="T75" fmla="*/ 130 h 228"/>
                      <a:gd name="T76" fmla="*/ 227 w 243"/>
                      <a:gd name="T77" fmla="*/ 139 h 228"/>
                      <a:gd name="T78" fmla="*/ 227 w 243"/>
                      <a:gd name="T79" fmla="*/ 146 h 228"/>
                      <a:gd name="T80" fmla="*/ 219 w 243"/>
                      <a:gd name="T81" fmla="*/ 162 h 228"/>
                      <a:gd name="T82" fmla="*/ 227 w 243"/>
                      <a:gd name="T83" fmla="*/ 178 h 228"/>
                      <a:gd name="T84" fmla="*/ 235 w 243"/>
                      <a:gd name="T85" fmla="*/ 186 h 228"/>
                      <a:gd name="T86" fmla="*/ 242 w 243"/>
                      <a:gd name="T87" fmla="*/ 202 h 228"/>
                      <a:gd name="T88" fmla="*/ 227 w 243"/>
                      <a:gd name="T89" fmla="*/ 211 h 228"/>
                      <a:gd name="T90" fmla="*/ 227 w 243"/>
                      <a:gd name="T91" fmla="*/ 22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4" name="Freeform 12">
                    <a:extLst>
                      <a:ext uri="{FF2B5EF4-FFF2-40B4-BE49-F238E27FC236}">
                        <a16:creationId xmlns:a16="http://schemas.microsoft.com/office/drawing/2014/main" id="{0E5683DF-3ECD-177C-6A67-EEBA024D0F7A}"/>
                      </a:ext>
                    </a:extLst>
                  </p:cNvPr>
                  <p:cNvSpPr>
                    <a:spLocks/>
                  </p:cNvSpPr>
                  <p:nvPr/>
                </p:nvSpPr>
                <p:spPr bwMode="gray">
                  <a:xfrm>
                    <a:off x="6184609" y="4114748"/>
                    <a:ext cx="212384" cy="100074"/>
                  </a:xfrm>
                  <a:custGeom>
                    <a:avLst/>
                    <a:gdLst>
                      <a:gd name="T0" fmla="*/ 137 w 138"/>
                      <a:gd name="T1" fmla="*/ 15 h 66"/>
                      <a:gd name="T2" fmla="*/ 137 w 138"/>
                      <a:gd name="T3" fmla="*/ 24 h 66"/>
                      <a:gd name="T4" fmla="*/ 112 w 138"/>
                      <a:gd name="T5" fmla="*/ 40 h 66"/>
                      <a:gd name="T6" fmla="*/ 95 w 138"/>
                      <a:gd name="T7" fmla="*/ 40 h 66"/>
                      <a:gd name="T8" fmla="*/ 87 w 138"/>
                      <a:gd name="T9" fmla="*/ 49 h 66"/>
                      <a:gd name="T10" fmla="*/ 71 w 138"/>
                      <a:gd name="T11" fmla="*/ 49 h 66"/>
                      <a:gd name="T12" fmla="*/ 55 w 138"/>
                      <a:gd name="T13" fmla="*/ 56 h 66"/>
                      <a:gd name="T14" fmla="*/ 55 w 138"/>
                      <a:gd name="T15" fmla="*/ 65 h 66"/>
                      <a:gd name="T16" fmla="*/ 31 w 138"/>
                      <a:gd name="T17" fmla="*/ 65 h 66"/>
                      <a:gd name="T18" fmla="*/ 22 w 138"/>
                      <a:gd name="T19" fmla="*/ 65 h 66"/>
                      <a:gd name="T20" fmla="*/ 0 w 138"/>
                      <a:gd name="T21" fmla="*/ 65 h 66"/>
                      <a:gd name="T22" fmla="*/ 0 w 138"/>
                      <a:gd name="T23" fmla="*/ 56 h 66"/>
                      <a:gd name="T24" fmla="*/ 15 w 138"/>
                      <a:gd name="T25" fmla="*/ 56 h 66"/>
                      <a:gd name="T26" fmla="*/ 15 w 138"/>
                      <a:gd name="T27" fmla="*/ 49 h 66"/>
                      <a:gd name="T28" fmla="*/ 31 w 138"/>
                      <a:gd name="T29" fmla="*/ 49 h 66"/>
                      <a:gd name="T30" fmla="*/ 46 w 138"/>
                      <a:gd name="T31" fmla="*/ 40 h 66"/>
                      <a:gd name="T32" fmla="*/ 31 w 138"/>
                      <a:gd name="T33" fmla="*/ 32 h 66"/>
                      <a:gd name="T34" fmla="*/ 22 w 138"/>
                      <a:gd name="T35" fmla="*/ 32 h 66"/>
                      <a:gd name="T36" fmla="*/ 6 w 138"/>
                      <a:gd name="T37" fmla="*/ 32 h 66"/>
                      <a:gd name="T38" fmla="*/ 22 w 138"/>
                      <a:gd name="T39" fmla="*/ 15 h 66"/>
                      <a:gd name="T40" fmla="*/ 15 w 138"/>
                      <a:gd name="T41" fmla="*/ 15 h 66"/>
                      <a:gd name="T42" fmla="*/ 22 w 138"/>
                      <a:gd name="T43" fmla="*/ 9 h 66"/>
                      <a:gd name="T44" fmla="*/ 46 w 138"/>
                      <a:gd name="T45" fmla="*/ 15 h 66"/>
                      <a:gd name="T46" fmla="*/ 46 w 138"/>
                      <a:gd name="T47" fmla="*/ 9 h 66"/>
                      <a:gd name="T48" fmla="*/ 55 w 138"/>
                      <a:gd name="T49" fmla="*/ 0 h 66"/>
                      <a:gd name="T50" fmla="*/ 71 w 138"/>
                      <a:gd name="T51" fmla="*/ 9 h 66"/>
                      <a:gd name="T52" fmla="*/ 120 w 138"/>
                      <a:gd name="T53" fmla="*/ 9 h 66"/>
                      <a:gd name="T54" fmla="*/ 137 w 138"/>
                      <a:gd name="T55" fmla="*/ 15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05" name="Freeform 13">
                    <a:extLst>
                      <a:ext uri="{FF2B5EF4-FFF2-40B4-BE49-F238E27FC236}">
                        <a16:creationId xmlns:a16="http://schemas.microsoft.com/office/drawing/2014/main" id="{368BD486-F5BE-B490-E8E3-42461B2578CE}"/>
                      </a:ext>
                    </a:extLst>
                  </p:cNvPr>
                  <p:cNvSpPr>
                    <a:spLocks/>
                  </p:cNvSpPr>
                  <p:nvPr/>
                </p:nvSpPr>
                <p:spPr bwMode="gray">
                  <a:xfrm>
                    <a:off x="5844795" y="4128682"/>
                    <a:ext cx="289614" cy="182414"/>
                  </a:xfrm>
                  <a:custGeom>
                    <a:avLst/>
                    <a:gdLst>
                      <a:gd name="T0" fmla="*/ 179 w 188"/>
                      <a:gd name="T1" fmla="*/ 96 h 121"/>
                      <a:gd name="T2" fmla="*/ 171 w 188"/>
                      <a:gd name="T3" fmla="*/ 88 h 121"/>
                      <a:gd name="T4" fmla="*/ 171 w 188"/>
                      <a:gd name="T5" fmla="*/ 96 h 121"/>
                      <a:gd name="T6" fmla="*/ 162 w 188"/>
                      <a:gd name="T7" fmla="*/ 96 h 121"/>
                      <a:gd name="T8" fmla="*/ 155 w 188"/>
                      <a:gd name="T9" fmla="*/ 112 h 121"/>
                      <a:gd name="T10" fmla="*/ 137 w 188"/>
                      <a:gd name="T11" fmla="*/ 112 h 121"/>
                      <a:gd name="T12" fmla="*/ 137 w 188"/>
                      <a:gd name="T13" fmla="*/ 120 h 121"/>
                      <a:gd name="T14" fmla="*/ 114 w 188"/>
                      <a:gd name="T15" fmla="*/ 120 h 121"/>
                      <a:gd name="T16" fmla="*/ 114 w 188"/>
                      <a:gd name="T17" fmla="*/ 112 h 121"/>
                      <a:gd name="T18" fmla="*/ 114 w 188"/>
                      <a:gd name="T19" fmla="*/ 105 h 121"/>
                      <a:gd name="T20" fmla="*/ 65 w 188"/>
                      <a:gd name="T21" fmla="*/ 80 h 121"/>
                      <a:gd name="T22" fmla="*/ 40 w 188"/>
                      <a:gd name="T23" fmla="*/ 80 h 121"/>
                      <a:gd name="T24" fmla="*/ 25 w 188"/>
                      <a:gd name="T25" fmla="*/ 88 h 121"/>
                      <a:gd name="T26" fmla="*/ 25 w 188"/>
                      <a:gd name="T27" fmla="*/ 63 h 121"/>
                      <a:gd name="T28" fmla="*/ 16 w 188"/>
                      <a:gd name="T29" fmla="*/ 63 h 121"/>
                      <a:gd name="T30" fmla="*/ 16 w 188"/>
                      <a:gd name="T31" fmla="*/ 47 h 121"/>
                      <a:gd name="T32" fmla="*/ 9 w 188"/>
                      <a:gd name="T33" fmla="*/ 47 h 121"/>
                      <a:gd name="T34" fmla="*/ 9 w 188"/>
                      <a:gd name="T35" fmla="*/ 40 h 121"/>
                      <a:gd name="T36" fmla="*/ 25 w 188"/>
                      <a:gd name="T37" fmla="*/ 40 h 121"/>
                      <a:gd name="T38" fmla="*/ 32 w 188"/>
                      <a:gd name="T39" fmla="*/ 31 h 121"/>
                      <a:gd name="T40" fmla="*/ 16 w 188"/>
                      <a:gd name="T41" fmla="*/ 15 h 121"/>
                      <a:gd name="T42" fmla="*/ 9 w 188"/>
                      <a:gd name="T43" fmla="*/ 15 h 121"/>
                      <a:gd name="T44" fmla="*/ 9 w 188"/>
                      <a:gd name="T45" fmla="*/ 31 h 121"/>
                      <a:gd name="T46" fmla="*/ 0 w 188"/>
                      <a:gd name="T47" fmla="*/ 15 h 121"/>
                      <a:gd name="T48" fmla="*/ 25 w 188"/>
                      <a:gd name="T49" fmla="*/ 6 h 121"/>
                      <a:gd name="T50" fmla="*/ 40 w 188"/>
                      <a:gd name="T51" fmla="*/ 23 h 121"/>
                      <a:gd name="T52" fmla="*/ 49 w 188"/>
                      <a:gd name="T53" fmla="*/ 23 h 121"/>
                      <a:gd name="T54" fmla="*/ 57 w 188"/>
                      <a:gd name="T55" fmla="*/ 23 h 121"/>
                      <a:gd name="T56" fmla="*/ 57 w 188"/>
                      <a:gd name="T57" fmla="*/ 15 h 121"/>
                      <a:gd name="T58" fmla="*/ 74 w 188"/>
                      <a:gd name="T59" fmla="*/ 6 h 121"/>
                      <a:gd name="T60" fmla="*/ 81 w 188"/>
                      <a:gd name="T61" fmla="*/ 6 h 121"/>
                      <a:gd name="T62" fmla="*/ 74 w 188"/>
                      <a:gd name="T63" fmla="*/ 0 h 121"/>
                      <a:gd name="T64" fmla="*/ 81 w 188"/>
                      <a:gd name="T65" fmla="*/ 0 h 121"/>
                      <a:gd name="T66" fmla="*/ 97 w 188"/>
                      <a:gd name="T67" fmla="*/ 6 h 121"/>
                      <a:gd name="T68" fmla="*/ 97 w 188"/>
                      <a:gd name="T69" fmla="*/ 23 h 121"/>
                      <a:gd name="T70" fmla="*/ 122 w 188"/>
                      <a:gd name="T71" fmla="*/ 23 h 121"/>
                      <a:gd name="T72" fmla="*/ 130 w 188"/>
                      <a:gd name="T73" fmla="*/ 47 h 121"/>
                      <a:gd name="T74" fmla="*/ 171 w 188"/>
                      <a:gd name="T75" fmla="*/ 72 h 121"/>
                      <a:gd name="T76" fmla="*/ 187 w 188"/>
                      <a:gd name="T77" fmla="*/ 80 h 121"/>
                      <a:gd name="T78" fmla="*/ 179 w 188"/>
                      <a:gd name="T79" fmla="*/ 9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6" name="Freeform 14">
                    <a:extLst>
                      <a:ext uri="{FF2B5EF4-FFF2-40B4-BE49-F238E27FC236}">
                        <a16:creationId xmlns:a16="http://schemas.microsoft.com/office/drawing/2014/main" id="{D87426C5-4801-272A-8FDD-B640A94B5EB7}"/>
                      </a:ext>
                    </a:extLst>
                  </p:cNvPr>
                  <p:cNvSpPr>
                    <a:spLocks/>
                  </p:cNvSpPr>
                  <p:nvPr/>
                </p:nvSpPr>
                <p:spPr bwMode="gray">
                  <a:xfrm>
                    <a:off x="5920738" y="4052677"/>
                    <a:ext cx="337240" cy="222950"/>
                  </a:xfrm>
                  <a:custGeom>
                    <a:avLst/>
                    <a:gdLst>
                      <a:gd name="T0" fmla="*/ 130 w 219"/>
                      <a:gd name="T1" fmla="*/ 146 h 147"/>
                      <a:gd name="T2" fmla="*/ 147 w 219"/>
                      <a:gd name="T3" fmla="*/ 146 h 147"/>
                      <a:gd name="T4" fmla="*/ 153 w 219"/>
                      <a:gd name="T5" fmla="*/ 130 h 147"/>
                      <a:gd name="T6" fmla="*/ 153 w 219"/>
                      <a:gd name="T7" fmla="*/ 113 h 147"/>
                      <a:gd name="T8" fmla="*/ 147 w 219"/>
                      <a:gd name="T9" fmla="*/ 106 h 147"/>
                      <a:gd name="T10" fmla="*/ 162 w 219"/>
                      <a:gd name="T11" fmla="*/ 106 h 147"/>
                      <a:gd name="T12" fmla="*/ 172 w 219"/>
                      <a:gd name="T13" fmla="*/ 90 h 147"/>
                      <a:gd name="T14" fmla="*/ 172 w 219"/>
                      <a:gd name="T15" fmla="*/ 81 h 147"/>
                      <a:gd name="T16" fmla="*/ 187 w 219"/>
                      <a:gd name="T17" fmla="*/ 81 h 147"/>
                      <a:gd name="T18" fmla="*/ 187 w 219"/>
                      <a:gd name="T19" fmla="*/ 90 h 147"/>
                      <a:gd name="T20" fmla="*/ 203 w 219"/>
                      <a:gd name="T21" fmla="*/ 90 h 147"/>
                      <a:gd name="T22" fmla="*/ 218 w 219"/>
                      <a:gd name="T23" fmla="*/ 81 h 147"/>
                      <a:gd name="T24" fmla="*/ 203 w 219"/>
                      <a:gd name="T25" fmla="*/ 73 h 147"/>
                      <a:gd name="T26" fmla="*/ 194 w 219"/>
                      <a:gd name="T27" fmla="*/ 73 h 147"/>
                      <a:gd name="T28" fmla="*/ 178 w 219"/>
                      <a:gd name="T29" fmla="*/ 73 h 147"/>
                      <a:gd name="T30" fmla="*/ 194 w 219"/>
                      <a:gd name="T31" fmla="*/ 56 h 147"/>
                      <a:gd name="T32" fmla="*/ 187 w 219"/>
                      <a:gd name="T33" fmla="*/ 56 h 147"/>
                      <a:gd name="T34" fmla="*/ 162 w 219"/>
                      <a:gd name="T35" fmla="*/ 81 h 147"/>
                      <a:gd name="T36" fmla="*/ 153 w 219"/>
                      <a:gd name="T37" fmla="*/ 73 h 147"/>
                      <a:gd name="T38" fmla="*/ 138 w 219"/>
                      <a:gd name="T39" fmla="*/ 73 h 147"/>
                      <a:gd name="T40" fmla="*/ 138 w 219"/>
                      <a:gd name="T41" fmla="*/ 65 h 147"/>
                      <a:gd name="T42" fmla="*/ 130 w 219"/>
                      <a:gd name="T43" fmla="*/ 65 h 147"/>
                      <a:gd name="T44" fmla="*/ 130 w 219"/>
                      <a:gd name="T45" fmla="*/ 50 h 147"/>
                      <a:gd name="T46" fmla="*/ 113 w 219"/>
                      <a:gd name="T47" fmla="*/ 31 h 147"/>
                      <a:gd name="T48" fmla="*/ 73 w 219"/>
                      <a:gd name="T49" fmla="*/ 31 h 147"/>
                      <a:gd name="T50" fmla="*/ 48 w 219"/>
                      <a:gd name="T51" fmla="*/ 9 h 147"/>
                      <a:gd name="T52" fmla="*/ 32 w 219"/>
                      <a:gd name="T53" fmla="*/ 0 h 147"/>
                      <a:gd name="T54" fmla="*/ 0 w 219"/>
                      <a:gd name="T55" fmla="*/ 9 h 147"/>
                      <a:gd name="T56" fmla="*/ 0 w 219"/>
                      <a:gd name="T57" fmla="*/ 73 h 147"/>
                      <a:gd name="T58" fmla="*/ 8 w 219"/>
                      <a:gd name="T59" fmla="*/ 73 h 147"/>
                      <a:gd name="T60" fmla="*/ 8 w 219"/>
                      <a:gd name="T61" fmla="*/ 65 h 147"/>
                      <a:gd name="T62" fmla="*/ 25 w 219"/>
                      <a:gd name="T63" fmla="*/ 56 h 147"/>
                      <a:gd name="T64" fmla="*/ 32 w 219"/>
                      <a:gd name="T65" fmla="*/ 56 h 147"/>
                      <a:gd name="T66" fmla="*/ 25 w 219"/>
                      <a:gd name="T67" fmla="*/ 50 h 147"/>
                      <a:gd name="T68" fmla="*/ 32 w 219"/>
                      <a:gd name="T69" fmla="*/ 50 h 147"/>
                      <a:gd name="T70" fmla="*/ 48 w 219"/>
                      <a:gd name="T71" fmla="*/ 56 h 147"/>
                      <a:gd name="T72" fmla="*/ 48 w 219"/>
                      <a:gd name="T73" fmla="*/ 73 h 147"/>
                      <a:gd name="T74" fmla="*/ 73 w 219"/>
                      <a:gd name="T75" fmla="*/ 73 h 147"/>
                      <a:gd name="T76" fmla="*/ 81 w 219"/>
                      <a:gd name="T77" fmla="*/ 97 h 147"/>
                      <a:gd name="T78" fmla="*/ 122 w 219"/>
                      <a:gd name="T79" fmla="*/ 122 h 147"/>
                      <a:gd name="T80" fmla="*/ 138 w 219"/>
                      <a:gd name="T81" fmla="*/ 130 h 147"/>
                      <a:gd name="T82" fmla="*/ 130 w 219"/>
                      <a:gd name="T83" fmla="*/ 14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07" name="Freeform 15">
                    <a:extLst>
                      <a:ext uri="{FF2B5EF4-FFF2-40B4-BE49-F238E27FC236}">
                        <a16:creationId xmlns:a16="http://schemas.microsoft.com/office/drawing/2014/main" id="{74EE37F6-4752-108C-0623-878E2E06E511}"/>
                      </a:ext>
                    </a:extLst>
                  </p:cNvPr>
                  <p:cNvSpPr>
                    <a:spLocks/>
                  </p:cNvSpPr>
                  <p:nvPr/>
                </p:nvSpPr>
                <p:spPr bwMode="gray">
                  <a:xfrm>
                    <a:off x="5731524" y="3760056"/>
                    <a:ext cx="813493" cy="416764"/>
                  </a:xfrm>
                  <a:custGeom>
                    <a:avLst/>
                    <a:gdLst>
                      <a:gd name="T0" fmla="*/ 504 w 529"/>
                      <a:gd name="T1" fmla="*/ 144 h 275"/>
                      <a:gd name="T2" fmla="*/ 487 w 529"/>
                      <a:gd name="T3" fmla="*/ 169 h 275"/>
                      <a:gd name="T4" fmla="*/ 456 w 529"/>
                      <a:gd name="T5" fmla="*/ 202 h 275"/>
                      <a:gd name="T6" fmla="*/ 432 w 529"/>
                      <a:gd name="T7" fmla="*/ 209 h 275"/>
                      <a:gd name="T8" fmla="*/ 432 w 529"/>
                      <a:gd name="T9" fmla="*/ 249 h 275"/>
                      <a:gd name="T10" fmla="*/ 366 w 529"/>
                      <a:gd name="T11" fmla="*/ 243 h 275"/>
                      <a:gd name="T12" fmla="*/ 341 w 529"/>
                      <a:gd name="T13" fmla="*/ 243 h 275"/>
                      <a:gd name="T14" fmla="*/ 317 w 529"/>
                      <a:gd name="T15" fmla="*/ 243 h 275"/>
                      <a:gd name="T16" fmla="*/ 285 w 529"/>
                      <a:gd name="T17" fmla="*/ 274 h 275"/>
                      <a:gd name="T18" fmla="*/ 261 w 529"/>
                      <a:gd name="T19" fmla="*/ 266 h 275"/>
                      <a:gd name="T20" fmla="*/ 253 w 529"/>
                      <a:gd name="T21" fmla="*/ 258 h 275"/>
                      <a:gd name="T22" fmla="*/ 236 w 529"/>
                      <a:gd name="T23" fmla="*/ 224 h 275"/>
                      <a:gd name="T24" fmla="*/ 171 w 529"/>
                      <a:gd name="T25" fmla="*/ 202 h 275"/>
                      <a:gd name="T26" fmla="*/ 123 w 529"/>
                      <a:gd name="T27" fmla="*/ 202 h 275"/>
                      <a:gd name="T28" fmla="*/ 114 w 529"/>
                      <a:gd name="T29" fmla="*/ 266 h 275"/>
                      <a:gd name="T30" fmla="*/ 74 w 529"/>
                      <a:gd name="T31" fmla="*/ 258 h 275"/>
                      <a:gd name="T32" fmla="*/ 65 w 529"/>
                      <a:gd name="T33" fmla="*/ 243 h 275"/>
                      <a:gd name="T34" fmla="*/ 49 w 529"/>
                      <a:gd name="T35" fmla="*/ 218 h 275"/>
                      <a:gd name="T36" fmla="*/ 59 w 529"/>
                      <a:gd name="T37" fmla="*/ 209 h 275"/>
                      <a:gd name="T38" fmla="*/ 99 w 529"/>
                      <a:gd name="T39" fmla="*/ 202 h 275"/>
                      <a:gd name="T40" fmla="*/ 74 w 529"/>
                      <a:gd name="T41" fmla="*/ 169 h 275"/>
                      <a:gd name="T42" fmla="*/ 34 w 529"/>
                      <a:gd name="T43" fmla="*/ 177 h 275"/>
                      <a:gd name="T44" fmla="*/ 34 w 529"/>
                      <a:gd name="T45" fmla="*/ 169 h 275"/>
                      <a:gd name="T46" fmla="*/ 9 w 529"/>
                      <a:gd name="T47" fmla="*/ 153 h 275"/>
                      <a:gd name="T48" fmla="*/ 9 w 529"/>
                      <a:gd name="T49" fmla="*/ 96 h 275"/>
                      <a:gd name="T50" fmla="*/ 34 w 529"/>
                      <a:gd name="T51" fmla="*/ 112 h 275"/>
                      <a:gd name="T52" fmla="*/ 49 w 529"/>
                      <a:gd name="T53" fmla="*/ 72 h 275"/>
                      <a:gd name="T54" fmla="*/ 74 w 529"/>
                      <a:gd name="T55" fmla="*/ 72 h 275"/>
                      <a:gd name="T56" fmla="*/ 114 w 529"/>
                      <a:gd name="T57" fmla="*/ 96 h 275"/>
                      <a:gd name="T58" fmla="*/ 148 w 529"/>
                      <a:gd name="T59" fmla="*/ 87 h 275"/>
                      <a:gd name="T60" fmla="*/ 188 w 529"/>
                      <a:gd name="T61" fmla="*/ 96 h 275"/>
                      <a:gd name="T62" fmla="*/ 171 w 529"/>
                      <a:gd name="T63" fmla="*/ 72 h 275"/>
                      <a:gd name="T64" fmla="*/ 179 w 529"/>
                      <a:gd name="T65" fmla="*/ 56 h 275"/>
                      <a:gd name="T66" fmla="*/ 188 w 529"/>
                      <a:gd name="T67" fmla="*/ 22 h 275"/>
                      <a:gd name="T68" fmla="*/ 276 w 529"/>
                      <a:gd name="T69" fmla="*/ 7 h 275"/>
                      <a:gd name="T70" fmla="*/ 285 w 529"/>
                      <a:gd name="T71" fmla="*/ 0 h 275"/>
                      <a:gd name="T72" fmla="*/ 317 w 529"/>
                      <a:gd name="T73" fmla="*/ 16 h 275"/>
                      <a:gd name="T74" fmla="*/ 326 w 529"/>
                      <a:gd name="T75" fmla="*/ 22 h 275"/>
                      <a:gd name="T76" fmla="*/ 341 w 529"/>
                      <a:gd name="T77" fmla="*/ 40 h 275"/>
                      <a:gd name="T78" fmla="*/ 375 w 529"/>
                      <a:gd name="T79" fmla="*/ 22 h 275"/>
                      <a:gd name="T80" fmla="*/ 398 w 529"/>
                      <a:gd name="T81" fmla="*/ 40 h 275"/>
                      <a:gd name="T82" fmla="*/ 438 w 529"/>
                      <a:gd name="T83" fmla="*/ 81 h 275"/>
                      <a:gd name="T84" fmla="*/ 472 w 529"/>
                      <a:gd name="T85" fmla="*/ 87 h 275"/>
                      <a:gd name="T86" fmla="*/ 512 w 529"/>
                      <a:gd name="T87" fmla="*/ 121 h 275"/>
                      <a:gd name="T88" fmla="*/ 528 w 529"/>
                      <a:gd name="T89" fmla="*/ 12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08" name="Freeform 72">
                    <a:extLst>
                      <a:ext uri="{FF2B5EF4-FFF2-40B4-BE49-F238E27FC236}">
                        <a16:creationId xmlns:a16="http://schemas.microsoft.com/office/drawing/2014/main" id="{54CCF24B-85A5-B722-1CCE-CD76BA897E09}"/>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09" name="Freeform 73">
                    <a:extLst>
                      <a:ext uri="{FF2B5EF4-FFF2-40B4-BE49-F238E27FC236}">
                        <a16:creationId xmlns:a16="http://schemas.microsoft.com/office/drawing/2014/main" id="{7FFD2EB4-8B77-9845-AC2F-1417F6CE4CB8}"/>
                      </a:ext>
                    </a:extLst>
                  </p:cNvPr>
                  <p:cNvSpPr>
                    <a:spLocks/>
                  </p:cNvSpPr>
                  <p:nvPr/>
                </p:nvSpPr>
                <p:spPr bwMode="gray">
                  <a:xfrm>
                    <a:off x="6568186" y="4480841"/>
                    <a:ext cx="63072" cy="26602"/>
                  </a:xfrm>
                  <a:custGeom>
                    <a:avLst/>
                    <a:gdLst>
                      <a:gd name="T0" fmla="*/ 33 w 41"/>
                      <a:gd name="T1" fmla="*/ 0 h 17"/>
                      <a:gd name="T2" fmla="*/ 8 w 41"/>
                      <a:gd name="T3" fmla="*/ 0 h 17"/>
                      <a:gd name="T4" fmla="*/ 0 w 41"/>
                      <a:gd name="T5" fmla="*/ 9 h 17"/>
                      <a:gd name="T6" fmla="*/ 0 w 41"/>
                      <a:gd name="T7" fmla="*/ 16 h 17"/>
                      <a:gd name="T8" fmla="*/ 33 w 41"/>
                      <a:gd name="T9" fmla="*/ 16 h 17"/>
                      <a:gd name="T10" fmla="*/ 40 w 41"/>
                      <a:gd name="T11" fmla="*/ 16 h 17"/>
                      <a:gd name="T12" fmla="*/ 33 w 41"/>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41" h="17">
                        <a:moveTo>
                          <a:pt x="33" y="0"/>
                        </a:moveTo>
                        <a:lnTo>
                          <a:pt x="8" y="0"/>
                        </a:lnTo>
                        <a:lnTo>
                          <a:pt x="0" y="9"/>
                        </a:lnTo>
                        <a:lnTo>
                          <a:pt x="0" y="16"/>
                        </a:lnTo>
                        <a:lnTo>
                          <a:pt x="33" y="16"/>
                        </a:lnTo>
                        <a:lnTo>
                          <a:pt x="40" y="16"/>
                        </a:lnTo>
                        <a:lnTo>
                          <a:pt x="33"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0" name="Freeform 74">
                    <a:extLst>
                      <a:ext uri="{FF2B5EF4-FFF2-40B4-BE49-F238E27FC236}">
                        <a16:creationId xmlns:a16="http://schemas.microsoft.com/office/drawing/2014/main" id="{B30B1BC7-FBB4-92E3-DBBF-BC245676E1DF}"/>
                      </a:ext>
                    </a:extLst>
                  </p:cNvPr>
                  <p:cNvSpPr>
                    <a:spLocks/>
                  </p:cNvSpPr>
                  <p:nvPr/>
                </p:nvSpPr>
                <p:spPr bwMode="gray">
                  <a:xfrm>
                    <a:off x="6156290" y="4298428"/>
                    <a:ext cx="575366" cy="590310"/>
                  </a:xfrm>
                  <a:custGeom>
                    <a:avLst/>
                    <a:gdLst>
                      <a:gd name="T0" fmla="*/ 358 w 374"/>
                      <a:gd name="T1" fmla="*/ 105 h 390"/>
                      <a:gd name="T2" fmla="*/ 373 w 374"/>
                      <a:gd name="T3" fmla="*/ 137 h 390"/>
                      <a:gd name="T4" fmla="*/ 349 w 374"/>
                      <a:gd name="T5" fmla="*/ 146 h 390"/>
                      <a:gd name="T6" fmla="*/ 326 w 374"/>
                      <a:gd name="T7" fmla="*/ 187 h 390"/>
                      <a:gd name="T8" fmla="*/ 318 w 374"/>
                      <a:gd name="T9" fmla="*/ 211 h 390"/>
                      <a:gd name="T10" fmla="*/ 308 w 374"/>
                      <a:gd name="T11" fmla="*/ 178 h 390"/>
                      <a:gd name="T12" fmla="*/ 293 w 374"/>
                      <a:gd name="T13" fmla="*/ 187 h 390"/>
                      <a:gd name="T14" fmla="*/ 308 w 374"/>
                      <a:gd name="T15" fmla="*/ 162 h 390"/>
                      <a:gd name="T16" fmla="*/ 276 w 374"/>
                      <a:gd name="T17" fmla="*/ 146 h 390"/>
                      <a:gd name="T18" fmla="*/ 261 w 374"/>
                      <a:gd name="T19" fmla="*/ 146 h 390"/>
                      <a:gd name="T20" fmla="*/ 252 w 374"/>
                      <a:gd name="T21" fmla="*/ 170 h 390"/>
                      <a:gd name="T22" fmla="*/ 268 w 374"/>
                      <a:gd name="T23" fmla="*/ 211 h 390"/>
                      <a:gd name="T24" fmla="*/ 261 w 374"/>
                      <a:gd name="T25" fmla="*/ 202 h 390"/>
                      <a:gd name="T26" fmla="*/ 236 w 374"/>
                      <a:gd name="T27" fmla="*/ 236 h 390"/>
                      <a:gd name="T28" fmla="*/ 180 w 374"/>
                      <a:gd name="T29" fmla="*/ 276 h 390"/>
                      <a:gd name="T30" fmla="*/ 171 w 374"/>
                      <a:gd name="T31" fmla="*/ 283 h 390"/>
                      <a:gd name="T32" fmla="*/ 156 w 374"/>
                      <a:gd name="T33" fmla="*/ 292 h 390"/>
                      <a:gd name="T34" fmla="*/ 156 w 374"/>
                      <a:gd name="T35" fmla="*/ 324 h 390"/>
                      <a:gd name="T36" fmla="*/ 147 w 374"/>
                      <a:gd name="T37" fmla="*/ 364 h 390"/>
                      <a:gd name="T38" fmla="*/ 131 w 374"/>
                      <a:gd name="T39" fmla="*/ 380 h 390"/>
                      <a:gd name="T40" fmla="*/ 106 w 374"/>
                      <a:gd name="T41" fmla="*/ 380 h 390"/>
                      <a:gd name="T42" fmla="*/ 65 w 374"/>
                      <a:gd name="T43" fmla="*/ 283 h 390"/>
                      <a:gd name="T44" fmla="*/ 59 w 374"/>
                      <a:gd name="T45" fmla="*/ 202 h 390"/>
                      <a:gd name="T46" fmla="*/ 34 w 374"/>
                      <a:gd name="T47" fmla="*/ 227 h 390"/>
                      <a:gd name="T48" fmla="*/ 25 w 374"/>
                      <a:gd name="T49" fmla="*/ 202 h 390"/>
                      <a:gd name="T50" fmla="*/ 19 w 374"/>
                      <a:gd name="T51" fmla="*/ 195 h 390"/>
                      <a:gd name="T52" fmla="*/ 9 w 374"/>
                      <a:gd name="T53" fmla="*/ 178 h 390"/>
                      <a:gd name="T54" fmla="*/ 34 w 374"/>
                      <a:gd name="T55" fmla="*/ 170 h 390"/>
                      <a:gd name="T56" fmla="*/ 25 w 374"/>
                      <a:gd name="T57" fmla="*/ 153 h 390"/>
                      <a:gd name="T58" fmla="*/ 19 w 374"/>
                      <a:gd name="T59" fmla="*/ 146 h 390"/>
                      <a:gd name="T60" fmla="*/ 25 w 374"/>
                      <a:gd name="T61" fmla="*/ 121 h 390"/>
                      <a:gd name="T62" fmla="*/ 50 w 374"/>
                      <a:gd name="T63" fmla="*/ 121 h 390"/>
                      <a:gd name="T64" fmla="*/ 82 w 374"/>
                      <a:gd name="T65" fmla="*/ 65 h 390"/>
                      <a:gd name="T66" fmla="*/ 90 w 374"/>
                      <a:gd name="T67" fmla="*/ 56 h 390"/>
                      <a:gd name="T68" fmla="*/ 82 w 374"/>
                      <a:gd name="T69" fmla="*/ 33 h 390"/>
                      <a:gd name="T70" fmla="*/ 82 w 374"/>
                      <a:gd name="T71" fmla="*/ 16 h 390"/>
                      <a:gd name="T72" fmla="*/ 114 w 374"/>
                      <a:gd name="T73" fmla="*/ 16 h 390"/>
                      <a:gd name="T74" fmla="*/ 147 w 374"/>
                      <a:gd name="T75" fmla="*/ 0 h 390"/>
                      <a:gd name="T76" fmla="*/ 156 w 374"/>
                      <a:gd name="T77" fmla="*/ 25 h 390"/>
                      <a:gd name="T78" fmla="*/ 147 w 374"/>
                      <a:gd name="T79" fmla="*/ 56 h 390"/>
                      <a:gd name="T80" fmla="*/ 139 w 374"/>
                      <a:gd name="T81" fmla="*/ 81 h 390"/>
                      <a:gd name="T82" fmla="*/ 156 w 374"/>
                      <a:gd name="T83" fmla="*/ 113 h 390"/>
                      <a:gd name="T84" fmla="*/ 243 w 374"/>
                      <a:gd name="T85" fmla="*/ 146 h 390"/>
                      <a:gd name="T86" fmla="*/ 252 w 374"/>
                      <a:gd name="T87" fmla="*/ 137 h 390"/>
                      <a:gd name="T88" fmla="*/ 261 w 374"/>
                      <a:gd name="T89" fmla="*/ 121 h 390"/>
                      <a:gd name="T90" fmla="*/ 268 w 374"/>
                      <a:gd name="T91" fmla="*/ 137 h 390"/>
                      <a:gd name="T92" fmla="*/ 308 w 374"/>
                      <a:gd name="T93" fmla="*/ 137 h 390"/>
                      <a:gd name="T94" fmla="*/ 342 w 374"/>
                      <a:gd name="T95" fmla="*/ 10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1" name="Freeform 75">
                    <a:extLst>
                      <a:ext uri="{FF2B5EF4-FFF2-40B4-BE49-F238E27FC236}">
                        <a16:creationId xmlns:a16="http://schemas.microsoft.com/office/drawing/2014/main" id="{79D53E61-3677-7D8C-D1AD-F351BD4BEA6F}"/>
                      </a:ext>
                    </a:extLst>
                  </p:cNvPr>
                  <p:cNvSpPr>
                    <a:spLocks/>
                  </p:cNvSpPr>
                  <p:nvPr/>
                </p:nvSpPr>
                <p:spPr bwMode="gray">
                  <a:xfrm>
                    <a:off x="6543730" y="3868997"/>
                    <a:ext cx="628140" cy="295155"/>
                  </a:xfrm>
                  <a:custGeom>
                    <a:avLst/>
                    <a:gdLst>
                      <a:gd name="T0" fmla="*/ 268 w 408"/>
                      <a:gd name="T1" fmla="*/ 49 h 195"/>
                      <a:gd name="T2" fmla="*/ 220 w 408"/>
                      <a:gd name="T3" fmla="*/ 24 h 195"/>
                      <a:gd name="T4" fmla="*/ 205 w 408"/>
                      <a:gd name="T5" fmla="*/ 32 h 195"/>
                      <a:gd name="T6" fmla="*/ 195 w 408"/>
                      <a:gd name="T7" fmla="*/ 32 h 195"/>
                      <a:gd name="T8" fmla="*/ 180 w 408"/>
                      <a:gd name="T9" fmla="*/ 9 h 195"/>
                      <a:gd name="T10" fmla="*/ 146 w 408"/>
                      <a:gd name="T11" fmla="*/ 0 h 195"/>
                      <a:gd name="T12" fmla="*/ 130 w 408"/>
                      <a:gd name="T13" fmla="*/ 9 h 195"/>
                      <a:gd name="T14" fmla="*/ 130 w 408"/>
                      <a:gd name="T15" fmla="*/ 24 h 195"/>
                      <a:gd name="T16" fmla="*/ 130 w 408"/>
                      <a:gd name="T17" fmla="*/ 40 h 195"/>
                      <a:gd name="T18" fmla="*/ 97 w 408"/>
                      <a:gd name="T19" fmla="*/ 40 h 195"/>
                      <a:gd name="T20" fmla="*/ 81 w 408"/>
                      <a:gd name="T21" fmla="*/ 32 h 195"/>
                      <a:gd name="T22" fmla="*/ 49 w 408"/>
                      <a:gd name="T23" fmla="*/ 24 h 195"/>
                      <a:gd name="T24" fmla="*/ 9 w 408"/>
                      <a:gd name="T25" fmla="*/ 49 h 195"/>
                      <a:gd name="T26" fmla="*/ 0 w 408"/>
                      <a:gd name="T27" fmla="*/ 57 h 195"/>
                      <a:gd name="T28" fmla="*/ 16 w 408"/>
                      <a:gd name="T29" fmla="*/ 81 h 195"/>
                      <a:gd name="T30" fmla="*/ 34 w 408"/>
                      <a:gd name="T31" fmla="*/ 81 h 195"/>
                      <a:gd name="T32" fmla="*/ 41 w 408"/>
                      <a:gd name="T33" fmla="*/ 97 h 195"/>
                      <a:gd name="T34" fmla="*/ 41 w 408"/>
                      <a:gd name="T35" fmla="*/ 130 h 195"/>
                      <a:gd name="T36" fmla="*/ 90 w 408"/>
                      <a:gd name="T37" fmla="*/ 146 h 195"/>
                      <a:gd name="T38" fmla="*/ 115 w 408"/>
                      <a:gd name="T39" fmla="*/ 171 h 195"/>
                      <a:gd name="T40" fmla="*/ 162 w 408"/>
                      <a:gd name="T41" fmla="*/ 171 h 195"/>
                      <a:gd name="T42" fmla="*/ 186 w 408"/>
                      <a:gd name="T43" fmla="*/ 186 h 195"/>
                      <a:gd name="T44" fmla="*/ 220 w 408"/>
                      <a:gd name="T45" fmla="*/ 194 h 195"/>
                      <a:gd name="T46" fmla="*/ 252 w 408"/>
                      <a:gd name="T47" fmla="*/ 177 h 195"/>
                      <a:gd name="T48" fmla="*/ 285 w 408"/>
                      <a:gd name="T49" fmla="*/ 177 h 195"/>
                      <a:gd name="T50" fmla="*/ 308 w 408"/>
                      <a:gd name="T51" fmla="*/ 152 h 195"/>
                      <a:gd name="T52" fmla="*/ 302 w 408"/>
                      <a:gd name="T53" fmla="*/ 146 h 195"/>
                      <a:gd name="T54" fmla="*/ 317 w 408"/>
                      <a:gd name="T55" fmla="*/ 130 h 195"/>
                      <a:gd name="T56" fmla="*/ 333 w 408"/>
                      <a:gd name="T57" fmla="*/ 137 h 195"/>
                      <a:gd name="T58" fmla="*/ 357 w 408"/>
                      <a:gd name="T59" fmla="*/ 121 h 195"/>
                      <a:gd name="T60" fmla="*/ 373 w 408"/>
                      <a:gd name="T61" fmla="*/ 105 h 195"/>
                      <a:gd name="T62" fmla="*/ 407 w 408"/>
                      <a:gd name="T63" fmla="*/ 105 h 195"/>
                      <a:gd name="T64" fmla="*/ 397 w 408"/>
                      <a:gd name="T65" fmla="*/ 89 h 195"/>
                      <a:gd name="T66" fmla="*/ 389 w 408"/>
                      <a:gd name="T67" fmla="*/ 81 h 195"/>
                      <a:gd name="T68" fmla="*/ 373 w 408"/>
                      <a:gd name="T69" fmla="*/ 89 h 195"/>
                      <a:gd name="T70" fmla="*/ 357 w 408"/>
                      <a:gd name="T71" fmla="*/ 89 h 195"/>
                      <a:gd name="T72" fmla="*/ 357 w 408"/>
                      <a:gd name="T73" fmla="*/ 57 h 195"/>
                      <a:gd name="T74" fmla="*/ 366 w 408"/>
                      <a:gd name="T75" fmla="*/ 40 h 195"/>
                      <a:gd name="T76" fmla="*/ 342 w 408"/>
                      <a:gd name="T77" fmla="*/ 32 h 195"/>
                      <a:gd name="T78" fmla="*/ 325 w 408"/>
                      <a:gd name="T79" fmla="*/ 49 h 195"/>
                      <a:gd name="T80" fmla="*/ 292 w 408"/>
                      <a:gd name="T81" fmla="*/ 57 h 195"/>
                      <a:gd name="T82" fmla="*/ 268 w 408"/>
                      <a:gd name="T83" fmla="*/ 4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12" name="Freeform 111">
                    <a:extLst>
                      <a:ext uri="{FF2B5EF4-FFF2-40B4-BE49-F238E27FC236}">
                        <a16:creationId xmlns:a16="http://schemas.microsoft.com/office/drawing/2014/main" id="{28C05C09-329E-A9D7-6128-C2DD395D420B}"/>
                      </a:ext>
                    </a:extLst>
                  </p:cNvPr>
                  <p:cNvSpPr>
                    <a:spLocks/>
                  </p:cNvSpPr>
                  <p:nvPr/>
                </p:nvSpPr>
                <p:spPr bwMode="gray">
                  <a:xfrm>
                    <a:off x="5695483" y="4199621"/>
                    <a:ext cx="27031" cy="25335"/>
                  </a:xfrm>
                  <a:custGeom>
                    <a:avLst/>
                    <a:gdLst>
                      <a:gd name="T0" fmla="*/ 16 w 17"/>
                      <a:gd name="T1" fmla="*/ 16 h 17"/>
                      <a:gd name="T2" fmla="*/ 7 w 17"/>
                      <a:gd name="T3" fmla="*/ 16 h 17"/>
                      <a:gd name="T4" fmla="*/ 0 w 17"/>
                      <a:gd name="T5" fmla="*/ 0 h 17"/>
                      <a:gd name="T6" fmla="*/ 16 w 17"/>
                      <a:gd name="T7" fmla="*/ 9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7" y="16"/>
                        </a:lnTo>
                        <a:lnTo>
                          <a:pt x="0" y="0"/>
                        </a:lnTo>
                        <a:lnTo>
                          <a:pt x="16" y="9"/>
                        </a:lnTo>
                        <a:lnTo>
                          <a:pt x="16" y="16"/>
                        </a:lnTo>
                      </a:path>
                    </a:pathLst>
                  </a:custGeom>
                  <a:grpFill/>
                  <a:ln w="3175" cap="rnd" cmpd="sng">
                    <a:solidFill>
                      <a:schemeClr val="bg1"/>
                    </a:solidFill>
                    <a:prstDash val="solid"/>
                    <a:round/>
                    <a:headEnd/>
                    <a:tailEnd/>
                  </a:ln>
                  <a:effectLst/>
                </p:spPr>
                <p:txBody>
                  <a:bodyPr/>
                  <a:lstStyle/>
                  <a:p>
                    <a:endParaRPr lang="en-US"/>
                  </a:p>
                </p:txBody>
              </p:sp>
              <p:sp>
                <p:nvSpPr>
                  <p:cNvPr id="1713" name="Freeform 150">
                    <a:extLst>
                      <a:ext uri="{FF2B5EF4-FFF2-40B4-BE49-F238E27FC236}">
                        <a16:creationId xmlns:a16="http://schemas.microsoft.com/office/drawing/2014/main" id="{8ABB592A-DE33-F599-AB7B-549475142813}"/>
                      </a:ext>
                    </a:extLst>
                  </p:cNvPr>
                  <p:cNvSpPr>
                    <a:spLocks/>
                  </p:cNvSpPr>
                  <p:nvPr/>
                </p:nvSpPr>
                <p:spPr bwMode="gray">
                  <a:xfrm>
                    <a:off x="5858954" y="4555580"/>
                    <a:ext cx="136441" cy="162145"/>
                  </a:xfrm>
                  <a:custGeom>
                    <a:avLst/>
                    <a:gdLst>
                      <a:gd name="T0" fmla="*/ 0 w 89"/>
                      <a:gd name="T1" fmla="*/ 106 h 107"/>
                      <a:gd name="T2" fmla="*/ 23 w 89"/>
                      <a:gd name="T3" fmla="*/ 106 h 107"/>
                      <a:gd name="T4" fmla="*/ 31 w 89"/>
                      <a:gd name="T5" fmla="*/ 97 h 107"/>
                      <a:gd name="T6" fmla="*/ 40 w 89"/>
                      <a:gd name="T7" fmla="*/ 89 h 107"/>
                      <a:gd name="T8" fmla="*/ 56 w 89"/>
                      <a:gd name="T9" fmla="*/ 82 h 107"/>
                      <a:gd name="T10" fmla="*/ 65 w 89"/>
                      <a:gd name="T11" fmla="*/ 72 h 107"/>
                      <a:gd name="T12" fmla="*/ 65 w 89"/>
                      <a:gd name="T13" fmla="*/ 66 h 107"/>
                      <a:gd name="T14" fmla="*/ 81 w 89"/>
                      <a:gd name="T15" fmla="*/ 41 h 107"/>
                      <a:gd name="T16" fmla="*/ 88 w 89"/>
                      <a:gd name="T17" fmla="*/ 32 h 107"/>
                      <a:gd name="T18" fmla="*/ 72 w 89"/>
                      <a:gd name="T19" fmla="*/ 17 h 107"/>
                      <a:gd name="T20" fmla="*/ 56 w 89"/>
                      <a:gd name="T21" fmla="*/ 8 h 107"/>
                      <a:gd name="T22" fmla="*/ 48 w 89"/>
                      <a:gd name="T23" fmla="*/ 0 h 107"/>
                      <a:gd name="T24" fmla="*/ 31 w 89"/>
                      <a:gd name="T25" fmla="*/ 17 h 107"/>
                      <a:gd name="T26" fmla="*/ 40 w 89"/>
                      <a:gd name="T27" fmla="*/ 25 h 107"/>
                      <a:gd name="T28" fmla="*/ 48 w 89"/>
                      <a:gd name="T29" fmla="*/ 32 h 107"/>
                      <a:gd name="T30" fmla="*/ 48 w 89"/>
                      <a:gd name="T31" fmla="*/ 41 h 107"/>
                      <a:gd name="T32" fmla="*/ 48 w 89"/>
                      <a:gd name="T33" fmla="*/ 48 h 107"/>
                      <a:gd name="T34" fmla="*/ 48 w 89"/>
                      <a:gd name="T35" fmla="*/ 57 h 107"/>
                      <a:gd name="T36" fmla="*/ 40 w 89"/>
                      <a:gd name="T37" fmla="*/ 57 h 107"/>
                      <a:gd name="T38" fmla="*/ 31 w 89"/>
                      <a:gd name="T39" fmla="*/ 66 h 107"/>
                      <a:gd name="T40" fmla="*/ 23 w 89"/>
                      <a:gd name="T41" fmla="*/ 72 h 107"/>
                      <a:gd name="T42" fmla="*/ 16 w 89"/>
                      <a:gd name="T43" fmla="*/ 82 h 107"/>
                      <a:gd name="T44" fmla="*/ 7 w 89"/>
                      <a:gd name="T45" fmla="*/ 89 h 107"/>
                      <a:gd name="T46" fmla="*/ 0 w 89"/>
                      <a:gd name="T47" fmla="*/ 97 h 107"/>
                      <a:gd name="T48" fmla="*/ 0 w 89"/>
                      <a:gd name="T49" fmla="*/ 10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4" name="Freeform 152">
                    <a:extLst>
                      <a:ext uri="{FF2B5EF4-FFF2-40B4-BE49-F238E27FC236}">
                        <a16:creationId xmlns:a16="http://schemas.microsoft.com/office/drawing/2014/main" id="{5D75C149-5A39-5D9F-22BB-3BBB7476392C}"/>
                      </a:ext>
                    </a:extLst>
                  </p:cNvPr>
                  <p:cNvSpPr>
                    <a:spLocks/>
                  </p:cNvSpPr>
                  <p:nvPr/>
                </p:nvSpPr>
                <p:spPr bwMode="gray">
                  <a:xfrm>
                    <a:off x="6395705" y="4433971"/>
                    <a:ext cx="149312" cy="86140"/>
                  </a:xfrm>
                  <a:custGeom>
                    <a:avLst/>
                    <a:gdLst>
                      <a:gd name="T0" fmla="*/ 6 w 97"/>
                      <a:gd name="T1" fmla="*/ 0 h 57"/>
                      <a:gd name="T2" fmla="*/ 0 w 97"/>
                      <a:gd name="T3" fmla="*/ 23 h 57"/>
                      <a:gd name="T4" fmla="*/ 15 w 97"/>
                      <a:gd name="T5" fmla="*/ 31 h 57"/>
                      <a:gd name="T6" fmla="*/ 87 w 97"/>
                      <a:gd name="T7" fmla="*/ 56 h 57"/>
                      <a:gd name="T8" fmla="*/ 96 w 97"/>
                      <a:gd name="T9" fmla="*/ 56 h 57"/>
                      <a:gd name="T10" fmla="*/ 96 w 97"/>
                      <a:gd name="T11" fmla="*/ 47 h 57"/>
                      <a:gd name="T12" fmla="*/ 96 w 97"/>
                      <a:gd name="T13" fmla="*/ 31 h 57"/>
                      <a:gd name="T14" fmla="*/ 72 w 97"/>
                      <a:gd name="T15" fmla="*/ 31 h 57"/>
                      <a:gd name="T16" fmla="*/ 55 w 97"/>
                      <a:gd name="T17" fmla="*/ 23 h 57"/>
                      <a:gd name="T18" fmla="*/ 47 w 97"/>
                      <a:gd name="T19" fmla="*/ 15 h 57"/>
                      <a:gd name="T20" fmla="*/ 40 w 97"/>
                      <a:gd name="T21" fmla="*/ 15 h 57"/>
                      <a:gd name="T22" fmla="*/ 24 w 97"/>
                      <a:gd name="T23" fmla="*/ 0 h 57"/>
                      <a:gd name="T24" fmla="*/ 6 w 97"/>
                      <a:gd name="T25"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5" name="Freeform 153">
                    <a:extLst>
                      <a:ext uri="{FF2B5EF4-FFF2-40B4-BE49-F238E27FC236}">
                        <a16:creationId xmlns:a16="http://schemas.microsoft.com/office/drawing/2014/main" id="{76275CF5-8EC4-3C5D-C20B-92FF975307C6}"/>
                      </a:ext>
                    </a:extLst>
                  </p:cNvPr>
                  <p:cNvSpPr>
                    <a:spLocks/>
                  </p:cNvSpPr>
                  <p:nvPr/>
                </p:nvSpPr>
                <p:spPr bwMode="gray">
                  <a:xfrm>
                    <a:off x="6543730" y="4518844"/>
                    <a:ext cx="102974" cy="110208"/>
                  </a:xfrm>
                  <a:custGeom>
                    <a:avLst/>
                    <a:gdLst>
                      <a:gd name="T0" fmla="*/ 66 w 67"/>
                      <a:gd name="T1" fmla="*/ 65 h 73"/>
                      <a:gd name="T2" fmla="*/ 56 w 67"/>
                      <a:gd name="T3" fmla="*/ 41 h 73"/>
                      <a:gd name="T4" fmla="*/ 56 w 67"/>
                      <a:gd name="T5" fmla="*/ 32 h 73"/>
                      <a:gd name="T6" fmla="*/ 49 w 67"/>
                      <a:gd name="T7" fmla="*/ 41 h 73"/>
                      <a:gd name="T8" fmla="*/ 41 w 67"/>
                      <a:gd name="T9" fmla="*/ 41 h 73"/>
                      <a:gd name="T10" fmla="*/ 41 w 67"/>
                      <a:gd name="T11" fmla="*/ 32 h 73"/>
                      <a:gd name="T12" fmla="*/ 56 w 67"/>
                      <a:gd name="T13" fmla="*/ 16 h 73"/>
                      <a:gd name="T14" fmla="*/ 24 w 67"/>
                      <a:gd name="T15" fmla="*/ 16 h 73"/>
                      <a:gd name="T16" fmla="*/ 24 w 67"/>
                      <a:gd name="T17" fmla="*/ 0 h 73"/>
                      <a:gd name="T18" fmla="*/ 16 w 67"/>
                      <a:gd name="T19" fmla="*/ 0 h 73"/>
                      <a:gd name="T20" fmla="*/ 9 w 67"/>
                      <a:gd name="T21" fmla="*/ 0 h 73"/>
                      <a:gd name="T22" fmla="*/ 9 w 67"/>
                      <a:gd name="T23" fmla="*/ 7 h 73"/>
                      <a:gd name="T24" fmla="*/ 0 w 67"/>
                      <a:gd name="T25" fmla="*/ 24 h 73"/>
                      <a:gd name="T26" fmla="*/ 9 w 67"/>
                      <a:gd name="T27" fmla="*/ 24 h 73"/>
                      <a:gd name="T28" fmla="*/ 16 w 67"/>
                      <a:gd name="T29" fmla="*/ 65 h 73"/>
                      <a:gd name="T30" fmla="*/ 34 w 67"/>
                      <a:gd name="T31" fmla="*/ 65 h 73"/>
                      <a:gd name="T32" fmla="*/ 49 w 67"/>
                      <a:gd name="T33" fmla="*/ 49 h 73"/>
                      <a:gd name="T34" fmla="*/ 56 w 67"/>
                      <a:gd name="T35" fmla="*/ 72 h 73"/>
                      <a:gd name="T36" fmla="*/ 66 w 67"/>
                      <a:gd name="T37"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6" name="Freeform 154">
                    <a:extLst>
                      <a:ext uri="{FF2B5EF4-FFF2-40B4-BE49-F238E27FC236}">
                        <a16:creationId xmlns:a16="http://schemas.microsoft.com/office/drawing/2014/main" id="{6DF4C660-C34B-F857-6673-94BDE463A07F}"/>
                      </a:ext>
                    </a:extLst>
                  </p:cNvPr>
                  <p:cNvSpPr>
                    <a:spLocks/>
                  </p:cNvSpPr>
                  <p:nvPr/>
                </p:nvSpPr>
                <p:spPr bwMode="gray">
                  <a:xfrm>
                    <a:off x="6629971" y="4480841"/>
                    <a:ext cx="177630" cy="383828"/>
                  </a:xfrm>
                  <a:custGeom>
                    <a:avLst/>
                    <a:gdLst>
                      <a:gd name="T0" fmla="*/ 83 w 116"/>
                      <a:gd name="T1" fmla="*/ 252 h 253"/>
                      <a:gd name="T2" fmla="*/ 99 w 116"/>
                      <a:gd name="T3" fmla="*/ 218 h 253"/>
                      <a:gd name="T4" fmla="*/ 90 w 116"/>
                      <a:gd name="T5" fmla="*/ 196 h 253"/>
                      <a:gd name="T6" fmla="*/ 83 w 116"/>
                      <a:gd name="T7" fmla="*/ 178 h 253"/>
                      <a:gd name="T8" fmla="*/ 83 w 116"/>
                      <a:gd name="T9" fmla="*/ 162 h 253"/>
                      <a:gd name="T10" fmla="*/ 74 w 116"/>
                      <a:gd name="T11" fmla="*/ 138 h 253"/>
                      <a:gd name="T12" fmla="*/ 74 w 116"/>
                      <a:gd name="T13" fmla="*/ 121 h 253"/>
                      <a:gd name="T14" fmla="*/ 106 w 116"/>
                      <a:gd name="T15" fmla="*/ 106 h 253"/>
                      <a:gd name="T16" fmla="*/ 115 w 116"/>
                      <a:gd name="T17" fmla="*/ 90 h 253"/>
                      <a:gd name="T18" fmla="*/ 106 w 116"/>
                      <a:gd name="T19" fmla="*/ 90 h 253"/>
                      <a:gd name="T20" fmla="*/ 90 w 116"/>
                      <a:gd name="T21" fmla="*/ 81 h 253"/>
                      <a:gd name="T22" fmla="*/ 90 w 116"/>
                      <a:gd name="T23" fmla="*/ 74 h 253"/>
                      <a:gd name="T24" fmla="*/ 90 w 116"/>
                      <a:gd name="T25" fmla="*/ 66 h 253"/>
                      <a:gd name="T26" fmla="*/ 83 w 116"/>
                      <a:gd name="T27" fmla="*/ 57 h 253"/>
                      <a:gd name="T28" fmla="*/ 74 w 116"/>
                      <a:gd name="T29" fmla="*/ 57 h 253"/>
                      <a:gd name="T30" fmla="*/ 83 w 116"/>
                      <a:gd name="T31" fmla="*/ 16 h 253"/>
                      <a:gd name="T32" fmla="*/ 74 w 116"/>
                      <a:gd name="T33" fmla="*/ 0 h 253"/>
                      <a:gd name="T34" fmla="*/ 65 w 116"/>
                      <a:gd name="T35" fmla="*/ 0 h 253"/>
                      <a:gd name="T36" fmla="*/ 65 w 116"/>
                      <a:gd name="T37" fmla="*/ 16 h 253"/>
                      <a:gd name="T38" fmla="*/ 50 w 116"/>
                      <a:gd name="T39" fmla="*/ 16 h 253"/>
                      <a:gd name="T40" fmla="*/ 41 w 116"/>
                      <a:gd name="T41" fmla="*/ 25 h 253"/>
                      <a:gd name="T42" fmla="*/ 25 w 116"/>
                      <a:gd name="T43" fmla="*/ 57 h 253"/>
                      <a:gd name="T44" fmla="*/ 18 w 116"/>
                      <a:gd name="T45" fmla="*/ 66 h 253"/>
                      <a:gd name="T46" fmla="*/ 10 w 116"/>
                      <a:gd name="T47" fmla="*/ 81 h 253"/>
                      <a:gd name="T48" fmla="*/ 10 w 116"/>
                      <a:gd name="T49" fmla="*/ 90 h 253"/>
                      <a:gd name="T50" fmla="*/ 0 w 116"/>
                      <a:gd name="T51" fmla="*/ 97 h 253"/>
                      <a:gd name="T52" fmla="*/ 18 w 116"/>
                      <a:gd name="T53" fmla="*/ 115 h 253"/>
                      <a:gd name="T54" fmla="*/ 25 w 116"/>
                      <a:gd name="T55" fmla="*/ 131 h 253"/>
                      <a:gd name="T56" fmla="*/ 34 w 116"/>
                      <a:gd name="T57" fmla="*/ 155 h 253"/>
                      <a:gd name="T58" fmla="*/ 25 w 116"/>
                      <a:gd name="T59" fmla="*/ 162 h 253"/>
                      <a:gd name="T60" fmla="*/ 41 w 116"/>
                      <a:gd name="T61" fmla="*/ 171 h 253"/>
                      <a:gd name="T62" fmla="*/ 59 w 116"/>
                      <a:gd name="T63" fmla="*/ 155 h 253"/>
                      <a:gd name="T64" fmla="*/ 65 w 116"/>
                      <a:gd name="T65" fmla="*/ 162 h 253"/>
                      <a:gd name="T66" fmla="*/ 83 w 116"/>
                      <a:gd name="T67" fmla="*/ 211 h 253"/>
                      <a:gd name="T68" fmla="*/ 83 w 116"/>
                      <a:gd name="T69" fmla="*/ 252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7" name="Freeform 155">
                    <a:extLst>
                      <a:ext uri="{FF2B5EF4-FFF2-40B4-BE49-F238E27FC236}">
                        <a16:creationId xmlns:a16="http://schemas.microsoft.com/office/drawing/2014/main" id="{38A251A9-69AB-3AA6-23DF-EA65F4D8F283}"/>
                      </a:ext>
                    </a:extLst>
                  </p:cNvPr>
                  <p:cNvSpPr>
                    <a:spLocks/>
                  </p:cNvSpPr>
                  <p:nvPr/>
                </p:nvSpPr>
                <p:spPr bwMode="gray">
                  <a:xfrm>
                    <a:off x="6743241" y="4641720"/>
                    <a:ext cx="150599" cy="296422"/>
                  </a:xfrm>
                  <a:custGeom>
                    <a:avLst/>
                    <a:gdLst>
                      <a:gd name="T0" fmla="*/ 32 w 98"/>
                      <a:gd name="T1" fmla="*/ 0 h 196"/>
                      <a:gd name="T2" fmla="*/ 0 w 98"/>
                      <a:gd name="T3" fmla="*/ 15 h 196"/>
                      <a:gd name="T4" fmla="*/ 0 w 98"/>
                      <a:gd name="T5" fmla="*/ 32 h 196"/>
                      <a:gd name="T6" fmla="*/ 9 w 98"/>
                      <a:gd name="T7" fmla="*/ 56 h 196"/>
                      <a:gd name="T8" fmla="*/ 9 w 98"/>
                      <a:gd name="T9" fmla="*/ 72 h 196"/>
                      <a:gd name="T10" fmla="*/ 16 w 98"/>
                      <a:gd name="T11" fmla="*/ 90 h 196"/>
                      <a:gd name="T12" fmla="*/ 25 w 98"/>
                      <a:gd name="T13" fmla="*/ 112 h 196"/>
                      <a:gd name="T14" fmla="*/ 9 w 98"/>
                      <a:gd name="T15" fmla="*/ 146 h 196"/>
                      <a:gd name="T16" fmla="*/ 9 w 98"/>
                      <a:gd name="T17" fmla="*/ 153 h 196"/>
                      <a:gd name="T18" fmla="*/ 9 w 98"/>
                      <a:gd name="T19" fmla="*/ 162 h 196"/>
                      <a:gd name="T20" fmla="*/ 32 w 98"/>
                      <a:gd name="T21" fmla="*/ 186 h 196"/>
                      <a:gd name="T22" fmla="*/ 32 w 98"/>
                      <a:gd name="T23" fmla="*/ 177 h 196"/>
                      <a:gd name="T24" fmla="*/ 41 w 98"/>
                      <a:gd name="T25" fmla="*/ 186 h 196"/>
                      <a:gd name="T26" fmla="*/ 50 w 98"/>
                      <a:gd name="T27" fmla="*/ 195 h 196"/>
                      <a:gd name="T28" fmla="*/ 56 w 98"/>
                      <a:gd name="T29" fmla="*/ 186 h 196"/>
                      <a:gd name="T30" fmla="*/ 50 w 98"/>
                      <a:gd name="T31" fmla="*/ 177 h 196"/>
                      <a:gd name="T32" fmla="*/ 32 w 98"/>
                      <a:gd name="T33" fmla="*/ 177 h 196"/>
                      <a:gd name="T34" fmla="*/ 25 w 98"/>
                      <a:gd name="T35" fmla="*/ 146 h 196"/>
                      <a:gd name="T36" fmla="*/ 16 w 98"/>
                      <a:gd name="T37" fmla="*/ 146 h 196"/>
                      <a:gd name="T38" fmla="*/ 16 w 98"/>
                      <a:gd name="T39" fmla="*/ 137 h 196"/>
                      <a:gd name="T40" fmla="*/ 25 w 98"/>
                      <a:gd name="T41" fmla="*/ 112 h 196"/>
                      <a:gd name="T42" fmla="*/ 25 w 98"/>
                      <a:gd name="T43" fmla="*/ 97 h 196"/>
                      <a:gd name="T44" fmla="*/ 41 w 98"/>
                      <a:gd name="T45" fmla="*/ 97 h 196"/>
                      <a:gd name="T46" fmla="*/ 41 w 98"/>
                      <a:gd name="T47" fmla="*/ 105 h 196"/>
                      <a:gd name="T48" fmla="*/ 50 w 98"/>
                      <a:gd name="T49" fmla="*/ 105 h 196"/>
                      <a:gd name="T50" fmla="*/ 65 w 98"/>
                      <a:gd name="T51" fmla="*/ 122 h 196"/>
                      <a:gd name="T52" fmla="*/ 65 w 98"/>
                      <a:gd name="T53" fmla="*/ 112 h 196"/>
                      <a:gd name="T54" fmla="*/ 56 w 98"/>
                      <a:gd name="T55" fmla="*/ 97 h 196"/>
                      <a:gd name="T56" fmla="*/ 65 w 98"/>
                      <a:gd name="T57" fmla="*/ 80 h 196"/>
                      <a:gd name="T58" fmla="*/ 97 w 98"/>
                      <a:gd name="T59" fmla="*/ 80 h 196"/>
                      <a:gd name="T60" fmla="*/ 97 w 98"/>
                      <a:gd name="T61" fmla="*/ 65 h 196"/>
                      <a:gd name="T62" fmla="*/ 90 w 98"/>
                      <a:gd name="T63" fmla="*/ 56 h 196"/>
                      <a:gd name="T64" fmla="*/ 81 w 98"/>
                      <a:gd name="T65" fmla="*/ 40 h 196"/>
                      <a:gd name="T66" fmla="*/ 75 w 98"/>
                      <a:gd name="T67" fmla="*/ 25 h 196"/>
                      <a:gd name="T68" fmla="*/ 56 w 98"/>
                      <a:gd name="T69" fmla="*/ 32 h 196"/>
                      <a:gd name="T70" fmla="*/ 41 w 98"/>
                      <a:gd name="T71" fmla="*/ 40 h 196"/>
                      <a:gd name="T72" fmla="*/ 41 w 98"/>
                      <a:gd name="T73" fmla="*/ 15 h 196"/>
                      <a:gd name="T74" fmla="*/ 32 w 98"/>
                      <a:gd name="T75" fmla="*/ 9 h 196"/>
                      <a:gd name="T76" fmla="*/ 32 w 98"/>
                      <a:gd name="T7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8" name="Freeform 156">
                    <a:extLst>
                      <a:ext uri="{FF2B5EF4-FFF2-40B4-BE49-F238E27FC236}">
                        <a16:creationId xmlns:a16="http://schemas.microsoft.com/office/drawing/2014/main" id="{D7ED50B0-9E3D-E431-9FCE-581B86CE51A3}"/>
                      </a:ext>
                    </a:extLst>
                  </p:cNvPr>
                  <p:cNvSpPr>
                    <a:spLocks/>
                  </p:cNvSpPr>
                  <p:nvPr/>
                </p:nvSpPr>
                <p:spPr bwMode="gray">
                  <a:xfrm>
                    <a:off x="6793441" y="4603717"/>
                    <a:ext cx="139015" cy="176080"/>
                  </a:xfrm>
                  <a:custGeom>
                    <a:avLst/>
                    <a:gdLst>
                      <a:gd name="T0" fmla="*/ 90 w 91"/>
                      <a:gd name="T1" fmla="*/ 105 h 116"/>
                      <a:gd name="T2" fmla="*/ 90 w 91"/>
                      <a:gd name="T3" fmla="*/ 90 h 116"/>
                      <a:gd name="T4" fmla="*/ 74 w 91"/>
                      <a:gd name="T5" fmla="*/ 74 h 116"/>
                      <a:gd name="T6" fmla="*/ 74 w 91"/>
                      <a:gd name="T7" fmla="*/ 65 h 116"/>
                      <a:gd name="T8" fmla="*/ 43 w 91"/>
                      <a:gd name="T9" fmla="*/ 40 h 116"/>
                      <a:gd name="T10" fmla="*/ 58 w 91"/>
                      <a:gd name="T11" fmla="*/ 34 h 116"/>
                      <a:gd name="T12" fmla="*/ 49 w 91"/>
                      <a:gd name="T13" fmla="*/ 25 h 116"/>
                      <a:gd name="T14" fmla="*/ 33 w 91"/>
                      <a:gd name="T15" fmla="*/ 16 h 116"/>
                      <a:gd name="T16" fmla="*/ 24 w 91"/>
                      <a:gd name="T17" fmla="*/ 0 h 116"/>
                      <a:gd name="T18" fmla="*/ 18 w 91"/>
                      <a:gd name="T19" fmla="*/ 0 h 116"/>
                      <a:gd name="T20" fmla="*/ 18 w 91"/>
                      <a:gd name="T21" fmla="*/ 16 h 116"/>
                      <a:gd name="T22" fmla="*/ 9 w 91"/>
                      <a:gd name="T23" fmla="*/ 16 h 116"/>
                      <a:gd name="T24" fmla="*/ 9 w 91"/>
                      <a:gd name="T25" fmla="*/ 9 h 116"/>
                      <a:gd name="T26" fmla="*/ 0 w 91"/>
                      <a:gd name="T27" fmla="*/ 25 h 116"/>
                      <a:gd name="T28" fmla="*/ 0 w 91"/>
                      <a:gd name="T29" fmla="*/ 34 h 116"/>
                      <a:gd name="T30" fmla="*/ 9 w 91"/>
                      <a:gd name="T31" fmla="*/ 40 h 116"/>
                      <a:gd name="T32" fmla="*/ 9 w 91"/>
                      <a:gd name="T33" fmla="*/ 65 h 116"/>
                      <a:gd name="T34" fmla="*/ 24 w 91"/>
                      <a:gd name="T35" fmla="*/ 57 h 116"/>
                      <a:gd name="T36" fmla="*/ 43 w 91"/>
                      <a:gd name="T37" fmla="*/ 50 h 116"/>
                      <a:gd name="T38" fmla="*/ 49 w 91"/>
                      <a:gd name="T39" fmla="*/ 65 h 116"/>
                      <a:gd name="T40" fmla="*/ 58 w 91"/>
                      <a:gd name="T41" fmla="*/ 81 h 116"/>
                      <a:gd name="T42" fmla="*/ 65 w 91"/>
                      <a:gd name="T43" fmla="*/ 90 h 116"/>
                      <a:gd name="T44" fmla="*/ 65 w 91"/>
                      <a:gd name="T45" fmla="*/ 105 h 116"/>
                      <a:gd name="T46" fmla="*/ 74 w 91"/>
                      <a:gd name="T47" fmla="*/ 115 h 116"/>
                      <a:gd name="T48" fmla="*/ 74 w 91"/>
                      <a:gd name="T49" fmla="*/ 105 h 116"/>
                      <a:gd name="T50" fmla="*/ 90 w 91"/>
                      <a:gd name="T51" fmla="*/ 10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19" name="Freeform 157">
                    <a:extLst>
                      <a:ext uri="{FF2B5EF4-FFF2-40B4-BE49-F238E27FC236}">
                        <a16:creationId xmlns:a16="http://schemas.microsoft.com/office/drawing/2014/main" id="{2A2A56C5-6BF4-B2E7-DD5C-AF9F1E0D4CC4}"/>
                      </a:ext>
                    </a:extLst>
                  </p:cNvPr>
                  <p:cNvSpPr>
                    <a:spLocks/>
                  </p:cNvSpPr>
                  <p:nvPr/>
                </p:nvSpPr>
                <p:spPr bwMode="gray">
                  <a:xfrm>
                    <a:off x="6829482" y="4593583"/>
                    <a:ext cx="141589" cy="281220"/>
                  </a:xfrm>
                  <a:custGeom>
                    <a:avLst/>
                    <a:gdLst>
                      <a:gd name="T0" fmla="*/ 0 w 92"/>
                      <a:gd name="T1" fmla="*/ 7 h 186"/>
                      <a:gd name="T2" fmla="*/ 0 w 92"/>
                      <a:gd name="T3" fmla="*/ 0 h 186"/>
                      <a:gd name="T4" fmla="*/ 9 w 92"/>
                      <a:gd name="T5" fmla="*/ 7 h 186"/>
                      <a:gd name="T6" fmla="*/ 41 w 92"/>
                      <a:gd name="T7" fmla="*/ 0 h 186"/>
                      <a:gd name="T8" fmla="*/ 59 w 92"/>
                      <a:gd name="T9" fmla="*/ 0 h 186"/>
                      <a:gd name="T10" fmla="*/ 59 w 92"/>
                      <a:gd name="T11" fmla="*/ 16 h 186"/>
                      <a:gd name="T12" fmla="*/ 74 w 92"/>
                      <a:gd name="T13" fmla="*/ 16 h 186"/>
                      <a:gd name="T14" fmla="*/ 59 w 92"/>
                      <a:gd name="T15" fmla="*/ 23 h 186"/>
                      <a:gd name="T16" fmla="*/ 50 w 92"/>
                      <a:gd name="T17" fmla="*/ 41 h 186"/>
                      <a:gd name="T18" fmla="*/ 41 w 92"/>
                      <a:gd name="T19" fmla="*/ 47 h 186"/>
                      <a:gd name="T20" fmla="*/ 82 w 92"/>
                      <a:gd name="T21" fmla="*/ 104 h 186"/>
                      <a:gd name="T22" fmla="*/ 91 w 92"/>
                      <a:gd name="T23" fmla="*/ 122 h 186"/>
                      <a:gd name="T24" fmla="*/ 82 w 92"/>
                      <a:gd name="T25" fmla="*/ 154 h 186"/>
                      <a:gd name="T26" fmla="*/ 66 w 92"/>
                      <a:gd name="T27" fmla="*/ 162 h 186"/>
                      <a:gd name="T28" fmla="*/ 59 w 92"/>
                      <a:gd name="T29" fmla="*/ 162 h 186"/>
                      <a:gd name="T30" fmla="*/ 50 w 92"/>
                      <a:gd name="T31" fmla="*/ 178 h 186"/>
                      <a:gd name="T32" fmla="*/ 34 w 92"/>
                      <a:gd name="T33" fmla="*/ 185 h 186"/>
                      <a:gd name="T34" fmla="*/ 34 w 92"/>
                      <a:gd name="T35" fmla="*/ 169 h 186"/>
                      <a:gd name="T36" fmla="*/ 25 w 92"/>
                      <a:gd name="T37" fmla="*/ 162 h 186"/>
                      <a:gd name="T38" fmla="*/ 41 w 92"/>
                      <a:gd name="T39" fmla="*/ 154 h 186"/>
                      <a:gd name="T40" fmla="*/ 50 w 92"/>
                      <a:gd name="T41" fmla="*/ 144 h 186"/>
                      <a:gd name="T42" fmla="*/ 66 w 92"/>
                      <a:gd name="T43" fmla="*/ 137 h 186"/>
                      <a:gd name="T44" fmla="*/ 66 w 92"/>
                      <a:gd name="T45" fmla="*/ 112 h 186"/>
                      <a:gd name="T46" fmla="*/ 66 w 92"/>
                      <a:gd name="T47" fmla="*/ 97 h 186"/>
                      <a:gd name="T48" fmla="*/ 50 w 92"/>
                      <a:gd name="T49" fmla="*/ 81 h 186"/>
                      <a:gd name="T50" fmla="*/ 50 w 92"/>
                      <a:gd name="T51" fmla="*/ 72 h 186"/>
                      <a:gd name="T52" fmla="*/ 19 w 92"/>
                      <a:gd name="T53" fmla="*/ 47 h 186"/>
                      <a:gd name="T54" fmla="*/ 34 w 92"/>
                      <a:gd name="T55" fmla="*/ 41 h 186"/>
                      <a:gd name="T56" fmla="*/ 25 w 92"/>
                      <a:gd name="T57" fmla="*/ 32 h 186"/>
                      <a:gd name="T58" fmla="*/ 9 w 92"/>
                      <a:gd name="T59" fmla="*/ 23 h 186"/>
                      <a:gd name="T60" fmla="*/ 0 w 92"/>
                      <a:gd name="T61" fmla="*/ 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0" name="Freeform 158">
                    <a:extLst>
                      <a:ext uri="{FF2B5EF4-FFF2-40B4-BE49-F238E27FC236}">
                        <a16:creationId xmlns:a16="http://schemas.microsoft.com/office/drawing/2014/main" id="{48D31231-45F7-4377-54E0-8814B4F569B8}"/>
                      </a:ext>
                    </a:extLst>
                  </p:cNvPr>
                  <p:cNvSpPr>
                    <a:spLocks/>
                  </p:cNvSpPr>
                  <p:nvPr/>
                </p:nvSpPr>
                <p:spPr bwMode="gray">
                  <a:xfrm>
                    <a:off x="6829482" y="4763328"/>
                    <a:ext cx="102974" cy="77272"/>
                  </a:xfrm>
                  <a:custGeom>
                    <a:avLst/>
                    <a:gdLst>
                      <a:gd name="T0" fmla="*/ 25 w 67"/>
                      <a:gd name="T1" fmla="*/ 50 h 51"/>
                      <a:gd name="T2" fmla="*/ 41 w 67"/>
                      <a:gd name="T3" fmla="*/ 42 h 51"/>
                      <a:gd name="T4" fmla="*/ 50 w 67"/>
                      <a:gd name="T5" fmla="*/ 32 h 51"/>
                      <a:gd name="T6" fmla="*/ 66 w 67"/>
                      <a:gd name="T7" fmla="*/ 25 h 51"/>
                      <a:gd name="T8" fmla="*/ 66 w 67"/>
                      <a:gd name="T9" fmla="*/ 0 h 51"/>
                      <a:gd name="T10" fmla="*/ 50 w 67"/>
                      <a:gd name="T11" fmla="*/ 0 h 51"/>
                      <a:gd name="T12" fmla="*/ 50 w 67"/>
                      <a:gd name="T13" fmla="*/ 10 h 51"/>
                      <a:gd name="T14" fmla="*/ 41 w 67"/>
                      <a:gd name="T15" fmla="*/ 0 h 51"/>
                      <a:gd name="T16" fmla="*/ 9 w 67"/>
                      <a:gd name="T17" fmla="*/ 0 h 51"/>
                      <a:gd name="T18" fmla="*/ 0 w 67"/>
                      <a:gd name="T19" fmla="*/ 17 h 51"/>
                      <a:gd name="T20" fmla="*/ 9 w 67"/>
                      <a:gd name="T21" fmla="*/ 32 h 51"/>
                      <a:gd name="T22" fmla="*/ 9 w 67"/>
                      <a:gd name="T23" fmla="*/ 42 h 51"/>
                      <a:gd name="T24" fmla="*/ 9 w 67"/>
                      <a:gd name="T25" fmla="*/ 50 h 51"/>
                      <a:gd name="T26" fmla="*/ 25 w 67"/>
                      <a:gd name="T27" fmla="*/ 5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1" name="Freeform 159">
                    <a:extLst>
                      <a:ext uri="{FF2B5EF4-FFF2-40B4-BE49-F238E27FC236}">
                        <a16:creationId xmlns:a16="http://schemas.microsoft.com/office/drawing/2014/main" id="{2DE9EB39-2E9D-B436-A0B4-72CB89544DA4}"/>
                      </a:ext>
                    </a:extLst>
                  </p:cNvPr>
                  <p:cNvSpPr>
                    <a:spLocks/>
                  </p:cNvSpPr>
                  <p:nvPr/>
                </p:nvSpPr>
                <p:spPr bwMode="gray">
                  <a:xfrm>
                    <a:off x="6793441" y="4910272"/>
                    <a:ext cx="75943" cy="112741"/>
                  </a:xfrm>
                  <a:custGeom>
                    <a:avLst/>
                    <a:gdLst>
                      <a:gd name="T0" fmla="*/ 24 w 50"/>
                      <a:gd name="T1" fmla="*/ 9 h 75"/>
                      <a:gd name="T2" fmla="*/ 18 w 50"/>
                      <a:gd name="T3" fmla="*/ 18 h 75"/>
                      <a:gd name="T4" fmla="*/ 9 w 50"/>
                      <a:gd name="T5" fmla="*/ 9 h 75"/>
                      <a:gd name="T6" fmla="*/ 0 w 50"/>
                      <a:gd name="T7" fmla="*/ 0 h 75"/>
                      <a:gd name="T8" fmla="*/ 0 w 50"/>
                      <a:gd name="T9" fmla="*/ 9 h 75"/>
                      <a:gd name="T10" fmla="*/ 0 w 50"/>
                      <a:gd name="T11" fmla="*/ 34 h 75"/>
                      <a:gd name="T12" fmla="*/ 18 w 50"/>
                      <a:gd name="T13" fmla="*/ 50 h 75"/>
                      <a:gd name="T14" fmla="*/ 43 w 50"/>
                      <a:gd name="T15" fmla="*/ 74 h 75"/>
                      <a:gd name="T16" fmla="*/ 49 w 50"/>
                      <a:gd name="T17" fmla="*/ 74 h 75"/>
                      <a:gd name="T18" fmla="*/ 43 w 50"/>
                      <a:gd name="T19" fmla="*/ 50 h 75"/>
                      <a:gd name="T20" fmla="*/ 43 w 50"/>
                      <a:gd name="T21" fmla="*/ 25 h 75"/>
                      <a:gd name="T22" fmla="*/ 24 w 50"/>
                      <a:gd name="T23" fmla="*/ 9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2" name="Freeform 160">
                    <a:extLst>
                      <a:ext uri="{FF2B5EF4-FFF2-40B4-BE49-F238E27FC236}">
                        <a16:creationId xmlns:a16="http://schemas.microsoft.com/office/drawing/2014/main" id="{319FE41D-585D-1959-D8C3-B811AF482106}"/>
                      </a:ext>
                    </a:extLst>
                  </p:cNvPr>
                  <p:cNvSpPr>
                    <a:spLocks/>
                  </p:cNvSpPr>
                  <p:nvPr/>
                </p:nvSpPr>
                <p:spPr bwMode="gray">
                  <a:xfrm>
                    <a:off x="6969784" y="4910272"/>
                    <a:ext cx="202086" cy="112741"/>
                  </a:xfrm>
                  <a:custGeom>
                    <a:avLst/>
                    <a:gdLst>
                      <a:gd name="T0" fmla="*/ 71 w 131"/>
                      <a:gd name="T1" fmla="*/ 25 h 75"/>
                      <a:gd name="T2" fmla="*/ 80 w 131"/>
                      <a:gd name="T3" fmla="*/ 25 h 75"/>
                      <a:gd name="T4" fmla="*/ 71 w 131"/>
                      <a:gd name="T5" fmla="*/ 34 h 75"/>
                      <a:gd name="T6" fmla="*/ 65 w 131"/>
                      <a:gd name="T7" fmla="*/ 34 h 75"/>
                      <a:gd name="T8" fmla="*/ 56 w 131"/>
                      <a:gd name="T9" fmla="*/ 34 h 75"/>
                      <a:gd name="T10" fmla="*/ 40 w 131"/>
                      <a:gd name="T11" fmla="*/ 50 h 75"/>
                      <a:gd name="T12" fmla="*/ 25 w 131"/>
                      <a:gd name="T13" fmla="*/ 50 h 75"/>
                      <a:gd name="T14" fmla="*/ 25 w 131"/>
                      <a:gd name="T15" fmla="*/ 65 h 75"/>
                      <a:gd name="T16" fmla="*/ 0 w 131"/>
                      <a:gd name="T17" fmla="*/ 65 h 75"/>
                      <a:gd name="T18" fmla="*/ 15 w 131"/>
                      <a:gd name="T19" fmla="*/ 74 h 75"/>
                      <a:gd name="T20" fmla="*/ 31 w 131"/>
                      <a:gd name="T21" fmla="*/ 74 h 75"/>
                      <a:gd name="T22" fmla="*/ 40 w 131"/>
                      <a:gd name="T23" fmla="*/ 65 h 75"/>
                      <a:gd name="T24" fmla="*/ 56 w 131"/>
                      <a:gd name="T25" fmla="*/ 74 h 75"/>
                      <a:gd name="T26" fmla="*/ 65 w 131"/>
                      <a:gd name="T27" fmla="*/ 65 h 75"/>
                      <a:gd name="T28" fmla="*/ 89 w 131"/>
                      <a:gd name="T29" fmla="*/ 34 h 75"/>
                      <a:gd name="T30" fmla="*/ 112 w 131"/>
                      <a:gd name="T31" fmla="*/ 34 h 75"/>
                      <a:gd name="T32" fmla="*/ 120 w 131"/>
                      <a:gd name="T33" fmla="*/ 34 h 75"/>
                      <a:gd name="T34" fmla="*/ 112 w 131"/>
                      <a:gd name="T35" fmla="*/ 25 h 75"/>
                      <a:gd name="T36" fmla="*/ 130 w 131"/>
                      <a:gd name="T37" fmla="*/ 25 h 75"/>
                      <a:gd name="T38" fmla="*/ 105 w 131"/>
                      <a:gd name="T39" fmla="*/ 18 h 75"/>
                      <a:gd name="T40" fmla="*/ 105 w 131"/>
                      <a:gd name="T41" fmla="*/ 9 h 75"/>
                      <a:gd name="T42" fmla="*/ 96 w 131"/>
                      <a:gd name="T43" fmla="*/ 0 h 75"/>
                      <a:gd name="T44" fmla="*/ 80 w 131"/>
                      <a:gd name="T45" fmla="*/ 18 h 75"/>
                      <a:gd name="T46" fmla="*/ 71 w 131"/>
                      <a:gd name="T47" fmla="*/ 2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3" name="Freeform 161">
                    <a:extLst>
                      <a:ext uri="{FF2B5EF4-FFF2-40B4-BE49-F238E27FC236}">
                        <a16:creationId xmlns:a16="http://schemas.microsoft.com/office/drawing/2014/main" id="{41C26DE3-B8F6-9B3C-4A8E-C162020B1402}"/>
                      </a:ext>
                    </a:extLst>
                  </p:cNvPr>
                  <p:cNvSpPr>
                    <a:spLocks/>
                  </p:cNvSpPr>
                  <p:nvPr/>
                </p:nvSpPr>
                <p:spPr bwMode="gray">
                  <a:xfrm>
                    <a:off x="7056025" y="4947008"/>
                    <a:ext cx="38615" cy="26602"/>
                  </a:xfrm>
                  <a:custGeom>
                    <a:avLst/>
                    <a:gdLst>
                      <a:gd name="T0" fmla="*/ 0 w 25"/>
                      <a:gd name="T1" fmla="*/ 16 h 17"/>
                      <a:gd name="T2" fmla="*/ 9 w 25"/>
                      <a:gd name="T3" fmla="*/ 16 h 17"/>
                      <a:gd name="T4" fmla="*/ 15 w 25"/>
                      <a:gd name="T5" fmla="*/ 16 h 17"/>
                      <a:gd name="T6" fmla="*/ 24 w 25"/>
                      <a:gd name="T7" fmla="*/ 0 h 17"/>
                      <a:gd name="T8" fmla="*/ 15 w 25"/>
                      <a:gd name="T9" fmla="*/ 0 h 17"/>
                      <a:gd name="T10" fmla="*/ 0 w 25"/>
                      <a:gd name="T11" fmla="*/ 16 h 17"/>
                    </a:gdLst>
                    <a:ahLst/>
                    <a:cxnLst>
                      <a:cxn ang="0">
                        <a:pos x="T0" y="T1"/>
                      </a:cxn>
                      <a:cxn ang="0">
                        <a:pos x="T2" y="T3"/>
                      </a:cxn>
                      <a:cxn ang="0">
                        <a:pos x="T4" y="T5"/>
                      </a:cxn>
                      <a:cxn ang="0">
                        <a:pos x="T6" y="T7"/>
                      </a:cxn>
                      <a:cxn ang="0">
                        <a:pos x="T8" y="T9"/>
                      </a:cxn>
                      <a:cxn ang="0">
                        <a:pos x="T10" y="T11"/>
                      </a:cxn>
                    </a:cxnLst>
                    <a:rect l="0" t="0" r="r" b="b"/>
                    <a:pathLst>
                      <a:path w="25" h="17">
                        <a:moveTo>
                          <a:pt x="0" y="16"/>
                        </a:moveTo>
                        <a:lnTo>
                          <a:pt x="9" y="16"/>
                        </a:lnTo>
                        <a:lnTo>
                          <a:pt x="15" y="16"/>
                        </a:lnTo>
                        <a:lnTo>
                          <a:pt x="24" y="0"/>
                        </a:lnTo>
                        <a:lnTo>
                          <a:pt x="15" y="0"/>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4" name="Freeform 162">
                    <a:extLst>
                      <a:ext uri="{FF2B5EF4-FFF2-40B4-BE49-F238E27FC236}">
                        <a16:creationId xmlns:a16="http://schemas.microsoft.com/office/drawing/2014/main" id="{FA0A08B2-D33A-B141-B4B1-4713121FA400}"/>
                      </a:ext>
                    </a:extLst>
                  </p:cNvPr>
                  <p:cNvSpPr>
                    <a:spLocks/>
                  </p:cNvSpPr>
                  <p:nvPr/>
                </p:nvSpPr>
                <p:spPr bwMode="gray">
                  <a:xfrm>
                    <a:off x="6955625" y="4960943"/>
                    <a:ext cx="200799" cy="160879"/>
                  </a:xfrm>
                  <a:custGeom>
                    <a:avLst/>
                    <a:gdLst>
                      <a:gd name="T0" fmla="*/ 9 w 130"/>
                      <a:gd name="T1" fmla="*/ 31 h 106"/>
                      <a:gd name="T2" fmla="*/ 24 w 130"/>
                      <a:gd name="T3" fmla="*/ 40 h 106"/>
                      <a:gd name="T4" fmla="*/ 40 w 130"/>
                      <a:gd name="T5" fmla="*/ 40 h 106"/>
                      <a:gd name="T6" fmla="*/ 49 w 130"/>
                      <a:gd name="T7" fmla="*/ 31 h 106"/>
                      <a:gd name="T8" fmla="*/ 65 w 130"/>
                      <a:gd name="T9" fmla="*/ 40 h 106"/>
                      <a:gd name="T10" fmla="*/ 74 w 130"/>
                      <a:gd name="T11" fmla="*/ 31 h 106"/>
                      <a:gd name="T12" fmla="*/ 98 w 130"/>
                      <a:gd name="T13" fmla="*/ 0 h 106"/>
                      <a:gd name="T14" fmla="*/ 121 w 130"/>
                      <a:gd name="T15" fmla="*/ 0 h 106"/>
                      <a:gd name="T16" fmla="*/ 114 w 130"/>
                      <a:gd name="T17" fmla="*/ 16 h 106"/>
                      <a:gd name="T18" fmla="*/ 121 w 130"/>
                      <a:gd name="T19" fmla="*/ 25 h 106"/>
                      <a:gd name="T20" fmla="*/ 114 w 130"/>
                      <a:gd name="T21" fmla="*/ 31 h 106"/>
                      <a:gd name="T22" fmla="*/ 129 w 130"/>
                      <a:gd name="T23" fmla="*/ 40 h 106"/>
                      <a:gd name="T24" fmla="*/ 121 w 130"/>
                      <a:gd name="T25" fmla="*/ 48 h 106"/>
                      <a:gd name="T26" fmla="*/ 105 w 130"/>
                      <a:gd name="T27" fmla="*/ 65 h 106"/>
                      <a:gd name="T28" fmla="*/ 98 w 130"/>
                      <a:gd name="T29" fmla="*/ 81 h 106"/>
                      <a:gd name="T30" fmla="*/ 105 w 130"/>
                      <a:gd name="T31" fmla="*/ 81 h 106"/>
                      <a:gd name="T32" fmla="*/ 98 w 130"/>
                      <a:gd name="T33" fmla="*/ 97 h 106"/>
                      <a:gd name="T34" fmla="*/ 80 w 130"/>
                      <a:gd name="T35" fmla="*/ 105 h 106"/>
                      <a:gd name="T36" fmla="*/ 74 w 130"/>
                      <a:gd name="T37" fmla="*/ 97 h 106"/>
                      <a:gd name="T38" fmla="*/ 57 w 130"/>
                      <a:gd name="T39" fmla="*/ 97 h 106"/>
                      <a:gd name="T40" fmla="*/ 40 w 130"/>
                      <a:gd name="T41" fmla="*/ 97 h 106"/>
                      <a:gd name="T42" fmla="*/ 40 w 130"/>
                      <a:gd name="T43" fmla="*/ 88 h 106"/>
                      <a:gd name="T44" fmla="*/ 24 w 130"/>
                      <a:gd name="T45" fmla="*/ 88 h 106"/>
                      <a:gd name="T46" fmla="*/ 17 w 130"/>
                      <a:gd name="T47" fmla="*/ 72 h 106"/>
                      <a:gd name="T48" fmla="*/ 9 w 130"/>
                      <a:gd name="T49" fmla="*/ 56 h 106"/>
                      <a:gd name="T50" fmla="*/ 0 w 130"/>
                      <a:gd name="T51" fmla="*/ 40 h 106"/>
                      <a:gd name="T52" fmla="*/ 9 w 130"/>
                      <a:gd name="T53" fmla="*/ 3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5" name="Freeform 163">
                    <a:extLst>
                      <a:ext uri="{FF2B5EF4-FFF2-40B4-BE49-F238E27FC236}">
                        <a16:creationId xmlns:a16="http://schemas.microsoft.com/office/drawing/2014/main" id="{3F638132-B31F-937F-A1A4-FF4782FFDCA4}"/>
                      </a:ext>
                    </a:extLst>
                  </p:cNvPr>
                  <p:cNvSpPr>
                    <a:spLocks/>
                  </p:cNvSpPr>
                  <p:nvPr/>
                </p:nvSpPr>
                <p:spPr bwMode="gray">
                  <a:xfrm>
                    <a:off x="7394552" y="5045816"/>
                    <a:ext cx="202086" cy="171013"/>
                  </a:xfrm>
                  <a:custGeom>
                    <a:avLst/>
                    <a:gdLst>
                      <a:gd name="T0" fmla="*/ 130 w 131"/>
                      <a:gd name="T1" fmla="*/ 32 h 113"/>
                      <a:gd name="T2" fmla="*/ 130 w 131"/>
                      <a:gd name="T3" fmla="*/ 65 h 113"/>
                      <a:gd name="T4" fmla="*/ 130 w 131"/>
                      <a:gd name="T5" fmla="*/ 112 h 113"/>
                      <a:gd name="T6" fmla="*/ 112 w 131"/>
                      <a:gd name="T7" fmla="*/ 97 h 113"/>
                      <a:gd name="T8" fmla="*/ 88 w 131"/>
                      <a:gd name="T9" fmla="*/ 106 h 113"/>
                      <a:gd name="T10" fmla="*/ 97 w 131"/>
                      <a:gd name="T11" fmla="*/ 89 h 113"/>
                      <a:gd name="T12" fmla="*/ 88 w 131"/>
                      <a:gd name="T13" fmla="*/ 72 h 113"/>
                      <a:gd name="T14" fmla="*/ 31 w 131"/>
                      <a:gd name="T15" fmla="*/ 41 h 113"/>
                      <a:gd name="T16" fmla="*/ 25 w 131"/>
                      <a:gd name="T17" fmla="*/ 49 h 113"/>
                      <a:gd name="T18" fmla="*/ 25 w 131"/>
                      <a:gd name="T19" fmla="*/ 41 h 113"/>
                      <a:gd name="T20" fmla="*/ 16 w 131"/>
                      <a:gd name="T21" fmla="*/ 32 h 113"/>
                      <a:gd name="T22" fmla="*/ 31 w 131"/>
                      <a:gd name="T23" fmla="*/ 32 h 113"/>
                      <a:gd name="T24" fmla="*/ 40 w 131"/>
                      <a:gd name="T25" fmla="*/ 25 h 113"/>
                      <a:gd name="T26" fmla="*/ 16 w 131"/>
                      <a:gd name="T27" fmla="*/ 25 h 113"/>
                      <a:gd name="T28" fmla="*/ 6 w 131"/>
                      <a:gd name="T29" fmla="*/ 16 h 113"/>
                      <a:gd name="T30" fmla="*/ 0 w 131"/>
                      <a:gd name="T31" fmla="*/ 16 h 113"/>
                      <a:gd name="T32" fmla="*/ 16 w 131"/>
                      <a:gd name="T33" fmla="*/ 0 h 113"/>
                      <a:gd name="T34" fmla="*/ 25 w 131"/>
                      <a:gd name="T35" fmla="*/ 0 h 113"/>
                      <a:gd name="T36" fmla="*/ 40 w 131"/>
                      <a:gd name="T37" fmla="*/ 9 h 113"/>
                      <a:gd name="T38" fmla="*/ 40 w 131"/>
                      <a:gd name="T39" fmla="*/ 25 h 113"/>
                      <a:gd name="T40" fmla="*/ 56 w 131"/>
                      <a:gd name="T41" fmla="*/ 41 h 113"/>
                      <a:gd name="T42" fmla="*/ 72 w 131"/>
                      <a:gd name="T43" fmla="*/ 25 h 113"/>
                      <a:gd name="T44" fmla="*/ 88 w 131"/>
                      <a:gd name="T45" fmla="*/ 16 h 113"/>
                      <a:gd name="T46" fmla="*/ 130 w 131"/>
                      <a:gd name="T47" fmla="*/ 32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6" name="Freeform 164">
                    <a:extLst>
                      <a:ext uri="{FF2B5EF4-FFF2-40B4-BE49-F238E27FC236}">
                        <a16:creationId xmlns:a16="http://schemas.microsoft.com/office/drawing/2014/main" id="{AA1D31A4-D654-0799-7848-F1D9D7E60900}"/>
                      </a:ext>
                    </a:extLst>
                  </p:cNvPr>
                  <p:cNvSpPr>
                    <a:spLocks/>
                  </p:cNvSpPr>
                  <p:nvPr/>
                </p:nvSpPr>
                <p:spPr bwMode="gray">
                  <a:xfrm>
                    <a:off x="7594063" y="5093952"/>
                    <a:ext cx="189215" cy="160879"/>
                  </a:xfrm>
                  <a:custGeom>
                    <a:avLst/>
                    <a:gdLst>
                      <a:gd name="T0" fmla="*/ 0 w 123"/>
                      <a:gd name="T1" fmla="*/ 80 h 106"/>
                      <a:gd name="T2" fmla="*/ 0 w 123"/>
                      <a:gd name="T3" fmla="*/ 33 h 106"/>
                      <a:gd name="T4" fmla="*/ 0 w 123"/>
                      <a:gd name="T5" fmla="*/ 0 h 106"/>
                      <a:gd name="T6" fmla="*/ 32 w 123"/>
                      <a:gd name="T7" fmla="*/ 9 h 106"/>
                      <a:gd name="T8" fmla="*/ 57 w 123"/>
                      <a:gd name="T9" fmla="*/ 25 h 106"/>
                      <a:gd name="T10" fmla="*/ 57 w 123"/>
                      <a:gd name="T11" fmla="*/ 33 h 106"/>
                      <a:gd name="T12" fmla="*/ 88 w 123"/>
                      <a:gd name="T13" fmla="*/ 49 h 106"/>
                      <a:gd name="T14" fmla="*/ 72 w 123"/>
                      <a:gd name="T15" fmla="*/ 57 h 106"/>
                      <a:gd name="T16" fmla="*/ 81 w 123"/>
                      <a:gd name="T17" fmla="*/ 57 h 106"/>
                      <a:gd name="T18" fmla="*/ 88 w 123"/>
                      <a:gd name="T19" fmla="*/ 65 h 106"/>
                      <a:gd name="T20" fmla="*/ 97 w 123"/>
                      <a:gd name="T21" fmla="*/ 80 h 106"/>
                      <a:gd name="T22" fmla="*/ 104 w 123"/>
                      <a:gd name="T23" fmla="*/ 80 h 106"/>
                      <a:gd name="T24" fmla="*/ 104 w 123"/>
                      <a:gd name="T25" fmla="*/ 90 h 106"/>
                      <a:gd name="T26" fmla="*/ 122 w 123"/>
                      <a:gd name="T27" fmla="*/ 99 h 106"/>
                      <a:gd name="T28" fmla="*/ 122 w 123"/>
                      <a:gd name="T29" fmla="*/ 105 h 106"/>
                      <a:gd name="T30" fmla="*/ 81 w 123"/>
                      <a:gd name="T31" fmla="*/ 99 h 106"/>
                      <a:gd name="T32" fmla="*/ 63 w 123"/>
                      <a:gd name="T33" fmla="*/ 65 h 106"/>
                      <a:gd name="T34" fmla="*/ 47 w 123"/>
                      <a:gd name="T35" fmla="*/ 65 h 106"/>
                      <a:gd name="T36" fmla="*/ 40 w 123"/>
                      <a:gd name="T37" fmla="*/ 65 h 106"/>
                      <a:gd name="T38" fmla="*/ 23 w 123"/>
                      <a:gd name="T39" fmla="*/ 74 h 106"/>
                      <a:gd name="T40" fmla="*/ 32 w 123"/>
                      <a:gd name="T41" fmla="*/ 80 h 106"/>
                      <a:gd name="T42" fmla="*/ 15 w 123"/>
                      <a:gd name="T43" fmla="*/ 80 h 106"/>
                      <a:gd name="T44" fmla="*/ 0 w 123"/>
                      <a:gd name="T45" fmla="*/ 8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7" name="Freeform 165">
                    <a:extLst>
                      <a:ext uri="{FF2B5EF4-FFF2-40B4-BE49-F238E27FC236}">
                        <a16:creationId xmlns:a16="http://schemas.microsoft.com/office/drawing/2014/main" id="{536C02AD-C356-BE7A-95EB-A12FCAFF4F6B}"/>
                      </a:ext>
                    </a:extLst>
                  </p:cNvPr>
                  <p:cNvSpPr>
                    <a:spLocks/>
                  </p:cNvSpPr>
                  <p:nvPr/>
                </p:nvSpPr>
                <p:spPr bwMode="gray">
                  <a:xfrm>
                    <a:off x="7303162" y="4237623"/>
                    <a:ext cx="68220" cy="100074"/>
                  </a:xfrm>
                  <a:custGeom>
                    <a:avLst/>
                    <a:gdLst>
                      <a:gd name="T0" fmla="*/ 0 w 44"/>
                      <a:gd name="T1" fmla="*/ 16 h 66"/>
                      <a:gd name="T2" fmla="*/ 25 w 44"/>
                      <a:gd name="T3" fmla="*/ 0 h 66"/>
                      <a:gd name="T4" fmla="*/ 34 w 44"/>
                      <a:gd name="T5" fmla="*/ 16 h 66"/>
                      <a:gd name="T6" fmla="*/ 43 w 44"/>
                      <a:gd name="T7" fmla="*/ 40 h 66"/>
                      <a:gd name="T8" fmla="*/ 34 w 44"/>
                      <a:gd name="T9" fmla="*/ 56 h 66"/>
                      <a:gd name="T10" fmla="*/ 0 w 44"/>
                      <a:gd name="T11" fmla="*/ 65 h 66"/>
                      <a:gd name="T12" fmla="*/ 0 w 44"/>
                      <a:gd name="T13" fmla="*/ 56 h 66"/>
                      <a:gd name="T14" fmla="*/ 0 w 44"/>
                      <a:gd name="T15" fmla="*/ 48 h 66"/>
                      <a:gd name="T16" fmla="*/ 0 w 44"/>
                      <a:gd name="T17" fmla="*/ 24 h 66"/>
                      <a:gd name="T18" fmla="*/ 0 w 44"/>
                      <a:gd name="T1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28" name="Freeform 166">
                    <a:extLst>
                      <a:ext uri="{FF2B5EF4-FFF2-40B4-BE49-F238E27FC236}">
                        <a16:creationId xmlns:a16="http://schemas.microsoft.com/office/drawing/2014/main" id="{68373461-0F8C-C9AB-232F-7E1681FF4319}"/>
                      </a:ext>
                    </a:extLst>
                  </p:cNvPr>
                  <p:cNvSpPr>
                    <a:spLocks/>
                  </p:cNvSpPr>
                  <p:nvPr/>
                </p:nvSpPr>
                <p:spPr bwMode="gray">
                  <a:xfrm>
                    <a:off x="7269696" y="4137550"/>
                    <a:ext cx="126143" cy="125410"/>
                  </a:xfrm>
                  <a:custGeom>
                    <a:avLst/>
                    <a:gdLst>
                      <a:gd name="T0" fmla="*/ 81 w 82"/>
                      <a:gd name="T1" fmla="*/ 0 h 83"/>
                      <a:gd name="T2" fmla="*/ 72 w 82"/>
                      <a:gd name="T3" fmla="*/ 0 h 83"/>
                      <a:gd name="T4" fmla="*/ 56 w 82"/>
                      <a:gd name="T5" fmla="*/ 9 h 83"/>
                      <a:gd name="T6" fmla="*/ 47 w 82"/>
                      <a:gd name="T7" fmla="*/ 9 h 83"/>
                      <a:gd name="T8" fmla="*/ 40 w 82"/>
                      <a:gd name="T9" fmla="*/ 17 h 83"/>
                      <a:gd name="T10" fmla="*/ 32 w 82"/>
                      <a:gd name="T11" fmla="*/ 17 h 83"/>
                      <a:gd name="T12" fmla="*/ 0 w 82"/>
                      <a:gd name="T13" fmla="*/ 41 h 83"/>
                      <a:gd name="T14" fmla="*/ 0 w 82"/>
                      <a:gd name="T15" fmla="*/ 50 h 83"/>
                      <a:gd name="T16" fmla="*/ 7 w 82"/>
                      <a:gd name="T17" fmla="*/ 50 h 83"/>
                      <a:gd name="T18" fmla="*/ 0 w 82"/>
                      <a:gd name="T19" fmla="*/ 74 h 83"/>
                      <a:gd name="T20" fmla="*/ 7 w 82"/>
                      <a:gd name="T21" fmla="*/ 82 h 83"/>
                      <a:gd name="T22" fmla="*/ 16 w 82"/>
                      <a:gd name="T23" fmla="*/ 82 h 83"/>
                      <a:gd name="T24" fmla="*/ 22 w 82"/>
                      <a:gd name="T25" fmla="*/ 82 h 83"/>
                      <a:gd name="T26" fmla="*/ 47 w 82"/>
                      <a:gd name="T27" fmla="*/ 66 h 83"/>
                      <a:gd name="T28" fmla="*/ 32 w 82"/>
                      <a:gd name="T29" fmla="*/ 57 h 83"/>
                      <a:gd name="T30" fmla="*/ 32 w 82"/>
                      <a:gd name="T31" fmla="*/ 50 h 83"/>
                      <a:gd name="T32" fmla="*/ 65 w 82"/>
                      <a:gd name="T33" fmla="*/ 34 h 83"/>
                      <a:gd name="T34" fmla="*/ 65 w 82"/>
                      <a:gd name="T35" fmla="*/ 17 h 83"/>
                      <a:gd name="T36" fmla="*/ 81 w 82"/>
                      <a:gd name="T37"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grpFill/>
                  <a:ln w="3175" cap="rnd" cmpd="sng">
                    <a:solidFill>
                      <a:schemeClr val="bg1"/>
                    </a:solidFill>
                    <a:prstDash val="solid"/>
                    <a:round/>
                    <a:headEnd/>
                    <a:tailEnd/>
                  </a:ln>
                  <a:effectLst/>
                </p:spPr>
                <p:txBody>
                  <a:bodyPr/>
                  <a:lstStyle/>
                  <a:p>
                    <a:endParaRPr lang="en-US"/>
                  </a:p>
                </p:txBody>
              </p:sp>
              <p:sp>
                <p:nvSpPr>
                  <p:cNvPr id="1729" name="Freeform 240">
                    <a:extLst>
                      <a:ext uri="{FF2B5EF4-FFF2-40B4-BE49-F238E27FC236}">
                        <a16:creationId xmlns:a16="http://schemas.microsoft.com/office/drawing/2014/main" id="{29EFA47E-2515-CEB6-009E-A5BEE563FE07}"/>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0" name="Freeform 241">
                    <a:extLst>
                      <a:ext uri="{FF2B5EF4-FFF2-40B4-BE49-F238E27FC236}">
                        <a16:creationId xmlns:a16="http://schemas.microsoft.com/office/drawing/2014/main" id="{DF16888D-11AF-AFE1-BB17-7A6288D2AC45}"/>
                      </a:ext>
                    </a:extLst>
                  </p:cNvPr>
                  <p:cNvSpPr>
                    <a:spLocks/>
                  </p:cNvSpPr>
                  <p:nvPr/>
                </p:nvSpPr>
                <p:spPr bwMode="gray">
                  <a:xfrm>
                    <a:off x="6730370" y="5007813"/>
                    <a:ext cx="25743" cy="27868"/>
                  </a:xfrm>
                  <a:custGeom>
                    <a:avLst/>
                    <a:gdLst>
                      <a:gd name="T0" fmla="*/ 0 w 17"/>
                      <a:gd name="T1" fmla="*/ 9 h 18"/>
                      <a:gd name="T2" fmla="*/ 16 w 17"/>
                      <a:gd name="T3" fmla="*/ 17 h 18"/>
                      <a:gd name="T4" fmla="*/ 0 w 17"/>
                      <a:gd name="T5" fmla="*/ 0 h 18"/>
                      <a:gd name="T6" fmla="*/ 0 w 17"/>
                      <a:gd name="T7" fmla="*/ 9 h 18"/>
                    </a:gdLst>
                    <a:ahLst/>
                    <a:cxnLst>
                      <a:cxn ang="0">
                        <a:pos x="T0" y="T1"/>
                      </a:cxn>
                      <a:cxn ang="0">
                        <a:pos x="T2" y="T3"/>
                      </a:cxn>
                      <a:cxn ang="0">
                        <a:pos x="T4" y="T5"/>
                      </a:cxn>
                      <a:cxn ang="0">
                        <a:pos x="T6" y="T7"/>
                      </a:cxn>
                    </a:cxnLst>
                    <a:rect l="0" t="0" r="r" b="b"/>
                    <a:pathLst>
                      <a:path w="17" h="18">
                        <a:moveTo>
                          <a:pt x="0" y="9"/>
                        </a:moveTo>
                        <a:lnTo>
                          <a:pt x="16" y="17"/>
                        </a:lnTo>
                        <a:lnTo>
                          <a:pt x="0" y="0"/>
                        </a:lnTo>
                        <a:lnTo>
                          <a:pt x="0" y="9"/>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1" name="Freeform 242">
                    <a:extLst>
                      <a:ext uri="{FF2B5EF4-FFF2-40B4-BE49-F238E27FC236}">
                        <a16:creationId xmlns:a16="http://schemas.microsoft.com/office/drawing/2014/main" id="{35FFC4C4-93F4-28B5-2434-A88F97ED5011}"/>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2" name="Freeform 243">
                    <a:extLst>
                      <a:ext uri="{FF2B5EF4-FFF2-40B4-BE49-F238E27FC236}">
                        <a16:creationId xmlns:a16="http://schemas.microsoft.com/office/drawing/2014/main" id="{0AC2B718-9165-8A17-92D3-CA383A11ECA6}"/>
                      </a:ext>
                    </a:extLst>
                  </p:cNvPr>
                  <p:cNvSpPr>
                    <a:spLocks/>
                  </p:cNvSpPr>
                  <p:nvPr/>
                </p:nvSpPr>
                <p:spPr bwMode="gray">
                  <a:xfrm>
                    <a:off x="6757401" y="5059751"/>
                    <a:ext cx="25743" cy="25335"/>
                  </a:xfrm>
                  <a:custGeom>
                    <a:avLst/>
                    <a:gdLst>
                      <a:gd name="T0" fmla="*/ 0 w 17"/>
                      <a:gd name="T1" fmla="*/ 0 h 17"/>
                      <a:gd name="T2" fmla="*/ 16 w 17"/>
                      <a:gd name="T3" fmla="*/ 16 h 17"/>
                      <a:gd name="T4" fmla="*/ 16 w 17"/>
                      <a:gd name="T5" fmla="*/ 7 h 17"/>
                      <a:gd name="T6" fmla="*/ 16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7"/>
                        </a:lnTo>
                        <a:lnTo>
                          <a:pt x="16" y="0"/>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3" name="Freeform 244">
                    <a:extLst>
                      <a:ext uri="{FF2B5EF4-FFF2-40B4-BE49-F238E27FC236}">
                        <a16:creationId xmlns:a16="http://schemas.microsoft.com/office/drawing/2014/main" id="{A1F2A4D4-5D05-2875-D1F8-720EC096956F}"/>
                      </a:ext>
                    </a:extLst>
                  </p:cNvPr>
                  <p:cNvSpPr>
                    <a:spLocks/>
                  </p:cNvSpPr>
                  <p:nvPr/>
                </p:nvSpPr>
                <p:spPr bwMode="gray">
                  <a:xfrm>
                    <a:off x="6381546" y="4849468"/>
                    <a:ext cx="52774" cy="74739"/>
                  </a:xfrm>
                  <a:custGeom>
                    <a:avLst/>
                    <a:gdLst>
                      <a:gd name="T0" fmla="*/ 0 w 34"/>
                      <a:gd name="T1" fmla="*/ 25 h 50"/>
                      <a:gd name="T2" fmla="*/ 9 w 34"/>
                      <a:gd name="T3" fmla="*/ 49 h 50"/>
                      <a:gd name="T4" fmla="*/ 24 w 34"/>
                      <a:gd name="T5" fmla="*/ 49 h 50"/>
                      <a:gd name="T6" fmla="*/ 33 w 34"/>
                      <a:gd name="T7" fmla="*/ 34 h 50"/>
                      <a:gd name="T8" fmla="*/ 15 w 34"/>
                      <a:gd name="T9" fmla="*/ 9 h 50"/>
                      <a:gd name="T10" fmla="*/ 9 w 34"/>
                      <a:gd name="T11" fmla="*/ 0 h 50"/>
                      <a:gd name="T12" fmla="*/ 0 w 34"/>
                      <a:gd name="T13" fmla="*/ 25 h 50"/>
                    </a:gdLst>
                    <a:ahLst/>
                    <a:cxnLst>
                      <a:cxn ang="0">
                        <a:pos x="T0" y="T1"/>
                      </a:cxn>
                      <a:cxn ang="0">
                        <a:pos x="T2" y="T3"/>
                      </a:cxn>
                      <a:cxn ang="0">
                        <a:pos x="T4" y="T5"/>
                      </a:cxn>
                      <a:cxn ang="0">
                        <a:pos x="T6" y="T7"/>
                      </a:cxn>
                      <a:cxn ang="0">
                        <a:pos x="T8" y="T9"/>
                      </a:cxn>
                      <a:cxn ang="0">
                        <a:pos x="T10" y="T11"/>
                      </a:cxn>
                      <a:cxn ang="0">
                        <a:pos x="T12" y="T13"/>
                      </a:cxn>
                    </a:cxnLst>
                    <a:rect l="0" t="0" r="r" b="b"/>
                    <a:pathLst>
                      <a:path w="34" h="50">
                        <a:moveTo>
                          <a:pt x="0" y="25"/>
                        </a:moveTo>
                        <a:lnTo>
                          <a:pt x="9" y="49"/>
                        </a:lnTo>
                        <a:lnTo>
                          <a:pt x="24" y="49"/>
                        </a:lnTo>
                        <a:lnTo>
                          <a:pt x="33" y="34"/>
                        </a:lnTo>
                        <a:lnTo>
                          <a:pt x="15" y="9"/>
                        </a:lnTo>
                        <a:lnTo>
                          <a:pt x="9" y="0"/>
                        </a:lnTo>
                        <a:lnTo>
                          <a:pt x="0"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4" name="Freeform 245">
                    <a:extLst>
                      <a:ext uri="{FF2B5EF4-FFF2-40B4-BE49-F238E27FC236}">
                        <a16:creationId xmlns:a16="http://schemas.microsoft.com/office/drawing/2014/main" id="{E70D9F21-A3AA-78D5-871C-DDD93BBEF6CE}"/>
                      </a:ext>
                    </a:extLst>
                  </p:cNvPr>
                  <p:cNvSpPr>
                    <a:spLocks/>
                  </p:cNvSpPr>
                  <p:nvPr/>
                </p:nvSpPr>
                <p:spPr bwMode="gray">
                  <a:xfrm>
                    <a:off x="6955625" y="4655654"/>
                    <a:ext cx="54061" cy="35469"/>
                  </a:xfrm>
                  <a:custGeom>
                    <a:avLst/>
                    <a:gdLst>
                      <a:gd name="T0" fmla="*/ 0 w 35"/>
                      <a:gd name="T1" fmla="*/ 6 h 24"/>
                      <a:gd name="T2" fmla="*/ 0 w 35"/>
                      <a:gd name="T3" fmla="*/ 16 h 24"/>
                      <a:gd name="T4" fmla="*/ 17 w 35"/>
                      <a:gd name="T5" fmla="*/ 23 h 24"/>
                      <a:gd name="T6" fmla="*/ 24 w 35"/>
                      <a:gd name="T7" fmla="*/ 16 h 24"/>
                      <a:gd name="T8" fmla="*/ 34 w 35"/>
                      <a:gd name="T9" fmla="*/ 0 h 24"/>
                      <a:gd name="T10" fmla="*/ 9 w 35"/>
                      <a:gd name="T11" fmla="*/ 0 h 24"/>
                      <a:gd name="T12" fmla="*/ 0 w 35"/>
                      <a:gd name="T13" fmla="*/ 6 h 24"/>
                    </a:gdLst>
                    <a:ahLst/>
                    <a:cxnLst>
                      <a:cxn ang="0">
                        <a:pos x="T0" y="T1"/>
                      </a:cxn>
                      <a:cxn ang="0">
                        <a:pos x="T2" y="T3"/>
                      </a:cxn>
                      <a:cxn ang="0">
                        <a:pos x="T4" y="T5"/>
                      </a:cxn>
                      <a:cxn ang="0">
                        <a:pos x="T6" y="T7"/>
                      </a:cxn>
                      <a:cxn ang="0">
                        <a:pos x="T8" y="T9"/>
                      </a:cxn>
                      <a:cxn ang="0">
                        <a:pos x="T10" y="T11"/>
                      </a:cxn>
                      <a:cxn ang="0">
                        <a:pos x="T12" y="T13"/>
                      </a:cxn>
                    </a:cxnLst>
                    <a:rect l="0" t="0" r="r" b="b"/>
                    <a:pathLst>
                      <a:path w="35" h="24">
                        <a:moveTo>
                          <a:pt x="0" y="6"/>
                        </a:moveTo>
                        <a:lnTo>
                          <a:pt x="0" y="16"/>
                        </a:lnTo>
                        <a:lnTo>
                          <a:pt x="17" y="23"/>
                        </a:lnTo>
                        <a:lnTo>
                          <a:pt x="24" y="16"/>
                        </a:lnTo>
                        <a:lnTo>
                          <a:pt x="34" y="0"/>
                        </a:lnTo>
                        <a:lnTo>
                          <a:pt x="9" y="0"/>
                        </a:lnTo>
                        <a:lnTo>
                          <a:pt x="0" y="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5" name="Freeform 246">
                    <a:extLst>
                      <a:ext uri="{FF2B5EF4-FFF2-40B4-BE49-F238E27FC236}">
                        <a16:creationId xmlns:a16="http://schemas.microsoft.com/office/drawing/2014/main" id="{16060325-DD9A-9867-B1D3-AEAD7D7479D5}"/>
                      </a:ext>
                    </a:extLst>
                  </p:cNvPr>
                  <p:cNvSpPr>
                    <a:spLocks/>
                  </p:cNvSpPr>
                  <p:nvPr/>
                </p:nvSpPr>
                <p:spPr bwMode="gray">
                  <a:xfrm>
                    <a:off x="7180881" y="4542912"/>
                    <a:ext cx="39902" cy="62071"/>
                  </a:xfrm>
                  <a:custGeom>
                    <a:avLst/>
                    <a:gdLst>
                      <a:gd name="T0" fmla="*/ 0 w 26"/>
                      <a:gd name="T1" fmla="*/ 25 h 41"/>
                      <a:gd name="T2" fmla="*/ 0 w 26"/>
                      <a:gd name="T3" fmla="*/ 33 h 41"/>
                      <a:gd name="T4" fmla="*/ 8 w 26"/>
                      <a:gd name="T5" fmla="*/ 40 h 41"/>
                      <a:gd name="T6" fmla="*/ 25 w 26"/>
                      <a:gd name="T7" fmla="*/ 0 h 41"/>
                      <a:gd name="T8" fmla="*/ 17 w 26"/>
                      <a:gd name="T9" fmla="*/ 0 h 41"/>
                      <a:gd name="T10" fmla="*/ 0 w 26"/>
                      <a:gd name="T11" fmla="*/ 25 h 41"/>
                    </a:gdLst>
                    <a:ahLst/>
                    <a:cxnLst>
                      <a:cxn ang="0">
                        <a:pos x="T0" y="T1"/>
                      </a:cxn>
                      <a:cxn ang="0">
                        <a:pos x="T2" y="T3"/>
                      </a:cxn>
                      <a:cxn ang="0">
                        <a:pos x="T4" y="T5"/>
                      </a:cxn>
                      <a:cxn ang="0">
                        <a:pos x="T6" y="T7"/>
                      </a:cxn>
                      <a:cxn ang="0">
                        <a:pos x="T8" y="T9"/>
                      </a:cxn>
                      <a:cxn ang="0">
                        <a:pos x="T10" y="T11"/>
                      </a:cxn>
                    </a:cxnLst>
                    <a:rect l="0" t="0" r="r" b="b"/>
                    <a:pathLst>
                      <a:path w="26" h="41">
                        <a:moveTo>
                          <a:pt x="0" y="25"/>
                        </a:moveTo>
                        <a:lnTo>
                          <a:pt x="0" y="33"/>
                        </a:lnTo>
                        <a:lnTo>
                          <a:pt x="8" y="40"/>
                        </a:lnTo>
                        <a:lnTo>
                          <a:pt x="25" y="0"/>
                        </a:lnTo>
                        <a:lnTo>
                          <a:pt x="17" y="0"/>
                        </a:lnTo>
                        <a:lnTo>
                          <a:pt x="0"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6" name="Freeform 247">
                    <a:extLst>
                      <a:ext uri="{FF2B5EF4-FFF2-40B4-BE49-F238E27FC236}">
                        <a16:creationId xmlns:a16="http://schemas.microsoft.com/office/drawing/2014/main" id="{03113239-9F35-99FF-BA09-FF194D4C46D3}"/>
                      </a:ext>
                    </a:extLst>
                  </p:cNvPr>
                  <p:cNvSpPr>
                    <a:spLocks/>
                  </p:cNvSpPr>
                  <p:nvPr/>
                </p:nvSpPr>
                <p:spPr bwMode="gray">
                  <a:xfrm>
                    <a:off x="7370095" y="4347832"/>
                    <a:ext cx="50200" cy="74739"/>
                  </a:xfrm>
                  <a:custGeom>
                    <a:avLst/>
                    <a:gdLst>
                      <a:gd name="T0" fmla="*/ 0 w 33"/>
                      <a:gd name="T1" fmla="*/ 7 h 49"/>
                      <a:gd name="T2" fmla="*/ 0 w 33"/>
                      <a:gd name="T3" fmla="*/ 17 h 49"/>
                      <a:gd name="T4" fmla="*/ 7 w 33"/>
                      <a:gd name="T5" fmla="*/ 17 h 49"/>
                      <a:gd name="T6" fmla="*/ 7 w 33"/>
                      <a:gd name="T7" fmla="*/ 41 h 49"/>
                      <a:gd name="T8" fmla="*/ 16 w 33"/>
                      <a:gd name="T9" fmla="*/ 48 h 49"/>
                      <a:gd name="T10" fmla="*/ 22 w 33"/>
                      <a:gd name="T11" fmla="*/ 41 h 49"/>
                      <a:gd name="T12" fmla="*/ 32 w 33"/>
                      <a:gd name="T13" fmla="*/ 17 h 49"/>
                      <a:gd name="T14" fmla="*/ 22 w 33"/>
                      <a:gd name="T15" fmla="*/ 7 h 49"/>
                      <a:gd name="T16" fmla="*/ 7 w 33"/>
                      <a:gd name="T17" fmla="*/ 0 h 49"/>
                      <a:gd name="T18" fmla="*/ 0 w 33"/>
                      <a:gd name="T19" fmla="*/ 7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7" name="Freeform 248">
                    <a:extLst>
                      <a:ext uri="{FF2B5EF4-FFF2-40B4-BE49-F238E27FC236}">
                        <a16:creationId xmlns:a16="http://schemas.microsoft.com/office/drawing/2014/main" id="{F66D078D-41EA-835D-DABC-492989CBCDB4}"/>
                      </a:ext>
                    </a:extLst>
                  </p:cNvPr>
                  <p:cNvSpPr>
                    <a:spLocks/>
                  </p:cNvSpPr>
                  <p:nvPr/>
                </p:nvSpPr>
                <p:spPr bwMode="gray">
                  <a:xfrm>
                    <a:off x="7419008" y="4347832"/>
                    <a:ext cx="51487" cy="27868"/>
                  </a:xfrm>
                  <a:custGeom>
                    <a:avLst/>
                    <a:gdLst>
                      <a:gd name="T0" fmla="*/ 0 w 33"/>
                      <a:gd name="T1" fmla="*/ 7 h 18"/>
                      <a:gd name="T2" fmla="*/ 0 w 33"/>
                      <a:gd name="T3" fmla="*/ 17 h 18"/>
                      <a:gd name="T4" fmla="*/ 9 w 33"/>
                      <a:gd name="T5" fmla="*/ 17 h 18"/>
                      <a:gd name="T6" fmla="*/ 15 w 33"/>
                      <a:gd name="T7" fmla="*/ 7 h 18"/>
                      <a:gd name="T8" fmla="*/ 24 w 33"/>
                      <a:gd name="T9" fmla="*/ 7 h 18"/>
                      <a:gd name="T10" fmla="*/ 32 w 33"/>
                      <a:gd name="T11" fmla="*/ 0 h 18"/>
                      <a:gd name="T12" fmla="*/ 15 w 33"/>
                      <a:gd name="T13" fmla="*/ 0 h 18"/>
                      <a:gd name="T14" fmla="*/ 0 w 33"/>
                      <a:gd name="T15" fmla="*/ 7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18">
                        <a:moveTo>
                          <a:pt x="0" y="7"/>
                        </a:moveTo>
                        <a:lnTo>
                          <a:pt x="0" y="17"/>
                        </a:lnTo>
                        <a:lnTo>
                          <a:pt x="9" y="17"/>
                        </a:lnTo>
                        <a:lnTo>
                          <a:pt x="15" y="7"/>
                        </a:lnTo>
                        <a:lnTo>
                          <a:pt x="24" y="7"/>
                        </a:lnTo>
                        <a:lnTo>
                          <a:pt x="32" y="0"/>
                        </a:lnTo>
                        <a:lnTo>
                          <a:pt x="15" y="0"/>
                        </a:lnTo>
                        <a:lnTo>
                          <a:pt x="0" y="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8" name="Freeform 249">
                    <a:extLst>
                      <a:ext uri="{FF2B5EF4-FFF2-40B4-BE49-F238E27FC236}">
                        <a16:creationId xmlns:a16="http://schemas.microsoft.com/office/drawing/2014/main" id="{7D699EC5-EDA5-C2BD-B8BF-C9A08028F269}"/>
                      </a:ext>
                    </a:extLst>
                  </p:cNvPr>
                  <p:cNvSpPr>
                    <a:spLocks/>
                  </p:cNvSpPr>
                  <p:nvPr/>
                </p:nvSpPr>
                <p:spPr bwMode="gray">
                  <a:xfrm>
                    <a:off x="7394552" y="4162885"/>
                    <a:ext cx="212384" cy="197615"/>
                  </a:xfrm>
                  <a:custGeom>
                    <a:avLst/>
                    <a:gdLst>
                      <a:gd name="T0" fmla="*/ 0 w 138"/>
                      <a:gd name="T1" fmla="*/ 114 h 130"/>
                      <a:gd name="T2" fmla="*/ 0 w 138"/>
                      <a:gd name="T3" fmla="*/ 122 h 130"/>
                      <a:gd name="T4" fmla="*/ 16 w 138"/>
                      <a:gd name="T5" fmla="*/ 122 h 130"/>
                      <a:gd name="T6" fmla="*/ 48 w 138"/>
                      <a:gd name="T7" fmla="*/ 105 h 130"/>
                      <a:gd name="T8" fmla="*/ 56 w 138"/>
                      <a:gd name="T9" fmla="*/ 114 h 130"/>
                      <a:gd name="T10" fmla="*/ 56 w 138"/>
                      <a:gd name="T11" fmla="*/ 122 h 130"/>
                      <a:gd name="T12" fmla="*/ 65 w 138"/>
                      <a:gd name="T13" fmla="*/ 129 h 130"/>
                      <a:gd name="T14" fmla="*/ 72 w 138"/>
                      <a:gd name="T15" fmla="*/ 114 h 130"/>
                      <a:gd name="T16" fmla="*/ 72 w 138"/>
                      <a:gd name="T17" fmla="*/ 105 h 130"/>
                      <a:gd name="T18" fmla="*/ 80 w 138"/>
                      <a:gd name="T19" fmla="*/ 114 h 130"/>
                      <a:gd name="T20" fmla="*/ 88 w 138"/>
                      <a:gd name="T21" fmla="*/ 114 h 130"/>
                      <a:gd name="T22" fmla="*/ 97 w 138"/>
                      <a:gd name="T23" fmla="*/ 105 h 130"/>
                      <a:gd name="T24" fmla="*/ 105 w 138"/>
                      <a:gd name="T25" fmla="*/ 114 h 130"/>
                      <a:gd name="T26" fmla="*/ 105 w 138"/>
                      <a:gd name="T27" fmla="*/ 105 h 130"/>
                      <a:gd name="T28" fmla="*/ 112 w 138"/>
                      <a:gd name="T29" fmla="*/ 97 h 130"/>
                      <a:gd name="T30" fmla="*/ 112 w 138"/>
                      <a:gd name="T31" fmla="*/ 105 h 130"/>
                      <a:gd name="T32" fmla="*/ 121 w 138"/>
                      <a:gd name="T33" fmla="*/ 105 h 130"/>
                      <a:gd name="T34" fmla="*/ 130 w 138"/>
                      <a:gd name="T35" fmla="*/ 97 h 130"/>
                      <a:gd name="T36" fmla="*/ 130 w 138"/>
                      <a:gd name="T37" fmla="*/ 57 h 130"/>
                      <a:gd name="T38" fmla="*/ 137 w 138"/>
                      <a:gd name="T39" fmla="*/ 57 h 130"/>
                      <a:gd name="T40" fmla="*/ 137 w 138"/>
                      <a:gd name="T41" fmla="*/ 8 h 130"/>
                      <a:gd name="T42" fmla="*/ 130 w 138"/>
                      <a:gd name="T43" fmla="*/ 0 h 130"/>
                      <a:gd name="T44" fmla="*/ 130 w 138"/>
                      <a:gd name="T45" fmla="*/ 8 h 130"/>
                      <a:gd name="T46" fmla="*/ 121 w 138"/>
                      <a:gd name="T47" fmla="*/ 8 h 130"/>
                      <a:gd name="T48" fmla="*/ 112 w 138"/>
                      <a:gd name="T49" fmla="*/ 40 h 130"/>
                      <a:gd name="T50" fmla="*/ 97 w 138"/>
                      <a:gd name="T51" fmla="*/ 65 h 130"/>
                      <a:gd name="T52" fmla="*/ 80 w 138"/>
                      <a:gd name="T53" fmla="*/ 82 h 130"/>
                      <a:gd name="T54" fmla="*/ 80 w 138"/>
                      <a:gd name="T55" fmla="*/ 65 h 130"/>
                      <a:gd name="T56" fmla="*/ 72 w 138"/>
                      <a:gd name="T57" fmla="*/ 73 h 130"/>
                      <a:gd name="T58" fmla="*/ 65 w 138"/>
                      <a:gd name="T59" fmla="*/ 97 h 130"/>
                      <a:gd name="T60" fmla="*/ 56 w 138"/>
                      <a:gd name="T61" fmla="*/ 97 h 130"/>
                      <a:gd name="T62" fmla="*/ 25 w 138"/>
                      <a:gd name="T63" fmla="*/ 97 h 130"/>
                      <a:gd name="T64" fmla="*/ 0 w 138"/>
                      <a:gd name="T65" fmla="*/ 11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39" name="Freeform 250">
                    <a:extLst>
                      <a:ext uri="{FF2B5EF4-FFF2-40B4-BE49-F238E27FC236}">
                        <a16:creationId xmlns:a16="http://schemas.microsoft.com/office/drawing/2014/main" id="{BC44613D-CEFD-36CE-810B-E21F60E5DFE6}"/>
                      </a:ext>
                    </a:extLst>
                  </p:cNvPr>
                  <p:cNvSpPr>
                    <a:spLocks/>
                  </p:cNvSpPr>
                  <p:nvPr/>
                </p:nvSpPr>
                <p:spPr bwMode="gray">
                  <a:xfrm>
                    <a:off x="7567032" y="4052677"/>
                    <a:ext cx="126143" cy="111475"/>
                  </a:xfrm>
                  <a:custGeom>
                    <a:avLst/>
                    <a:gdLst>
                      <a:gd name="T0" fmla="*/ 0 w 82"/>
                      <a:gd name="T1" fmla="*/ 56 h 74"/>
                      <a:gd name="T2" fmla="*/ 0 w 82"/>
                      <a:gd name="T3" fmla="*/ 73 h 74"/>
                      <a:gd name="T4" fmla="*/ 18 w 82"/>
                      <a:gd name="T5" fmla="*/ 65 h 74"/>
                      <a:gd name="T6" fmla="*/ 9 w 82"/>
                      <a:gd name="T7" fmla="*/ 65 h 74"/>
                      <a:gd name="T8" fmla="*/ 9 w 82"/>
                      <a:gd name="T9" fmla="*/ 56 h 74"/>
                      <a:gd name="T10" fmla="*/ 25 w 82"/>
                      <a:gd name="T11" fmla="*/ 56 h 74"/>
                      <a:gd name="T12" fmla="*/ 50 w 82"/>
                      <a:gd name="T13" fmla="*/ 65 h 74"/>
                      <a:gd name="T14" fmla="*/ 58 w 82"/>
                      <a:gd name="T15" fmla="*/ 50 h 74"/>
                      <a:gd name="T16" fmla="*/ 65 w 82"/>
                      <a:gd name="T17" fmla="*/ 50 h 74"/>
                      <a:gd name="T18" fmla="*/ 81 w 82"/>
                      <a:gd name="T19" fmla="*/ 41 h 74"/>
                      <a:gd name="T20" fmla="*/ 75 w 82"/>
                      <a:gd name="T21" fmla="*/ 41 h 74"/>
                      <a:gd name="T22" fmla="*/ 65 w 82"/>
                      <a:gd name="T23" fmla="*/ 31 h 74"/>
                      <a:gd name="T24" fmla="*/ 75 w 82"/>
                      <a:gd name="T25" fmla="*/ 25 h 74"/>
                      <a:gd name="T26" fmla="*/ 65 w 82"/>
                      <a:gd name="T27" fmla="*/ 31 h 74"/>
                      <a:gd name="T28" fmla="*/ 50 w 82"/>
                      <a:gd name="T29" fmla="*/ 25 h 74"/>
                      <a:gd name="T30" fmla="*/ 25 w 82"/>
                      <a:gd name="T31" fmla="*/ 0 h 74"/>
                      <a:gd name="T32" fmla="*/ 25 w 82"/>
                      <a:gd name="T33" fmla="*/ 9 h 74"/>
                      <a:gd name="T34" fmla="*/ 25 w 82"/>
                      <a:gd name="T35" fmla="*/ 16 h 74"/>
                      <a:gd name="T36" fmla="*/ 18 w 82"/>
                      <a:gd name="T37" fmla="*/ 50 h 74"/>
                      <a:gd name="T38" fmla="*/ 9 w 82"/>
                      <a:gd name="T39" fmla="*/ 41 h 74"/>
                      <a:gd name="T40" fmla="*/ 9 w 82"/>
                      <a:gd name="T41" fmla="*/ 50 h 74"/>
                      <a:gd name="T42" fmla="*/ 0 w 82"/>
                      <a:gd name="T43" fmla="*/ 5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grpFill/>
                  <a:ln w="3175" cap="rnd" cmpd="sng">
                    <a:solidFill>
                      <a:schemeClr val="bg1"/>
                    </a:solidFill>
                    <a:prstDash val="solid"/>
                    <a:round/>
                    <a:headEnd/>
                    <a:tailEnd/>
                  </a:ln>
                  <a:effectLst/>
                </p:spPr>
                <p:txBody>
                  <a:bodyPr/>
                  <a:lstStyle/>
                  <a:p>
                    <a:endParaRPr lang="en-US"/>
                  </a:p>
                </p:txBody>
              </p:sp>
              <p:sp>
                <p:nvSpPr>
                  <p:cNvPr id="1740" name="Freeform 251">
                    <a:extLst>
                      <a:ext uri="{FF2B5EF4-FFF2-40B4-BE49-F238E27FC236}">
                        <a16:creationId xmlns:a16="http://schemas.microsoft.com/office/drawing/2014/main" id="{5445F7C1-1BC2-5E9E-8B88-CCAB9A8AA37F}"/>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3175" cap="rnd" cmpd="sng">
                    <a:solidFill>
                      <a:schemeClr val="bg1"/>
                    </a:solidFill>
                    <a:prstDash val="solid"/>
                    <a:round/>
                    <a:headEnd/>
                    <a:tailEnd/>
                  </a:ln>
                  <a:effectLst/>
                </p:spPr>
                <p:txBody>
                  <a:bodyPr/>
                  <a:lstStyle/>
                  <a:p>
                    <a:endParaRPr lang="en-US"/>
                  </a:p>
                </p:txBody>
              </p:sp>
              <p:sp>
                <p:nvSpPr>
                  <p:cNvPr id="1741" name="Freeform 252">
                    <a:extLst>
                      <a:ext uri="{FF2B5EF4-FFF2-40B4-BE49-F238E27FC236}">
                        <a16:creationId xmlns:a16="http://schemas.microsoft.com/office/drawing/2014/main" id="{5037243D-4EA1-2ABA-31A9-BF25CDACBBAB}"/>
                      </a:ext>
                    </a:extLst>
                  </p:cNvPr>
                  <p:cNvSpPr>
                    <a:spLocks/>
                  </p:cNvSpPr>
                  <p:nvPr/>
                </p:nvSpPr>
                <p:spPr bwMode="gray">
                  <a:xfrm>
                    <a:off x="7866944" y="3905732"/>
                    <a:ext cx="27031" cy="25335"/>
                  </a:xfrm>
                  <a:custGeom>
                    <a:avLst/>
                    <a:gdLst>
                      <a:gd name="T0" fmla="*/ 0 w 18"/>
                      <a:gd name="T1" fmla="*/ 8 h 17"/>
                      <a:gd name="T2" fmla="*/ 0 w 18"/>
                      <a:gd name="T3" fmla="*/ 16 h 17"/>
                      <a:gd name="T4" fmla="*/ 8 w 18"/>
                      <a:gd name="T5" fmla="*/ 8 h 17"/>
                      <a:gd name="T6" fmla="*/ 17 w 18"/>
                      <a:gd name="T7" fmla="*/ 0 h 17"/>
                      <a:gd name="T8" fmla="*/ 0 w 18"/>
                      <a:gd name="T9" fmla="*/ 8 h 17"/>
                    </a:gdLst>
                    <a:ahLst/>
                    <a:cxnLst>
                      <a:cxn ang="0">
                        <a:pos x="T0" y="T1"/>
                      </a:cxn>
                      <a:cxn ang="0">
                        <a:pos x="T2" y="T3"/>
                      </a:cxn>
                      <a:cxn ang="0">
                        <a:pos x="T4" y="T5"/>
                      </a:cxn>
                      <a:cxn ang="0">
                        <a:pos x="T6" y="T7"/>
                      </a:cxn>
                      <a:cxn ang="0">
                        <a:pos x="T8" y="T9"/>
                      </a:cxn>
                    </a:cxnLst>
                    <a:rect l="0" t="0" r="r" b="b"/>
                    <a:pathLst>
                      <a:path w="18" h="17">
                        <a:moveTo>
                          <a:pt x="0" y="8"/>
                        </a:moveTo>
                        <a:lnTo>
                          <a:pt x="0" y="16"/>
                        </a:lnTo>
                        <a:lnTo>
                          <a:pt x="8" y="8"/>
                        </a:lnTo>
                        <a:lnTo>
                          <a:pt x="17" y="0"/>
                        </a:lnTo>
                        <a:lnTo>
                          <a:pt x="0" y="8"/>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42" name="Freeform 253">
                    <a:extLst>
                      <a:ext uri="{FF2B5EF4-FFF2-40B4-BE49-F238E27FC236}">
                        <a16:creationId xmlns:a16="http://schemas.microsoft.com/office/drawing/2014/main" id="{BCCD7479-5987-1DA0-59FB-F8315808C5CA}"/>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3175" cap="rnd" cmpd="sng">
                    <a:solidFill>
                      <a:schemeClr val="bg1"/>
                    </a:solidFill>
                    <a:prstDash val="solid"/>
                    <a:round/>
                    <a:headEnd/>
                    <a:tailEnd/>
                  </a:ln>
                  <a:effectLst/>
                </p:spPr>
                <p:txBody>
                  <a:bodyPr/>
                  <a:lstStyle/>
                  <a:p>
                    <a:endParaRPr lang="en-US"/>
                  </a:p>
                </p:txBody>
              </p:sp>
              <p:sp>
                <p:nvSpPr>
                  <p:cNvPr id="1743" name="Freeform 254">
                    <a:extLst>
                      <a:ext uri="{FF2B5EF4-FFF2-40B4-BE49-F238E27FC236}">
                        <a16:creationId xmlns:a16="http://schemas.microsoft.com/office/drawing/2014/main" id="{61FB759A-62F3-1DDF-221F-2C379E3ABBF6}"/>
                      </a:ext>
                    </a:extLst>
                  </p:cNvPr>
                  <p:cNvSpPr>
                    <a:spLocks/>
                  </p:cNvSpPr>
                  <p:nvPr/>
                </p:nvSpPr>
                <p:spPr bwMode="gray">
                  <a:xfrm>
                    <a:off x="8030415" y="3624512"/>
                    <a:ext cx="25743" cy="25335"/>
                  </a:xfrm>
                  <a:custGeom>
                    <a:avLst/>
                    <a:gdLst>
                      <a:gd name="T0" fmla="*/ 0 w 17"/>
                      <a:gd name="T1" fmla="*/ 16 h 17"/>
                      <a:gd name="T2" fmla="*/ 16 w 17"/>
                      <a:gd name="T3" fmla="*/ 7 h 17"/>
                      <a:gd name="T4" fmla="*/ 16 w 17"/>
                      <a:gd name="T5" fmla="*/ 0 h 17"/>
                      <a:gd name="T6" fmla="*/ 1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7"/>
                        </a:lnTo>
                        <a:lnTo>
                          <a:pt x="16" y="0"/>
                        </a:lnTo>
                        <a:lnTo>
                          <a:pt x="10" y="0"/>
                        </a:lnTo>
                        <a:lnTo>
                          <a:pt x="0" y="16"/>
                        </a:lnTo>
                      </a:path>
                    </a:pathLst>
                  </a:custGeom>
                  <a:grpFill/>
                  <a:ln w="3175" cap="rnd" cmpd="sng">
                    <a:solidFill>
                      <a:schemeClr val="bg1"/>
                    </a:solidFill>
                    <a:prstDash val="solid"/>
                    <a:round/>
                    <a:headEnd type="none" w="sm" len="sm"/>
                    <a:tailEnd type="none" w="sm" len="sm"/>
                  </a:ln>
                  <a:effectLst/>
                </p:spPr>
                <p:txBody>
                  <a:bodyPr/>
                  <a:lstStyle/>
                  <a:p>
                    <a:endParaRPr lang="en-US"/>
                  </a:p>
                </p:txBody>
              </p:sp>
              <p:sp>
                <p:nvSpPr>
                  <p:cNvPr id="1744" name="Freeform 255">
                    <a:extLst>
                      <a:ext uri="{FF2B5EF4-FFF2-40B4-BE49-F238E27FC236}">
                        <a16:creationId xmlns:a16="http://schemas.microsoft.com/office/drawing/2014/main" id="{43421410-67E0-A9EE-D1C4-19B92F074DC7}"/>
                      </a:ext>
                    </a:extLst>
                  </p:cNvPr>
                  <p:cNvSpPr>
                    <a:spLocks/>
                  </p:cNvSpPr>
                  <p:nvPr/>
                </p:nvSpPr>
                <p:spPr bwMode="gray">
                  <a:xfrm>
                    <a:off x="7605647" y="3794257"/>
                    <a:ext cx="51487" cy="259686"/>
                  </a:xfrm>
                  <a:custGeom>
                    <a:avLst/>
                    <a:gdLst>
                      <a:gd name="T0" fmla="*/ 0 w 34"/>
                      <a:gd name="T1" fmla="*/ 18 h 172"/>
                      <a:gd name="T2" fmla="*/ 0 w 34"/>
                      <a:gd name="T3" fmla="*/ 59 h 172"/>
                      <a:gd name="T4" fmla="*/ 8 w 34"/>
                      <a:gd name="T5" fmla="*/ 65 h 172"/>
                      <a:gd name="T6" fmla="*/ 0 w 34"/>
                      <a:gd name="T7" fmla="*/ 115 h 172"/>
                      <a:gd name="T8" fmla="*/ 8 w 34"/>
                      <a:gd name="T9" fmla="*/ 131 h 172"/>
                      <a:gd name="T10" fmla="*/ 0 w 34"/>
                      <a:gd name="T11" fmla="*/ 155 h 172"/>
                      <a:gd name="T12" fmla="*/ 8 w 34"/>
                      <a:gd name="T13" fmla="*/ 171 h 172"/>
                      <a:gd name="T14" fmla="*/ 8 w 34"/>
                      <a:gd name="T15" fmla="*/ 155 h 172"/>
                      <a:gd name="T16" fmla="*/ 25 w 34"/>
                      <a:gd name="T17" fmla="*/ 162 h 172"/>
                      <a:gd name="T18" fmla="*/ 25 w 34"/>
                      <a:gd name="T19" fmla="*/ 155 h 172"/>
                      <a:gd name="T20" fmla="*/ 8 w 34"/>
                      <a:gd name="T21" fmla="*/ 131 h 172"/>
                      <a:gd name="T22" fmla="*/ 16 w 34"/>
                      <a:gd name="T23" fmla="*/ 107 h 172"/>
                      <a:gd name="T24" fmla="*/ 25 w 34"/>
                      <a:gd name="T25" fmla="*/ 107 h 172"/>
                      <a:gd name="T26" fmla="*/ 33 w 34"/>
                      <a:gd name="T27" fmla="*/ 107 h 172"/>
                      <a:gd name="T28" fmla="*/ 16 w 34"/>
                      <a:gd name="T29" fmla="*/ 50 h 172"/>
                      <a:gd name="T30" fmla="*/ 16 w 34"/>
                      <a:gd name="T31" fmla="*/ 10 h 172"/>
                      <a:gd name="T32" fmla="*/ 16 w 34"/>
                      <a:gd name="T33" fmla="*/ 0 h 172"/>
                      <a:gd name="T34" fmla="*/ 8 w 34"/>
                      <a:gd name="T35" fmla="*/ 0 h 172"/>
                      <a:gd name="T36" fmla="*/ 8 w 34"/>
                      <a:gd name="T37" fmla="*/ 10 h 172"/>
                      <a:gd name="T38" fmla="*/ 0 w 34"/>
                      <a:gd name="T39" fmla="*/ 1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grpFill/>
                  <a:ln w="3175" cap="rnd" cmpd="sng">
                    <a:solidFill>
                      <a:schemeClr val="bg1"/>
                    </a:solidFill>
                    <a:prstDash val="solid"/>
                    <a:round/>
                    <a:headEnd/>
                    <a:tailEnd/>
                  </a:ln>
                  <a:effectLst/>
                </p:spPr>
                <p:txBody>
                  <a:bodyPr/>
                  <a:lstStyle/>
                  <a:p>
                    <a:endParaRPr lang="en-US"/>
                  </a:p>
                </p:txBody>
              </p:sp>
              <p:sp>
                <p:nvSpPr>
                  <p:cNvPr id="1745" name="Freeform 275">
                    <a:extLst>
                      <a:ext uri="{FF2B5EF4-FFF2-40B4-BE49-F238E27FC236}">
                        <a16:creationId xmlns:a16="http://schemas.microsoft.com/office/drawing/2014/main" id="{94F3B46F-222E-3D72-8F4B-D3A512F34E7B}"/>
                      </a:ext>
                    </a:extLst>
                  </p:cNvPr>
                  <p:cNvSpPr>
                    <a:spLocks/>
                  </p:cNvSpPr>
                  <p:nvPr/>
                </p:nvSpPr>
                <p:spPr bwMode="gray">
                  <a:xfrm>
                    <a:off x="7043153" y="5253565"/>
                    <a:ext cx="801909" cy="614378"/>
                  </a:xfrm>
                  <a:custGeom>
                    <a:avLst/>
                    <a:gdLst>
                      <a:gd name="T0" fmla="*/ 48 w 521"/>
                      <a:gd name="T1" fmla="*/ 342 h 406"/>
                      <a:gd name="T2" fmla="*/ 89 w 521"/>
                      <a:gd name="T3" fmla="*/ 317 h 406"/>
                      <a:gd name="T4" fmla="*/ 138 w 521"/>
                      <a:gd name="T5" fmla="*/ 308 h 406"/>
                      <a:gd name="T6" fmla="*/ 234 w 521"/>
                      <a:gd name="T7" fmla="*/ 283 h 406"/>
                      <a:gd name="T8" fmla="*/ 268 w 521"/>
                      <a:gd name="T9" fmla="*/ 308 h 406"/>
                      <a:gd name="T10" fmla="*/ 293 w 521"/>
                      <a:gd name="T11" fmla="*/ 342 h 406"/>
                      <a:gd name="T12" fmla="*/ 316 w 521"/>
                      <a:gd name="T13" fmla="*/ 317 h 406"/>
                      <a:gd name="T14" fmla="*/ 316 w 521"/>
                      <a:gd name="T15" fmla="*/ 342 h 406"/>
                      <a:gd name="T16" fmla="*/ 325 w 521"/>
                      <a:gd name="T17" fmla="*/ 342 h 406"/>
                      <a:gd name="T18" fmla="*/ 333 w 521"/>
                      <a:gd name="T19" fmla="*/ 348 h 406"/>
                      <a:gd name="T20" fmla="*/ 340 w 521"/>
                      <a:gd name="T21" fmla="*/ 373 h 406"/>
                      <a:gd name="T22" fmla="*/ 365 w 521"/>
                      <a:gd name="T23" fmla="*/ 389 h 406"/>
                      <a:gd name="T24" fmla="*/ 390 w 521"/>
                      <a:gd name="T25" fmla="*/ 398 h 406"/>
                      <a:gd name="T26" fmla="*/ 405 w 521"/>
                      <a:gd name="T27" fmla="*/ 389 h 406"/>
                      <a:gd name="T28" fmla="*/ 415 w 521"/>
                      <a:gd name="T29" fmla="*/ 398 h 406"/>
                      <a:gd name="T30" fmla="*/ 446 w 521"/>
                      <a:gd name="T31" fmla="*/ 382 h 406"/>
                      <a:gd name="T32" fmla="*/ 480 w 521"/>
                      <a:gd name="T33" fmla="*/ 348 h 406"/>
                      <a:gd name="T34" fmla="*/ 520 w 521"/>
                      <a:gd name="T35" fmla="*/ 243 h 406"/>
                      <a:gd name="T36" fmla="*/ 495 w 521"/>
                      <a:gd name="T37" fmla="*/ 180 h 406"/>
                      <a:gd name="T38" fmla="*/ 480 w 521"/>
                      <a:gd name="T39" fmla="*/ 156 h 406"/>
                      <a:gd name="T40" fmla="*/ 470 w 521"/>
                      <a:gd name="T41" fmla="*/ 156 h 406"/>
                      <a:gd name="T42" fmla="*/ 430 w 521"/>
                      <a:gd name="T43" fmla="*/ 106 h 406"/>
                      <a:gd name="T44" fmla="*/ 415 w 521"/>
                      <a:gd name="T45" fmla="*/ 74 h 406"/>
                      <a:gd name="T46" fmla="*/ 405 w 521"/>
                      <a:gd name="T47" fmla="*/ 49 h 406"/>
                      <a:gd name="T48" fmla="*/ 381 w 521"/>
                      <a:gd name="T49" fmla="*/ 0 h 406"/>
                      <a:gd name="T50" fmla="*/ 365 w 521"/>
                      <a:gd name="T51" fmla="*/ 17 h 406"/>
                      <a:gd name="T52" fmla="*/ 358 w 521"/>
                      <a:gd name="T53" fmla="*/ 90 h 406"/>
                      <a:gd name="T54" fmla="*/ 308 w 521"/>
                      <a:gd name="T55" fmla="*/ 66 h 406"/>
                      <a:gd name="T56" fmla="*/ 300 w 521"/>
                      <a:gd name="T57" fmla="*/ 57 h 406"/>
                      <a:gd name="T58" fmla="*/ 293 w 521"/>
                      <a:gd name="T59" fmla="*/ 34 h 406"/>
                      <a:gd name="T60" fmla="*/ 308 w 521"/>
                      <a:gd name="T61" fmla="*/ 17 h 406"/>
                      <a:gd name="T62" fmla="*/ 293 w 521"/>
                      <a:gd name="T63" fmla="*/ 25 h 406"/>
                      <a:gd name="T64" fmla="*/ 284 w 521"/>
                      <a:gd name="T65" fmla="*/ 17 h 406"/>
                      <a:gd name="T66" fmla="*/ 253 w 521"/>
                      <a:gd name="T67" fmla="*/ 17 h 406"/>
                      <a:gd name="T68" fmla="*/ 228 w 521"/>
                      <a:gd name="T69" fmla="*/ 17 h 406"/>
                      <a:gd name="T70" fmla="*/ 219 w 521"/>
                      <a:gd name="T71" fmla="*/ 34 h 406"/>
                      <a:gd name="T72" fmla="*/ 212 w 521"/>
                      <a:gd name="T73" fmla="*/ 49 h 406"/>
                      <a:gd name="T74" fmla="*/ 194 w 521"/>
                      <a:gd name="T75" fmla="*/ 49 h 406"/>
                      <a:gd name="T76" fmla="*/ 194 w 521"/>
                      <a:gd name="T77" fmla="*/ 49 h 406"/>
                      <a:gd name="T78" fmla="*/ 179 w 521"/>
                      <a:gd name="T79" fmla="*/ 41 h 406"/>
                      <a:gd name="T80" fmla="*/ 154 w 521"/>
                      <a:gd name="T81" fmla="*/ 49 h 406"/>
                      <a:gd name="T82" fmla="*/ 138 w 521"/>
                      <a:gd name="T83" fmla="*/ 74 h 406"/>
                      <a:gd name="T84" fmla="*/ 138 w 521"/>
                      <a:gd name="T85" fmla="*/ 81 h 406"/>
                      <a:gd name="T86" fmla="*/ 129 w 521"/>
                      <a:gd name="T87" fmla="*/ 74 h 406"/>
                      <a:gd name="T88" fmla="*/ 122 w 521"/>
                      <a:gd name="T89" fmla="*/ 97 h 406"/>
                      <a:gd name="T90" fmla="*/ 41 w 521"/>
                      <a:gd name="T91" fmla="*/ 131 h 406"/>
                      <a:gd name="T92" fmla="*/ 8 w 521"/>
                      <a:gd name="T93" fmla="*/ 146 h 406"/>
                      <a:gd name="T94" fmla="*/ 8 w 521"/>
                      <a:gd name="T95" fmla="*/ 171 h 406"/>
                      <a:gd name="T96" fmla="*/ 17 w 521"/>
                      <a:gd name="T97" fmla="*/ 211 h 406"/>
                      <a:gd name="T98" fmla="*/ 8 w 521"/>
                      <a:gd name="T99" fmla="*/ 211 h 406"/>
                      <a:gd name="T100" fmla="*/ 23 w 521"/>
                      <a:gd name="T101" fmla="*/ 251 h 406"/>
                      <a:gd name="T102" fmla="*/ 32 w 521"/>
                      <a:gd name="T103" fmla="*/ 308 h 406"/>
                      <a:gd name="T104" fmla="*/ 23 w 521"/>
                      <a:gd name="T105" fmla="*/ 324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46" name="Freeform 276">
                    <a:extLst>
                      <a:ext uri="{FF2B5EF4-FFF2-40B4-BE49-F238E27FC236}">
                        <a16:creationId xmlns:a16="http://schemas.microsoft.com/office/drawing/2014/main" id="{32AA06D2-37DF-A7C1-935D-2A5B1F58FD7B}"/>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47" name="Freeform 277">
                    <a:extLst>
                      <a:ext uri="{FF2B5EF4-FFF2-40B4-BE49-F238E27FC236}">
                        <a16:creationId xmlns:a16="http://schemas.microsoft.com/office/drawing/2014/main" id="{8352B786-135E-3630-EDFB-B63B05BEC471}"/>
                      </a:ext>
                    </a:extLst>
                  </p:cNvPr>
                  <p:cNvSpPr>
                    <a:spLocks/>
                  </p:cNvSpPr>
                  <p:nvPr/>
                </p:nvSpPr>
                <p:spPr bwMode="gray">
                  <a:xfrm>
                    <a:off x="7380393" y="5267498"/>
                    <a:ext cx="25743" cy="25335"/>
                  </a:xfrm>
                  <a:custGeom>
                    <a:avLst/>
                    <a:gdLst>
                      <a:gd name="T0" fmla="*/ 0 w 17"/>
                      <a:gd name="T1" fmla="*/ 16 h 17"/>
                      <a:gd name="T2" fmla="*/ 9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9" y="16"/>
                        </a:lnTo>
                        <a:lnTo>
                          <a:pt x="16" y="0"/>
                        </a:lnTo>
                        <a:lnTo>
                          <a:pt x="0" y="0"/>
                        </a:lnTo>
                        <a:lnTo>
                          <a:pt x="0" y="1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48" name="Freeform 278">
                    <a:extLst>
                      <a:ext uri="{FF2B5EF4-FFF2-40B4-BE49-F238E27FC236}">
                        <a16:creationId xmlns:a16="http://schemas.microsoft.com/office/drawing/2014/main" id="{BABF0985-9486-8C16-4B96-4B6D6C369034}"/>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49" name="Freeform 279">
                    <a:extLst>
                      <a:ext uri="{FF2B5EF4-FFF2-40B4-BE49-F238E27FC236}">
                        <a16:creationId xmlns:a16="http://schemas.microsoft.com/office/drawing/2014/main" id="{9D2F3B65-7C65-64D2-EF51-F1DC8A40D1DA}"/>
                      </a:ext>
                    </a:extLst>
                  </p:cNvPr>
                  <p:cNvSpPr>
                    <a:spLocks/>
                  </p:cNvSpPr>
                  <p:nvPr/>
                </p:nvSpPr>
                <p:spPr bwMode="gray">
                  <a:xfrm>
                    <a:off x="7505248" y="5780536"/>
                    <a:ext cx="25743" cy="25335"/>
                  </a:xfrm>
                  <a:custGeom>
                    <a:avLst/>
                    <a:gdLst>
                      <a:gd name="T0" fmla="*/ 0 w 17"/>
                      <a:gd name="T1" fmla="*/ 0 h 17"/>
                      <a:gd name="T2" fmla="*/ 16 w 17"/>
                      <a:gd name="T3" fmla="*/ 16 h 17"/>
                      <a:gd name="T4" fmla="*/ 16 w 17"/>
                      <a:gd name="T5" fmla="*/ 0 h 17"/>
                      <a:gd name="T6" fmla="*/ 8 w 17"/>
                      <a:gd name="T7" fmla="*/ 0 h 17"/>
                      <a:gd name="T8" fmla="*/ 0 w 17"/>
                      <a:gd name="T9" fmla="*/ 0 h 17"/>
                    </a:gdLst>
                    <a:ahLst/>
                    <a:cxnLst>
                      <a:cxn ang="0">
                        <a:pos x="T0" y="T1"/>
                      </a:cxn>
                      <a:cxn ang="0">
                        <a:pos x="T2" y="T3"/>
                      </a:cxn>
                      <a:cxn ang="0">
                        <a:pos x="T4" y="T5"/>
                      </a:cxn>
                      <a:cxn ang="0">
                        <a:pos x="T6" y="T7"/>
                      </a:cxn>
                      <a:cxn ang="0">
                        <a:pos x="T8" y="T9"/>
                      </a:cxn>
                    </a:cxnLst>
                    <a:rect l="0" t="0" r="r" b="b"/>
                    <a:pathLst>
                      <a:path w="17" h="17">
                        <a:moveTo>
                          <a:pt x="0" y="0"/>
                        </a:moveTo>
                        <a:lnTo>
                          <a:pt x="16" y="16"/>
                        </a:lnTo>
                        <a:lnTo>
                          <a:pt x="16" y="0"/>
                        </a:lnTo>
                        <a:lnTo>
                          <a:pt x="8" y="0"/>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0" name="Freeform 280">
                    <a:extLst>
                      <a:ext uri="{FF2B5EF4-FFF2-40B4-BE49-F238E27FC236}">
                        <a16:creationId xmlns:a16="http://schemas.microsoft.com/office/drawing/2014/main" id="{6B04D0F0-4EDC-226E-27DB-426058CB687E}"/>
                      </a:ext>
                    </a:extLst>
                  </p:cNvPr>
                  <p:cNvSpPr>
                    <a:spLocks/>
                  </p:cNvSpPr>
                  <p:nvPr/>
                </p:nvSpPr>
                <p:spPr bwMode="gray">
                  <a:xfrm>
                    <a:off x="7667432" y="5904678"/>
                    <a:ext cx="77230" cy="76006"/>
                  </a:xfrm>
                  <a:custGeom>
                    <a:avLst/>
                    <a:gdLst>
                      <a:gd name="T0" fmla="*/ 0 w 51"/>
                      <a:gd name="T1" fmla="*/ 0 h 50"/>
                      <a:gd name="T2" fmla="*/ 10 w 51"/>
                      <a:gd name="T3" fmla="*/ 40 h 50"/>
                      <a:gd name="T4" fmla="*/ 25 w 51"/>
                      <a:gd name="T5" fmla="*/ 49 h 50"/>
                      <a:gd name="T6" fmla="*/ 34 w 51"/>
                      <a:gd name="T7" fmla="*/ 33 h 50"/>
                      <a:gd name="T8" fmla="*/ 41 w 51"/>
                      <a:gd name="T9" fmla="*/ 40 h 50"/>
                      <a:gd name="T10" fmla="*/ 50 w 51"/>
                      <a:gd name="T11" fmla="*/ 0 h 50"/>
                      <a:gd name="T12" fmla="*/ 41 w 51"/>
                      <a:gd name="T13" fmla="*/ 0 h 50"/>
                      <a:gd name="T14" fmla="*/ 16 w 51"/>
                      <a:gd name="T15" fmla="*/ 8 h 50"/>
                      <a:gd name="T16" fmla="*/ 0 w 51"/>
                      <a:gd name="T1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0">
                        <a:moveTo>
                          <a:pt x="0" y="0"/>
                        </a:moveTo>
                        <a:lnTo>
                          <a:pt x="10" y="40"/>
                        </a:lnTo>
                        <a:lnTo>
                          <a:pt x="25" y="49"/>
                        </a:lnTo>
                        <a:lnTo>
                          <a:pt x="34" y="33"/>
                        </a:lnTo>
                        <a:lnTo>
                          <a:pt x="41" y="40"/>
                        </a:lnTo>
                        <a:lnTo>
                          <a:pt x="50" y="0"/>
                        </a:lnTo>
                        <a:lnTo>
                          <a:pt x="41" y="0"/>
                        </a:lnTo>
                        <a:lnTo>
                          <a:pt x="16" y="8"/>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1" name="Freeform 281">
                    <a:extLst>
                      <a:ext uri="{FF2B5EF4-FFF2-40B4-BE49-F238E27FC236}">
                        <a16:creationId xmlns:a16="http://schemas.microsoft.com/office/drawing/2014/main" id="{1E21706E-39AD-8315-4733-2681BC9E9FB2}"/>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2" name="Freeform 282">
                    <a:extLst>
                      <a:ext uri="{FF2B5EF4-FFF2-40B4-BE49-F238E27FC236}">
                        <a16:creationId xmlns:a16="http://schemas.microsoft.com/office/drawing/2014/main" id="{AD650AA4-B4CF-D028-4D54-BB74A28911E8}"/>
                      </a:ext>
                    </a:extLst>
                  </p:cNvPr>
                  <p:cNvSpPr>
                    <a:spLocks/>
                  </p:cNvSpPr>
                  <p:nvPr/>
                </p:nvSpPr>
                <p:spPr bwMode="gray">
                  <a:xfrm>
                    <a:off x="8217055" y="5757734"/>
                    <a:ext cx="113271" cy="173546"/>
                  </a:xfrm>
                  <a:custGeom>
                    <a:avLst/>
                    <a:gdLst>
                      <a:gd name="T0" fmla="*/ 16 w 73"/>
                      <a:gd name="T1" fmla="*/ 72 h 115"/>
                      <a:gd name="T2" fmla="*/ 31 w 73"/>
                      <a:gd name="T3" fmla="*/ 80 h 115"/>
                      <a:gd name="T4" fmla="*/ 25 w 73"/>
                      <a:gd name="T5" fmla="*/ 105 h 115"/>
                      <a:gd name="T6" fmla="*/ 31 w 73"/>
                      <a:gd name="T7" fmla="*/ 114 h 115"/>
                      <a:gd name="T8" fmla="*/ 40 w 73"/>
                      <a:gd name="T9" fmla="*/ 105 h 115"/>
                      <a:gd name="T10" fmla="*/ 56 w 73"/>
                      <a:gd name="T11" fmla="*/ 72 h 115"/>
                      <a:gd name="T12" fmla="*/ 65 w 73"/>
                      <a:gd name="T13" fmla="*/ 72 h 115"/>
                      <a:gd name="T14" fmla="*/ 72 w 73"/>
                      <a:gd name="T15" fmla="*/ 65 h 115"/>
                      <a:gd name="T16" fmla="*/ 72 w 73"/>
                      <a:gd name="T17" fmla="*/ 49 h 115"/>
                      <a:gd name="T18" fmla="*/ 65 w 73"/>
                      <a:gd name="T19" fmla="*/ 40 h 115"/>
                      <a:gd name="T20" fmla="*/ 56 w 73"/>
                      <a:gd name="T21" fmla="*/ 49 h 115"/>
                      <a:gd name="T22" fmla="*/ 40 w 73"/>
                      <a:gd name="T23" fmla="*/ 49 h 115"/>
                      <a:gd name="T24" fmla="*/ 40 w 73"/>
                      <a:gd name="T25" fmla="*/ 32 h 115"/>
                      <a:gd name="T26" fmla="*/ 31 w 73"/>
                      <a:gd name="T27" fmla="*/ 32 h 115"/>
                      <a:gd name="T28" fmla="*/ 31 w 73"/>
                      <a:gd name="T29" fmla="*/ 40 h 115"/>
                      <a:gd name="T30" fmla="*/ 25 w 73"/>
                      <a:gd name="T31" fmla="*/ 32 h 115"/>
                      <a:gd name="T32" fmla="*/ 25 w 73"/>
                      <a:gd name="T33" fmla="*/ 9 h 115"/>
                      <a:gd name="T34" fmla="*/ 0 w 73"/>
                      <a:gd name="T35" fmla="*/ 0 h 115"/>
                      <a:gd name="T36" fmla="*/ 25 w 73"/>
                      <a:gd name="T37" fmla="*/ 32 h 115"/>
                      <a:gd name="T38" fmla="*/ 25 w 73"/>
                      <a:gd name="T39" fmla="*/ 65 h 115"/>
                      <a:gd name="T40" fmla="*/ 16 w 73"/>
                      <a:gd name="T41" fmla="*/ 72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3" name="Freeform 283">
                    <a:extLst>
                      <a:ext uri="{FF2B5EF4-FFF2-40B4-BE49-F238E27FC236}">
                        <a16:creationId xmlns:a16="http://schemas.microsoft.com/office/drawing/2014/main" id="{74A513D2-E717-DDA8-FCF3-2D9D0FAFC07D}"/>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4" name="Freeform 284">
                    <a:extLst>
                      <a:ext uri="{FF2B5EF4-FFF2-40B4-BE49-F238E27FC236}">
                        <a16:creationId xmlns:a16="http://schemas.microsoft.com/office/drawing/2014/main" id="{08B449A5-6E67-2B20-A359-9AE807CB2E21}"/>
                      </a:ext>
                    </a:extLst>
                  </p:cNvPr>
                  <p:cNvSpPr>
                    <a:spLocks/>
                  </p:cNvSpPr>
                  <p:nvPr/>
                </p:nvSpPr>
                <p:spPr bwMode="gray">
                  <a:xfrm>
                    <a:off x="8093487" y="5904678"/>
                    <a:ext cx="164758" cy="160879"/>
                  </a:xfrm>
                  <a:custGeom>
                    <a:avLst/>
                    <a:gdLst>
                      <a:gd name="T0" fmla="*/ 0 w 107"/>
                      <a:gd name="T1" fmla="*/ 89 h 106"/>
                      <a:gd name="T2" fmla="*/ 9 w 107"/>
                      <a:gd name="T3" fmla="*/ 97 h 106"/>
                      <a:gd name="T4" fmla="*/ 15 w 107"/>
                      <a:gd name="T5" fmla="*/ 97 h 106"/>
                      <a:gd name="T6" fmla="*/ 32 w 107"/>
                      <a:gd name="T7" fmla="*/ 105 h 106"/>
                      <a:gd name="T8" fmla="*/ 49 w 107"/>
                      <a:gd name="T9" fmla="*/ 97 h 106"/>
                      <a:gd name="T10" fmla="*/ 56 w 107"/>
                      <a:gd name="T11" fmla="*/ 80 h 106"/>
                      <a:gd name="T12" fmla="*/ 65 w 107"/>
                      <a:gd name="T13" fmla="*/ 65 h 106"/>
                      <a:gd name="T14" fmla="*/ 81 w 107"/>
                      <a:gd name="T15" fmla="*/ 49 h 106"/>
                      <a:gd name="T16" fmla="*/ 89 w 107"/>
                      <a:gd name="T17" fmla="*/ 49 h 106"/>
                      <a:gd name="T18" fmla="*/ 81 w 107"/>
                      <a:gd name="T19" fmla="*/ 40 h 106"/>
                      <a:gd name="T20" fmla="*/ 106 w 107"/>
                      <a:gd name="T21" fmla="*/ 17 h 106"/>
                      <a:gd name="T22" fmla="*/ 106 w 107"/>
                      <a:gd name="T23" fmla="*/ 8 h 106"/>
                      <a:gd name="T24" fmla="*/ 97 w 107"/>
                      <a:gd name="T25" fmla="*/ 8 h 106"/>
                      <a:gd name="T26" fmla="*/ 97 w 107"/>
                      <a:gd name="T27" fmla="*/ 0 h 106"/>
                      <a:gd name="T28" fmla="*/ 89 w 107"/>
                      <a:gd name="T29" fmla="*/ 8 h 106"/>
                      <a:gd name="T30" fmla="*/ 89 w 107"/>
                      <a:gd name="T31" fmla="*/ 0 h 106"/>
                      <a:gd name="T32" fmla="*/ 81 w 107"/>
                      <a:gd name="T33" fmla="*/ 0 h 106"/>
                      <a:gd name="T34" fmla="*/ 72 w 107"/>
                      <a:gd name="T35" fmla="*/ 0 h 106"/>
                      <a:gd name="T36" fmla="*/ 72 w 107"/>
                      <a:gd name="T37" fmla="*/ 17 h 106"/>
                      <a:gd name="T38" fmla="*/ 65 w 107"/>
                      <a:gd name="T39" fmla="*/ 17 h 106"/>
                      <a:gd name="T40" fmla="*/ 56 w 107"/>
                      <a:gd name="T41" fmla="*/ 33 h 106"/>
                      <a:gd name="T42" fmla="*/ 24 w 107"/>
                      <a:gd name="T43" fmla="*/ 55 h 106"/>
                      <a:gd name="T44" fmla="*/ 0 w 107"/>
                      <a:gd name="T45" fmla="*/ 8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5" name="Freeform 285">
                    <a:extLst>
                      <a:ext uri="{FF2B5EF4-FFF2-40B4-BE49-F238E27FC236}">
                        <a16:creationId xmlns:a16="http://schemas.microsoft.com/office/drawing/2014/main" id="{EF4679AF-F114-DE13-1590-6BCE69F8FBBC}"/>
                      </a:ext>
                    </a:extLst>
                  </p:cNvPr>
                  <p:cNvSpPr>
                    <a:spLocks/>
                  </p:cNvSpPr>
                  <p:nvPr/>
                </p:nvSpPr>
                <p:spPr bwMode="gray">
                  <a:xfrm>
                    <a:off x="6693041" y="4936874"/>
                    <a:ext cx="214958" cy="219149"/>
                  </a:xfrm>
                  <a:custGeom>
                    <a:avLst/>
                    <a:gdLst>
                      <a:gd name="T0" fmla="*/ 0 w 140"/>
                      <a:gd name="T1" fmla="*/ 0 h 145"/>
                      <a:gd name="T2" fmla="*/ 0 w 140"/>
                      <a:gd name="T3" fmla="*/ 7 h 145"/>
                      <a:gd name="T4" fmla="*/ 18 w 140"/>
                      <a:gd name="T5" fmla="*/ 23 h 145"/>
                      <a:gd name="T6" fmla="*/ 33 w 140"/>
                      <a:gd name="T7" fmla="*/ 41 h 145"/>
                      <a:gd name="T8" fmla="*/ 42 w 140"/>
                      <a:gd name="T9" fmla="*/ 47 h 145"/>
                      <a:gd name="T10" fmla="*/ 49 w 140"/>
                      <a:gd name="T11" fmla="*/ 64 h 145"/>
                      <a:gd name="T12" fmla="*/ 65 w 140"/>
                      <a:gd name="T13" fmla="*/ 81 h 145"/>
                      <a:gd name="T14" fmla="*/ 83 w 140"/>
                      <a:gd name="T15" fmla="*/ 113 h 145"/>
                      <a:gd name="T16" fmla="*/ 114 w 140"/>
                      <a:gd name="T17" fmla="*/ 144 h 145"/>
                      <a:gd name="T18" fmla="*/ 130 w 140"/>
                      <a:gd name="T19" fmla="*/ 144 h 145"/>
                      <a:gd name="T20" fmla="*/ 139 w 140"/>
                      <a:gd name="T21" fmla="*/ 113 h 145"/>
                      <a:gd name="T22" fmla="*/ 130 w 140"/>
                      <a:gd name="T23" fmla="*/ 97 h 145"/>
                      <a:gd name="T24" fmla="*/ 123 w 140"/>
                      <a:gd name="T25" fmla="*/ 97 h 145"/>
                      <a:gd name="T26" fmla="*/ 114 w 140"/>
                      <a:gd name="T27" fmla="*/ 81 h 145"/>
                      <a:gd name="T28" fmla="*/ 108 w 140"/>
                      <a:gd name="T29" fmla="*/ 81 h 145"/>
                      <a:gd name="T30" fmla="*/ 108 w 140"/>
                      <a:gd name="T31" fmla="*/ 72 h 145"/>
                      <a:gd name="T32" fmla="*/ 98 w 140"/>
                      <a:gd name="T33" fmla="*/ 64 h 145"/>
                      <a:gd name="T34" fmla="*/ 98 w 140"/>
                      <a:gd name="T35" fmla="*/ 56 h 145"/>
                      <a:gd name="T36" fmla="*/ 74 w 140"/>
                      <a:gd name="T37" fmla="*/ 41 h 145"/>
                      <a:gd name="T38" fmla="*/ 65 w 140"/>
                      <a:gd name="T39" fmla="*/ 41 h 145"/>
                      <a:gd name="T40" fmla="*/ 24 w 140"/>
                      <a:gd name="T41" fmla="*/ 7 h 145"/>
                      <a:gd name="T42" fmla="*/ 0 w 140"/>
                      <a:gd name="T43"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6" name="Freeform 286">
                    <a:extLst>
                      <a:ext uri="{FF2B5EF4-FFF2-40B4-BE49-F238E27FC236}">
                        <a16:creationId xmlns:a16="http://schemas.microsoft.com/office/drawing/2014/main" id="{6C663CBA-490F-C63F-AD08-137D96BBA387}"/>
                      </a:ext>
                    </a:extLst>
                  </p:cNvPr>
                  <p:cNvSpPr>
                    <a:spLocks/>
                  </p:cNvSpPr>
                  <p:nvPr/>
                </p:nvSpPr>
                <p:spPr bwMode="gray">
                  <a:xfrm>
                    <a:off x="6892554" y="5154757"/>
                    <a:ext cx="178917" cy="53203"/>
                  </a:xfrm>
                  <a:custGeom>
                    <a:avLst/>
                    <a:gdLst>
                      <a:gd name="T0" fmla="*/ 0 w 116"/>
                      <a:gd name="T1" fmla="*/ 9 h 35"/>
                      <a:gd name="T2" fmla="*/ 33 w 116"/>
                      <a:gd name="T3" fmla="*/ 25 h 35"/>
                      <a:gd name="T4" fmla="*/ 115 w 116"/>
                      <a:gd name="T5" fmla="*/ 34 h 35"/>
                      <a:gd name="T6" fmla="*/ 115 w 116"/>
                      <a:gd name="T7" fmla="*/ 25 h 35"/>
                      <a:gd name="T8" fmla="*/ 98 w 116"/>
                      <a:gd name="T9" fmla="*/ 25 h 35"/>
                      <a:gd name="T10" fmla="*/ 90 w 116"/>
                      <a:gd name="T11" fmla="*/ 17 h 35"/>
                      <a:gd name="T12" fmla="*/ 65 w 116"/>
                      <a:gd name="T13" fmla="*/ 9 h 35"/>
                      <a:gd name="T14" fmla="*/ 65 w 116"/>
                      <a:gd name="T15" fmla="*/ 17 h 35"/>
                      <a:gd name="T16" fmla="*/ 50 w 116"/>
                      <a:gd name="T17" fmla="*/ 9 h 35"/>
                      <a:gd name="T18" fmla="*/ 25 w 116"/>
                      <a:gd name="T19" fmla="*/ 0 h 35"/>
                      <a:gd name="T20" fmla="*/ 9 w 116"/>
                      <a:gd name="T21" fmla="*/ 0 h 35"/>
                      <a:gd name="T22" fmla="*/ 0 w 116"/>
                      <a:gd name="T23" fmla="*/ 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7" name="Freeform 287">
                    <a:extLst>
                      <a:ext uri="{FF2B5EF4-FFF2-40B4-BE49-F238E27FC236}">
                        <a16:creationId xmlns:a16="http://schemas.microsoft.com/office/drawing/2014/main" id="{0AB26C3C-56A8-092C-900B-063C112270D4}"/>
                      </a:ext>
                    </a:extLst>
                  </p:cNvPr>
                  <p:cNvSpPr>
                    <a:spLocks/>
                  </p:cNvSpPr>
                  <p:nvPr/>
                </p:nvSpPr>
                <p:spPr bwMode="gray">
                  <a:xfrm>
                    <a:off x="7070184" y="5206694"/>
                    <a:ext cx="25743" cy="1267"/>
                  </a:xfrm>
                  <a:custGeom>
                    <a:avLst/>
                    <a:gdLst>
                      <a:gd name="T0" fmla="*/ 0 w 17"/>
                      <a:gd name="T1" fmla="*/ 0 h 1"/>
                      <a:gd name="T2" fmla="*/ 6 w 17"/>
                      <a:gd name="T3" fmla="*/ 0 h 1"/>
                      <a:gd name="T4" fmla="*/ 16 w 17"/>
                      <a:gd name="T5" fmla="*/ 0 h 1"/>
                      <a:gd name="T6" fmla="*/ 0 w 17"/>
                      <a:gd name="T7" fmla="*/ 0 h 1"/>
                    </a:gdLst>
                    <a:ahLst/>
                    <a:cxnLst>
                      <a:cxn ang="0">
                        <a:pos x="T0" y="T1"/>
                      </a:cxn>
                      <a:cxn ang="0">
                        <a:pos x="T2" y="T3"/>
                      </a:cxn>
                      <a:cxn ang="0">
                        <a:pos x="T4" y="T5"/>
                      </a:cxn>
                      <a:cxn ang="0">
                        <a:pos x="T6" y="T7"/>
                      </a:cxn>
                    </a:cxnLst>
                    <a:rect l="0" t="0" r="r" b="b"/>
                    <a:pathLst>
                      <a:path w="17" h="1">
                        <a:moveTo>
                          <a:pt x="0" y="0"/>
                        </a:moveTo>
                        <a:lnTo>
                          <a:pt x="6" y="0"/>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8" name="Freeform 288">
                    <a:extLst>
                      <a:ext uri="{FF2B5EF4-FFF2-40B4-BE49-F238E27FC236}">
                        <a16:creationId xmlns:a16="http://schemas.microsoft.com/office/drawing/2014/main" id="{59FC78D8-580E-B603-2D48-38E046C9AA89}"/>
                      </a:ext>
                    </a:extLst>
                  </p:cNvPr>
                  <p:cNvSpPr>
                    <a:spLocks/>
                  </p:cNvSpPr>
                  <p:nvPr/>
                </p:nvSpPr>
                <p:spPr bwMode="gray">
                  <a:xfrm>
                    <a:off x="7106225" y="5206694"/>
                    <a:ext cx="151886" cy="25335"/>
                  </a:xfrm>
                  <a:custGeom>
                    <a:avLst/>
                    <a:gdLst>
                      <a:gd name="T0" fmla="*/ 0 w 98"/>
                      <a:gd name="T1" fmla="*/ 16 h 17"/>
                      <a:gd name="T2" fmla="*/ 7 w 98"/>
                      <a:gd name="T3" fmla="*/ 16 h 17"/>
                      <a:gd name="T4" fmla="*/ 41 w 98"/>
                      <a:gd name="T5" fmla="*/ 0 h 17"/>
                      <a:gd name="T6" fmla="*/ 73 w 98"/>
                      <a:gd name="T7" fmla="*/ 16 h 17"/>
                      <a:gd name="T8" fmla="*/ 97 w 98"/>
                      <a:gd name="T9" fmla="*/ 0 h 17"/>
                      <a:gd name="T10" fmla="*/ 81 w 98"/>
                      <a:gd name="T11" fmla="*/ 0 h 17"/>
                      <a:gd name="T12" fmla="*/ 56 w 98"/>
                      <a:gd name="T13" fmla="*/ 0 h 17"/>
                      <a:gd name="T14" fmla="*/ 41 w 98"/>
                      <a:gd name="T15" fmla="*/ 0 h 17"/>
                      <a:gd name="T16" fmla="*/ 16 w 98"/>
                      <a:gd name="T17" fmla="*/ 0 h 17"/>
                      <a:gd name="T18" fmla="*/ 23 w 98"/>
                      <a:gd name="T19" fmla="*/ 0 h 17"/>
                      <a:gd name="T20" fmla="*/ 0 w 98"/>
                      <a:gd name="T21" fmla="*/ 0 h 17"/>
                      <a:gd name="T22" fmla="*/ 0 w 98"/>
                      <a:gd name="T23"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59" name="Freeform 289">
                    <a:extLst>
                      <a:ext uri="{FF2B5EF4-FFF2-40B4-BE49-F238E27FC236}">
                        <a16:creationId xmlns:a16="http://schemas.microsoft.com/office/drawing/2014/main" id="{D4005AEF-CEAB-5F88-A68B-63C89E1D23F9}"/>
                      </a:ext>
                    </a:extLst>
                  </p:cNvPr>
                  <p:cNvSpPr>
                    <a:spLocks/>
                  </p:cNvSpPr>
                  <p:nvPr/>
                </p:nvSpPr>
                <p:spPr bwMode="gray">
                  <a:xfrm>
                    <a:off x="7153850" y="5230763"/>
                    <a:ext cx="41189" cy="25335"/>
                  </a:xfrm>
                  <a:custGeom>
                    <a:avLst/>
                    <a:gdLst>
                      <a:gd name="T0" fmla="*/ 0 w 26"/>
                      <a:gd name="T1" fmla="*/ 0 h 17"/>
                      <a:gd name="T2" fmla="*/ 17 w 26"/>
                      <a:gd name="T3" fmla="*/ 16 h 17"/>
                      <a:gd name="T4" fmla="*/ 25 w 26"/>
                      <a:gd name="T5" fmla="*/ 16 h 17"/>
                      <a:gd name="T6" fmla="*/ 17 w 26"/>
                      <a:gd name="T7" fmla="*/ 0 h 17"/>
                      <a:gd name="T8" fmla="*/ 0 w 26"/>
                      <a:gd name="T9" fmla="*/ 0 h 17"/>
                    </a:gdLst>
                    <a:ahLst/>
                    <a:cxnLst>
                      <a:cxn ang="0">
                        <a:pos x="T0" y="T1"/>
                      </a:cxn>
                      <a:cxn ang="0">
                        <a:pos x="T2" y="T3"/>
                      </a:cxn>
                      <a:cxn ang="0">
                        <a:pos x="T4" y="T5"/>
                      </a:cxn>
                      <a:cxn ang="0">
                        <a:pos x="T6" y="T7"/>
                      </a:cxn>
                      <a:cxn ang="0">
                        <a:pos x="T8" y="T9"/>
                      </a:cxn>
                    </a:cxnLst>
                    <a:rect l="0" t="0" r="r" b="b"/>
                    <a:pathLst>
                      <a:path w="26" h="17">
                        <a:moveTo>
                          <a:pt x="0" y="0"/>
                        </a:moveTo>
                        <a:lnTo>
                          <a:pt x="17" y="16"/>
                        </a:lnTo>
                        <a:lnTo>
                          <a:pt x="25" y="16"/>
                        </a:lnTo>
                        <a:lnTo>
                          <a:pt x="17"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0" name="Freeform 290">
                    <a:extLst>
                      <a:ext uri="{FF2B5EF4-FFF2-40B4-BE49-F238E27FC236}">
                        <a16:creationId xmlns:a16="http://schemas.microsoft.com/office/drawing/2014/main" id="{6BBA7B20-F627-782E-EFDD-548B227C2DB3}"/>
                      </a:ext>
                    </a:extLst>
                  </p:cNvPr>
                  <p:cNvSpPr>
                    <a:spLocks/>
                  </p:cNvSpPr>
                  <p:nvPr/>
                </p:nvSpPr>
                <p:spPr bwMode="gray">
                  <a:xfrm>
                    <a:off x="7242665" y="5206694"/>
                    <a:ext cx="78517" cy="39270"/>
                  </a:xfrm>
                  <a:custGeom>
                    <a:avLst/>
                    <a:gdLst>
                      <a:gd name="T0" fmla="*/ 0 w 51"/>
                      <a:gd name="T1" fmla="*/ 25 h 26"/>
                      <a:gd name="T2" fmla="*/ 18 w 51"/>
                      <a:gd name="T3" fmla="*/ 25 h 26"/>
                      <a:gd name="T4" fmla="*/ 50 w 51"/>
                      <a:gd name="T5" fmla="*/ 0 h 26"/>
                      <a:gd name="T6" fmla="*/ 25 w 51"/>
                      <a:gd name="T7" fmla="*/ 0 h 26"/>
                      <a:gd name="T8" fmla="*/ 9 w 51"/>
                      <a:gd name="T9" fmla="*/ 16 h 26"/>
                      <a:gd name="T10" fmla="*/ 0 w 51"/>
                      <a:gd name="T11" fmla="*/ 25 h 26"/>
                    </a:gdLst>
                    <a:ahLst/>
                    <a:cxnLst>
                      <a:cxn ang="0">
                        <a:pos x="T0" y="T1"/>
                      </a:cxn>
                      <a:cxn ang="0">
                        <a:pos x="T2" y="T3"/>
                      </a:cxn>
                      <a:cxn ang="0">
                        <a:pos x="T4" y="T5"/>
                      </a:cxn>
                      <a:cxn ang="0">
                        <a:pos x="T6" y="T7"/>
                      </a:cxn>
                      <a:cxn ang="0">
                        <a:pos x="T8" y="T9"/>
                      </a:cxn>
                      <a:cxn ang="0">
                        <a:pos x="T10" y="T11"/>
                      </a:cxn>
                    </a:cxnLst>
                    <a:rect l="0" t="0" r="r" b="b"/>
                    <a:pathLst>
                      <a:path w="51" h="26">
                        <a:moveTo>
                          <a:pt x="0" y="25"/>
                        </a:moveTo>
                        <a:lnTo>
                          <a:pt x="18" y="25"/>
                        </a:lnTo>
                        <a:lnTo>
                          <a:pt x="50" y="0"/>
                        </a:lnTo>
                        <a:lnTo>
                          <a:pt x="25" y="0"/>
                        </a:lnTo>
                        <a:lnTo>
                          <a:pt x="9" y="16"/>
                        </a:lnTo>
                        <a:lnTo>
                          <a:pt x="0"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1" name="Freeform 291">
                    <a:extLst>
                      <a:ext uri="{FF2B5EF4-FFF2-40B4-BE49-F238E27FC236}">
                        <a16:creationId xmlns:a16="http://schemas.microsoft.com/office/drawing/2014/main" id="{BC43535F-B307-FDFB-9604-DE42B2BC57D0}"/>
                      </a:ext>
                    </a:extLst>
                  </p:cNvPr>
                  <p:cNvSpPr>
                    <a:spLocks/>
                  </p:cNvSpPr>
                  <p:nvPr/>
                </p:nvSpPr>
                <p:spPr bwMode="gray">
                  <a:xfrm>
                    <a:off x="7456336" y="5144623"/>
                    <a:ext cx="25743" cy="38002"/>
                  </a:xfrm>
                  <a:custGeom>
                    <a:avLst/>
                    <a:gdLst>
                      <a:gd name="T0" fmla="*/ 0 w 17"/>
                      <a:gd name="T1" fmla="*/ 24 h 25"/>
                      <a:gd name="T2" fmla="*/ 16 w 17"/>
                      <a:gd name="T3" fmla="*/ 7 h 25"/>
                      <a:gd name="T4" fmla="*/ 16 w 17"/>
                      <a:gd name="T5" fmla="*/ 0 h 25"/>
                      <a:gd name="T6" fmla="*/ 0 w 17"/>
                      <a:gd name="T7" fmla="*/ 24 h 25"/>
                    </a:gdLst>
                    <a:ahLst/>
                    <a:cxnLst>
                      <a:cxn ang="0">
                        <a:pos x="T0" y="T1"/>
                      </a:cxn>
                      <a:cxn ang="0">
                        <a:pos x="T2" y="T3"/>
                      </a:cxn>
                      <a:cxn ang="0">
                        <a:pos x="T4" y="T5"/>
                      </a:cxn>
                      <a:cxn ang="0">
                        <a:pos x="T6" y="T7"/>
                      </a:cxn>
                    </a:cxnLst>
                    <a:rect l="0" t="0" r="r" b="b"/>
                    <a:pathLst>
                      <a:path w="17" h="25">
                        <a:moveTo>
                          <a:pt x="0" y="24"/>
                        </a:moveTo>
                        <a:lnTo>
                          <a:pt x="16" y="7"/>
                        </a:lnTo>
                        <a:lnTo>
                          <a:pt x="16" y="0"/>
                        </a:lnTo>
                        <a:lnTo>
                          <a:pt x="0" y="24"/>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2" name="Freeform 292">
                    <a:extLst>
                      <a:ext uri="{FF2B5EF4-FFF2-40B4-BE49-F238E27FC236}">
                        <a16:creationId xmlns:a16="http://schemas.microsoft.com/office/drawing/2014/main" id="{8D914028-BF51-B7F5-6A3B-F6806C63C62B}"/>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3" name="Freeform 293">
                    <a:extLst>
                      <a:ext uri="{FF2B5EF4-FFF2-40B4-BE49-F238E27FC236}">
                        <a16:creationId xmlns:a16="http://schemas.microsoft.com/office/drawing/2014/main" id="{78C41512-D1A2-F65C-4A27-E829CC0C85F2}"/>
                      </a:ext>
                    </a:extLst>
                  </p:cNvPr>
                  <p:cNvSpPr>
                    <a:spLocks/>
                  </p:cNvSpPr>
                  <p:nvPr/>
                </p:nvSpPr>
                <p:spPr bwMode="gray">
                  <a:xfrm>
                    <a:off x="6892554" y="5069885"/>
                    <a:ext cx="29605" cy="39270"/>
                  </a:xfrm>
                  <a:custGeom>
                    <a:avLst/>
                    <a:gdLst>
                      <a:gd name="T0" fmla="*/ 0 w 19"/>
                      <a:gd name="T1" fmla="*/ 9 h 26"/>
                      <a:gd name="T2" fmla="*/ 9 w 19"/>
                      <a:gd name="T3" fmla="*/ 16 h 26"/>
                      <a:gd name="T4" fmla="*/ 18 w 19"/>
                      <a:gd name="T5" fmla="*/ 25 h 26"/>
                      <a:gd name="T6" fmla="*/ 18 w 19"/>
                      <a:gd name="T7" fmla="*/ 16 h 26"/>
                      <a:gd name="T8" fmla="*/ 9 w 19"/>
                      <a:gd name="T9" fmla="*/ 0 h 26"/>
                      <a:gd name="T10" fmla="*/ 0 w 19"/>
                      <a:gd name="T11" fmla="*/ 9 h 26"/>
                    </a:gdLst>
                    <a:ahLst/>
                    <a:cxnLst>
                      <a:cxn ang="0">
                        <a:pos x="T0" y="T1"/>
                      </a:cxn>
                      <a:cxn ang="0">
                        <a:pos x="T2" y="T3"/>
                      </a:cxn>
                      <a:cxn ang="0">
                        <a:pos x="T4" y="T5"/>
                      </a:cxn>
                      <a:cxn ang="0">
                        <a:pos x="T6" y="T7"/>
                      </a:cxn>
                      <a:cxn ang="0">
                        <a:pos x="T8" y="T9"/>
                      </a:cxn>
                      <a:cxn ang="0">
                        <a:pos x="T10" y="T11"/>
                      </a:cxn>
                    </a:cxnLst>
                    <a:rect l="0" t="0" r="r" b="b"/>
                    <a:pathLst>
                      <a:path w="19" h="26">
                        <a:moveTo>
                          <a:pt x="0" y="9"/>
                        </a:moveTo>
                        <a:lnTo>
                          <a:pt x="9" y="16"/>
                        </a:lnTo>
                        <a:lnTo>
                          <a:pt x="18" y="25"/>
                        </a:lnTo>
                        <a:lnTo>
                          <a:pt x="18" y="16"/>
                        </a:lnTo>
                        <a:lnTo>
                          <a:pt x="9" y="0"/>
                        </a:lnTo>
                        <a:lnTo>
                          <a:pt x="0" y="9"/>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4" name="Freeform 294">
                    <a:extLst>
                      <a:ext uri="{FF2B5EF4-FFF2-40B4-BE49-F238E27FC236}">
                        <a16:creationId xmlns:a16="http://schemas.microsoft.com/office/drawing/2014/main" id="{3ED92305-DACF-6E86-AC1E-BF124E0FE860}"/>
                      </a:ext>
                    </a:extLst>
                  </p:cNvPr>
                  <p:cNvSpPr>
                    <a:spLocks/>
                  </p:cNvSpPr>
                  <p:nvPr/>
                </p:nvSpPr>
                <p:spPr bwMode="gray">
                  <a:xfrm>
                    <a:off x="6931169" y="5093952"/>
                    <a:ext cx="25743" cy="26602"/>
                  </a:xfrm>
                  <a:custGeom>
                    <a:avLst/>
                    <a:gdLst>
                      <a:gd name="T0" fmla="*/ 0 w 17"/>
                      <a:gd name="T1" fmla="*/ 16 h 17"/>
                      <a:gd name="T2" fmla="*/ 16 w 17"/>
                      <a:gd name="T3" fmla="*/ 16 h 17"/>
                      <a:gd name="T4" fmla="*/ 16 w 17"/>
                      <a:gd name="T5" fmla="*/ 0 h 17"/>
                      <a:gd name="T6" fmla="*/ 0 w 17"/>
                      <a:gd name="T7" fmla="*/ 0 h 17"/>
                      <a:gd name="T8" fmla="*/ 0 w 17"/>
                      <a:gd name="T9" fmla="*/ 16 h 17"/>
                    </a:gdLst>
                    <a:ahLst/>
                    <a:cxnLst>
                      <a:cxn ang="0">
                        <a:pos x="T0" y="T1"/>
                      </a:cxn>
                      <a:cxn ang="0">
                        <a:pos x="T2" y="T3"/>
                      </a:cxn>
                      <a:cxn ang="0">
                        <a:pos x="T4" y="T5"/>
                      </a:cxn>
                      <a:cxn ang="0">
                        <a:pos x="T6" y="T7"/>
                      </a:cxn>
                      <a:cxn ang="0">
                        <a:pos x="T8" y="T9"/>
                      </a:cxn>
                    </a:cxnLst>
                    <a:rect l="0" t="0" r="r" b="b"/>
                    <a:pathLst>
                      <a:path w="17" h="17">
                        <a:moveTo>
                          <a:pt x="0" y="16"/>
                        </a:moveTo>
                        <a:lnTo>
                          <a:pt x="16" y="16"/>
                        </a:lnTo>
                        <a:lnTo>
                          <a:pt x="16"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5" name="Freeform 295">
                    <a:extLst>
                      <a:ext uri="{FF2B5EF4-FFF2-40B4-BE49-F238E27FC236}">
                        <a16:creationId xmlns:a16="http://schemas.microsoft.com/office/drawing/2014/main" id="{843F46A5-79CC-2E9D-B93D-F91C76AD7A3F}"/>
                      </a:ext>
                    </a:extLst>
                  </p:cNvPr>
                  <p:cNvSpPr>
                    <a:spLocks/>
                  </p:cNvSpPr>
                  <p:nvPr/>
                </p:nvSpPr>
                <p:spPr bwMode="gray">
                  <a:xfrm>
                    <a:off x="7153850" y="5007813"/>
                    <a:ext cx="128717" cy="148211"/>
                  </a:xfrm>
                  <a:custGeom>
                    <a:avLst/>
                    <a:gdLst>
                      <a:gd name="T0" fmla="*/ 0 w 83"/>
                      <a:gd name="T1" fmla="*/ 57 h 98"/>
                      <a:gd name="T2" fmla="*/ 0 w 83"/>
                      <a:gd name="T3" fmla="*/ 66 h 98"/>
                      <a:gd name="T4" fmla="*/ 10 w 83"/>
                      <a:gd name="T5" fmla="*/ 66 h 98"/>
                      <a:gd name="T6" fmla="*/ 10 w 83"/>
                      <a:gd name="T7" fmla="*/ 74 h 98"/>
                      <a:gd name="T8" fmla="*/ 10 w 83"/>
                      <a:gd name="T9" fmla="*/ 97 h 98"/>
                      <a:gd name="T10" fmla="*/ 17 w 83"/>
                      <a:gd name="T11" fmla="*/ 90 h 98"/>
                      <a:gd name="T12" fmla="*/ 17 w 83"/>
                      <a:gd name="T13" fmla="*/ 66 h 98"/>
                      <a:gd name="T14" fmla="*/ 25 w 83"/>
                      <a:gd name="T15" fmla="*/ 57 h 98"/>
                      <a:gd name="T16" fmla="*/ 34 w 83"/>
                      <a:gd name="T17" fmla="*/ 57 h 98"/>
                      <a:gd name="T18" fmla="*/ 25 w 83"/>
                      <a:gd name="T19" fmla="*/ 66 h 98"/>
                      <a:gd name="T20" fmla="*/ 34 w 83"/>
                      <a:gd name="T21" fmla="*/ 74 h 98"/>
                      <a:gd name="T22" fmla="*/ 34 w 83"/>
                      <a:gd name="T23" fmla="*/ 82 h 98"/>
                      <a:gd name="T24" fmla="*/ 50 w 83"/>
                      <a:gd name="T25" fmla="*/ 82 h 98"/>
                      <a:gd name="T26" fmla="*/ 50 w 83"/>
                      <a:gd name="T27" fmla="*/ 97 h 98"/>
                      <a:gd name="T28" fmla="*/ 57 w 83"/>
                      <a:gd name="T29" fmla="*/ 90 h 98"/>
                      <a:gd name="T30" fmla="*/ 57 w 83"/>
                      <a:gd name="T31" fmla="*/ 82 h 98"/>
                      <a:gd name="T32" fmla="*/ 42 w 83"/>
                      <a:gd name="T33" fmla="*/ 66 h 98"/>
                      <a:gd name="T34" fmla="*/ 50 w 83"/>
                      <a:gd name="T35" fmla="*/ 66 h 98"/>
                      <a:gd name="T36" fmla="*/ 34 w 83"/>
                      <a:gd name="T37" fmla="*/ 50 h 98"/>
                      <a:gd name="T38" fmla="*/ 50 w 83"/>
                      <a:gd name="T39" fmla="*/ 34 h 98"/>
                      <a:gd name="T40" fmla="*/ 57 w 83"/>
                      <a:gd name="T41" fmla="*/ 34 h 98"/>
                      <a:gd name="T42" fmla="*/ 25 w 83"/>
                      <a:gd name="T43" fmla="*/ 41 h 98"/>
                      <a:gd name="T44" fmla="*/ 17 w 83"/>
                      <a:gd name="T45" fmla="*/ 34 h 98"/>
                      <a:gd name="T46" fmla="*/ 17 w 83"/>
                      <a:gd name="T47" fmla="*/ 25 h 98"/>
                      <a:gd name="T48" fmla="*/ 25 w 83"/>
                      <a:gd name="T49" fmla="*/ 17 h 98"/>
                      <a:gd name="T50" fmla="*/ 75 w 83"/>
                      <a:gd name="T51" fmla="*/ 17 h 98"/>
                      <a:gd name="T52" fmla="*/ 82 w 83"/>
                      <a:gd name="T53" fmla="*/ 0 h 98"/>
                      <a:gd name="T54" fmla="*/ 66 w 83"/>
                      <a:gd name="T55" fmla="*/ 9 h 98"/>
                      <a:gd name="T56" fmla="*/ 50 w 83"/>
                      <a:gd name="T57" fmla="*/ 17 h 98"/>
                      <a:gd name="T58" fmla="*/ 25 w 83"/>
                      <a:gd name="T59" fmla="*/ 9 h 98"/>
                      <a:gd name="T60" fmla="*/ 25 w 83"/>
                      <a:gd name="T61" fmla="*/ 17 h 98"/>
                      <a:gd name="T62" fmla="*/ 17 w 83"/>
                      <a:gd name="T63" fmla="*/ 17 h 98"/>
                      <a:gd name="T64" fmla="*/ 17 w 83"/>
                      <a:gd name="T65" fmla="*/ 34 h 98"/>
                      <a:gd name="T66" fmla="*/ 0 w 83"/>
                      <a:gd name="T67" fmla="*/ 5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6" name="Freeform 296">
                    <a:extLst>
                      <a:ext uri="{FF2B5EF4-FFF2-40B4-BE49-F238E27FC236}">
                        <a16:creationId xmlns:a16="http://schemas.microsoft.com/office/drawing/2014/main" id="{909EFBCE-B4D7-670D-4E43-F6380652CA20}"/>
                      </a:ext>
                    </a:extLst>
                  </p:cNvPr>
                  <p:cNvSpPr>
                    <a:spLocks/>
                  </p:cNvSpPr>
                  <p:nvPr/>
                </p:nvSpPr>
                <p:spPr bwMode="gray">
                  <a:xfrm>
                    <a:off x="7318608" y="4998946"/>
                    <a:ext cx="27031" cy="62071"/>
                  </a:xfrm>
                  <a:custGeom>
                    <a:avLst/>
                    <a:gdLst>
                      <a:gd name="T0" fmla="*/ 0 w 17"/>
                      <a:gd name="T1" fmla="*/ 15 h 41"/>
                      <a:gd name="T2" fmla="*/ 8 w 17"/>
                      <a:gd name="T3" fmla="*/ 31 h 41"/>
                      <a:gd name="T4" fmla="*/ 16 w 17"/>
                      <a:gd name="T5" fmla="*/ 40 h 41"/>
                      <a:gd name="T6" fmla="*/ 8 w 17"/>
                      <a:gd name="T7" fmla="*/ 31 h 41"/>
                      <a:gd name="T8" fmla="*/ 8 w 17"/>
                      <a:gd name="T9" fmla="*/ 23 h 41"/>
                      <a:gd name="T10" fmla="*/ 16 w 17"/>
                      <a:gd name="T11" fmla="*/ 23 h 41"/>
                      <a:gd name="T12" fmla="*/ 16 w 17"/>
                      <a:gd name="T13" fmla="*/ 15 h 41"/>
                      <a:gd name="T14" fmla="*/ 16 w 17"/>
                      <a:gd name="T15" fmla="*/ 6 h 41"/>
                      <a:gd name="T16" fmla="*/ 16 w 17"/>
                      <a:gd name="T17" fmla="*/ 15 h 41"/>
                      <a:gd name="T18" fmla="*/ 8 w 17"/>
                      <a:gd name="T19" fmla="*/ 0 h 41"/>
                      <a:gd name="T20" fmla="*/ 0 w 17"/>
                      <a:gd name="T21"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7" name="Freeform 297">
                    <a:extLst>
                      <a:ext uri="{FF2B5EF4-FFF2-40B4-BE49-F238E27FC236}">
                        <a16:creationId xmlns:a16="http://schemas.microsoft.com/office/drawing/2014/main" id="{78C5D83B-FF19-26EC-8905-46BC99787E59}"/>
                      </a:ext>
                    </a:extLst>
                  </p:cNvPr>
                  <p:cNvSpPr>
                    <a:spLocks/>
                  </p:cNvSpPr>
                  <p:nvPr/>
                </p:nvSpPr>
                <p:spPr bwMode="gray">
                  <a:xfrm>
                    <a:off x="7294152" y="5107887"/>
                    <a:ext cx="27031" cy="25335"/>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8" name="Freeform 298">
                    <a:extLst>
                      <a:ext uri="{FF2B5EF4-FFF2-40B4-BE49-F238E27FC236}">
                        <a16:creationId xmlns:a16="http://schemas.microsoft.com/office/drawing/2014/main" id="{E489CA2D-4459-9EB1-08AE-83C7C5A3E5AB}"/>
                      </a:ext>
                    </a:extLst>
                  </p:cNvPr>
                  <p:cNvSpPr>
                    <a:spLocks/>
                  </p:cNvSpPr>
                  <p:nvPr/>
                </p:nvSpPr>
                <p:spPr bwMode="gray">
                  <a:xfrm>
                    <a:off x="7331480" y="5093952"/>
                    <a:ext cx="64359" cy="27868"/>
                  </a:xfrm>
                  <a:custGeom>
                    <a:avLst/>
                    <a:gdLst>
                      <a:gd name="T0" fmla="*/ 0 w 42"/>
                      <a:gd name="T1" fmla="*/ 9 h 18"/>
                      <a:gd name="T2" fmla="*/ 41 w 42"/>
                      <a:gd name="T3" fmla="*/ 17 h 18"/>
                      <a:gd name="T4" fmla="*/ 32 w 42"/>
                      <a:gd name="T5" fmla="*/ 9 h 18"/>
                      <a:gd name="T6" fmla="*/ 25 w 42"/>
                      <a:gd name="T7" fmla="*/ 0 h 18"/>
                      <a:gd name="T8" fmla="*/ 7 w 42"/>
                      <a:gd name="T9" fmla="*/ 0 h 18"/>
                      <a:gd name="T10" fmla="*/ 0 w 42"/>
                      <a:gd name="T11" fmla="*/ 9 h 18"/>
                    </a:gdLst>
                    <a:ahLst/>
                    <a:cxnLst>
                      <a:cxn ang="0">
                        <a:pos x="T0" y="T1"/>
                      </a:cxn>
                      <a:cxn ang="0">
                        <a:pos x="T2" y="T3"/>
                      </a:cxn>
                      <a:cxn ang="0">
                        <a:pos x="T4" y="T5"/>
                      </a:cxn>
                      <a:cxn ang="0">
                        <a:pos x="T6" y="T7"/>
                      </a:cxn>
                      <a:cxn ang="0">
                        <a:pos x="T8" y="T9"/>
                      </a:cxn>
                      <a:cxn ang="0">
                        <a:pos x="T10" y="T11"/>
                      </a:cxn>
                    </a:cxnLst>
                    <a:rect l="0" t="0" r="r" b="b"/>
                    <a:pathLst>
                      <a:path w="42" h="18">
                        <a:moveTo>
                          <a:pt x="0" y="9"/>
                        </a:moveTo>
                        <a:lnTo>
                          <a:pt x="41" y="17"/>
                        </a:lnTo>
                        <a:lnTo>
                          <a:pt x="32" y="9"/>
                        </a:lnTo>
                        <a:lnTo>
                          <a:pt x="25" y="0"/>
                        </a:lnTo>
                        <a:lnTo>
                          <a:pt x="7" y="0"/>
                        </a:lnTo>
                        <a:lnTo>
                          <a:pt x="0"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69" name="Freeform 299">
                    <a:extLst>
                      <a:ext uri="{FF2B5EF4-FFF2-40B4-BE49-F238E27FC236}">
                        <a16:creationId xmlns:a16="http://schemas.microsoft.com/office/drawing/2014/main" id="{CCABF528-E69D-92E5-A729-12F92643FA03}"/>
                      </a:ext>
                    </a:extLst>
                  </p:cNvPr>
                  <p:cNvSpPr>
                    <a:spLocks/>
                  </p:cNvSpPr>
                  <p:nvPr/>
                </p:nvSpPr>
                <p:spPr bwMode="gray">
                  <a:xfrm>
                    <a:off x="7180881" y="4679722"/>
                    <a:ext cx="77230" cy="110208"/>
                  </a:xfrm>
                  <a:custGeom>
                    <a:avLst/>
                    <a:gdLst>
                      <a:gd name="T0" fmla="*/ 0 w 50"/>
                      <a:gd name="T1" fmla="*/ 31 h 73"/>
                      <a:gd name="T2" fmla="*/ 0 w 50"/>
                      <a:gd name="T3" fmla="*/ 47 h 73"/>
                      <a:gd name="T4" fmla="*/ 8 w 50"/>
                      <a:gd name="T5" fmla="*/ 55 h 73"/>
                      <a:gd name="T6" fmla="*/ 8 w 50"/>
                      <a:gd name="T7" fmla="*/ 65 h 73"/>
                      <a:gd name="T8" fmla="*/ 17 w 50"/>
                      <a:gd name="T9" fmla="*/ 65 h 73"/>
                      <a:gd name="T10" fmla="*/ 25 w 50"/>
                      <a:gd name="T11" fmla="*/ 65 h 73"/>
                      <a:gd name="T12" fmla="*/ 33 w 50"/>
                      <a:gd name="T13" fmla="*/ 72 h 73"/>
                      <a:gd name="T14" fmla="*/ 33 w 50"/>
                      <a:gd name="T15" fmla="*/ 65 h 73"/>
                      <a:gd name="T16" fmla="*/ 40 w 50"/>
                      <a:gd name="T17" fmla="*/ 72 h 73"/>
                      <a:gd name="T18" fmla="*/ 49 w 50"/>
                      <a:gd name="T19" fmla="*/ 72 h 73"/>
                      <a:gd name="T20" fmla="*/ 40 w 50"/>
                      <a:gd name="T21" fmla="*/ 65 h 73"/>
                      <a:gd name="T22" fmla="*/ 49 w 50"/>
                      <a:gd name="T23" fmla="*/ 65 h 73"/>
                      <a:gd name="T24" fmla="*/ 33 w 50"/>
                      <a:gd name="T25" fmla="*/ 55 h 73"/>
                      <a:gd name="T26" fmla="*/ 25 w 50"/>
                      <a:gd name="T27" fmla="*/ 65 h 73"/>
                      <a:gd name="T28" fmla="*/ 17 w 50"/>
                      <a:gd name="T29" fmla="*/ 47 h 73"/>
                      <a:gd name="T30" fmla="*/ 33 w 50"/>
                      <a:gd name="T31" fmla="*/ 24 h 73"/>
                      <a:gd name="T32" fmla="*/ 25 w 50"/>
                      <a:gd name="T33" fmla="*/ 15 h 73"/>
                      <a:gd name="T34" fmla="*/ 33 w 50"/>
                      <a:gd name="T35" fmla="*/ 0 h 73"/>
                      <a:gd name="T36" fmla="*/ 25 w 50"/>
                      <a:gd name="T37" fmla="*/ 7 h 73"/>
                      <a:gd name="T38" fmla="*/ 8 w 50"/>
                      <a:gd name="T39" fmla="*/ 0 h 73"/>
                      <a:gd name="T40" fmla="*/ 0 w 50"/>
                      <a:gd name="T41" fmla="*/ 3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0" name="Freeform 300">
                    <a:extLst>
                      <a:ext uri="{FF2B5EF4-FFF2-40B4-BE49-F238E27FC236}">
                        <a16:creationId xmlns:a16="http://schemas.microsoft.com/office/drawing/2014/main" id="{32FCE4EB-EC62-238B-4BB6-E4BAD968F3AC}"/>
                      </a:ext>
                    </a:extLst>
                  </p:cNvPr>
                  <p:cNvSpPr>
                    <a:spLocks/>
                  </p:cNvSpPr>
                  <p:nvPr/>
                </p:nvSpPr>
                <p:spPr bwMode="gray">
                  <a:xfrm>
                    <a:off x="7117809" y="4826667"/>
                    <a:ext cx="54061" cy="62071"/>
                  </a:xfrm>
                  <a:custGeom>
                    <a:avLst/>
                    <a:gdLst>
                      <a:gd name="T0" fmla="*/ 0 w 35"/>
                      <a:gd name="T1" fmla="*/ 40 h 41"/>
                      <a:gd name="T2" fmla="*/ 34 w 35"/>
                      <a:gd name="T3" fmla="*/ 8 h 41"/>
                      <a:gd name="T4" fmla="*/ 34 w 35"/>
                      <a:gd name="T5" fmla="*/ 0 h 41"/>
                      <a:gd name="T6" fmla="*/ 0 w 35"/>
                      <a:gd name="T7" fmla="*/ 40 h 41"/>
                    </a:gdLst>
                    <a:ahLst/>
                    <a:cxnLst>
                      <a:cxn ang="0">
                        <a:pos x="T0" y="T1"/>
                      </a:cxn>
                      <a:cxn ang="0">
                        <a:pos x="T2" y="T3"/>
                      </a:cxn>
                      <a:cxn ang="0">
                        <a:pos x="T4" y="T5"/>
                      </a:cxn>
                      <a:cxn ang="0">
                        <a:pos x="T6" y="T7"/>
                      </a:cxn>
                    </a:cxnLst>
                    <a:rect l="0" t="0" r="r" b="b"/>
                    <a:pathLst>
                      <a:path w="35" h="41">
                        <a:moveTo>
                          <a:pt x="0" y="40"/>
                        </a:moveTo>
                        <a:lnTo>
                          <a:pt x="34" y="8"/>
                        </a:lnTo>
                        <a:lnTo>
                          <a:pt x="34" y="0"/>
                        </a:lnTo>
                        <a:lnTo>
                          <a:pt x="0" y="4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1" name="Freeform 301">
                    <a:extLst>
                      <a:ext uri="{FF2B5EF4-FFF2-40B4-BE49-F238E27FC236}">
                        <a16:creationId xmlns:a16="http://schemas.microsoft.com/office/drawing/2014/main" id="{C5F28D95-40CC-609C-BC06-095158FCC9CF}"/>
                      </a:ext>
                    </a:extLst>
                  </p:cNvPr>
                  <p:cNvSpPr>
                    <a:spLocks/>
                  </p:cNvSpPr>
                  <p:nvPr/>
                </p:nvSpPr>
                <p:spPr bwMode="gray">
                  <a:xfrm>
                    <a:off x="7180881" y="4788663"/>
                    <a:ext cx="27031" cy="25335"/>
                  </a:xfrm>
                  <a:custGeom>
                    <a:avLst/>
                    <a:gdLst>
                      <a:gd name="T0" fmla="*/ 0 w 18"/>
                      <a:gd name="T1" fmla="*/ 0 h 17"/>
                      <a:gd name="T2" fmla="*/ 17 w 18"/>
                      <a:gd name="T3" fmla="*/ 16 h 17"/>
                      <a:gd name="T4" fmla="*/ 17 w 18"/>
                      <a:gd name="T5" fmla="*/ 8 h 17"/>
                      <a:gd name="T6" fmla="*/ 17 w 18"/>
                      <a:gd name="T7" fmla="*/ 0 h 17"/>
                      <a:gd name="T8" fmla="*/ 0 w 18"/>
                      <a:gd name="T9" fmla="*/ 0 h 17"/>
                    </a:gdLst>
                    <a:ahLst/>
                    <a:cxnLst>
                      <a:cxn ang="0">
                        <a:pos x="T0" y="T1"/>
                      </a:cxn>
                      <a:cxn ang="0">
                        <a:pos x="T2" y="T3"/>
                      </a:cxn>
                      <a:cxn ang="0">
                        <a:pos x="T4" y="T5"/>
                      </a:cxn>
                      <a:cxn ang="0">
                        <a:pos x="T6" y="T7"/>
                      </a:cxn>
                      <a:cxn ang="0">
                        <a:pos x="T8" y="T9"/>
                      </a:cxn>
                    </a:cxnLst>
                    <a:rect l="0" t="0" r="r" b="b"/>
                    <a:pathLst>
                      <a:path w="18" h="17">
                        <a:moveTo>
                          <a:pt x="0" y="0"/>
                        </a:moveTo>
                        <a:lnTo>
                          <a:pt x="17" y="16"/>
                        </a:lnTo>
                        <a:lnTo>
                          <a:pt x="17" y="8"/>
                        </a:lnTo>
                        <a:lnTo>
                          <a:pt x="17"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2" name="Freeform 302">
                    <a:extLst>
                      <a:ext uri="{FF2B5EF4-FFF2-40B4-BE49-F238E27FC236}">
                        <a16:creationId xmlns:a16="http://schemas.microsoft.com/office/drawing/2014/main" id="{739B6709-4052-D221-C01E-C18A52C646C4}"/>
                      </a:ext>
                    </a:extLst>
                  </p:cNvPr>
                  <p:cNvSpPr>
                    <a:spLocks/>
                  </p:cNvSpPr>
                  <p:nvPr/>
                </p:nvSpPr>
                <p:spPr bwMode="gray">
                  <a:xfrm>
                    <a:off x="7269696" y="4800065"/>
                    <a:ext cx="25743" cy="50670"/>
                  </a:xfrm>
                  <a:custGeom>
                    <a:avLst/>
                    <a:gdLst>
                      <a:gd name="T0" fmla="*/ 0 w 17"/>
                      <a:gd name="T1" fmla="*/ 0 h 33"/>
                      <a:gd name="T2" fmla="*/ 7 w 17"/>
                      <a:gd name="T3" fmla="*/ 7 h 33"/>
                      <a:gd name="T4" fmla="*/ 0 w 17"/>
                      <a:gd name="T5" fmla="*/ 17 h 33"/>
                      <a:gd name="T6" fmla="*/ 0 w 17"/>
                      <a:gd name="T7" fmla="*/ 25 h 33"/>
                      <a:gd name="T8" fmla="*/ 0 w 17"/>
                      <a:gd name="T9" fmla="*/ 32 h 33"/>
                      <a:gd name="T10" fmla="*/ 7 w 17"/>
                      <a:gd name="T11" fmla="*/ 32 h 33"/>
                      <a:gd name="T12" fmla="*/ 7 w 17"/>
                      <a:gd name="T13" fmla="*/ 17 h 33"/>
                      <a:gd name="T14" fmla="*/ 16 w 17"/>
                      <a:gd name="T15" fmla="*/ 17 h 33"/>
                      <a:gd name="T16" fmla="*/ 7 w 17"/>
                      <a:gd name="T17" fmla="*/ 7 h 33"/>
                      <a:gd name="T18" fmla="*/ 7 w 17"/>
                      <a:gd name="T19" fmla="*/ 0 h 33"/>
                      <a:gd name="T20" fmla="*/ 0 w 17"/>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3" name="Freeform 303">
                    <a:extLst>
                      <a:ext uri="{FF2B5EF4-FFF2-40B4-BE49-F238E27FC236}">
                        <a16:creationId xmlns:a16="http://schemas.microsoft.com/office/drawing/2014/main" id="{C1DC70D1-225F-A4C3-59E7-D25C10C89C89}"/>
                      </a:ext>
                    </a:extLst>
                  </p:cNvPr>
                  <p:cNvSpPr>
                    <a:spLocks/>
                  </p:cNvSpPr>
                  <p:nvPr/>
                </p:nvSpPr>
                <p:spPr bwMode="gray">
                  <a:xfrm>
                    <a:off x="7219496" y="4811465"/>
                    <a:ext cx="51487" cy="63338"/>
                  </a:xfrm>
                  <a:custGeom>
                    <a:avLst/>
                    <a:gdLst>
                      <a:gd name="T0" fmla="*/ 0 w 34"/>
                      <a:gd name="T1" fmla="*/ 18 h 42"/>
                      <a:gd name="T2" fmla="*/ 8 w 34"/>
                      <a:gd name="T3" fmla="*/ 18 h 42"/>
                      <a:gd name="T4" fmla="*/ 8 w 34"/>
                      <a:gd name="T5" fmla="*/ 25 h 42"/>
                      <a:gd name="T6" fmla="*/ 15 w 34"/>
                      <a:gd name="T7" fmla="*/ 41 h 42"/>
                      <a:gd name="T8" fmla="*/ 15 w 34"/>
                      <a:gd name="T9" fmla="*/ 34 h 42"/>
                      <a:gd name="T10" fmla="*/ 15 w 34"/>
                      <a:gd name="T11" fmla="*/ 25 h 42"/>
                      <a:gd name="T12" fmla="*/ 33 w 34"/>
                      <a:gd name="T13" fmla="*/ 34 h 42"/>
                      <a:gd name="T14" fmla="*/ 33 w 34"/>
                      <a:gd name="T15" fmla="*/ 25 h 42"/>
                      <a:gd name="T16" fmla="*/ 24 w 34"/>
                      <a:gd name="T17" fmla="*/ 25 h 42"/>
                      <a:gd name="T18" fmla="*/ 24 w 34"/>
                      <a:gd name="T19" fmla="*/ 10 h 42"/>
                      <a:gd name="T20" fmla="*/ 15 w 34"/>
                      <a:gd name="T21" fmla="*/ 18 h 42"/>
                      <a:gd name="T22" fmla="*/ 15 w 34"/>
                      <a:gd name="T23" fmla="*/ 10 h 42"/>
                      <a:gd name="T24" fmla="*/ 8 w 34"/>
                      <a:gd name="T25" fmla="*/ 0 h 42"/>
                      <a:gd name="T26" fmla="*/ 0 w 34"/>
                      <a:gd name="T27" fmla="*/ 0 h 42"/>
                      <a:gd name="T28" fmla="*/ 0 w 34"/>
                      <a:gd name="T29" fmla="*/ 1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4" name="Freeform 304">
                    <a:extLst>
                      <a:ext uri="{FF2B5EF4-FFF2-40B4-BE49-F238E27FC236}">
                        <a16:creationId xmlns:a16="http://schemas.microsoft.com/office/drawing/2014/main" id="{F46A2DEC-9F29-C4E9-55F5-AA077EC45745}"/>
                      </a:ext>
                    </a:extLst>
                  </p:cNvPr>
                  <p:cNvSpPr>
                    <a:spLocks/>
                  </p:cNvSpPr>
                  <p:nvPr/>
                </p:nvSpPr>
                <p:spPr bwMode="gray">
                  <a:xfrm>
                    <a:off x="7219496" y="4849468"/>
                    <a:ext cx="86241" cy="88673"/>
                  </a:xfrm>
                  <a:custGeom>
                    <a:avLst/>
                    <a:gdLst>
                      <a:gd name="T0" fmla="*/ 0 w 56"/>
                      <a:gd name="T1" fmla="*/ 40 h 59"/>
                      <a:gd name="T2" fmla="*/ 8 w 56"/>
                      <a:gd name="T3" fmla="*/ 34 h 59"/>
                      <a:gd name="T4" fmla="*/ 15 w 56"/>
                      <a:gd name="T5" fmla="*/ 34 h 59"/>
                      <a:gd name="T6" fmla="*/ 24 w 56"/>
                      <a:gd name="T7" fmla="*/ 34 h 59"/>
                      <a:gd name="T8" fmla="*/ 33 w 56"/>
                      <a:gd name="T9" fmla="*/ 34 h 59"/>
                      <a:gd name="T10" fmla="*/ 24 w 56"/>
                      <a:gd name="T11" fmla="*/ 49 h 59"/>
                      <a:gd name="T12" fmla="*/ 40 w 56"/>
                      <a:gd name="T13" fmla="*/ 58 h 59"/>
                      <a:gd name="T14" fmla="*/ 49 w 56"/>
                      <a:gd name="T15" fmla="*/ 49 h 59"/>
                      <a:gd name="T16" fmla="*/ 40 w 56"/>
                      <a:gd name="T17" fmla="*/ 40 h 59"/>
                      <a:gd name="T18" fmla="*/ 49 w 56"/>
                      <a:gd name="T19" fmla="*/ 34 h 59"/>
                      <a:gd name="T20" fmla="*/ 55 w 56"/>
                      <a:gd name="T21" fmla="*/ 49 h 59"/>
                      <a:gd name="T22" fmla="*/ 55 w 56"/>
                      <a:gd name="T23" fmla="*/ 34 h 59"/>
                      <a:gd name="T24" fmla="*/ 55 w 56"/>
                      <a:gd name="T25" fmla="*/ 16 h 59"/>
                      <a:gd name="T26" fmla="*/ 40 w 56"/>
                      <a:gd name="T27" fmla="*/ 0 h 59"/>
                      <a:gd name="T28" fmla="*/ 40 w 56"/>
                      <a:gd name="T29" fmla="*/ 16 h 59"/>
                      <a:gd name="T30" fmla="*/ 33 w 56"/>
                      <a:gd name="T31" fmla="*/ 16 h 59"/>
                      <a:gd name="T32" fmla="*/ 24 w 56"/>
                      <a:gd name="T33" fmla="*/ 25 h 59"/>
                      <a:gd name="T34" fmla="*/ 15 w 56"/>
                      <a:gd name="T35" fmla="*/ 16 h 59"/>
                      <a:gd name="T36" fmla="*/ 0 w 56"/>
                      <a:gd name="T37" fmla="*/ 34 h 59"/>
                      <a:gd name="T38" fmla="*/ 0 w 56"/>
                      <a:gd name="T39"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5" name="Freeform 305">
                    <a:extLst>
                      <a:ext uri="{FF2B5EF4-FFF2-40B4-BE49-F238E27FC236}">
                        <a16:creationId xmlns:a16="http://schemas.microsoft.com/office/drawing/2014/main" id="{B0530C7D-7A54-F76B-8E99-1DC28CD11B59}"/>
                      </a:ext>
                    </a:extLst>
                  </p:cNvPr>
                  <p:cNvSpPr>
                    <a:spLocks/>
                  </p:cNvSpPr>
                  <p:nvPr/>
                </p:nvSpPr>
                <p:spPr bwMode="gray">
                  <a:xfrm>
                    <a:off x="7730503" y="5120554"/>
                    <a:ext cx="87528" cy="49404"/>
                  </a:xfrm>
                  <a:custGeom>
                    <a:avLst/>
                    <a:gdLst>
                      <a:gd name="T0" fmla="*/ 0 w 57"/>
                      <a:gd name="T1" fmla="*/ 16 h 33"/>
                      <a:gd name="T2" fmla="*/ 16 w 57"/>
                      <a:gd name="T3" fmla="*/ 32 h 33"/>
                      <a:gd name="T4" fmla="*/ 34 w 57"/>
                      <a:gd name="T5" fmla="*/ 32 h 33"/>
                      <a:gd name="T6" fmla="*/ 49 w 57"/>
                      <a:gd name="T7" fmla="*/ 23 h 33"/>
                      <a:gd name="T8" fmla="*/ 56 w 57"/>
                      <a:gd name="T9" fmla="*/ 8 h 33"/>
                      <a:gd name="T10" fmla="*/ 56 w 57"/>
                      <a:gd name="T11" fmla="*/ 0 h 33"/>
                      <a:gd name="T12" fmla="*/ 49 w 57"/>
                      <a:gd name="T13" fmla="*/ 0 h 33"/>
                      <a:gd name="T14" fmla="*/ 49 w 57"/>
                      <a:gd name="T15" fmla="*/ 16 h 33"/>
                      <a:gd name="T16" fmla="*/ 41 w 57"/>
                      <a:gd name="T17" fmla="*/ 16 h 33"/>
                      <a:gd name="T18" fmla="*/ 34 w 57"/>
                      <a:gd name="T19" fmla="*/ 16 h 33"/>
                      <a:gd name="T20" fmla="*/ 0 w 57"/>
                      <a:gd name="T21"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6" name="Freeform 306">
                    <a:extLst>
                      <a:ext uri="{FF2B5EF4-FFF2-40B4-BE49-F238E27FC236}">
                        <a16:creationId xmlns:a16="http://schemas.microsoft.com/office/drawing/2014/main" id="{0BDB5475-B426-2BAA-EB07-C719EB50DF2E}"/>
                      </a:ext>
                    </a:extLst>
                  </p:cNvPr>
                  <p:cNvSpPr>
                    <a:spLocks/>
                  </p:cNvSpPr>
                  <p:nvPr/>
                </p:nvSpPr>
                <p:spPr bwMode="gray">
                  <a:xfrm>
                    <a:off x="7793575" y="5107887"/>
                    <a:ext cx="37328" cy="25335"/>
                  </a:xfrm>
                  <a:custGeom>
                    <a:avLst/>
                    <a:gdLst>
                      <a:gd name="T0" fmla="*/ 0 w 25"/>
                      <a:gd name="T1" fmla="*/ 0 h 17"/>
                      <a:gd name="T2" fmla="*/ 15 w 25"/>
                      <a:gd name="T3" fmla="*/ 8 h 17"/>
                      <a:gd name="T4" fmla="*/ 24 w 25"/>
                      <a:gd name="T5" fmla="*/ 16 h 17"/>
                      <a:gd name="T6" fmla="*/ 24 w 25"/>
                      <a:gd name="T7" fmla="*/ 8 h 17"/>
                      <a:gd name="T8" fmla="*/ 0 w 25"/>
                      <a:gd name="T9" fmla="*/ 0 h 17"/>
                    </a:gdLst>
                    <a:ahLst/>
                    <a:cxnLst>
                      <a:cxn ang="0">
                        <a:pos x="T0" y="T1"/>
                      </a:cxn>
                      <a:cxn ang="0">
                        <a:pos x="T2" y="T3"/>
                      </a:cxn>
                      <a:cxn ang="0">
                        <a:pos x="T4" y="T5"/>
                      </a:cxn>
                      <a:cxn ang="0">
                        <a:pos x="T6" y="T7"/>
                      </a:cxn>
                      <a:cxn ang="0">
                        <a:pos x="T8" y="T9"/>
                      </a:cxn>
                    </a:cxnLst>
                    <a:rect l="0" t="0" r="r" b="b"/>
                    <a:pathLst>
                      <a:path w="25" h="17">
                        <a:moveTo>
                          <a:pt x="0" y="0"/>
                        </a:moveTo>
                        <a:lnTo>
                          <a:pt x="15" y="8"/>
                        </a:lnTo>
                        <a:lnTo>
                          <a:pt x="24" y="16"/>
                        </a:lnTo>
                        <a:lnTo>
                          <a:pt x="24" y="8"/>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7" name="Freeform 307">
                    <a:extLst>
                      <a:ext uri="{FF2B5EF4-FFF2-40B4-BE49-F238E27FC236}">
                        <a16:creationId xmlns:a16="http://schemas.microsoft.com/office/drawing/2014/main" id="{AF110866-D09D-3C3F-D628-0FD04B7B8044}"/>
                      </a:ext>
                    </a:extLst>
                  </p:cNvPr>
                  <p:cNvSpPr>
                    <a:spLocks/>
                  </p:cNvSpPr>
                  <p:nvPr/>
                </p:nvSpPr>
                <p:spPr bwMode="gray">
                  <a:xfrm>
                    <a:off x="7866944" y="5144623"/>
                    <a:ext cx="27031" cy="38002"/>
                  </a:xfrm>
                  <a:custGeom>
                    <a:avLst/>
                    <a:gdLst>
                      <a:gd name="T0" fmla="*/ 0 w 18"/>
                      <a:gd name="T1" fmla="*/ 0 h 25"/>
                      <a:gd name="T2" fmla="*/ 8 w 18"/>
                      <a:gd name="T3" fmla="*/ 24 h 25"/>
                      <a:gd name="T4" fmla="*/ 17 w 18"/>
                      <a:gd name="T5" fmla="*/ 16 h 25"/>
                      <a:gd name="T6" fmla="*/ 0 w 18"/>
                      <a:gd name="T7" fmla="*/ 0 h 25"/>
                    </a:gdLst>
                    <a:ahLst/>
                    <a:cxnLst>
                      <a:cxn ang="0">
                        <a:pos x="T0" y="T1"/>
                      </a:cxn>
                      <a:cxn ang="0">
                        <a:pos x="T2" y="T3"/>
                      </a:cxn>
                      <a:cxn ang="0">
                        <a:pos x="T4" y="T5"/>
                      </a:cxn>
                      <a:cxn ang="0">
                        <a:pos x="T6" y="T7"/>
                      </a:cxn>
                    </a:cxnLst>
                    <a:rect l="0" t="0" r="r" b="b"/>
                    <a:pathLst>
                      <a:path w="18" h="25">
                        <a:moveTo>
                          <a:pt x="0" y="0"/>
                        </a:moveTo>
                        <a:lnTo>
                          <a:pt x="8" y="24"/>
                        </a:lnTo>
                        <a:lnTo>
                          <a:pt x="17" y="16"/>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8" name="Freeform 308">
                    <a:extLst>
                      <a:ext uri="{FF2B5EF4-FFF2-40B4-BE49-F238E27FC236}">
                        <a16:creationId xmlns:a16="http://schemas.microsoft.com/office/drawing/2014/main" id="{4B6E48B0-65C3-E34A-91D0-2609DDECC048}"/>
                      </a:ext>
                    </a:extLst>
                  </p:cNvPr>
                  <p:cNvSpPr>
                    <a:spLocks/>
                  </p:cNvSpPr>
                  <p:nvPr/>
                </p:nvSpPr>
                <p:spPr bwMode="gray">
                  <a:xfrm>
                    <a:off x="7954472" y="5215561"/>
                    <a:ext cx="25743" cy="25335"/>
                  </a:xfrm>
                  <a:custGeom>
                    <a:avLst/>
                    <a:gdLst>
                      <a:gd name="T0" fmla="*/ 0 w 17"/>
                      <a:gd name="T1" fmla="*/ 0 h 17"/>
                      <a:gd name="T2" fmla="*/ 0 w 17"/>
                      <a:gd name="T3" fmla="*/ 16 h 17"/>
                      <a:gd name="T4" fmla="*/ 16 w 17"/>
                      <a:gd name="T5" fmla="*/ 16 h 17"/>
                      <a:gd name="T6" fmla="*/ 0 w 17"/>
                      <a:gd name="T7" fmla="*/ 0 h 17"/>
                    </a:gdLst>
                    <a:ahLst/>
                    <a:cxnLst>
                      <a:cxn ang="0">
                        <a:pos x="T0" y="T1"/>
                      </a:cxn>
                      <a:cxn ang="0">
                        <a:pos x="T2" y="T3"/>
                      </a:cxn>
                      <a:cxn ang="0">
                        <a:pos x="T4" y="T5"/>
                      </a:cxn>
                      <a:cxn ang="0">
                        <a:pos x="T6" y="T7"/>
                      </a:cxn>
                    </a:cxnLst>
                    <a:rect l="0" t="0" r="r" b="b"/>
                    <a:pathLst>
                      <a:path w="17" h="17">
                        <a:moveTo>
                          <a:pt x="0" y="0"/>
                        </a:moveTo>
                        <a:lnTo>
                          <a:pt x="0" y="16"/>
                        </a:lnTo>
                        <a:lnTo>
                          <a:pt x="16" y="16"/>
                        </a:lnTo>
                        <a:lnTo>
                          <a:pt x="0"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79" name="Line 314">
                    <a:extLst>
                      <a:ext uri="{FF2B5EF4-FFF2-40B4-BE49-F238E27FC236}">
                        <a16:creationId xmlns:a16="http://schemas.microsoft.com/office/drawing/2014/main" id="{AC6F2F20-FAFA-D094-8EA2-4FCD5C55F49A}"/>
                      </a:ext>
                    </a:extLst>
                  </p:cNvPr>
                  <p:cNvSpPr>
                    <a:spLocks noChangeShapeType="1"/>
                  </p:cNvSpPr>
                  <p:nvPr/>
                </p:nvSpPr>
                <p:spPr bwMode="gray">
                  <a:xfrm>
                    <a:off x="7056025" y="4603717"/>
                    <a:ext cx="14159" cy="0"/>
                  </a:xfrm>
                  <a:prstGeom prst="line">
                    <a:avLst/>
                  </a:prstGeom>
                  <a:grp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780" name="Freeform 16">
                    <a:extLst>
                      <a:ext uri="{FF2B5EF4-FFF2-40B4-BE49-F238E27FC236}">
                        <a16:creationId xmlns:a16="http://schemas.microsoft.com/office/drawing/2014/main" id="{9C66AAFE-6754-D86D-6571-A82F74615C25}"/>
                      </a:ext>
                    </a:extLst>
                  </p:cNvPr>
                  <p:cNvSpPr>
                    <a:spLocks/>
                  </p:cNvSpPr>
                  <p:nvPr/>
                </p:nvSpPr>
                <p:spPr bwMode="gray">
                  <a:xfrm>
                    <a:off x="5293884" y="4395968"/>
                    <a:ext cx="227830" cy="222950"/>
                  </a:xfrm>
                  <a:custGeom>
                    <a:avLst/>
                    <a:gdLst>
                      <a:gd name="T0" fmla="*/ 147 w 148"/>
                      <a:gd name="T1" fmla="*/ 130 h 147"/>
                      <a:gd name="T2" fmla="*/ 122 w 148"/>
                      <a:gd name="T3" fmla="*/ 146 h 147"/>
                      <a:gd name="T4" fmla="*/ 115 w 148"/>
                      <a:gd name="T5" fmla="*/ 137 h 147"/>
                      <a:gd name="T6" fmla="*/ 10 w 148"/>
                      <a:gd name="T7" fmla="*/ 137 h 147"/>
                      <a:gd name="T8" fmla="*/ 10 w 148"/>
                      <a:gd name="T9" fmla="*/ 48 h 147"/>
                      <a:gd name="T10" fmla="*/ 0 w 148"/>
                      <a:gd name="T11" fmla="*/ 32 h 147"/>
                      <a:gd name="T12" fmla="*/ 10 w 148"/>
                      <a:gd name="T13" fmla="*/ 0 h 147"/>
                      <a:gd name="T14" fmla="*/ 10 w 148"/>
                      <a:gd name="T15" fmla="*/ 9 h 147"/>
                      <a:gd name="T16" fmla="*/ 34 w 148"/>
                      <a:gd name="T17" fmla="*/ 9 h 147"/>
                      <a:gd name="T18" fmla="*/ 57 w 148"/>
                      <a:gd name="T19" fmla="*/ 16 h 147"/>
                      <a:gd name="T20" fmla="*/ 91 w 148"/>
                      <a:gd name="T21" fmla="*/ 9 h 147"/>
                      <a:gd name="T22" fmla="*/ 97 w 148"/>
                      <a:gd name="T23" fmla="*/ 9 h 147"/>
                      <a:gd name="T24" fmla="*/ 97 w 148"/>
                      <a:gd name="T25" fmla="*/ 16 h 147"/>
                      <a:gd name="T26" fmla="*/ 107 w 148"/>
                      <a:gd name="T27" fmla="*/ 9 h 147"/>
                      <a:gd name="T28" fmla="*/ 107 w 148"/>
                      <a:gd name="T29" fmla="*/ 16 h 147"/>
                      <a:gd name="T30" fmla="*/ 122 w 148"/>
                      <a:gd name="T31" fmla="*/ 9 h 147"/>
                      <a:gd name="T32" fmla="*/ 131 w 148"/>
                      <a:gd name="T33" fmla="*/ 40 h 147"/>
                      <a:gd name="T34" fmla="*/ 122 w 148"/>
                      <a:gd name="T35" fmla="*/ 65 h 147"/>
                      <a:gd name="T36" fmla="*/ 115 w 148"/>
                      <a:gd name="T37" fmla="*/ 48 h 147"/>
                      <a:gd name="T38" fmla="*/ 107 w 148"/>
                      <a:gd name="T39" fmla="*/ 25 h 147"/>
                      <a:gd name="T40" fmla="*/ 107 w 148"/>
                      <a:gd name="T41" fmla="*/ 32 h 147"/>
                      <a:gd name="T42" fmla="*/ 107 w 148"/>
                      <a:gd name="T43" fmla="*/ 40 h 147"/>
                      <a:gd name="T44" fmla="*/ 147 w 148"/>
                      <a:gd name="T45" fmla="*/ 13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1" name="Freeform 17">
                    <a:extLst>
                      <a:ext uri="{FF2B5EF4-FFF2-40B4-BE49-F238E27FC236}">
                        <a16:creationId xmlns:a16="http://schemas.microsoft.com/office/drawing/2014/main" id="{9C8D6581-1BC9-C9E7-6FA1-3FAC72BDB7F2}"/>
                      </a:ext>
                    </a:extLst>
                  </p:cNvPr>
                  <p:cNvSpPr>
                    <a:spLocks/>
                  </p:cNvSpPr>
                  <p:nvPr/>
                </p:nvSpPr>
                <p:spPr bwMode="gray">
                  <a:xfrm>
                    <a:off x="4999122" y="4373166"/>
                    <a:ext cx="311497" cy="292621"/>
                  </a:xfrm>
                  <a:custGeom>
                    <a:avLst/>
                    <a:gdLst>
                      <a:gd name="T0" fmla="*/ 31 w 203"/>
                      <a:gd name="T1" fmla="*/ 137 h 193"/>
                      <a:gd name="T2" fmla="*/ 22 w 203"/>
                      <a:gd name="T3" fmla="*/ 120 h 193"/>
                      <a:gd name="T4" fmla="*/ 15 w 203"/>
                      <a:gd name="T5" fmla="*/ 120 h 193"/>
                      <a:gd name="T6" fmla="*/ 0 w 203"/>
                      <a:gd name="T7" fmla="*/ 96 h 193"/>
                      <a:gd name="T8" fmla="*/ 6 w 203"/>
                      <a:gd name="T9" fmla="*/ 87 h 193"/>
                      <a:gd name="T10" fmla="*/ 6 w 203"/>
                      <a:gd name="T11" fmla="*/ 71 h 193"/>
                      <a:gd name="T12" fmla="*/ 6 w 203"/>
                      <a:gd name="T13" fmla="*/ 55 h 193"/>
                      <a:gd name="T14" fmla="*/ 0 w 203"/>
                      <a:gd name="T15" fmla="*/ 47 h 193"/>
                      <a:gd name="T16" fmla="*/ 0 w 203"/>
                      <a:gd name="T17" fmla="*/ 40 h 193"/>
                      <a:gd name="T18" fmla="*/ 6 w 203"/>
                      <a:gd name="T19" fmla="*/ 31 h 193"/>
                      <a:gd name="T20" fmla="*/ 6 w 203"/>
                      <a:gd name="T21" fmla="*/ 24 h 193"/>
                      <a:gd name="T22" fmla="*/ 22 w 203"/>
                      <a:gd name="T23" fmla="*/ 6 h 193"/>
                      <a:gd name="T24" fmla="*/ 22 w 203"/>
                      <a:gd name="T25" fmla="*/ 0 h 193"/>
                      <a:gd name="T26" fmla="*/ 40 w 203"/>
                      <a:gd name="T27" fmla="*/ 0 h 193"/>
                      <a:gd name="T28" fmla="*/ 63 w 203"/>
                      <a:gd name="T29" fmla="*/ 6 h 193"/>
                      <a:gd name="T30" fmla="*/ 80 w 203"/>
                      <a:gd name="T31" fmla="*/ 6 h 193"/>
                      <a:gd name="T32" fmla="*/ 80 w 203"/>
                      <a:gd name="T33" fmla="*/ 24 h 193"/>
                      <a:gd name="T34" fmla="*/ 128 w 203"/>
                      <a:gd name="T35" fmla="*/ 40 h 193"/>
                      <a:gd name="T36" fmla="*/ 137 w 203"/>
                      <a:gd name="T37" fmla="*/ 31 h 193"/>
                      <a:gd name="T38" fmla="*/ 137 w 203"/>
                      <a:gd name="T39" fmla="*/ 15 h 193"/>
                      <a:gd name="T40" fmla="*/ 161 w 203"/>
                      <a:gd name="T41" fmla="*/ 0 h 193"/>
                      <a:gd name="T42" fmla="*/ 177 w 203"/>
                      <a:gd name="T43" fmla="*/ 6 h 193"/>
                      <a:gd name="T44" fmla="*/ 177 w 203"/>
                      <a:gd name="T45" fmla="*/ 15 h 193"/>
                      <a:gd name="T46" fmla="*/ 202 w 203"/>
                      <a:gd name="T47" fmla="*/ 15 h 193"/>
                      <a:gd name="T48" fmla="*/ 192 w 203"/>
                      <a:gd name="T49" fmla="*/ 47 h 193"/>
                      <a:gd name="T50" fmla="*/ 202 w 203"/>
                      <a:gd name="T51" fmla="*/ 63 h 193"/>
                      <a:gd name="T52" fmla="*/ 202 w 203"/>
                      <a:gd name="T53" fmla="*/ 152 h 193"/>
                      <a:gd name="T54" fmla="*/ 202 w 203"/>
                      <a:gd name="T55" fmla="*/ 177 h 193"/>
                      <a:gd name="T56" fmla="*/ 192 w 203"/>
                      <a:gd name="T57" fmla="*/ 186 h 193"/>
                      <a:gd name="T58" fmla="*/ 184 w 203"/>
                      <a:gd name="T59" fmla="*/ 192 h 193"/>
                      <a:gd name="T60" fmla="*/ 87 w 203"/>
                      <a:gd name="T61" fmla="*/ 137 h 193"/>
                      <a:gd name="T62" fmla="*/ 72 w 203"/>
                      <a:gd name="T63" fmla="*/ 145 h 193"/>
                      <a:gd name="T64" fmla="*/ 63 w 203"/>
                      <a:gd name="T65" fmla="*/ 137 h 193"/>
                      <a:gd name="T66" fmla="*/ 31 w 203"/>
                      <a:gd name="T67" fmla="*/ 13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2" name="Freeform 19">
                    <a:extLst>
                      <a:ext uri="{FF2B5EF4-FFF2-40B4-BE49-F238E27FC236}">
                        <a16:creationId xmlns:a16="http://schemas.microsoft.com/office/drawing/2014/main" id="{1476803A-CBB4-F85C-A022-2335D156232F}"/>
                      </a:ext>
                    </a:extLst>
                  </p:cNvPr>
                  <p:cNvSpPr>
                    <a:spLocks/>
                  </p:cNvSpPr>
                  <p:nvPr/>
                </p:nvSpPr>
                <p:spPr bwMode="gray">
                  <a:xfrm>
                    <a:off x="4573068" y="4542912"/>
                    <a:ext cx="325655" cy="307822"/>
                  </a:xfrm>
                  <a:custGeom>
                    <a:avLst/>
                    <a:gdLst>
                      <a:gd name="T0" fmla="*/ 96 w 212"/>
                      <a:gd name="T1" fmla="*/ 0 h 203"/>
                      <a:gd name="T2" fmla="*/ 170 w 212"/>
                      <a:gd name="T3" fmla="*/ 56 h 203"/>
                      <a:gd name="T4" fmla="*/ 178 w 212"/>
                      <a:gd name="T5" fmla="*/ 65 h 203"/>
                      <a:gd name="T6" fmla="*/ 193 w 212"/>
                      <a:gd name="T7" fmla="*/ 74 h 203"/>
                      <a:gd name="T8" fmla="*/ 202 w 212"/>
                      <a:gd name="T9" fmla="*/ 80 h 203"/>
                      <a:gd name="T10" fmla="*/ 211 w 212"/>
                      <a:gd name="T11" fmla="*/ 80 h 203"/>
                      <a:gd name="T12" fmla="*/ 211 w 212"/>
                      <a:gd name="T13" fmla="*/ 121 h 203"/>
                      <a:gd name="T14" fmla="*/ 202 w 212"/>
                      <a:gd name="T15" fmla="*/ 130 h 203"/>
                      <a:gd name="T16" fmla="*/ 162 w 212"/>
                      <a:gd name="T17" fmla="*/ 137 h 203"/>
                      <a:gd name="T18" fmla="*/ 146 w 212"/>
                      <a:gd name="T19" fmla="*/ 137 h 203"/>
                      <a:gd name="T20" fmla="*/ 130 w 212"/>
                      <a:gd name="T21" fmla="*/ 155 h 203"/>
                      <a:gd name="T22" fmla="*/ 113 w 212"/>
                      <a:gd name="T23" fmla="*/ 162 h 203"/>
                      <a:gd name="T24" fmla="*/ 96 w 212"/>
                      <a:gd name="T25" fmla="*/ 187 h 203"/>
                      <a:gd name="T26" fmla="*/ 90 w 212"/>
                      <a:gd name="T27" fmla="*/ 195 h 203"/>
                      <a:gd name="T28" fmla="*/ 81 w 212"/>
                      <a:gd name="T29" fmla="*/ 202 h 203"/>
                      <a:gd name="T30" fmla="*/ 72 w 212"/>
                      <a:gd name="T31" fmla="*/ 195 h 203"/>
                      <a:gd name="T32" fmla="*/ 65 w 212"/>
                      <a:gd name="T33" fmla="*/ 202 h 203"/>
                      <a:gd name="T34" fmla="*/ 56 w 212"/>
                      <a:gd name="T35" fmla="*/ 202 h 203"/>
                      <a:gd name="T36" fmla="*/ 41 w 212"/>
                      <a:gd name="T37" fmla="*/ 170 h 203"/>
                      <a:gd name="T38" fmla="*/ 23 w 212"/>
                      <a:gd name="T39" fmla="*/ 177 h 203"/>
                      <a:gd name="T40" fmla="*/ 7 w 212"/>
                      <a:gd name="T41" fmla="*/ 177 h 203"/>
                      <a:gd name="T42" fmla="*/ 16 w 212"/>
                      <a:gd name="T43" fmla="*/ 170 h 203"/>
                      <a:gd name="T44" fmla="*/ 0 w 212"/>
                      <a:gd name="T45" fmla="*/ 137 h 203"/>
                      <a:gd name="T46" fmla="*/ 16 w 212"/>
                      <a:gd name="T47" fmla="*/ 130 h 203"/>
                      <a:gd name="T48" fmla="*/ 23 w 212"/>
                      <a:gd name="T49" fmla="*/ 137 h 203"/>
                      <a:gd name="T50" fmla="*/ 31 w 212"/>
                      <a:gd name="T51" fmla="*/ 130 h 203"/>
                      <a:gd name="T52" fmla="*/ 90 w 212"/>
                      <a:gd name="T53" fmla="*/ 130 h 203"/>
                      <a:gd name="T54" fmla="*/ 72 w 212"/>
                      <a:gd name="T55" fmla="*/ 0 h 203"/>
                      <a:gd name="T56" fmla="*/ 96 w 212"/>
                      <a:gd name="T57"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3" name="Freeform 20">
                    <a:extLst>
                      <a:ext uri="{FF2B5EF4-FFF2-40B4-BE49-F238E27FC236}">
                        <a16:creationId xmlns:a16="http://schemas.microsoft.com/office/drawing/2014/main" id="{BE4A130F-E7AE-882B-E3F7-DFE4C01799B2}"/>
                      </a:ext>
                    </a:extLst>
                  </p:cNvPr>
                  <p:cNvSpPr>
                    <a:spLocks/>
                  </p:cNvSpPr>
                  <p:nvPr/>
                </p:nvSpPr>
                <p:spPr bwMode="gray">
                  <a:xfrm>
                    <a:off x="4646437" y="4838067"/>
                    <a:ext cx="127430" cy="124142"/>
                  </a:xfrm>
                  <a:custGeom>
                    <a:avLst/>
                    <a:gdLst>
                      <a:gd name="T0" fmla="*/ 73 w 83"/>
                      <a:gd name="T1" fmla="*/ 72 h 82"/>
                      <a:gd name="T2" fmla="*/ 73 w 83"/>
                      <a:gd name="T3" fmla="*/ 47 h 82"/>
                      <a:gd name="T4" fmla="*/ 82 w 83"/>
                      <a:gd name="T5" fmla="*/ 32 h 82"/>
                      <a:gd name="T6" fmla="*/ 73 w 83"/>
                      <a:gd name="T7" fmla="*/ 16 h 82"/>
                      <a:gd name="T8" fmla="*/ 65 w 83"/>
                      <a:gd name="T9" fmla="*/ 7 h 82"/>
                      <a:gd name="T10" fmla="*/ 48 w 83"/>
                      <a:gd name="T11" fmla="*/ 7 h 82"/>
                      <a:gd name="T12" fmla="*/ 42 w 83"/>
                      <a:gd name="T13" fmla="*/ 0 h 82"/>
                      <a:gd name="T14" fmla="*/ 33 w 83"/>
                      <a:gd name="T15" fmla="*/ 7 h 82"/>
                      <a:gd name="T16" fmla="*/ 24 w 83"/>
                      <a:gd name="T17" fmla="*/ 0 h 82"/>
                      <a:gd name="T18" fmla="*/ 17 w 83"/>
                      <a:gd name="T19" fmla="*/ 7 h 82"/>
                      <a:gd name="T20" fmla="*/ 8 w 83"/>
                      <a:gd name="T21" fmla="*/ 7 h 82"/>
                      <a:gd name="T22" fmla="*/ 8 w 83"/>
                      <a:gd name="T23" fmla="*/ 16 h 82"/>
                      <a:gd name="T24" fmla="*/ 8 w 83"/>
                      <a:gd name="T25" fmla="*/ 23 h 82"/>
                      <a:gd name="T26" fmla="*/ 8 w 83"/>
                      <a:gd name="T27" fmla="*/ 32 h 82"/>
                      <a:gd name="T28" fmla="*/ 8 w 83"/>
                      <a:gd name="T29" fmla="*/ 41 h 82"/>
                      <a:gd name="T30" fmla="*/ 0 w 83"/>
                      <a:gd name="T31" fmla="*/ 41 h 82"/>
                      <a:gd name="T32" fmla="*/ 0 w 83"/>
                      <a:gd name="T33" fmla="*/ 56 h 82"/>
                      <a:gd name="T34" fmla="*/ 17 w 83"/>
                      <a:gd name="T35" fmla="*/ 65 h 82"/>
                      <a:gd name="T36" fmla="*/ 17 w 83"/>
                      <a:gd name="T37" fmla="*/ 81 h 82"/>
                      <a:gd name="T38" fmla="*/ 33 w 83"/>
                      <a:gd name="T39" fmla="*/ 72 h 82"/>
                      <a:gd name="T40" fmla="*/ 57 w 83"/>
                      <a:gd name="T41" fmla="*/ 72 h 82"/>
                      <a:gd name="T42" fmla="*/ 73 w 83"/>
                      <a:gd name="T43" fmla="*/ 7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4" name="Freeform 21">
                    <a:extLst>
                      <a:ext uri="{FF2B5EF4-FFF2-40B4-BE49-F238E27FC236}">
                        <a16:creationId xmlns:a16="http://schemas.microsoft.com/office/drawing/2014/main" id="{E09571D2-5153-31FE-BA90-D174C26BE1B9}"/>
                      </a:ext>
                    </a:extLst>
                  </p:cNvPr>
                  <p:cNvSpPr>
                    <a:spLocks/>
                  </p:cNvSpPr>
                  <p:nvPr/>
                </p:nvSpPr>
                <p:spPr bwMode="gray">
                  <a:xfrm>
                    <a:off x="4758420" y="4826666"/>
                    <a:ext cx="77230" cy="122876"/>
                  </a:xfrm>
                  <a:custGeom>
                    <a:avLst/>
                    <a:gdLst>
                      <a:gd name="T0" fmla="*/ 0 w 50"/>
                      <a:gd name="T1" fmla="*/ 24 h 81"/>
                      <a:gd name="T2" fmla="*/ 0 w 50"/>
                      <a:gd name="T3" fmla="*/ 8 h 81"/>
                      <a:gd name="T4" fmla="*/ 0 w 50"/>
                      <a:gd name="T5" fmla="*/ 0 h 81"/>
                      <a:gd name="T6" fmla="*/ 32 w 50"/>
                      <a:gd name="T7" fmla="*/ 0 h 81"/>
                      <a:gd name="T8" fmla="*/ 41 w 50"/>
                      <a:gd name="T9" fmla="*/ 31 h 81"/>
                      <a:gd name="T10" fmla="*/ 49 w 50"/>
                      <a:gd name="T11" fmla="*/ 55 h 81"/>
                      <a:gd name="T12" fmla="*/ 49 w 50"/>
                      <a:gd name="T13" fmla="*/ 64 h 81"/>
                      <a:gd name="T14" fmla="*/ 9 w 50"/>
                      <a:gd name="T15" fmla="*/ 80 h 81"/>
                      <a:gd name="T16" fmla="*/ 0 w 50"/>
                      <a:gd name="T17" fmla="*/ 80 h 81"/>
                      <a:gd name="T18" fmla="*/ 0 w 50"/>
                      <a:gd name="T19" fmla="*/ 55 h 81"/>
                      <a:gd name="T20" fmla="*/ 9 w 50"/>
                      <a:gd name="T21" fmla="*/ 40 h 81"/>
                      <a:gd name="T22" fmla="*/ 0 w 50"/>
                      <a:gd name="T23" fmla="*/ 24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5" name="Freeform 22">
                    <a:extLst>
                      <a:ext uri="{FF2B5EF4-FFF2-40B4-BE49-F238E27FC236}">
                        <a16:creationId xmlns:a16="http://schemas.microsoft.com/office/drawing/2014/main" id="{7C086D09-0E07-0C80-624B-D7A938E08B94}"/>
                      </a:ext>
                    </a:extLst>
                  </p:cNvPr>
                  <p:cNvSpPr>
                    <a:spLocks/>
                  </p:cNvSpPr>
                  <p:nvPr/>
                </p:nvSpPr>
                <p:spPr bwMode="gray">
                  <a:xfrm>
                    <a:off x="4983676" y="4998946"/>
                    <a:ext cx="113271" cy="122876"/>
                  </a:xfrm>
                  <a:custGeom>
                    <a:avLst/>
                    <a:gdLst>
                      <a:gd name="T0" fmla="*/ 16 w 74"/>
                      <a:gd name="T1" fmla="*/ 15 h 81"/>
                      <a:gd name="T2" fmla="*/ 32 w 74"/>
                      <a:gd name="T3" fmla="*/ 15 h 81"/>
                      <a:gd name="T4" fmla="*/ 32 w 74"/>
                      <a:gd name="T5" fmla="*/ 0 h 81"/>
                      <a:gd name="T6" fmla="*/ 57 w 74"/>
                      <a:gd name="T7" fmla="*/ 0 h 81"/>
                      <a:gd name="T8" fmla="*/ 57 w 74"/>
                      <a:gd name="T9" fmla="*/ 15 h 81"/>
                      <a:gd name="T10" fmla="*/ 65 w 74"/>
                      <a:gd name="T11" fmla="*/ 6 h 81"/>
                      <a:gd name="T12" fmla="*/ 73 w 74"/>
                      <a:gd name="T13" fmla="*/ 15 h 81"/>
                      <a:gd name="T14" fmla="*/ 73 w 74"/>
                      <a:gd name="T15" fmla="*/ 23 h 81"/>
                      <a:gd name="T16" fmla="*/ 73 w 74"/>
                      <a:gd name="T17" fmla="*/ 56 h 81"/>
                      <a:gd name="T18" fmla="*/ 50 w 74"/>
                      <a:gd name="T19" fmla="*/ 56 h 81"/>
                      <a:gd name="T20" fmla="*/ 41 w 74"/>
                      <a:gd name="T21" fmla="*/ 63 h 81"/>
                      <a:gd name="T22" fmla="*/ 41 w 74"/>
                      <a:gd name="T23" fmla="*/ 72 h 81"/>
                      <a:gd name="T24" fmla="*/ 32 w 74"/>
                      <a:gd name="T25" fmla="*/ 72 h 81"/>
                      <a:gd name="T26" fmla="*/ 32 w 74"/>
                      <a:gd name="T27" fmla="*/ 80 h 81"/>
                      <a:gd name="T28" fmla="*/ 16 w 74"/>
                      <a:gd name="T29" fmla="*/ 63 h 81"/>
                      <a:gd name="T30" fmla="*/ 0 w 74"/>
                      <a:gd name="T31" fmla="*/ 40 h 81"/>
                      <a:gd name="T32" fmla="*/ 10 w 74"/>
                      <a:gd name="T33" fmla="*/ 31 h 81"/>
                      <a:gd name="T34" fmla="*/ 10 w 74"/>
                      <a:gd name="T35" fmla="*/ 23 h 81"/>
                      <a:gd name="T36" fmla="*/ 16 w 74"/>
                      <a:gd name="T37" fmla="*/ 1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6" name="Freeform 23">
                    <a:extLst>
                      <a:ext uri="{FF2B5EF4-FFF2-40B4-BE49-F238E27FC236}">
                        <a16:creationId xmlns:a16="http://schemas.microsoft.com/office/drawing/2014/main" id="{7AEA4739-D814-9438-72B2-31EB09A6ABC2}"/>
                      </a:ext>
                    </a:extLst>
                  </p:cNvPr>
                  <p:cNvSpPr>
                    <a:spLocks/>
                  </p:cNvSpPr>
                  <p:nvPr/>
                </p:nvSpPr>
                <p:spPr bwMode="gray">
                  <a:xfrm>
                    <a:off x="4983676" y="4788663"/>
                    <a:ext cx="150599" cy="220416"/>
                  </a:xfrm>
                  <a:custGeom>
                    <a:avLst/>
                    <a:gdLst>
                      <a:gd name="T0" fmla="*/ 0 w 98"/>
                      <a:gd name="T1" fmla="*/ 105 h 146"/>
                      <a:gd name="T2" fmla="*/ 16 w 98"/>
                      <a:gd name="T3" fmla="*/ 80 h 146"/>
                      <a:gd name="T4" fmla="*/ 25 w 98"/>
                      <a:gd name="T5" fmla="*/ 80 h 146"/>
                      <a:gd name="T6" fmla="*/ 32 w 98"/>
                      <a:gd name="T7" fmla="*/ 89 h 146"/>
                      <a:gd name="T8" fmla="*/ 41 w 98"/>
                      <a:gd name="T9" fmla="*/ 80 h 146"/>
                      <a:gd name="T10" fmla="*/ 57 w 98"/>
                      <a:gd name="T11" fmla="*/ 56 h 146"/>
                      <a:gd name="T12" fmla="*/ 65 w 98"/>
                      <a:gd name="T13" fmla="*/ 33 h 146"/>
                      <a:gd name="T14" fmla="*/ 73 w 98"/>
                      <a:gd name="T15" fmla="*/ 15 h 146"/>
                      <a:gd name="T16" fmla="*/ 73 w 98"/>
                      <a:gd name="T17" fmla="*/ 8 h 146"/>
                      <a:gd name="T18" fmla="*/ 73 w 98"/>
                      <a:gd name="T19" fmla="*/ 0 h 146"/>
                      <a:gd name="T20" fmla="*/ 73 w 98"/>
                      <a:gd name="T21" fmla="*/ 8 h 146"/>
                      <a:gd name="T22" fmla="*/ 90 w 98"/>
                      <a:gd name="T23" fmla="*/ 40 h 146"/>
                      <a:gd name="T24" fmla="*/ 73 w 98"/>
                      <a:gd name="T25" fmla="*/ 40 h 146"/>
                      <a:gd name="T26" fmla="*/ 73 w 98"/>
                      <a:gd name="T27" fmla="*/ 49 h 146"/>
                      <a:gd name="T28" fmla="*/ 82 w 98"/>
                      <a:gd name="T29" fmla="*/ 56 h 146"/>
                      <a:gd name="T30" fmla="*/ 90 w 98"/>
                      <a:gd name="T31" fmla="*/ 74 h 146"/>
                      <a:gd name="T32" fmla="*/ 73 w 98"/>
                      <a:gd name="T33" fmla="*/ 98 h 146"/>
                      <a:gd name="T34" fmla="*/ 82 w 98"/>
                      <a:gd name="T35" fmla="*/ 105 h 146"/>
                      <a:gd name="T36" fmla="*/ 97 w 98"/>
                      <a:gd name="T37" fmla="*/ 130 h 146"/>
                      <a:gd name="T38" fmla="*/ 97 w 98"/>
                      <a:gd name="T39" fmla="*/ 145 h 146"/>
                      <a:gd name="T40" fmla="*/ 57 w 98"/>
                      <a:gd name="T41" fmla="*/ 139 h 146"/>
                      <a:gd name="T42" fmla="*/ 32 w 98"/>
                      <a:gd name="T43" fmla="*/ 139 h 146"/>
                      <a:gd name="T44" fmla="*/ 16 w 98"/>
                      <a:gd name="T45" fmla="*/ 139 h 146"/>
                      <a:gd name="T46" fmla="*/ 16 w 98"/>
                      <a:gd name="T47" fmla="*/ 130 h 146"/>
                      <a:gd name="T48" fmla="*/ 10 w 98"/>
                      <a:gd name="T49" fmla="*/ 121 h 146"/>
                      <a:gd name="T50" fmla="*/ 0 w 98"/>
                      <a:gd name="T51" fmla="*/ 114 h 146"/>
                      <a:gd name="T52" fmla="*/ 0 w 98"/>
                      <a:gd name="T53"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7" name="Freeform 24">
                    <a:extLst>
                      <a:ext uri="{FF2B5EF4-FFF2-40B4-BE49-F238E27FC236}">
                        <a16:creationId xmlns:a16="http://schemas.microsoft.com/office/drawing/2014/main" id="{2E93DA99-57C9-5109-F84E-744A9285EE82}"/>
                      </a:ext>
                    </a:extLst>
                  </p:cNvPr>
                  <p:cNvSpPr>
                    <a:spLocks/>
                  </p:cNvSpPr>
                  <p:nvPr/>
                </p:nvSpPr>
                <p:spPr bwMode="gray">
                  <a:xfrm>
                    <a:off x="4869117" y="4778529"/>
                    <a:ext cx="227830" cy="183680"/>
                  </a:xfrm>
                  <a:custGeom>
                    <a:avLst/>
                    <a:gdLst>
                      <a:gd name="T0" fmla="*/ 74 w 148"/>
                      <a:gd name="T1" fmla="*/ 112 h 122"/>
                      <a:gd name="T2" fmla="*/ 90 w 148"/>
                      <a:gd name="T3" fmla="*/ 87 h 122"/>
                      <a:gd name="T4" fmla="*/ 99 w 148"/>
                      <a:gd name="T5" fmla="*/ 87 h 122"/>
                      <a:gd name="T6" fmla="*/ 106 w 148"/>
                      <a:gd name="T7" fmla="*/ 96 h 122"/>
                      <a:gd name="T8" fmla="*/ 115 w 148"/>
                      <a:gd name="T9" fmla="*/ 87 h 122"/>
                      <a:gd name="T10" fmla="*/ 131 w 148"/>
                      <a:gd name="T11" fmla="*/ 63 h 122"/>
                      <a:gd name="T12" fmla="*/ 139 w 148"/>
                      <a:gd name="T13" fmla="*/ 40 h 122"/>
                      <a:gd name="T14" fmla="*/ 147 w 148"/>
                      <a:gd name="T15" fmla="*/ 22 h 122"/>
                      <a:gd name="T16" fmla="*/ 147 w 148"/>
                      <a:gd name="T17" fmla="*/ 15 h 122"/>
                      <a:gd name="T18" fmla="*/ 147 w 148"/>
                      <a:gd name="T19" fmla="*/ 7 h 122"/>
                      <a:gd name="T20" fmla="*/ 139 w 148"/>
                      <a:gd name="T21" fmla="*/ 0 h 122"/>
                      <a:gd name="T22" fmla="*/ 131 w 148"/>
                      <a:gd name="T23" fmla="*/ 0 h 122"/>
                      <a:gd name="T24" fmla="*/ 124 w 148"/>
                      <a:gd name="T25" fmla="*/ 7 h 122"/>
                      <a:gd name="T26" fmla="*/ 99 w 148"/>
                      <a:gd name="T27" fmla="*/ 7 h 122"/>
                      <a:gd name="T28" fmla="*/ 84 w 148"/>
                      <a:gd name="T29" fmla="*/ 15 h 122"/>
                      <a:gd name="T30" fmla="*/ 65 w 148"/>
                      <a:gd name="T31" fmla="*/ 7 h 122"/>
                      <a:gd name="T32" fmla="*/ 59 w 148"/>
                      <a:gd name="T33" fmla="*/ 7 h 122"/>
                      <a:gd name="T34" fmla="*/ 34 w 148"/>
                      <a:gd name="T35" fmla="*/ 0 h 122"/>
                      <a:gd name="T36" fmla="*/ 25 w 148"/>
                      <a:gd name="T37" fmla="*/ 0 h 122"/>
                      <a:gd name="T38" fmla="*/ 9 w 148"/>
                      <a:gd name="T39" fmla="*/ 15 h 122"/>
                      <a:gd name="T40" fmla="*/ 9 w 148"/>
                      <a:gd name="T41" fmla="*/ 22 h 122"/>
                      <a:gd name="T42" fmla="*/ 9 w 148"/>
                      <a:gd name="T43" fmla="*/ 40 h 122"/>
                      <a:gd name="T44" fmla="*/ 0 w 148"/>
                      <a:gd name="T45" fmla="*/ 72 h 122"/>
                      <a:gd name="T46" fmla="*/ 0 w 148"/>
                      <a:gd name="T47" fmla="*/ 96 h 122"/>
                      <a:gd name="T48" fmla="*/ 25 w 148"/>
                      <a:gd name="T49" fmla="*/ 96 h 122"/>
                      <a:gd name="T50" fmla="*/ 25 w 148"/>
                      <a:gd name="T51" fmla="*/ 105 h 122"/>
                      <a:gd name="T52" fmla="*/ 34 w 148"/>
                      <a:gd name="T53" fmla="*/ 121 h 122"/>
                      <a:gd name="T54" fmla="*/ 42 w 148"/>
                      <a:gd name="T55" fmla="*/ 121 h 122"/>
                      <a:gd name="T56" fmla="*/ 74 w 148"/>
                      <a:gd name="T57" fmla="*/ 121 h 122"/>
                      <a:gd name="T58" fmla="*/ 74 w 148"/>
                      <a:gd name="T59" fmla="*/ 11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8" name="Freeform 25">
                    <a:extLst>
                      <a:ext uri="{FF2B5EF4-FFF2-40B4-BE49-F238E27FC236}">
                        <a16:creationId xmlns:a16="http://schemas.microsoft.com/office/drawing/2014/main" id="{5DE6E4F2-5E81-B3E9-AF0E-D12E4B25A171}"/>
                      </a:ext>
                    </a:extLst>
                  </p:cNvPr>
                  <p:cNvSpPr>
                    <a:spLocks/>
                  </p:cNvSpPr>
                  <p:nvPr/>
                </p:nvSpPr>
                <p:spPr bwMode="gray">
                  <a:xfrm>
                    <a:off x="4821492" y="4580915"/>
                    <a:ext cx="312784" cy="231816"/>
                  </a:xfrm>
                  <a:custGeom>
                    <a:avLst/>
                    <a:gdLst>
                      <a:gd name="T0" fmla="*/ 170 w 203"/>
                      <a:gd name="T1" fmla="*/ 130 h 153"/>
                      <a:gd name="T2" fmla="*/ 170 w 203"/>
                      <a:gd name="T3" fmla="*/ 120 h 153"/>
                      <a:gd name="T4" fmla="*/ 195 w 203"/>
                      <a:gd name="T5" fmla="*/ 89 h 153"/>
                      <a:gd name="T6" fmla="*/ 202 w 203"/>
                      <a:gd name="T7" fmla="*/ 40 h 153"/>
                      <a:gd name="T8" fmla="*/ 187 w 203"/>
                      <a:gd name="T9" fmla="*/ 24 h 153"/>
                      <a:gd name="T10" fmla="*/ 187 w 203"/>
                      <a:gd name="T11" fmla="*/ 8 h 153"/>
                      <a:gd name="T12" fmla="*/ 178 w 203"/>
                      <a:gd name="T13" fmla="*/ 0 h 153"/>
                      <a:gd name="T14" fmla="*/ 146 w 203"/>
                      <a:gd name="T15" fmla="*/ 0 h 153"/>
                      <a:gd name="T16" fmla="*/ 65 w 203"/>
                      <a:gd name="T17" fmla="*/ 55 h 153"/>
                      <a:gd name="T18" fmla="*/ 49 w 203"/>
                      <a:gd name="T19" fmla="*/ 55 h 153"/>
                      <a:gd name="T20" fmla="*/ 49 w 203"/>
                      <a:gd name="T21" fmla="*/ 96 h 153"/>
                      <a:gd name="T22" fmla="*/ 40 w 203"/>
                      <a:gd name="T23" fmla="*/ 105 h 153"/>
                      <a:gd name="T24" fmla="*/ 0 w 203"/>
                      <a:gd name="T25" fmla="*/ 112 h 153"/>
                      <a:gd name="T26" fmla="*/ 0 w 203"/>
                      <a:gd name="T27" fmla="*/ 130 h 153"/>
                      <a:gd name="T28" fmla="*/ 16 w 203"/>
                      <a:gd name="T29" fmla="*/ 145 h 153"/>
                      <a:gd name="T30" fmla="*/ 25 w 203"/>
                      <a:gd name="T31" fmla="*/ 145 h 153"/>
                      <a:gd name="T32" fmla="*/ 25 w 203"/>
                      <a:gd name="T33" fmla="*/ 152 h 153"/>
                      <a:gd name="T34" fmla="*/ 25 w 203"/>
                      <a:gd name="T35" fmla="*/ 145 h 153"/>
                      <a:gd name="T36" fmla="*/ 31 w 203"/>
                      <a:gd name="T37" fmla="*/ 145 h 153"/>
                      <a:gd name="T38" fmla="*/ 40 w 203"/>
                      <a:gd name="T39" fmla="*/ 152 h 153"/>
                      <a:gd name="T40" fmla="*/ 40 w 203"/>
                      <a:gd name="T41" fmla="*/ 145 h 153"/>
                      <a:gd name="T42" fmla="*/ 56 w 203"/>
                      <a:gd name="T43" fmla="*/ 130 h 153"/>
                      <a:gd name="T44" fmla="*/ 65 w 203"/>
                      <a:gd name="T45" fmla="*/ 130 h 153"/>
                      <a:gd name="T46" fmla="*/ 90 w 203"/>
                      <a:gd name="T47" fmla="*/ 137 h 153"/>
                      <a:gd name="T48" fmla="*/ 96 w 203"/>
                      <a:gd name="T49" fmla="*/ 137 h 153"/>
                      <a:gd name="T50" fmla="*/ 115 w 203"/>
                      <a:gd name="T51" fmla="*/ 145 h 153"/>
                      <a:gd name="T52" fmla="*/ 130 w 203"/>
                      <a:gd name="T53" fmla="*/ 137 h 153"/>
                      <a:gd name="T54" fmla="*/ 155 w 203"/>
                      <a:gd name="T55" fmla="*/ 137 h 153"/>
                      <a:gd name="T56" fmla="*/ 162 w 203"/>
                      <a:gd name="T57" fmla="*/ 130 h 153"/>
                      <a:gd name="T58" fmla="*/ 170 w 203"/>
                      <a:gd name="T59" fmla="*/ 13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89" name="Freeform 26">
                    <a:extLst>
                      <a:ext uri="{FF2B5EF4-FFF2-40B4-BE49-F238E27FC236}">
                        <a16:creationId xmlns:a16="http://schemas.microsoft.com/office/drawing/2014/main" id="{FCE768FE-62B0-C85C-A640-04E4185FA2BE}"/>
                      </a:ext>
                    </a:extLst>
                  </p:cNvPr>
                  <p:cNvSpPr>
                    <a:spLocks/>
                  </p:cNvSpPr>
                  <p:nvPr/>
                </p:nvSpPr>
                <p:spPr bwMode="gray">
                  <a:xfrm>
                    <a:off x="5246260" y="4593582"/>
                    <a:ext cx="328229" cy="380028"/>
                  </a:xfrm>
                  <a:custGeom>
                    <a:avLst/>
                    <a:gdLst>
                      <a:gd name="T0" fmla="*/ 7 w 213"/>
                      <a:gd name="T1" fmla="*/ 154 h 251"/>
                      <a:gd name="T2" fmla="*/ 23 w 213"/>
                      <a:gd name="T3" fmla="*/ 169 h 251"/>
                      <a:gd name="T4" fmla="*/ 23 w 213"/>
                      <a:gd name="T5" fmla="*/ 185 h 251"/>
                      <a:gd name="T6" fmla="*/ 41 w 213"/>
                      <a:gd name="T7" fmla="*/ 194 h 251"/>
                      <a:gd name="T8" fmla="*/ 73 w 213"/>
                      <a:gd name="T9" fmla="*/ 234 h 251"/>
                      <a:gd name="T10" fmla="*/ 81 w 213"/>
                      <a:gd name="T11" fmla="*/ 243 h 251"/>
                      <a:gd name="T12" fmla="*/ 106 w 213"/>
                      <a:gd name="T13" fmla="*/ 243 h 251"/>
                      <a:gd name="T14" fmla="*/ 113 w 213"/>
                      <a:gd name="T15" fmla="*/ 250 h 251"/>
                      <a:gd name="T16" fmla="*/ 128 w 213"/>
                      <a:gd name="T17" fmla="*/ 250 h 251"/>
                      <a:gd name="T18" fmla="*/ 153 w 213"/>
                      <a:gd name="T19" fmla="*/ 243 h 251"/>
                      <a:gd name="T20" fmla="*/ 162 w 213"/>
                      <a:gd name="T21" fmla="*/ 243 h 251"/>
                      <a:gd name="T22" fmla="*/ 178 w 213"/>
                      <a:gd name="T23" fmla="*/ 243 h 251"/>
                      <a:gd name="T24" fmla="*/ 178 w 213"/>
                      <a:gd name="T25" fmla="*/ 227 h 251"/>
                      <a:gd name="T26" fmla="*/ 170 w 213"/>
                      <a:gd name="T27" fmla="*/ 227 h 251"/>
                      <a:gd name="T28" fmla="*/ 153 w 213"/>
                      <a:gd name="T29" fmla="*/ 203 h 251"/>
                      <a:gd name="T30" fmla="*/ 146 w 213"/>
                      <a:gd name="T31" fmla="*/ 194 h 251"/>
                      <a:gd name="T32" fmla="*/ 153 w 213"/>
                      <a:gd name="T33" fmla="*/ 185 h 251"/>
                      <a:gd name="T34" fmla="*/ 162 w 213"/>
                      <a:gd name="T35" fmla="*/ 162 h 251"/>
                      <a:gd name="T36" fmla="*/ 187 w 213"/>
                      <a:gd name="T37" fmla="*/ 129 h 251"/>
                      <a:gd name="T38" fmla="*/ 193 w 213"/>
                      <a:gd name="T39" fmla="*/ 81 h 251"/>
                      <a:gd name="T40" fmla="*/ 212 w 213"/>
                      <a:gd name="T41" fmla="*/ 72 h 251"/>
                      <a:gd name="T42" fmla="*/ 212 w 213"/>
                      <a:gd name="T43" fmla="*/ 64 h 251"/>
                      <a:gd name="T44" fmla="*/ 203 w 213"/>
                      <a:gd name="T45" fmla="*/ 57 h 251"/>
                      <a:gd name="T46" fmla="*/ 193 w 213"/>
                      <a:gd name="T47" fmla="*/ 7 h 251"/>
                      <a:gd name="T48" fmla="*/ 178 w 213"/>
                      <a:gd name="T49" fmla="*/ 0 h 251"/>
                      <a:gd name="T50" fmla="*/ 153 w 213"/>
                      <a:gd name="T51" fmla="*/ 16 h 251"/>
                      <a:gd name="T52" fmla="*/ 146 w 213"/>
                      <a:gd name="T53" fmla="*/ 7 h 251"/>
                      <a:gd name="T54" fmla="*/ 41 w 213"/>
                      <a:gd name="T55" fmla="*/ 7 h 251"/>
                      <a:gd name="T56" fmla="*/ 41 w 213"/>
                      <a:gd name="T57" fmla="*/ 32 h 251"/>
                      <a:gd name="T58" fmla="*/ 31 w 213"/>
                      <a:gd name="T59" fmla="*/ 41 h 251"/>
                      <a:gd name="T60" fmla="*/ 23 w 213"/>
                      <a:gd name="T61" fmla="*/ 47 h 251"/>
                      <a:gd name="T62" fmla="*/ 23 w 213"/>
                      <a:gd name="T63" fmla="*/ 88 h 251"/>
                      <a:gd name="T64" fmla="*/ 23 w 213"/>
                      <a:gd name="T65" fmla="*/ 97 h 251"/>
                      <a:gd name="T66" fmla="*/ 16 w 213"/>
                      <a:gd name="T67" fmla="*/ 97 h 251"/>
                      <a:gd name="T68" fmla="*/ 0 w 213"/>
                      <a:gd name="T69" fmla="*/ 129 h 251"/>
                      <a:gd name="T70" fmla="*/ 16 w 213"/>
                      <a:gd name="T71" fmla="*/ 154 h 251"/>
                      <a:gd name="T72" fmla="*/ 7 w 213"/>
                      <a:gd name="T73" fmla="*/ 154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0" name="Freeform 27">
                    <a:extLst>
                      <a:ext uri="{FF2B5EF4-FFF2-40B4-BE49-F238E27FC236}">
                        <a16:creationId xmlns:a16="http://schemas.microsoft.com/office/drawing/2014/main" id="{8A11054A-743B-99B5-9417-1F6943B76844}"/>
                      </a:ext>
                    </a:extLst>
                  </p:cNvPr>
                  <p:cNvSpPr>
                    <a:spLocks/>
                  </p:cNvSpPr>
                  <p:nvPr/>
                </p:nvSpPr>
                <p:spPr bwMode="gray">
                  <a:xfrm>
                    <a:off x="5095660" y="4826666"/>
                    <a:ext cx="265158" cy="160879"/>
                  </a:xfrm>
                  <a:custGeom>
                    <a:avLst/>
                    <a:gdLst>
                      <a:gd name="T0" fmla="*/ 105 w 172"/>
                      <a:gd name="T1" fmla="*/ 0 h 106"/>
                      <a:gd name="T2" fmla="*/ 121 w 172"/>
                      <a:gd name="T3" fmla="*/ 15 h 106"/>
                      <a:gd name="T4" fmla="*/ 121 w 172"/>
                      <a:gd name="T5" fmla="*/ 31 h 106"/>
                      <a:gd name="T6" fmla="*/ 139 w 172"/>
                      <a:gd name="T7" fmla="*/ 40 h 106"/>
                      <a:gd name="T8" fmla="*/ 171 w 172"/>
                      <a:gd name="T9" fmla="*/ 80 h 106"/>
                      <a:gd name="T10" fmla="*/ 114 w 172"/>
                      <a:gd name="T11" fmla="*/ 80 h 106"/>
                      <a:gd name="T12" fmla="*/ 105 w 172"/>
                      <a:gd name="T13" fmla="*/ 89 h 106"/>
                      <a:gd name="T14" fmla="*/ 80 w 172"/>
                      <a:gd name="T15" fmla="*/ 89 h 106"/>
                      <a:gd name="T16" fmla="*/ 74 w 172"/>
                      <a:gd name="T17" fmla="*/ 80 h 106"/>
                      <a:gd name="T18" fmla="*/ 65 w 172"/>
                      <a:gd name="T19" fmla="*/ 80 h 106"/>
                      <a:gd name="T20" fmla="*/ 57 w 172"/>
                      <a:gd name="T21" fmla="*/ 96 h 106"/>
                      <a:gd name="T22" fmla="*/ 34 w 172"/>
                      <a:gd name="T23" fmla="*/ 105 h 106"/>
                      <a:gd name="T24" fmla="*/ 24 w 172"/>
                      <a:gd name="T25" fmla="*/ 105 h 106"/>
                      <a:gd name="T26" fmla="*/ 9 w 172"/>
                      <a:gd name="T27" fmla="*/ 80 h 106"/>
                      <a:gd name="T28" fmla="*/ 0 w 172"/>
                      <a:gd name="T29" fmla="*/ 73 h 106"/>
                      <a:gd name="T30" fmla="*/ 17 w 172"/>
                      <a:gd name="T31" fmla="*/ 49 h 106"/>
                      <a:gd name="T32" fmla="*/ 57 w 172"/>
                      <a:gd name="T33" fmla="*/ 40 h 106"/>
                      <a:gd name="T34" fmla="*/ 65 w 172"/>
                      <a:gd name="T35" fmla="*/ 31 h 106"/>
                      <a:gd name="T36" fmla="*/ 57 w 172"/>
                      <a:gd name="T37" fmla="*/ 31 h 106"/>
                      <a:gd name="T38" fmla="*/ 80 w 172"/>
                      <a:gd name="T39" fmla="*/ 24 h 106"/>
                      <a:gd name="T40" fmla="*/ 98 w 172"/>
                      <a:gd name="T41" fmla="*/ 8 h 106"/>
                      <a:gd name="T42" fmla="*/ 105 w 172"/>
                      <a:gd name="T43"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1" name="Freeform 28">
                    <a:extLst>
                      <a:ext uri="{FF2B5EF4-FFF2-40B4-BE49-F238E27FC236}">
                        <a16:creationId xmlns:a16="http://schemas.microsoft.com/office/drawing/2014/main" id="{AD6AD578-F218-4CBB-59CA-1FB32A301EA1}"/>
                      </a:ext>
                    </a:extLst>
                  </p:cNvPr>
                  <p:cNvSpPr>
                    <a:spLocks/>
                  </p:cNvSpPr>
                  <p:nvPr/>
                </p:nvSpPr>
                <p:spPr bwMode="gray">
                  <a:xfrm>
                    <a:off x="5481812" y="4960942"/>
                    <a:ext cx="164758" cy="172279"/>
                  </a:xfrm>
                  <a:custGeom>
                    <a:avLst/>
                    <a:gdLst>
                      <a:gd name="T0" fmla="*/ 106 w 107"/>
                      <a:gd name="T1" fmla="*/ 7 h 114"/>
                      <a:gd name="T2" fmla="*/ 90 w 107"/>
                      <a:gd name="T3" fmla="*/ 0 h 114"/>
                      <a:gd name="T4" fmla="*/ 65 w 107"/>
                      <a:gd name="T5" fmla="*/ 7 h 114"/>
                      <a:gd name="T6" fmla="*/ 25 w 107"/>
                      <a:gd name="T7" fmla="*/ 0 h 114"/>
                      <a:gd name="T8" fmla="*/ 9 w 107"/>
                      <a:gd name="T9" fmla="*/ 0 h 114"/>
                      <a:gd name="T10" fmla="*/ 0 w 107"/>
                      <a:gd name="T11" fmla="*/ 0 h 114"/>
                      <a:gd name="T12" fmla="*/ 9 w 107"/>
                      <a:gd name="T13" fmla="*/ 7 h 114"/>
                      <a:gd name="T14" fmla="*/ 17 w 107"/>
                      <a:gd name="T15" fmla="*/ 31 h 114"/>
                      <a:gd name="T16" fmla="*/ 0 w 107"/>
                      <a:gd name="T17" fmla="*/ 56 h 114"/>
                      <a:gd name="T18" fmla="*/ 0 w 107"/>
                      <a:gd name="T19" fmla="*/ 65 h 114"/>
                      <a:gd name="T20" fmla="*/ 9 w 107"/>
                      <a:gd name="T21" fmla="*/ 65 h 114"/>
                      <a:gd name="T22" fmla="*/ 50 w 107"/>
                      <a:gd name="T23" fmla="*/ 88 h 114"/>
                      <a:gd name="T24" fmla="*/ 50 w 107"/>
                      <a:gd name="T25" fmla="*/ 105 h 114"/>
                      <a:gd name="T26" fmla="*/ 74 w 107"/>
                      <a:gd name="T27" fmla="*/ 113 h 114"/>
                      <a:gd name="T28" fmla="*/ 82 w 107"/>
                      <a:gd name="T29" fmla="*/ 88 h 114"/>
                      <a:gd name="T30" fmla="*/ 90 w 107"/>
                      <a:gd name="T31" fmla="*/ 88 h 114"/>
                      <a:gd name="T32" fmla="*/ 99 w 107"/>
                      <a:gd name="T33" fmla="*/ 72 h 114"/>
                      <a:gd name="T34" fmla="*/ 90 w 107"/>
                      <a:gd name="T35" fmla="*/ 65 h 114"/>
                      <a:gd name="T36" fmla="*/ 90 w 107"/>
                      <a:gd name="T37" fmla="*/ 25 h 114"/>
                      <a:gd name="T38" fmla="*/ 106 w 107"/>
                      <a:gd name="T39"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2" name="Freeform 29">
                    <a:extLst>
                      <a:ext uri="{FF2B5EF4-FFF2-40B4-BE49-F238E27FC236}">
                        <a16:creationId xmlns:a16="http://schemas.microsoft.com/office/drawing/2014/main" id="{B7299EA6-C674-517A-8986-CA57FE63C335}"/>
                      </a:ext>
                    </a:extLst>
                  </p:cNvPr>
                  <p:cNvSpPr>
                    <a:spLocks/>
                  </p:cNvSpPr>
                  <p:nvPr/>
                </p:nvSpPr>
                <p:spPr bwMode="gray">
                  <a:xfrm>
                    <a:off x="5395571" y="4960942"/>
                    <a:ext cx="114558" cy="110208"/>
                  </a:xfrm>
                  <a:custGeom>
                    <a:avLst/>
                    <a:gdLst>
                      <a:gd name="T0" fmla="*/ 56 w 74"/>
                      <a:gd name="T1" fmla="*/ 0 h 73"/>
                      <a:gd name="T2" fmla="*/ 65 w 74"/>
                      <a:gd name="T3" fmla="*/ 7 h 73"/>
                      <a:gd name="T4" fmla="*/ 73 w 74"/>
                      <a:gd name="T5" fmla="*/ 31 h 73"/>
                      <a:gd name="T6" fmla="*/ 56 w 74"/>
                      <a:gd name="T7" fmla="*/ 56 h 73"/>
                      <a:gd name="T8" fmla="*/ 56 w 74"/>
                      <a:gd name="T9" fmla="*/ 65 h 73"/>
                      <a:gd name="T10" fmla="*/ 31 w 74"/>
                      <a:gd name="T11" fmla="*/ 65 h 73"/>
                      <a:gd name="T12" fmla="*/ 16 w 74"/>
                      <a:gd name="T13" fmla="*/ 65 h 73"/>
                      <a:gd name="T14" fmla="*/ 0 w 74"/>
                      <a:gd name="T15" fmla="*/ 72 h 73"/>
                      <a:gd name="T16" fmla="*/ 9 w 74"/>
                      <a:gd name="T17" fmla="*/ 48 h 73"/>
                      <a:gd name="T18" fmla="*/ 16 w 74"/>
                      <a:gd name="T19" fmla="*/ 40 h 73"/>
                      <a:gd name="T20" fmla="*/ 25 w 74"/>
                      <a:gd name="T21" fmla="*/ 25 h 73"/>
                      <a:gd name="T22" fmla="*/ 16 w 74"/>
                      <a:gd name="T23" fmla="*/ 25 h 73"/>
                      <a:gd name="T24" fmla="*/ 16 w 74"/>
                      <a:gd name="T25" fmla="*/ 7 h 73"/>
                      <a:gd name="T26" fmla="*/ 31 w 74"/>
                      <a:gd name="T27" fmla="*/ 7 h 73"/>
                      <a:gd name="T28" fmla="*/ 56 w 74"/>
                      <a:gd name="T2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3" name="Freeform 30">
                    <a:extLst>
                      <a:ext uri="{FF2B5EF4-FFF2-40B4-BE49-F238E27FC236}">
                        <a16:creationId xmlns:a16="http://schemas.microsoft.com/office/drawing/2014/main" id="{29EA0C19-2B52-7CD7-BA9F-1A7B82C1E621}"/>
                      </a:ext>
                    </a:extLst>
                  </p:cNvPr>
                  <p:cNvSpPr>
                    <a:spLocks/>
                  </p:cNvSpPr>
                  <p:nvPr/>
                </p:nvSpPr>
                <p:spPr bwMode="gray">
                  <a:xfrm>
                    <a:off x="5395571" y="5059750"/>
                    <a:ext cx="213671" cy="209015"/>
                  </a:xfrm>
                  <a:custGeom>
                    <a:avLst/>
                    <a:gdLst>
                      <a:gd name="T0" fmla="*/ 49 w 139"/>
                      <a:gd name="T1" fmla="*/ 113 h 138"/>
                      <a:gd name="T2" fmla="*/ 25 w 139"/>
                      <a:gd name="T3" fmla="*/ 97 h 138"/>
                      <a:gd name="T4" fmla="*/ 16 w 139"/>
                      <a:gd name="T5" fmla="*/ 97 h 138"/>
                      <a:gd name="T6" fmla="*/ 0 w 139"/>
                      <a:gd name="T7" fmla="*/ 72 h 138"/>
                      <a:gd name="T8" fmla="*/ 0 w 139"/>
                      <a:gd name="T9" fmla="*/ 48 h 138"/>
                      <a:gd name="T10" fmla="*/ 16 w 139"/>
                      <a:gd name="T11" fmla="*/ 32 h 138"/>
                      <a:gd name="T12" fmla="*/ 16 w 139"/>
                      <a:gd name="T13" fmla="*/ 23 h 138"/>
                      <a:gd name="T14" fmla="*/ 16 w 139"/>
                      <a:gd name="T15" fmla="*/ 16 h 138"/>
                      <a:gd name="T16" fmla="*/ 16 w 139"/>
                      <a:gd name="T17" fmla="*/ 0 h 138"/>
                      <a:gd name="T18" fmla="*/ 31 w 139"/>
                      <a:gd name="T19" fmla="*/ 0 h 138"/>
                      <a:gd name="T20" fmla="*/ 56 w 139"/>
                      <a:gd name="T21" fmla="*/ 0 h 138"/>
                      <a:gd name="T22" fmla="*/ 65 w 139"/>
                      <a:gd name="T23" fmla="*/ 0 h 138"/>
                      <a:gd name="T24" fmla="*/ 106 w 139"/>
                      <a:gd name="T25" fmla="*/ 23 h 138"/>
                      <a:gd name="T26" fmla="*/ 106 w 139"/>
                      <a:gd name="T27" fmla="*/ 40 h 138"/>
                      <a:gd name="T28" fmla="*/ 130 w 139"/>
                      <a:gd name="T29" fmla="*/ 48 h 138"/>
                      <a:gd name="T30" fmla="*/ 121 w 139"/>
                      <a:gd name="T31" fmla="*/ 63 h 138"/>
                      <a:gd name="T32" fmla="*/ 130 w 139"/>
                      <a:gd name="T33" fmla="*/ 80 h 138"/>
                      <a:gd name="T34" fmla="*/ 130 w 139"/>
                      <a:gd name="T35" fmla="*/ 103 h 138"/>
                      <a:gd name="T36" fmla="*/ 130 w 139"/>
                      <a:gd name="T37" fmla="*/ 113 h 138"/>
                      <a:gd name="T38" fmla="*/ 138 w 139"/>
                      <a:gd name="T39" fmla="*/ 122 h 138"/>
                      <a:gd name="T40" fmla="*/ 121 w 139"/>
                      <a:gd name="T41" fmla="*/ 137 h 138"/>
                      <a:gd name="T42" fmla="*/ 90 w 139"/>
                      <a:gd name="T43" fmla="*/ 137 h 138"/>
                      <a:gd name="T44" fmla="*/ 73 w 139"/>
                      <a:gd name="T45" fmla="*/ 137 h 138"/>
                      <a:gd name="T46" fmla="*/ 65 w 139"/>
                      <a:gd name="T47" fmla="*/ 113 h 138"/>
                      <a:gd name="T48" fmla="*/ 56 w 139"/>
                      <a:gd name="T49" fmla="*/ 113 h 138"/>
                      <a:gd name="T50" fmla="*/ 49 w 139"/>
                      <a:gd name="T51" fmla="*/ 11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4" name="Freeform 31">
                    <a:extLst>
                      <a:ext uri="{FF2B5EF4-FFF2-40B4-BE49-F238E27FC236}">
                        <a16:creationId xmlns:a16="http://schemas.microsoft.com/office/drawing/2014/main" id="{40F6FD5A-EBF4-3524-657B-39A9711876D5}"/>
                      </a:ext>
                    </a:extLst>
                  </p:cNvPr>
                  <p:cNvSpPr>
                    <a:spLocks/>
                  </p:cNvSpPr>
                  <p:nvPr/>
                </p:nvSpPr>
                <p:spPr bwMode="gray">
                  <a:xfrm>
                    <a:off x="5060906" y="4947008"/>
                    <a:ext cx="374567" cy="359760"/>
                  </a:xfrm>
                  <a:custGeom>
                    <a:avLst/>
                    <a:gdLst>
                      <a:gd name="T0" fmla="*/ 194 w 244"/>
                      <a:gd name="T1" fmla="*/ 0 h 237"/>
                      <a:gd name="T2" fmla="*/ 137 w 244"/>
                      <a:gd name="T3" fmla="*/ 0 h 237"/>
                      <a:gd name="T4" fmla="*/ 128 w 244"/>
                      <a:gd name="T5" fmla="*/ 9 h 237"/>
                      <a:gd name="T6" fmla="*/ 103 w 244"/>
                      <a:gd name="T7" fmla="*/ 9 h 237"/>
                      <a:gd name="T8" fmla="*/ 97 w 244"/>
                      <a:gd name="T9" fmla="*/ 0 h 237"/>
                      <a:gd name="T10" fmla="*/ 88 w 244"/>
                      <a:gd name="T11" fmla="*/ 0 h 237"/>
                      <a:gd name="T12" fmla="*/ 80 w 244"/>
                      <a:gd name="T13" fmla="*/ 16 h 237"/>
                      <a:gd name="T14" fmla="*/ 63 w 244"/>
                      <a:gd name="T15" fmla="*/ 74 h 237"/>
                      <a:gd name="T16" fmla="*/ 47 w 244"/>
                      <a:gd name="T17" fmla="*/ 90 h 237"/>
                      <a:gd name="T18" fmla="*/ 40 w 244"/>
                      <a:gd name="T19" fmla="*/ 114 h 237"/>
                      <a:gd name="T20" fmla="*/ 23 w 244"/>
                      <a:gd name="T21" fmla="*/ 122 h 237"/>
                      <a:gd name="T22" fmla="*/ 7 w 244"/>
                      <a:gd name="T23" fmla="*/ 122 h 237"/>
                      <a:gd name="T24" fmla="*/ 0 w 244"/>
                      <a:gd name="T25" fmla="*/ 137 h 237"/>
                      <a:gd name="T26" fmla="*/ 0 w 244"/>
                      <a:gd name="T27" fmla="*/ 146 h 237"/>
                      <a:gd name="T28" fmla="*/ 15 w 244"/>
                      <a:gd name="T29" fmla="*/ 137 h 237"/>
                      <a:gd name="T30" fmla="*/ 47 w 244"/>
                      <a:gd name="T31" fmla="*/ 137 h 237"/>
                      <a:gd name="T32" fmla="*/ 57 w 244"/>
                      <a:gd name="T33" fmla="*/ 137 h 237"/>
                      <a:gd name="T34" fmla="*/ 57 w 244"/>
                      <a:gd name="T35" fmla="*/ 154 h 237"/>
                      <a:gd name="T36" fmla="*/ 72 w 244"/>
                      <a:gd name="T37" fmla="*/ 171 h 237"/>
                      <a:gd name="T38" fmla="*/ 88 w 244"/>
                      <a:gd name="T39" fmla="*/ 162 h 237"/>
                      <a:gd name="T40" fmla="*/ 88 w 244"/>
                      <a:gd name="T41" fmla="*/ 154 h 237"/>
                      <a:gd name="T42" fmla="*/ 103 w 244"/>
                      <a:gd name="T43" fmla="*/ 154 h 237"/>
                      <a:gd name="T44" fmla="*/ 121 w 244"/>
                      <a:gd name="T45" fmla="*/ 162 h 237"/>
                      <a:gd name="T46" fmla="*/ 121 w 244"/>
                      <a:gd name="T47" fmla="*/ 187 h 237"/>
                      <a:gd name="T48" fmla="*/ 128 w 244"/>
                      <a:gd name="T49" fmla="*/ 196 h 237"/>
                      <a:gd name="T50" fmla="*/ 121 w 244"/>
                      <a:gd name="T51" fmla="*/ 202 h 237"/>
                      <a:gd name="T52" fmla="*/ 121 w 244"/>
                      <a:gd name="T53" fmla="*/ 211 h 237"/>
                      <a:gd name="T54" fmla="*/ 144 w 244"/>
                      <a:gd name="T55" fmla="*/ 202 h 237"/>
                      <a:gd name="T56" fmla="*/ 177 w 244"/>
                      <a:gd name="T57" fmla="*/ 219 h 237"/>
                      <a:gd name="T58" fmla="*/ 186 w 244"/>
                      <a:gd name="T59" fmla="*/ 211 h 237"/>
                      <a:gd name="T60" fmla="*/ 209 w 244"/>
                      <a:gd name="T61" fmla="*/ 227 h 237"/>
                      <a:gd name="T62" fmla="*/ 218 w 244"/>
                      <a:gd name="T63" fmla="*/ 236 h 237"/>
                      <a:gd name="T64" fmla="*/ 218 w 244"/>
                      <a:gd name="T65" fmla="*/ 219 h 237"/>
                      <a:gd name="T66" fmla="*/ 209 w 244"/>
                      <a:gd name="T67" fmla="*/ 219 h 237"/>
                      <a:gd name="T68" fmla="*/ 209 w 244"/>
                      <a:gd name="T69" fmla="*/ 211 h 237"/>
                      <a:gd name="T70" fmla="*/ 209 w 244"/>
                      <a:gd name="T71" fmla="*/ 177 h 237"/>
                      <a:gd name="T72" fmla="*/ 209 w 244"/>
                      <a:gd name="T73" fmla="*/ 171 h 237"/>
                      <a:gd name="T74" fmla="*/ 234 w 244"/>
                      <a:gd name="T75" fmla="*/ 171 h 237"/>
                      <a:gd name="T76" fmla="*/ 218 w 244"/>
                      <a:gd name="T77" fmla="*/ 146 h 237"/>
                      <a:gd name="T78" fmla="*/ 218 w 244"/>
                      <a:gd name="T79" fmla="*/ 122 h 237"/>
                      <a:gd name="T80" fmla="*/ 218 w 244"/>
                      <a:gd name="T81" fmla="*/ 106 h 237"/>
                      <a:gd name="T82" fmla="*/ 218 w 244"/>
                      <a:gd name="T83" fmla="*/ 97 h 237"/>
                      <a:gd name="T84" fmla="*/ 209 w 244"/>
                      <a:gd name="T85" fmla="*/ 97 h 237"/>
                      <a:gd name="T86" fmla="*/ 218 w 244"/>
                      <a:gd name="T87" fmla="*/ 81 h 237"/>
                      <a:gd name="T88" fmla="*/ 227 w 244"/>
                      <a:gd name="T89" fmla="*/ 57 h 237"/>
                      <a:gd name="T90" fmla="*/ 234 w 244"/>
                      <a:gd name="T91" fmla="*/ 49 h 237"/>
                      <a:gd name="T92" fmla="*/ 243 w 244"/>
                      <a:gd name="T93" fmla="*/ 34 h 237"/>
                      <a:gd name="T94" fmla="*/ 234 w 244"/>
                      <a:gd name="T95" fmla="*/ 34 h 237"/>
                      <a:gd name="T96" fmla="*/ 234 w 244"/>
                      <a:gd name="T97" fmla="*/ 16 h 237"/>
                      <a:gd name="T98" fmla="*/ 227 w 244"/>
                      <a:gd name="T99" fmla="*/ 9 h 237"/>
                      <a:gd name="T100" fmla="*/ 202 w 244"/>
                      <a:gd name="T101" fmla="*/ 9 h 237"/>
                      <a:gd name="T102" fmla="*/ 194 w 244"/>
                      <a:gd name="T103" fmla="*/ 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5" name="Freeform 32">
                    <a:extLst>
                      <a:ext uri="{FF2B5EF4-FFF2-40B4-BE49-F238E27FC236}">
                        <a16:creationId xmlns:a16="http://schemas.microsoft.com/office/drawing/2014/main" id="{499D2B52-E1AD-C10E-54D9-25F2CE627ECF}"/>
                      </a:ext>
                    </a:extLst>
                  </p:cNvPr>
                  <p:cNvSpPr>
                    <a:spLocks/>
                  </p:cNvSpPr>
                  <p:nvPr/>
                </p:nvSpPr>
                <p:spPr bwMode="gray">
                  <a:xfrm>
                    <a:off x="5246260" y="5206693"/>
                    <a:ext cx="236840" cy="184947"/>
                  </a:xfrm>
                  <a:custGeom>
                    <a:avLst/>
                    <a:gdLst>
                      <a:gd name="T0" fmla="*/ 23 w 154"/>
                      <a:gd name="T1" fmla="*/ 31 h 122"/>
                      <a:gd name="T2" fmla="*/ 56 w 154"/>
                      <a:gd name="T3" fmla="*/ 48 h 122"/>
                      <a:gd name="T4" fmla="*/ 65 w 154"/>
                      <a:gd name="T5" fmla="*/ 40 h 122"/>
                      <a:gd name="T6" fmla="*/ 88 w 154"/>
                      <a:gd name="T7" fmla="*/ 56 h 122"/>
                      <a:gd name="T8" fmla="*/ 97 w 154"/>
                      <a:gd name="T9" fmla="*/ 65 h 122"/>
                      <a:gd name="T10" fmla="*/ 97 w 154"/>
                      <a:gd name="T11" fmla="*/ 48 h 122"/>
                      <a:gd name="T12" fmla="*/ 88 w 154"/>
                      <a:gd name="T13" fmla="*/ 48 h 122"/>
                      <a:gd name="T14" fmla="*/ 88 w 154"/>
                      <a:gd name="T15" fmla="*/ 40 h 122"/>
                      <a:gd name="T16" fmla="*/ 88 w 154"/>
                      <a:gd name="T17" fmla="*/ 6 h 122"/>
                      <a:gd name="T18" fmla="*/ 88 w 154"/>
                      <a:gd name="T19" fmla="*/ 0 h 122"/>
                      <a:gd name="T20" fmla="*/ 113 w 154"/>
                      <a:gd name="T21" fmla="*/ 0 h 122"/>
                      <a:gd name="T22" fmla="*/ 122 w 154"/>
                      <a:gd name="T23" fmla="*/ 0 h 122"/>
                      <a:gd name="T24" fmla="*/ 146 w 154"/>
                      <a:gd name="T25" fmla="*/ 16 h 122"/>
                      <a:gd name="T26" fmla="*/ 153 w 154"/>
                      <a:gd name="T27" fmla="*/ 31 h 122"/>
                      <a:gd name="T28" fmla="*/ 146 w 154"/>
                      <a:gd name="T29" fmla="*/ 40 h 122"/>
                      <a:gd name="T30" fmla="*/ 146 w 154"/>
                      <a:gd name="T31" fmla="*/ 48 h 122"/>
                      <a:gd name="T32" fmla="*/ 138 w 154"/>
                      <a:gd name="T33" fmla="*/ 65 h 122"/>
                      <a:gd name="T34" fmla="*/ 146 w 154"/>
                      <a:gd name="T35" fmla="*/ 72 h 122"/>
                      <a:gd name="T36" fmla="*/ 106 w 154"/>
                      <a:gd name="T37" fmla="*/ 88 h 122"/>
                      <a:gd name="T38" fmla="*/ 106 w 154"/>
                      <a:gd name="T39" fmla="*/ 97 h 122"/>
                      <a:gd name="T40" fmla="*/ 88 w 154"/>
                      <a:gd name="T41" fmla="*/ 97 h 122"/>
                      <a:gd name="T42" fmla="*/ 88 w 154"/>
                      <a:gd name="T43" fmla="*/ 105 h 122"/>
                      <a:gd name="T44" fmla="*/ 65 w 154"/>
                      <a:gd name="T45" fmla="*/ 121 h 122"/>
                      <a:gd name="T46" fmla="*/ 41 w 154"/>
                      <a:gd name="T47" fmla="*/ 121 h 122"/>
                      <a:gd name="T48" fmla="*/ 23 w 154"/>
                      <a:gd name="T49" fmla="*/ 112 h 122"/>
                      <a:gd name="T50" fmla="*/ 16 w 154"/>
                      <a:gd name="T51" fmla="*/ 121 h 122"/>
                      <a:gd name="T52" fmla="*/ 0 w 154"/>
                      <a:gd name="T53" fmla="*/ 105 h 122"/>
                      <a:gd name="T54" fmla="*/ 0 w 154"/>
                      <a:gd name="T55" fmla="*/ 65 h 122"/>
                      <a:gd name="T56" fmla="*/ 31 w 154"/>
                      <a:gd name="T57" fmla="*/ 56 h 122"/>
                      <a:gd name="T58" fmla="*/ 23 w 154"/>
                      <a:gd name="T59" fmla="*/ 3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6" name="Freeform 33">
                    <a:extLst>
                      <a:ext uri="{FF2B5EF4-FFF2-40B4-BE49-F238E27FC236}">
                        <a16:creationId xmlns:a16="http://schemas.microsoft.com/office/drawing/2014/main" id="{78BAACC4-C4E3-EDE6-3348-5FE36831076D}"/>
                      </a:ext>
                    </a:extLst>
                  </p:cNvPr>
                  <p:cNvSpPr>
                    <a:spLocks/>
                  </p:cNvSpPr>
                  <p:nvPr/>
                </p:nvSpPr>
                <p:spPr bwMode="gray">
                  <a:xfrm>
                    <a:off x="5458643" y="5230762"/>
                    <a:ext cx="63072" cy="146944"/>
                  </a:xfrm>
                  <a:custGeom>
                    <a:avLst/>
                    <a:gdLst>
                      <a:gd name="T0" fmla="*/ 8 w 41"/>
                      <a:gd name="T1" fmla="*/ 56 h 97"/>
                      <a:gd name="T2" fmla="*/ 0 w 41"/>
                      <a:gd name="T3" fmla="*/ 49 h 97"/>
                      <a:gd name="T4" fmla="*/ 8 w 41"/>
                      <a:gd name="T5" fmla="*/ 32 h 97"/>
                      <a:gd name="T6" fmla="*/ 8 w 41"/>
                      <a:gd name="T7" fmla="*/ 24 h 97"/>
                      <a:gd name="T8" fmla="*/ 15 w 41"/>
                      <a:gd name="T9" fmla="*/ 15 h 97"/>
                      <a:gd name="T10" fmla="*/ 8 w 41"/>
                      <a:gd name="T11" fmla="*/ 0 h 97"/>
                      <a:gd name="T12" fmla="*/ 15 w 41"/>
                      <a:gd name="T13" fmla="*/ 0 h 97"/>
                      <a:gd name="T14" fmla="*/ 24 w 41"/>
                      <a:gd name="T15" fmla="*/ 0 h 97"/>
                      <a:gd name="T16" fmla="*/ 32 w 41"/>
                      <a:gd name="T17" fmla="*/ 24 h 97"/>
                      <a:gd name="T18" fmla="*/ 24 w 41"/>
                      <a:gd name="T19" fmla="*/ 32 h 97"/>
                      <a:gd name="T20" fmla="*/ 32 w 41"/>
                      <a:gd name="T21" fmla="*/ 49 h 97"/>
                      <a:gd name="T22" fmla="*/ 40 w 41"/>
                      <a:gd name="T23" fmla="*/ 64 h 97"/>
                      <a:gd name="T24" fmla="*/ 40 w 41"/>
                      <a:gd name="T25" fmla="*/ 81 h 97"/>
                      <a:gd name="T26" fmla="*/ 32 w 41"/>
                      <a:gd name="T27" fmla="*/ 96 h 97"/>
                      <a:gd name="T28" fmla="*/ 24 w 41"/>
                      <a:gd name="T29" fmla="*/ 81 h 97"/>
                      <a:gd name="T30" fmla="*/ 24 w 41"/>
                      <a:gd name="T31" fmla="*/ 64 h 97"/>
                      <a:gd name="T32" fmla="*/ 15 w 41"/>
                      <a:gd name="T33" fmla="*/ 64 h 97"/>
                      <a:gd name="T34" fmla="*/ 8 w 41"/>
                      <a:gd name="T35" fmla="*/ 5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7" name="Freeform 34">
                    <a:extLst>
                      <a:ext uri="{FF2B5EF4-FFF2-40B4-BE49-F238E27FC236}">
                        <a16:creationId xmlns:a16="http://schemas.microsoft.com/office/drawing/2014/main" id="{54BCABD9-5A8B-A58F-67DF-B74E31556708}"/>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8" name="Freeform 35">
                    <a:extLst>
                      <a:ext uri="{FF2B5EF4-FFF2-40B4-BE49-F238E27FC236}">
                        <a16:creationId xmlns:a16="http://schemas.microsoft.com/office/drawing/2014/main" id="{B6F60DEB-9C98-576D-0AFB-2235C3CFA9AC}"/>
                      </a:ext>
                    </a:extLst>
                  </p:cNvPr>
                  <p:cNvSpPr>
                    <a:spLocks/>
                  </p:cNvSpPr>
                  <p:nvPr/>
                </p:nvSpPr>
                <p:spPr bwMode="gray">
                  <a:xfrm>
                    <a:off x="5071204" y="4763328"/>
                    <a:ext cx="52774" cy="39270"/>
                  </a:xfrm>
                  <a:custGeom>
                    <a:avLst/>
                    <a:gdLst>
                      <a:gd name="T0" fmla="*/ 0 w 34"/>
                      <a:gd name="T1" fmla="*/ 10 h 26"/>
                      <a:gd name="T2" fmla="*/ 16 w 34"/>
                      <a:gd name="T3" fmla="*/ 25 h 26"/>
                      <a:gd name="T4" fmla="*/ 25 w 34"/>
                      <a:gd name="T5" fmla="*/ 17 h 26"/>
                      <a:gd name="T6" fmla="*/ 33 w 34"/>
                      <a:gd name="T7" fmla="*/ 17 h 26"/>
                      <a:gd name="T8" fmla="*/ 16 w 34"/>
                      <a:gd name="T9" fmla="*/ 10 h 26"/>
                      <a:gd name="T10" fmla="*/ 8 w 34"/>
                      <a:gd name="T11" fmla="*/ 0 h 26"/>
                      <a:gd name="T12" fmla="*/ 0 w 34"/>
                      <a:gd name="T13" fmla="*/ 10 h 26"/>
                    </a:gdLst>
                    <a:ahLst/>
                    <a:cxnLst>
                      <a:cxn ang="0">
                        <a:pos x="T0" y="T1"/>
                      </a:cxn>
                      <a:cxn ang="0">
                        <a:pos x="T2" y="T3"/>
                      </a:cxn>
                      <a:cxn ang="0">
                        <a:pos x="T4" y="T5"/>
                      </a:cxn>
                      <a:cxn ang="0">
                        <a:pos x="T6" y="T7"/>
                      </a:cxn>
                      <a:cxn ang="0">
                        <a:pos x="T8" y="T9"/>
                      </a:cxn>
                      <a:cxn ang="0">
                        <a:pos x="T10" y="T11"/>
                      </a:cxn>
                      <a:cxn ang="0">
                        <a:pos x="T12" y="T13"/>
                      </a:cxn>
                    </a:cxnLst>
                    <a:rect l="0" t="0" r="r" b="b"/>
                    <a:pathLst>
                      <a:path w="34" h="26">
                        <a:moveTo>
                          <a:pt x="0" y="10"/>
                        </a:moveTo>
                        <a:lnTo>
                          <a:pt x="16" y="25"/>
                        </a:lnTo>
                        <a:lnTo>
                          <a:pt x="25" y="17"/>
                        </a:lnTo>
                        <a:lnTo>
                          <a:pt x="33" y="17"/>
                        </a:lnTo>
                        <a:lnTo>
                          <a:pt x="16" y="10"/>
                        </a:lnTo>
                        <a:lnTo>
                          <a:pt x="8" y="0"/>
                        </a:lnTo>
                        <a:lnTo>
                          <a:pt x="0" y="1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799" name="Freeform 135">
                    <a:extLst>
                      <a:ext uri="{FF2B5EF4-FFF2-40B4-BE49-F238E27FC236}">
                        <a16:creationId xmlns:a16="http://schemas.microsoft.com/office/drawing/2014/main" id="{9B769054-7B42-38FA-61F3-98ACF94FD17B}"/>
                      </a:ext>
                    </a:extLst>
                  </p:cNvPr>
                  <p:cNvSpPr>
                    <a:spLocks/>
                  </p:cNvSpPr>
                  <p:nvPr/>
                </p:nvSpPr>
                <p:spPr bwMode="gray">
                  <a:xfrm>
                    <a:off x="5507555" y="4273092"/>
                    <a:ext cx="151887" cy="111475"/>
                  </a:xfrm>
                  <a:custGeom>
                    <a:avLst/>
                    <a:gdLst>
                      <a:gd name="T0" fmla="*/ 0 w 98"/>
                      <a:gd name="T1" fmla="*/ 72 h 73"/>
                      <a:gd name="T2" fmla="*/ 8 w 98"/>
                      <a:gd name="T3" fmla="*/ 66 h 73"/>
                      <a:gd name="T4" fmla="*/ 17 w 98"/>
                      <a:gd name="T5" fmla="*/ 49 h 73"/>
                      <a:gd name="T6" fmla="*/ 8 w 98"/>
                      <a:gd name="T7" fmla="*/ 41 h 73"/>
                      <a:gd name="T8" fmla="*/ 8 w 98"/>
                      <a:gd name="T9" fmla="*/ 16 h 73"/>
                      <a:gd name="T10" fmla="*/ 17 w 98"/>
                      <a:gd name="T11" fmla="*/ 16 h 73"/>
                      <a:gd name="T12" fmla="*/ 17 w 98"/>
                      <a:gd name="T13" fmla="*/ 9 h 73"/>
                      <a:gd name="T14" fmla="*/ 42 w 98"/>
                      <a:gd name="T15" fmla="*/ 0 h 73"/>
                      <a:gd name="T16" fmla="*/ 48 w 98"/>
                      <a:gd name="T17" fmla="*/ 9 h 73"/>
                      <a:gd name="T18" fmla="*/ 73 w 98"/>
                      <a:gd name="T19" fmla="*/ 0 h 73"/>
                      <a:gd name="T20" fmla="*/ 97 w 98"/>
                      <a:gd name="T21" fmla="*/ 0 h 73"/>
                      <a:gd name="T22" fmla="*/ 82 w 98"/>
                      <a:gd name="T23" fmla="*/ 9 h 73"/>
                      <a:gd name="T24" fmla="*/ 73 w 98"/>
                      <a:gd name="T25" fmla="*/ 41 h 73"/>
                      <a:gd name="T26" fmla="*/ 48 w 98"/>
                      <a:gd name="T27" fmla="*/ 56 h 73"/>
                      <a:gd name="T28" fmla="*/ 42 w 98"/>
                      <a:gd name="T29" fmla="*/ 56 h 73"/>
                      <a:gd name="T30" fmla="*/ 17 w 98"/>
                      <a:gd name="T31" fmla="*/ 72 h 73"/>
                      <a:gd name="T32" fmla="*/ 0 w 98"/>
                      <a:gd name="T33"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0" name="Freeform 136">
                    <a:extLst>
                      <a:ext uri="{FF2B5EF4-FFF2-40B4-BE49-F238E27FC236}">
                        <a16:creationId xmlns:a16="http://schemas.microsoft.com/office/drawing/2014/main" id="{6C3B6ED6-A7A7-97FD-0DC3-978EBCED6E5F}"/>
                      </a:ext>
                    </a:extLst>
                  </p:cNvPr>
                  <p:cNvSpPr>
                    <a:spLocks/>
                  </p:cNvSpPr>
                  <p:nvPr/>
                </p:nvSpPr>
                <p:spPr bwMode="gray">
                  <a:xfrm>
                    <a:off x="5495971" y="4357965"/>
                    <a:ext cx="87528" cy="100074"/>
                  </a:xfrm>
                  <a:custGeom>
                    <a:avLst/>
                    <a:gdLst>
                      <a:gd name="T0" fmla="*/ 56 w 57"/>
                      <a:gd name="T1" fmla="*/ 16 h 66"/>
                      <a:gd name="T2" fmla="*/ 56 w 57"/>
                      <a:gd name="T3" fmla="*/ 0 h 66"/>
                      <a:gd name="T4" fmla="*/ 50 w 57"/>
                      <a:gd name="T5" fmla="*/ 0 h 66"/>
                      <a:gd name="T6" fmla="*/ 25 w 57"/>
                      <a:gd name="T7" fmla="*/ 16 h 66"/>
                      <a:gd name="T8" fmla="*/ 8 w 57"/>
                      <a:gd name="T9" fmla="*/ 16 h 66"/>
                      <a:gd name="T10" fmla="*/ 8 w 57"/>
                      <a:gd name="T11" fmla="*/ 25 h 66"/>
                      <a:gd name="T12" fmla="*/ 8 w 57"/>
                      <a:gd name="T13" fmla="*/ 41 h 66"/>
                      <a:gd name="T14" fmla="*/ 0 w 57"/>
                      <a:gd name="T15" fmla="*/ 65 h 66"/>
                      <a:gd name="T16" fmla="*/ 16 w 57"/>
                      <a:gd name="T17" fmla="*/ 65 h 66"/>
                      <a:gd name="T18" fmla="*/ 25 w 57"/>
                      <a:gd name="T19" fmla="*/ 57 h 66"/>
                      <a:gd name="T20" fmla="*/ 31 w 57"/>
                      <a:gd name="T21" fmla="*/ 57 h 66"/>
                      <a:gd name="T22" fmla="*/ 41 w 57"/>
                      <a:gd name="T23" fmla="*/ 41 h 66"/>
                      <a:gd name="T24" fmla="*/ 31 w 57"/>
                      <a:gd name="T25" fmla="*/ 34 h 66"/>
                      <a:gd name="T26" fmla="*/ 56 w 57"/>
                      <a:gd name="T27"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1" name="Freeform 137">
                    <a:extLst>
                      <a:ext uri="{FF2B5EF4-FFF2-40B4-BE49-F238E27FC236}">
                        <a16:creationId xmlns:a16="http://schemas.microsoft.com/office/drawing/2014/main" id="{ECD979F2-BADE-680A-C79C-392A3C5FDC62}"/>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2" name="Freeform 138">
                    <a:extLst>
                      <a:ext uri="{FF2B5EF4-FFF2-40B4-BE49-F238E27FC236}">
                        <a16:creationId xmlns:a16="http://schemas.microsoft.com/office/drawing/2014/main" id="{C0AC4F3D-CC35-94B5-6966-52779A08B2E0}"/>
                      </a:ext>
                    </a:extLst>
                  </p:cNvPr>
                  <p:cNvSpPr>
                    <a:spLocks/>
                  </p:cNvSpPr>
                  <p:nvPr/>
                </p:nvSpPr>
                <p:spPr bwMode="gray">
                  <a:xfrm>
                    <a:off x="5507555" y="4335163"/>
                    <a:ext cx="28318" cy="40536"/>
                  </a:xfrm>
                  <a:custGeom>
                    <a:avLst/>
                    <a:gdLst>
                      <a:gd name="T0" fmla="*/ 8 w 18"/>
                      <a:gd name="T1" fmla="*/ 25 h 26"/>
                      <a:gd name="T2" fmla="*/ 0 w 18"/>
                      <a:gd name="T3" fmla="*/ 25 h 26"/>
                      <a:gd name="T4" fmla="*/ 8 w 18"/>
                      <a:gd name="T5" fmla="*/ 0 h 26"/>
                      <a:gd name="T6" fmla="*/ 17 w 18"/>
                      <a:gd name="T7" fmla="*/ 8 h 26"/>
                      <a:gd name="T8" fmla="*/ 8 w 18"/>
                      <a:gd name="T9" fmla="*/ 25 h 26"/>
                    </a:gdLst>
                    <a:ahLst/>
                    <a:cxnLst>
                      <a:cxn ang="0">
                        <a:pos x="T0" y="T1"/>
                      </a:cxn>
                      <a:cxn ang="0">
                        <a:pos x="T2" y="T3"/>
                      </a:cxn>
                      <a:cxn ang="0">
                        <a:pos x="T4" y="T5"/>
                      </a:cxn>
                      <a:cxn ang="0">
                        <a:pos x="T6" y="T7"/>
                      </a:cxn>
                      <a:cxn ang="0">
                        <a:pos x="T8" y="T9"/>
                      </a:cxn>
                    </a:cxnLst>
                    <a:rect l="0" t="0" r="r" b="b"/>
                    <a:pathLst>
                      <a:path w="18" h="26">
                        <a:moveTo>
                          <a:pt x="8" y="25"/>
                        </a:moveTo>
                        <a:lnTo>
                          <a:pt x="0" y="25"/>
                        </a:lnTo>
                        <a:lnTo>
                          <a:pt x="8" y="0"/>
                        </a:lnTo>
                        <a:lnTo>
                          <a:pt x="17" y="8"/>
                        </a:lnTo>
                        <a:lnTo>
                          <a:pt x="8" y="25"/>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3" name="Freeform 139">
                    <a:extLst>
                      <a:ext uri="{FF2B5EF4-FFF2-40B4-BE49-F238E27FC236}">
                        <a16:creationId xmlns:a16="http://schemas.microsoft.com/office/drawing/2014/main" id="{12AEC5FF-5CCD-F0FD-4306-5BBF71C22FDC}"/>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4" name="Freeform 140">
                    <a:extLst>
                      <a:ext uri="{FF2B5EF4-FFF2-40B4-BE49-F238E27FC236}">
                        <a16:creationId xmlns:a16="http://schemas.microsoft.com/office/drawing/2014/main" id="{34EDF6EC-F39A-EFB1-283D-EB15E0677EC3}"/>
                      </a:ext>
                    </a:extLst>
                  </p:cNvPr>
                  <p:cNvSpPr>
                    <a:spLocks/>
                  </p:cNvSpPr>
                  <p:nvPr/>
                </p:nvSpPr>
                <p:spPr bwMode="gray">
                  <a:xfrm>
                    <a:off x="5481812" y="4373166"/>
                    <a:ext cx="39902" cy="84873"/>
                  </a:xfrm>
                  <a:custGeom>
                    <a:avLst/>
                    <a:gdLst>
                      <a:gd name="T0" fmla="*/ 17 w 26"/>
                      <a:gd name="T1" fmla="*/ 6 h 56"/>
                      <a:gd name="T2" fmla="*/ 17 w 26"/>
                      <a:gd name="T3" fmla="*/ 15 h 56"/>
                      <a:gd name="T4" fmla="*/ 17 w 26"/>
                      <a:gd name="T5" fmla="*/ 31 h 56"/>
                      <a:gd name="T6" fmla="*/ 9 w 26"/>
                      <a:gd name="T7" fmla="*/ 55 h 56"/>
                      <a:gd name="T8" fmla="*/ 0 w 26"/>
                      <a:gd name="T9" fmla="*/ 24 h 56"/>
                      <a:gd name="T10" fmla="*/ 9 w 26"/>
                      <a:gd name="T11" fmla="*/ 15 h 56"/>
                      <a:gd name="T12" fmla="*/ 17 w 26"/>
                      <a:gd name="T13" fmla="*/ 0 h 56"/>
                      <a:gd name="T14" fmla="*/ 25 w 26"/>
                      <a:gd name="T15" fmla="*/ 0 h 56"/>
                      <a:gd name="T16" fmla="*/ 17 w 26"/>
                      <a:gd name="T17"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6">
                        <a:moveTo>
                          <a:pt x="17" y="6"/>
                        </a:moveTo>
                        <a:lnTo>
                          <a:pt x="17" y="15"/>
                        </a:lnTo>
                        <a:lnTo>
                          <a:pt x="17" y="31"/>
                        </a:lnTo>
                        <a:lnTo>
                          <a:pt x="9" y="55"/>
                        </a:lnTo>
                        <a:lnTo>
                          <a:pt x="0" y="24"/>
                        </a:lnTo>
                        <a:lnTo>
                          <a:pt x="9" y="15"/>
                        </a:lnTo>
                        <a:lnTo>
                          <a:pt x="17" y="0"/>
                        </a:lnTo>
                        <a:lnTo>
                          <a:pt x="25" y="0"/>
                        </a:lnTo>
                        <a:lnTo>
                          <a:pt x="17" y="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5" name="Freeform 142">
                    <a:extLst>
                      <a:ext uri="{FF2B5EF4-FFF2-40B4-BE49-F238E27FC236}">
                        <a16:creationId xmlns:a16="http://schemas.microsoft.com/office/drawing/2014/main" id="{19748CC7-845A-17B2-52DF-41DEEAD5160C}"/>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6" name="Freeform 143">
                    <a:extLst>
                      <a:ext uri="{FF2B5EF4-FFF2-40B4-BE49-F238E27FC236}">
                        <a16:creationId xmlns:a16="http://schemas.microsoft.com/office/drawing/2014/main" id="{7E301164-8D2B-F56D-3BF8-40792BD4B3B8}"/>
                      </a:ext>
                    </a:extLst>
                  </p:cNvPr>
                  <p:cNvSpPr>
                    <a:spLocks/>
                  </p:cNvSpPr>
                  <p:nvPr/>
                </p:nvSpPr>
                <p:spPr bwMode="gray">
                  <a:xfrm>
                    <a:off x="5695483" y="4445371"/>
                    <a:ext cx="37328" cy="25335"/>
                  </a:xfrm>
                  <a:custGeom>
                    <a:avLst/>
                    <a:gdLst>
                      <a:gd name="T0" fmla="*/ 0 w 24"/>
                      <a:gd name="T1" fmla="*/ 8 h 17"/>
                      <a:gd name="T2" fmla="*/ 7 w 24"/>
                      <a:gd name="T3" fmla="*/ 0 h 17"/>
                      <a:gd name="T4" fmla="*/ 23 w 24"/>
                      <a:gd name="T5" fmla="*/ 8 h 17"/>
                      <a:gd name="T6" fmla="*/ 7 w 24"/>
                      <a:gd name="T7" fmla="*/ 16 h 17"/>
                      <a:gd name="T8" fmla="*/ 0 w 24"/>
                      <a:gd name="T9" fmla="*/ 8 h 17"/>
                    </a:gdLst>
                    <a:ahLst/>
                    <a:cxnLst>
                      <a:cxn ang="0">
                        <a:pos x="T0" y="T1"/>
                      </a:cxn>
                      <a:cxn ang="0">
                        <a:pos x="T2" y="T3"/>
                      </a:cxn>
                      <a:cxn ang="0">
                        <a:pos x="T4" y="T5"/>
                      </a:cxn>
                      <a:cxn ang="0">
                        <a:pos x="T6" y="T7"/>
                      </a:cxn>
                      <a:cxn ang="0">
                        <a:pos x="T8" y="T9"/>
                      </a:cxn>
                    </a:cxnLst>
                    <a:rect l="0" t="0" r="r" b="b"/>
                    <a:pathLst>
                      <a:path w="24" h="17">
                        <a:moveTo>
                          <a:pt x="0" y="8"/>
                        </a:moveTo>
                        <a:lnTo>
                          <a:pt x="7" y="0"/>
                        </a:lnTo>
                        <a:lnTo>
                          <a:pt x="23" y="8"/>
                        </a:lnTo>
                        <a:lnTo>
                          <a:pt x="7" y="16"/>
                        </a:lnTo>
                        <a:lnTo>
                          <a:pt x="0" y="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7" name="Freeform 144">
                    <a:extLst>
                      <a:ext uri="{FF2B5EF4-FFF2-40B4-BE49-F238E27FC236}">
                        <a16:creationId xmlns:a16="http://schemas.microsoft.com/office/drawing/2014/main" id="{88318BB9-026A-C35C-E682-3DEEF9C1E815}"/>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8" name="Freeform 145">
                    <a:extLst>
                      <a:ext uri="{FF2B5EF4-FFF2-40B4-BE49-F238E27FC236}">
                        <a16:creationId xmlns:a16="http://schemas.microsoft.com/office/drawing/2014/main" id="{AF0FA913-C4D4-C08F-6016-DF3358CFDF6B}"/>
                      </a:ext>
                    </a:extLst>
                  </p:cNvPr>
                  <p:cNvSpPr>
                    <a:spLocks/>
                  </p:cNvSpPr>
                  <p:nvPr/>
                </p:nvSpPr>
                <p:spPr bwMode="gray">
                  <a:xfrm>
                    <a:off x="5731524" y="4445371"/>
                    <a:ext cx="39902" cy="25335"/>
                  </a:xfrm>
                  <a:custGeom>
                    <a:avLst/>
                    <a:gdLst>
                      <a:gd name="T0" fmla="*/ 0 w 26"/>
                      <a:gd name="T1" fmla="*/ 8 h 17"/>
                      <a:gd name="T2" fmla="*/ 9 w 26"/>
                      <a:gd name="T3" fmla="*/ 0 h 17"/>
                      <a:gd name="T4" fmla="*/ 25 w 26"/>
                      <a:gd name="T5" fmla="*/ 0 h 17"/>
                      <a:gd name="T6" fmla="*/ 17 w 26"/>
                      <a:gd name="T7" fmla="*/ 8 h 17"/>
                      <a:gd name="T8" fmla="*/ 25 w 26"/>
                      <a:gd name="T9" fmla="*/ 16 h 17"/>
                      <a:gd name="T10" fmla="*/ 0 w 26"/>
                      <a:gd name="T11" fmla="*/ 8 h 17"/>
                    </a:gdLst>
                    <a:ahLst/>
                    <a:cxnLst>
                      <a:cxn ang="0">
                        <a:pos x="T0" y="T1"/>
                      </a:cxn>
                      <a:cxn ang="0">
                        <a:pos x="T2" y="T3"/>
                      </a:cxn>
                      <a:cxn ang="0">
                        <a:pos x="T4" y="T5"/>
                      </a:cxn>
                      <a:cxn ang="0">
                        <a:pos x="T6" y="T7"/>
                      </a:cxn>
                      <a:cxn ang="0">
                        <a:pos x="T8" y="T9"/>
                      </a:cxn>
                      <a:cxn ang="0">
                        <a:pos x="T10" y="T11"/>
                      </a:cxn>
                    </a:cxnLst>
                    <a:rect l="0" t="0" r="r" b="b"/>
                    <a:pathLst>
                      <a:path w="26" h="17">
                        <a:moveTo>
                          <a:pt x="0" y="8"/>
                        </a:moveTo>
                        <a:lnTo>
                          <a:pt x="9" y="0"/>
                        </a:lnTo>
                        <a:lnTo>
                          <a:pt x="25" y="0"/>
                        </a:lnTo>
                        <a:lnTo>
                          <a:pt x="17" y="8"/>
                        </a:lnTo>
                        <a:lnTo>
                          <a:pt x="25" y="16"/>
                        </a:lnTo>
                        <a:lnTo>
                          <a:pt x="0" y="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09" name="Freeform 146">
                    <a:extLst>
                      <a:ext uri="{FF2B5EF4-FFF2-40B4-BE49-F238E27FC236}">
                        <a16:creationId xmlns:a16="http://schemas.microsoft.com/office/drawing/2014/main" id="{147E40D2-7588-1984-3DB9-CDC845992375}"/>
                      </a:ext>
                    </a:extLst>
                  </p:cNvPr>
                  <p:cNvSpPr>
                    <a:spLocks/>
                  </p:cNvSpPr>
                  <p:nvPr/>
                </p:nvSpPr>
                <p:spPr bwMode="gray">
                  <a:xfrm>
                    <a:off x="5495971" y="4383300"/>
                    <a:ext cx="438927" cy="396496"/>
                  </a:xfrm>
                  <a:custGeom>
                    <a:avLst/>
                    <a:gdLst>
                      <a:gd name="T0" fmla="*/ 236 w 285"/>
                      <a:gd name="T1" fmla="*/ 211 h 262"/>
                      <a:gd name="T2" fmla="*/ 243 w 285"/>
                      <a:gd name="T3" fmla="*/ 203 h 262"/>
                      <a:gd name="T4" fmla="*/ 252 w 285"/>
                      <a:gd name="T5" fmla="*/ 196 h 262"/>
                      <a:gd name="T6" fmla="*/ 259 w 285"/>
                      <a:gd name="T7" fmla="*/ 186 h 262"/>
                      <a:gd name="T8" fmla="*/ 267 w 285"/>
                      <a:gd name="T9" fmla="*/ 180 h 262"/>
                      <a:gd name="T10" fmla="*/ 276 w 285"/>
                      <a:gd name="T11" fmla="*/ 171 h 262"/>
                      <a:gd name="T12" fmla="*/ 284 w 285"/>
                      <a:gd name="T13" fmla="*/ 171 h 262"/>
                      <a:gd name="T14" fmla="*/ 284 w 285"/>
                      <a:gd name="T15" fmla="*/ 162 h 262"/>
                      <a:gd name="T16" fmla="*/ 284 w 285"/>
                      <a:gd name="T17" fmla="*/ 155 h 262"/>
                      <a:gd name="T18" fmla="*/ 284 w 285"/>
                      <a:gd name="T19" fmla="*/ 146 h 262"/>
                      <a:gd name="T20" fmla="*/ 276 w 285"/>
                      <a:gd name="T21" fmla="*/ 139 h 262"/>
                      <a:gd name="T22" fmla="*/ 267 w 285"/>
                      <a:gd name="T23" fmla="*/ 131 h 262"/>
                      <a:gd name="T24" fmla="*/ 259 w 285"/>
                      <a:gd name="T25" fmla="*/ 131 h 262"/>
                      <a:gd name="T26" fmla="*/ 252 w 285"/>
                      <a:gd name="T27" fmla="*/ 131 h 262"/>
                      <a:gd name="T28" fmla="*/ 252 w 285"/>
                      <a:gd name="T29" fmla="*/ 139 h 262"/>
                      <a:gd name="T30" fmla="*/ 243 w 285"/>
                      <a:gd name="T31" fmla="*/ 139 h 262"/>
                      <a:gd name="T32" fmla="*/ 236 w 285"/>
                      <a:gd name="T33" fmla="*/ 139 h 262"/>
                      <a:gd name="T34" fmla="*/ 227 w 285"/>
                      <a:gd name="T35" fmla="*/ 139 h 262"/>
                      <a:gd name="T36" fmla="*/ 218 w 285"/>
                      <a:gd name="T37" fmla="*/ 139 h 262"/>
                      <a:gd name="T38" fmla="*/ 212 w 285"/>
                      <a:gd name="T39" fmla="*/ 139 h 262"/>
                      <a:gd name="T40" fmla="*/ 202 w 285"/>
                      <a:gd name="T41" fmla="*/ 131 h 262"/>
                      <a:gd name="T42" fmla="*/ 212 w 285"/>
                      <a:gd name="T43" fmla="*/ 122 h 262"/>
                      <a:gd name="T44" fmla="*/ 202 w 285"/>
                      <a:gd name="T45" fmla="*/ 106 h 262"/>
                      <a:gd name="T46" fmla="*/ 202 w 285"/>
                      <a:gd name="T47" fmla="*/ 81 h 262"/>
                      <a:gd name="T48" fmla="*/ 178 w 285"/>
                      <a:gd name="T49" fmla="*/ 57 h 262"/>
                      <a:gd name="T50" fmla="*/ 153 w 285"/>
                      <a:gd name="T51" fmla="*/ 49 h 262"/>
                      <a:gd name="T52" fmla="*/ 137 w 285"/>
                      <a:gd name="T53" fmla="*/ 57 h 262"/>
                      <a:gd name="T54" fmla="*/ 130 w 285"/>
                      <a:gd name="T55" fmla="*/ 49 h 262"/>
                      <a:gd name="T56" fmla="*/ 113 w 285"/>
                      <a:gd name="T57" fmla="*/ 41 h 262"/>
                      <a:gd name="T58" fmla="*/ 113 w 285"/>
                      <a:gd name="T59" fmla="*/ 34 h 262"/>
                      <a:gd name="T60" fmla="*/ 105 w 285"/>
                      <a:gd name="T61" fmla="*/ 25 h 262"/>
                      <a:gd name="T62" fmla="*/ 81 w 285"/>
                      <a:gd name="T63" fmla="*/ 9 h 262"/>
                      <a:gd name="T64" fmla="*/ 56 w 285"/>
                      <a:gd name="T65" fmla="*/ 0 h 262"/>
                      <a:gd name="T66" fmla="*/ 31 w 285"/>
                      <a:gd name="T67" fmla="*/ 18 h 262"/>
                      <a:gd name="T68" fmla="*/ 41 w 285"/>
                      <a:gd name="T69" fmla="*/ 25 h 262"/>
                      <a:gd name="T70" fmla="*/ 31 w 285"/>
                      <a:gd name="T71" fmla="*/ 41 h 262"/>
                      <a:gd name="T72" fmla="*/ 25 w 285"/>
                      <a:gd name="T73" fmla="*/ 41 h 262"/>
                      <a:gd name="T74" fmla="*/ 16 w 285"/>
                      <a:gd name="T75" fmla="*/ 49 h 262"/>
                      <a:gd name="T76" fmla="*/ 0 w 285"/>
                      <a:gd name="T77" fmla="*/ 49 h 262"/>
                      <a:gd name="T78" fmla="*/ 0 w 285"/>
                      <a:gd name="T79" fmla="*/ 65 h 262"/>
                      <a:gd name="T80" fmla="*/ 8 w 285"/>
                      <a:gd name="T81" fmla="*/ 65 h 262"/>
                      <a:gd name="T82" fmla="*/ 41 w 285"/>
                      <a:gd name="T83" fmla="*/ 114 h 262"/>
                      <a:gd name="T84" fmla="*/ 50 w 285"/>
                      <a:gd name="T85" fmla="*/ 122 h 262"/>
                      <a:gd name="T86" fmla="*/ 56 w 285"/>
                      <a:gd name="T87" fmla="*/ 139 h 262"/>
                      <a:gd name="T88" fmla="*/ 56 w 285"/>
                      <a:gd name="T89" fmla="*/ 162 h 262"/>
                      <a:gd name="T90" fmla="*/ 81 w 285"/>
                      <a:gd name="T91" fmla="*/ 180 h 262"/>
                      <a:gd name="T92" fmla="*/ 97 w 285"/>
                      <a:gd name="T93" fmla="*/ 220 h 262"/>
                      <a:gd name="T94" fmla="*/ 105 w 285"/>
                      <a:gd name="T95" fmla="*/ 227 h 262"/>
                      <a:gd name="T96" fmla="*/ 113 w 285"/>
                      <a:gd name="T97" fmla="*/ 220 h 262"/>
                      <a:gd name="T98" fmla="*/ 137 w 285"/>
                      <a:gd name="T99" fmla="*/ 243 h 262"/>
                      <a:gd name="T100" fmla="*/ 146 w 285"/>
                      <a:gd name="T101" fmla="*/ 261 h 262"/>
                      <a:gd name="T102" fmla="*/ 202 w 285"/>
                      <a:gd name="T103" fmla="*/ 220 h 262"/>
                      <a:gd name="T104" fmla="*/ 236 w 285"/>
                      <a:gd name="T105" fmla="*/ 2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0" name="Freeform 147">
                    <a:extLst>
                      <a:ext uri="{FF2B5EF4-FFF2-40B4-BE49-F238E27FC236}">
                        <a16:creationId xmlns:a16="http://schemas.microsoft.com/office/drawing/2014/main" id="{4530C406-F185-621B-607C-F7119FC5D5C5}"/>
                      </a:ext>
                    </a:extLst>
                  </p:cNvPr>
                  <p:cNvSpPr>
                    <a:spLocks/>
                  </p:cNvSpPr>
                  <p:nvPr/>
                </p:nvSpPr>
                <p:spPr bwMode="gray">
                  <a:xfrm>
                    <a:off x="5806180" y="4528977"/>
                    <a:ext cx="27031" cy="40536"/>
                  </a:xfrm>
                  <a:custGeom>
                    <a:avLst/>
                    <a:gdLst>
                      <a:gd name="T0" fmla="*/ 10 w 17"/>
                      <a:gd name="T1" fmla="*/ 25 h 26"/>
                      <a:gd name="T2" fmla="*/ 0 w 17"/>
                      <a:gd name="T3" fmla="*/ 9 h 26"/>
                      <a:gd name="T4" fmla="*/ 10 w 17"/>
                      <a:gd name="T5" fmla="*/ 0 h 26"/>
                      <a:gd name="T6" fmla="*/ 16 w 17"/>
                      <a:gd name="T7" fmla="*/ 0 h 26"/>
                      <a:gd name="T8" fmla="*/ 10 w 17"/>
                      <a:gd name="T9" fmla="*/ 25 h 26"/>
                    </a:gdLst>
                    <a:ahLst/>
                    <a:cxnLst>
                      <a:cxn ang="0">
                        <a:pos x="T0" y="T1"/>
                      </a:cxn>
                      <a:cxn ang="0">
                        <a:pos x="T2" y="T3"/>
                      </a:cxn>
                      <a:cxn ang="0">
                        <a:pos x="T4" y="T5"/>
                      </a:cxn>
                      <a:cxn ang="0">
                        <a:pos x="T6" y="T7"/>
                      </a:cxn>
                      <a:cxn ang="0">
                        <a:pos x="T8" y="T9"/>
                      </a:cxn>
                    </a:cxnLst>
                    <a:rect l="0" t="0" r="r" b="b"/>
                    <a:pathLst>
                      <a:path w="17" h="26">
                        <a:moveTo>
                          <a:pt x="10" y="25"/>
                        </a:moveTo>
                        <a:lnTo>
                          <a:pt x="0" y="9"/>
                        </a:lnTo>
                        <a:lnTo>
                          <a:pt x="10" y="0"/>
                        </a:lnTo>
                        <a:lnTo>
                          <a:pt x="16" y="0"/>
                        </a:lnTo>
                        <a:lnTo>
                          <a:pt x="10"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1" name="Freeform 148">
                    <a:extLst>
                      <a:ext uri="{FF2B5EF4-FFF2-40B4-BE49-F238E27FC236}">
                        <a16:creationId xmlns:a16="http://schemas.microsoft.com/office/drawing/2014/main" id="{A21513C3-F223-0927-2C58-ACADA31858AC}"/>
                      </a:ext>
                    </a:extLst>
                  </p:cNvPr>
                  <p:cNvSpPr>
                    <a:spLocks/>
                  </p:cNvSpPr>
                  <p:nvPr/>
                </p:nvSpPr>
                <p:spPr bwMode="gray">
                  <a:xfrm>
                    <a:off x="5806180" y="4528977"/>
                    <a:ext cx="128717" cy="65872"/>
                  </a:xfrm>
                  <a:custGeom>
                    <a:avLst/>
                    <a:gdLst>
                      <a:gd name="T0" fmla="*/ 65 w 83"/>
                      <a:gd name="T1" fmla="*/ 34 h 43"/>
                      <a:gd name="T2" fmla="*/ 82 w 83"/>
                      <a:gd name="T3" fmla="*/ 17 h 43"/>
                      <a:gd name="T4" fmla="*/ 82 w 83"/>
                      <a:gd name="T5" fmla="*/ 9 h 43"/>
                      <a:gd name="T6" fmla="*/ 74 w 83"/>
                      <a:gd name="T7" fmla="*/ 0 h 43"/>
                      <a:gd name="T8" fmla="*/ 50 w 83"/>
                      <a:gd name="T9" fmla="*/ 25 h 43"/>
                      <a:gd name="T10" fmla="*/ 25 w 83"/>
                      <a:gd name="T11" fmla="*/ 25 h 43"/>
                      <a:gd name="T12" fmla="*/ 10 w 83"/>
                      <a:gd name="T13" fmla="*/ 25 h 43"/>
                      <a:gd name="T14" fmla="*/ 0 w 83"/>
                      <a:gd name="T15" fmla="*/ 34 h 43"/>
                      <a:gd name="T16" fmla="*/ 10 w 83"/>
                      <a:gd name="T17" fmla="*/ 42 h 43"/>
                      <a:gd name="T18" fmla="*/ 16 w 83"/>
                      <a:gd name="T19" fmla="*/ 42 h 43"/>
                      <a:gd name="T20" fmla="*/ 25 w 83"/>
                      <a:gd name="T21" fmla="*/ 42 h 43"/>
                      <a:gd name="T22" fmla="*/ 34 w 83"/>
                      <a:gd name="T23" fmla="*/ 42 h 43"/>
                      <a:gd name="T24" fmla="*/ 41 w 83"/>
                      <a:gd name="T25" fmla="*/ 42 h 43"/>
                      <a:gd name="T26" fmla="*/ 50 w 83"/>
                      <a:gd name="T27" fmla="*/ 42 h 43"/>
                      <a:gd name="T28" fmla="*/ 50 w 83"/>
                      <a:gd name="T29" fmla="*/ 34 h 43"/>
                      <a:gd name="T30" fmla="*/ 57 w 83"/>
                      <a:gd name="T31" fmla="*/ 34 h 43"/>
                      <a:gd name="T32" fmla="*/ 65 w 83"/>
                      <a:gd name="T33" fmla="*/ 3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2" name="Freeform 149">
                    <a:extLst>
                      <a:ext uri="{FF2B5EF4-FFF2-40B4-BE49-F238E27FC236}">
                        <a16:creationId xmlns:a16="http://schemas.microsoft.com/office/drawing/2014/main" id="{165BD975-88B0-26E2-564D-B48785F0364C}"/>
                      </a:ext>
                    </a:extLst>
                  </p:cNvPr>
                  <p:cNvSpPr>
                    <a:spLocks/>
                  </p:cNvSpPr>
                  <p:nvPr/>
                </p:nvSpPr>
                <p:spPr bwMode="gray">
                  <a:xfrm>
                    <a:off x="5920739" y="4518843"/>
                    <a:ext cx="25743" cy="25335"/>
                  </a:xfrm>
                  <a:custGeom>
                    <a:avLst/>
                    <a:gdLst>
                      <a:gd name="T0" fmla="*/ 16 w 17"/>
                      <a:gd name="T1" fmla="*/ 16 h 17"/>
                      <a:gd name="T2" fmla="*/ 0 w 17"/>
                      <a:gd name="T3" fmla="*/ 7 h 17"/>
                      <a:gd name="T4" fmla="*/ 0 w 17"/>
                      <a:gd name="T5" fmla="*/ 0 h 17"/>
                      <a:gd name="T6" fmla="*/ 16 w 17"/>
                      <a:gd name="T7" fmla="*/ 0 h 17"/>
                      <a:gd name="T8" fmla="*/ 16 w 17"/>
                      <a:gd name="T9" fmla="*/ 16 h 17"/>
                    </a:gdLst>
                    <a:ahLst/>
                    <a:cxnLst>
                      <a:cxn ang="0">
                        <a:pos x="T0" y="T1"/>
                      </a:cxn>
                      <a:cxn ang="0">
                        <a:pos x="T2" y="T3"/>
                      </a:cxn>
                      <a:cxn ang="0">
                        <a:pos x="T4" y="T5"/>
                      </a:cxn>
                      <a:cxn ang="0">
                        <a:pos x="T6" y="T7"/>
                      </a:cxn>
                      <a:cxn ang="0">
                        <a:pos x="T8" y="T9"/>
                      </a:cxn>
                    </a:cxnLst>
                    <a:rect l="0" t="0" r="r" b="b"/>
                    <a:pathLst>
                      <a:path w="17" h="17">
                        <a:moveTo>
                          <a:pt x="16" y="16"/>
                        </a:moveTo>
                        <a:lnTo>
                          <a:pt x="0" y="7"/>
                        </a:lnTo>
                        <a:lnTo>
                          <a:pt x="0" y="0"/>
                        </a:lnTo>
                        <a:lnTo>
                          <a:pt x="16" y="0"/>
                        </a:lnTo>
                        <a:lnTo>
                          <a:pt x="16"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3" name="Freeform 151">
                    <a:extLst>
                      <a:ext uri="{FF2B5EF4-FFF2-40B4-BE49-F238E27FC236}">
                        <a16:creationId xmlns:a16="http://schemas.microsoft.com/office/drawing/2014/main" id="{C06CB795-08DF-9615-5951-B318AEB21BA6}"/>
                      </a:ext>
                    </a:extLst>
                  </p:cNvPr>
                  <p:cNvSpPr>
                    <a:spLocks/>
                  </p:cNvSpPr>
                  <p:nvPr/>
                </p:nvSpPr>
                <p:spPr bwMode="gray">
                  <a:xfrm>
                    <a:off x="5656868" y="4702524"/>
                    <a:ext cx="203373" cy="100074"/>
                  </a:xfrm>
                  <a:custGeom>
                    <a:avLst/>
                    <a:gdLst>
                      <a:gd name="T0" fmla="*/ 0 w 132"/>
                      <a:gd name="T1" fmla="*/ 16 h 66"/>
                      <a:gd name="T2" fmla="*/ 8 w 132"/>
                      <a:gd name="T3" fmla="*/ 9 h 66"/>
                      <a:gd name="T4" fmla="*/ 32 w 132"/>
                      <a:gd name="T5" fmla="*/ 32 h 66"/>
                      <a:gd name="T6" fmla="*/ 41 w 132"/>
                      <a:gd name="T7" fmla="*/ 50 h 66"/>
                      <a:gd name="T8" fmla="*/ 97 w 132"/>
                      <a:gd name="T9" fmla="*/ 9 h 66"/>
                      <a:gd name="T10" fmla="*/ 131 w 132"/>
                      <a:gd name="T11" fmla="*/ 0 h 66"/>
                      <a:gd name="T12" fmla="*/ 131 w 132"/>
                      <a:gd name="T13" fmla="*/ 9 h 66"/>
                      <a:gd name="T14" fmla="*/ 122 w 132"/>
                      <a:gd name="T15" fmla="*/ 16 h 66"/>
                      <a:gd name="T16" fmla="*/ 122 w 132"/>
                      <a:gd name="T17" fmla="*/ 25 h 66"/>
                      <a:gd name="T18" fmla="*/ 90 w 132"/>
                      <a:gd name="T19" fmla="*/ 32 h 66"/>
                      <a:gd name="T20" fmla="*/ 57 w 132"/>
                      <a:gd name="T21" fmla="*/ 57 h 66"/>
                      <a:gd name="T22" fmla="*/ 41 w 132"/>
                      <a:gd name="T23" fmla="*/ 57 h 66"/>
                      <a:gd name="T24" fmla="*/ 25 w 132"/>
                      <a:gd name="T25" fmla="*/ 65 h 66"/>
                      <a:gd name="T26" fmla="*/ 8 w 132"/>
                      <a:gd name="T27" fmla="*/ 65 h 66"/>
                      <a:gd name="T28" fmla="*/ 0 w 132"/>
                      <a:gd name="T29" fmla="*/ 1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4" name="Freeform 168">
                    <a:extLst>
                      <a:ext uri="{FF2B5EF4-FFF2-40B4-BE49-F238E27FC236}">
                        <a16:creationId xmlns:a16="http://schemas.microsoft.com/office/drawing/2014/main" id="{C7332C59-9276-0AB9-263A-3234EA6581E7}"/>
                      </a:ext>
                    </a:extLst>
                  </p:cNvPr>
                  <p:cNvSpPr>
                    <a:spLocks/>
                  </p:cNvSpPr>
                  <p:nvPr/>
                </p:nvSpPr>
                <p:spPr bwMode="gray">
                  <a:xfrm>
                    <a:off x="4558909" y="4309828"/>
                    <a:ext cx="239414" cy="186214"/>
                  </a:xfrm>
                  <a:custGeom>
                    <a:avLst/>
                    <a:gdLst>
                      <a:gd name="T0" fmla="*/ 139 w 156"/>
                      <a:gd name="T1" fmla="*/ 8 h 123"/>
                      <a:gd name="T2" fmla="*/ 147 w 156"/>
                      <a:gd name="T3" fmla="*/ 8 h 123"/>
                      <a:gd name="T4" fmla="*/ 155 w 156"/>
                      <a:gd name="T5" fmla="*/ 48 h 123"/>
                      <a:gd name="T6" fmla="*/ 122 w 156"/>
                      <a:gd name="T7" fmla="*/ 57 h 123"/>
                      <a:gd name="T8" fmla="*/ 122 w 156"/>
                      <a:gd name="T9" fmla="*/ 66 h 123"/>
                      <a:gd name="T10" fmla="*/ 99 w 156"/>
                      <a:gd name="T11" fmla="*/ 82 h 123"/>
                      <a:gd name="T12" fmla="*/ 65 w 156"/>
                      <a:gd name="T13" fmla="*/ 97 h 123"/>
                      <a:gd name="T14" fmla="*/ 57 w 156"/>
                      <a:gd name="T15" fmla="*/ 105 h 123"/>
                      <a:gd name="T16" fmla="*/ 57 w 156"/>
                      <a:gd name="T17" fmla="*/ 122 h 123"/>
                      <a:gd name="T18" fmla="*/ 0 w 156"/>
                      <a:gd name="T19" fmla="*/ 113 h 123"/>
                      <a:gd name="T20" fmla="*/ 16 w 156"/>
                      <a:gd name="T21" fmla="*/ 113 h 123"/>
                      <a:gd name="T22" fmla="*/ 32 w 156"/>
                      <a:gd name="T23" fmla="*/ 97 h 123"/>
                      <a:gd name="T24" fmla="*/ 40 w 156"/>
                      <a:gd name="T25" fmla="*/ 82 h 123"/>
                      <a:gd name="T26" fmla="*/ 40 w 156"/>
                      <a:gd name="T27" fmla="*/ 66 h 123"/>
                      <a:gd name="T28" fmla="*/ 50 w 156"/>
                      <a:gd name="T29" fmla="*/ 48 h 123"/>
                      <a:gd name="T30" fmla="*/ 57 w 156"/>
                      <a:gd name="T31" fmla="*/ 32 h 123"/>
                      <a:gd name="T32" fmla="*/ 81 w 156"/>
                      <a:gd name="T33" fmla="*/ 25 h 123"/>
                      <a:gd name="T34" fmla="*/ 90 w 156"/>
                      <a:gd name="T35" fmla="*/ 0 h 123"/>
                      <a:gd name="T36" fmla="*/ 99 w 156"/>
                      <a:gd name="T37" fmla="*/ 0 h 123"/>
                      <a:gd name="T38" fmla="*/ 105 w 156"/>
                      <a:gd name="T39" fmla="*/ 8 h 123"/>
                      <a:gd name="T40" fmla="*/ 130 w 156"/>
                      <a:gd name="T41" fmla="*/ 8 h 123"/>
                      <a:gd name="T42" fmla="*/ 139 w 156"/>
                      <a:gd name="T43" fmla="*/ 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5" name="Freeform 170">
                    <a:extLst>
                      <a:ext uri="{FF2B5EF4-FFF2-40B4-BE49-F238E27FC236}">
                        <a16:creationId xmlns:a16="http://schemas.microsoft.com/office/drawing/2014/main" id="{7E95C521-FFBA-C938-074A-5F843BE8C94D}"/>
                      </a:ext>
                    </a:extLst>
                  </p:cNvPr>
                  <p:cNvSpPr>
                    <a:spLocks/>
                  </p:cNvSpPr>
                  <p:nvPr/>
                </p:nvSpPr>
                <p:spPr bwMode="gray">
                  <a:xfrm>
                    <a:off x="5471514" y="4689856"/>
                    <a:ext cx="287040" cy="283754"/>
                  </a:xfrm>
                  <a:custGeom>
                    <a:avLst/>
                    <a:gdLst>
                      <a:gd name="T0" fmla="*/ 121 w 187"/>
                      <a:gd name="T1" fmla="*/ 73 h 187"/>
                      <a:gd name="T2" fmla="*/ 113 w 187"/>
                      <a:gd name="T3" fmla="*/ 73 h 187"/>
                      <a:gd name="T4" fmla="*/ 113 w 187"/>
                      <a:gd name="T5" fmla="*/ 90 h 187"/>
                      <a:gd name="T6" fmla="*/ 113 w 187"/>
                      <a:gd name="T7" fmla="*/ 98 h 187"/>
                      <a:gd name="T8" fmla="*/ 121 w 187"/>
                      <a:gd name="T9" fmla="*/ 98 h 187"/>
                      <a:gd name="T10" fmla="*/ 121 w 187"/>
                      <a:gd name="T11" fmla="*/ 105 h 187"/>
                      <a:gd name="T12" fmla="*/ 138 w 187"/>
                      <a:gd name="T13" fmla="*/ 121 h 187"/>
                      <a:gd name="T14" fmla="*/ 178 w 187"/>
                      <a:gd name="T15" fmla="*/ 130 h 187"/>
                      <a:gd name="T16" fmla="*/ 186 w 187"/>
                      <a:gd name="T17" fmla="*/ 130 h 187"/>
                      <a:gd name="T18" fmla="*/ 153 w 187"/>
                      <a:gd name="T19" fmla="*/ 170 h 187"/>
                      <a:gd name="T20" fmla="*/ 129 w 187"/>
                      <a:gd name="T21" fmla="*/ 170 h 187"/>
                      <a:gd name="T22" fmla="*/ 113 w 187"/>
                      <a:gd name="T23" fmla="*/ 186 h 187"/>
                      <a:gd name="T24" fmla="*/ 97 w 187"/>
                      <a:gd name="T25" fmla="*/ 179 h 187"/>
                      <a:gd name="T26" fmla="*/ 72 w 187"/>
                      <a:gd name="T27" fmla="*/ 186 h 187"/>
                      <a:gd name="T28" fmla="*/ 32 w 187"/>
                      <a:gd name="T29" fmla="*/ 179 h 187"/>
                      <a:gd name="T30" fmla="*/ 32 w 187"/>
                      <a:gd name="T31" fmla="*/ 163 h 187"/>
                      <a:gd name="T32" fmla="*/ 24 w 187"/>
                      <a:gd name="T33" fmla="*/ 163 h 187"/>
                      <a:gd name="T34" fmla="*/ 7 w 187"/>
                      <a:gd name="T35" fmla="*/ 139 h 187"/>
                      <a:gd name="T36" fmla="*/ 0 w 187"/>
                      <a:gd name="T37" fmla="*/ 130 h 187"/>
                      <a:gd name="T38" fmla="*/ 7 w 187"/>
                      <a:gd name="T39" fmla="*/ 121 h 187"/>
                      <a:gd name="T40" fmla="*/ 16 w 187"/>
                      <a:gd name="T41" fmla="*/ 98 h 187"/>
                      <a:gd name="T42" fmla="*/ 41 w 187"/>
                      <a:gd name="T43" fmla="*/ 65 h 187"/>
                      <a:gd name="T44" fmla="*/ 47 w 187"/>
                      <a:gd name="T45" fmla="*/ 17 h 187"/>
                      <a:gd name="T46" fmla="*/ 66 w 187"/>
                      <a:gd name="T47" fmla="*/ 8 h 187"/>
                      <a:gd name="T48" fmla="*/ 66 w 187"/>
                      <a:gd name="T49" fmla="*/ 0 h 187"/>
                      <a:gd name="T50" fmla="*/ 81 w 187"/>
                      <a:gd name="T51" fmla="*/ 33 h 187"/>
                      <a:gd name="T52" fmla="*/ 97 w 187"/>
                      <a:gd name="T53" fmla="*/ 48 h 187"/>
                      <a:gd name="T54" fmla="*/ 121 w 187"/>
                      <a:gd name="T55" fmla="*/ 73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6" name="Freeform 171">
                    <a:extLst>
                      <a:ext uri="{FF2B5EF4-FFF2-40B4-BE49-F238E27FC236}">
                        <a16:creationId xmlns:a16="http://schemas.microsoft.com/office/drawing/2014/main" id="{86188631-9A32-ABCC-5018-192020CB10CC}"/>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7" name="Freeform 172">
                    <a:extLst>
                      <a:ext uri="{FF2B5EF4-FFF2-40B4-BE49-F238E27FC236}">
                        <a16:creationId xmlns:a16="http://schemas.microsoft.com/office/drawing/2014/main" id="{A98DB799-1927-9439-2F48-29630B9AF606}"/>
                      </a:ext>
                    </a:extLst>
                  </p:cNvPr>
                  <p:cNvSpPr>
                    <a:spLocks/>
                  </p:cNvSpPr>
                  <p:nvPr/>
                </p:nvSpPr>
                <p:spPr bwMode="gray">
                  <a:xfrm>
                    <a:off x="5645283" y="4800064"/>
                    <a:ext cx="25743" cy="40536"/>
                  </a:xfrm>
                  <a:custGeom>
                    <a:avLst/>
                    <a:gdLst>
                      <a:gd name="T0" fmla="*/ 8 w 17"/>
                      <a:gd name="T1" fmla="*/ 25 h 26"/>
                      <a:gd name="T2" fmla="*/ 0 w 17"/>
                      <a:gd name="T3" fmla="*/ 25 h 26"/>
                      <a:gd name="T4" fmla="*/ 0 w 17"/>
                      <a:gd name="T5" fmla="*/ 17 h 26"/>
                      <a:gd name="T6" fmla="*/ 0 w 17"/>
                      <a:gd name="T7" fmla="*/ 0 h 26"/>
                      <a:gd name="T8" fmla="*/ 8 w 17"/>
                      <a:gd name="T9" fmla="*/ 0 h 26"/>
                      <a:gd name="T10" fmla="*/ 16 w 17"/>
                      <a:gd name="T11" fmla="*/ 0 h 26"/>
                      <a:gd name="T12" fmla="*/ 16 w 17"/>
                      <a:gd name="T13" fmla="*/ 7 h 26"/>
                      <a:gd name="T14" fmla="*/ 8 w 17"/>
                      <a:gd name="T15" fmla="*/ 7 h 26"/>
                      <a:gd name="T16" fmla="*/ 16 w 17"/>
                      <a:gd name="T17" fmla="*/ 17 h 26"/>
                      <a:gd name="T18" fmla="*/ 8 w 17"/>
                      <a:gd name="T19" fmla="*/ 2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8" name="Freeform 173">
                    <a:extLst>
                      <a:ext uri="{FF2B5EF4-FFF2-40B4-BE49-F238E27FC236}">
                        <a16:creationId xmlns:a16="http://schemas.microsoft.com/office/drawing/2014/main" id="{26384E56-DB2F-122B-7EEC-7EBF40FB32E6}"/>
                      </a:ext>
                    </a:extLst>
                  </p:cNvPr>
                  <p:cNvSpPr>
                    <a:spLocks/>
                  </p:cNvSpPr>
                  <p:nvPr/>
                </p:nvSpPr>
                <p:spPr bwMode="gray">
                  <a:xfrm>
                    <a:off x="5620827" y="4811465"/>
                    <a:ext cx="202086" cy="259686"/>
                  </a:xfrm>
                  <a:custGeom>
                    <a:avLst/>
                    <a:gdLst>
                      <a:gd name="T0" fmla="*/ 16 w 132"/>
                      <a:gd name="T1" fmla="*/ 106 h 172"/>
                      <a:gd name="T2" fmla="*/ 0 w 132"/>
                      <a:gd name="T3" fmla="*/ 124 h 172"/>
                      <a:gd name="T4" fmla="*/ 0 w 132"/>
                      <a:gd name="T5" fmla="*/ 164 h 172"/>
                      <a:gd name="T6" fmla="*/ 9 w 132"/>
                      <a:gd name="T7" fmla="*/ 171 h 172"/>
                      <a:gd name="T8" fmla="*/ 32 w 132"/>
                      <a:gd name="T9" fmla="*/ 147 h 172"/>
                      <a:gd name="T10" fmla="*/ 65 w 132"/>
                      <a:gd name="T11" fmla="*/ 124 h 172"/>
                      <a:gd name="T12" fmla="*/ 89 w 132"/>
                      <a:gd name="T13" fmla="*/ 99 h 172"/>
                      <a:gd name="T14" fmla="*/ 106 w 132"/>
                      <a:gd name="T15" fmla="*/ 83 h 172"/>
                      <a:gd name="T16" fmla="*/ 131 w 132"/>
                      <a:gd name="T17" fmla="*/ 18 h 172"/>
                      <a:gd name="T18" fmla="*/ 131 w 132"/>
                      <a:gd name="T19" fmla="*/ 0 h 172"/>
                      <a:gd name="T20" fmla="*/ 121 w 132"/>
                      <a:gd name="T21" fmla="*/ 0 h 172"/>
                      <a:gd name="T22" fmla="*/ 106 w 132"/>
                      <a:gd name="T23" fmla="*/ 10 h 172"/>
                      <a:gd name="T24" fmla="*/ 49 w 132"/>
                      <a:gd name="T25" fmla="*/ 25 h 172"/>
                      <a:gd name="T26" fmla="*/ 41 w 132"/>
                      <a:gd name="T27" fmla="*/ 18 h 172"/>
                      <a:gd name="T28" fmla="*/ 32 w 132"/>
                      <a:gd name="T29" fmla="*/ 10 h 172"/>
                      <a:gd name="T30" fmla="*/ 24 w 132"/>
                      <a:gd name="T31" fmla="*/ 18 h 172"/>
                      <a:gd name="T32" fmla="*/ 24 w 132"/>
                      <a:gd name="T33" fmla="*/ 25 h 172"/>
                      <a:gd name="T34" fmla="*/ 41 w 132"/>
                      <a:gd name="T35" fmla="*/ 41 h 172"/>
                      <a:gd name="T36" fmla="*/ 81 w 132"/>
                      <a:gd name="T37" fmla="*/ 50 h 172"/>
                      <a:gd name="T38" fmla="*/ 89 w 132"/>
                      <a:gd name="T39" fmla="*/ 50 h 172"/>
                      <a:gd name="T40" fmla="*/ 56 w 132"/>
                      <a:gd name="T41" fmla="*/ 90 h 172"/>
                      <a:gd name="T42" fmla="*/ 32 w 132"/>
                      <a:gd name="T43" fmla="*/ 90 h 172"/>
                      <a:gd name="T44" fmla="*/ 16 w 132"/>
                      <a:gd name="T45" fmla="*/ 106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19" name="Freeform 174">
                    <a:extLst>
                      <a:ext uri="{FF2B5EF4-FFF2-40B4-BE49-F238E27FC236}">
                        <a16:creationId xmlns:a16="http://schemas.microsoft.com/office/drawing/2014/main" id="{802FDBF8-AD83-907C-9087-391D2C9F2335}"/>
                      </a:ext>
                    </a:extLst>
                  </p:cNvPr>
                  <p:cNvSpPr>
                    <a:spLocks/>
                  </p:cNvSpPr>
                  <p:nvPr/>
                </p:nvSpPr>
                <p:spPr bwMode="gray">
                  <a:xfrm>
                    <a:off x="4482966" y="4494775"/>
                    <a:ext cx="239414" cy="257152"/>
                  </a:xfrm>
                  <a:custGeom>
                    <a:avLst/>
                    <a:gdLst>
                      <a:gd name="T0" fmla="*/ 0 w 155"/>
                      <a:gd name="T1" fmla="*/ 88 h 170"/>
                      <a:gd name="T2" fmla="*/ 9 w 155"/>
                      <a:gd name="T3" fmla="*/ 81 h 170"/>
                      <a:gd name="T4" fmla="*/ 49 w 155"/>
                      <a:gd name="T5" fmla="*/ 81 h 170"/>
                      <a:gd name="T6" fmla="*/ 49 w 155"/>
                      <a:gd name="T7" fmla="*/ 65 h 170"/>
                      <a:gd name="T8" fmla="*/ 65 w 155"/>
                      <a:gd name="T9" fmla="*/ 57 h 170"/>
                      <a:gd name="T10" fmla="*/ 65 w 155"/>
                      <a:gd name="T11" fmla="*/ 16 h 170"/>
                      <a:gd name="T12" fmla="*/ 106 w 155"/>
                      <a:gd name="T13" fmla="*/ 16 h 170"/>
                      <a:gd name="T14" fmla="*/ 106 w 155"/>
                      <a:gd name="T15" fmla="*/ 0 h 170"/>
                      <a:gd name="T16" fmla="*/ 154 w 155"/>
                      <a:gd name="T17" fmla="*/ 32 h 170"/>
                      <a:gd name="T18" fmla="*/ 130 w 155"/>
                      <a:gd name="T19" fmla="*/ 32 h 170"/>
                      <a:gd name="T20" fmla="*/ 148 w 155"/>
                      <a:gd name="T21" fmla="*/ 162 h 170"/>
                      <a:gd name="T22" fmla="*/ 89 w 155"/>
                      <a:gd name="T23" fmla="*/ 162 h 170"/>
                      <a:gd name="T24" fmla="*/ 81 w 155"/>
                      <a:gd name="T25" fmla="*/ 169 h 170"/>
                      <a:gd name="T26" fmla="*/ 74 w 155"/>
                      <a:gd name="T27" fmla="*/ 162 h 170"/>
                      <a:gd name="T28" fmla="*/ 58 w 155"/>
                      <a:gd name="T29" fmla="*/ 169 h 170"/>
                      <a:gd name="T30" fmla="*/ 49 w 155"/>
                      <a:gd name="T31" fmla="*/ 153 h 170"/>
                      <a:gd name="T32" fmla="*/ 24 w 155"/>
                      <a:gd name="T33" fmla="*/ 146 h 170"/>
                      <a:gd name="T34" fmla="*/ 9 w 155"/>
                      <a:gd name="T35" fmla="*/ 146 h 170"/>
                      <a:gd name="T36" fmla="*/ 0 w 155"/>
                      <a:gd name="T37" fmla="*/ 153 h 170"/>
                      <a:gd name="T38" fmla="*/ 9 w 155"/>
                      <a:gd name="T39" fmla="*/ 122 h 170"/>
                      <a:gd name="T40" fmla="*/ 0 w 155"/>
                      <a:gd name="T41" fmla="*/ 112 h 170"/>
                      <a:gd name="T42" fmla="*/ 9 w 155"/>
                      <a:gd name="T43" fmla="*/ 97 h 170"/>
                      <a:gd name="T44" fmla="*/ 0 w 155"/>
                      <a:gd name="T45" fmla="*/ 88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0" name="Freeform 175">
                    <a:extLst>
                      <a:ext uri="{FF2B5EF4-FFF2-40B4-BE49-F238E27FC236}">
                        <a16:creationId xmlns:a16="http://schemas.microsoft.com/office/drawing/2014/main" id="{C992280A-D9B4-45B3-2C15-3B42486D113A}"/>
                      </a:ext>
                    </a:extLst>
                  </p:cNvPr>
                  <p:cNvSpPr>
                    <a:spLocks/>
                  </p:cNvSpPr>
                  <p:nvPr/>
                </p:nvSpPr>
                <p:spPr bwMode="gray">
                  <a:xfrm>
                    <a:off x="4482966" y="4480841"/>
                    <a:ext cx="164758" cy="148211"/>
                  </a:xfrm>
                  <a:custGeom>
                    <a:avLst/>
                    <a:gdLst>
                      <a:gd name="T0" fmla="*/ 0 w 107"/>
                      <a:gd name="T1" fmla="*/ 97 h 98"/>
                      <a:gd name="T2" fmla="*/ 9 w 107"/>
                      <a:gd name="T3" fmla="*/ 90 h 98"/>
                      <a:gd name="T4" fmla="*/ 49 w 107"/>
                      <a:gd name="T5" fmla="*/ 90 h 98"/>
                      <a:gd name="T6" fmla="*/ 49 w 107"/>
                      <a:gd name="T7" fmla="*/ 74 h 98"/>
                      <a:gd name="T8" fmla="*/ 65 w 107"/>
                      <a:gd name="T9" fmla="*/ 66 h 98"/>
                      <a:gd name="T10" fmla="*/ 65 w 107"/>
                      <a:gd name="T11" fmla="*/ 25 h 98"/>
                      <a:gd name="T12" fmla="*/ 106 w 107"/>
                      <a:gd name="T13" fmla="*/ 25 h 98"/>
                      <a:gd name="T14" fmla="*/ 106 w 107"/>
                      <a:gd name="T15" fmla="*/ 9 h 98"/>
                      <a:gd name="T16" fmla="*/ 49 w 107"/>
                      <a:gd name="T17" fmla="*/ 0 h 98"/>
                      <a:gd name="T18" fmla="*/ 40 w 107"/>
                      <a:gd name="T19" fmla="*/ 16 h 98"/>
                      <a:gd name="T20" fmla="*/ 34 w 107"/>
                      <a:gd name="T21" fmla="*/ 25 h 98"/>
                      <a:gd name="T22" fmla="*/ 24 w 107"/>
                      <a:gd name="T23" fmla="*/ 49 h 98"/>
                      <a:gd name="T24" fmla="*/ 0 w 107"/>
                      <a:gd name="T25" fmla="*/ 81 h 98"/>
                      <a:gd name="T26" fmla="*/ 0 w 107"/>
                      <a:gd name="T27" fmla="*/ 9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1" name="Freeform 176">
                    <a:extLst>
                      <a:ext uri="{FF2B5EF4-FFF2-40B4-BE49-F238E27FC236}">
                        <a16:creationId xmlns:a16="http://schemas.microsoft.com/office/drawing/2014/main" id="{961D1F3E-6449-0A33-9EC5-83E675BD9B07}"/>
                      </a:ext>
                    </a:extLst>
                  </p:cNvPr>
                  <p:cNvSpPr>
                    <a:spLocks/>
                  </p:cNvSpPr>
                  <p:nvPr/>
                </p:nvSpPr>
                <p:spPr bwMode="gray">
                  <a:xfrm>
                    <a:off x="4471381" y="4716458"/>
                    <a:ext cx="127430" cy="86140"/>
                  </a:xfrm>
                  <a:custGeom>
                    <a:avLst/>
                    <a:gdLst>
                      <a:gd name="T0" fmla="*/ 8 w 83"/>
                      <a:gd name="T1" fmla="*/ 48 h 57"/>
                      <a:gd name="T2" fmla="*/ 17 w 83"/>
                      <a:gd name="T3" fmla="*/ 48 h 57"/>
                      <a:gd name="T4" fmla="*/ 32 w 83"/>
                      <a:gd name="T5" fmla="*/ 41 h 57"/>
                      <a:gd name="T6" fmla="*/ 42 w 83"/>
                      <a:gd name="T7" fmla="*/ 48 h 57"/>
                      <a:gd name="T8" fmla="*/ 48 w 83"/>
                      <a:gd name="T9" fmla="*/ 41 h 57"/>
                      <a:gd name="T10" fmla="*/ 32 w 83"/>
                      <a:gd name="T11" fmla="*/ 41 h 57"/>
                      <a:gd name="T12" fmla="*/ 8 w 83"/>
                      <a:gd name="T13" fmla="*/ 41 h 57"/>
                      <a:gd name="T14" fmla="*/ 0 w 83"/>
                      <a:gd name="T15" fmla="*/ 23 h 57"/>
                      <a:gd name="T16" fmla="*/ 8 w 83"/>
                      <a:gd name="T17" fmla="*/ 7 h 57"/>
                      <a:gd name="T18" fmla="*/ 17 w 83"/>
                      <a:gd name="T19" fmla="*/ 0 h 57"/>
                      <a:gd name="T20" fmla="*/ 32 w 83"/>
                      <a:gd name="T21" fmla="*/ 0 h 57"/>
                      <a:gd name="T22" fmla="*/ 57 w 83"/>
                      <a:gd name="T23" fmla="*/ 7 h 57"/>
                      <a:gd name="T24" fmla="*/ 66 w 83"/>
                      <a:gd name="T25" fmla="*/ 23 h 57"/>
                      <a:gd name="T26" fmla="*/ 82 w 83"/>
                      <a:gd name="T27" fmla="*/ 56 h 57"/>
                      <a:gd name="T28" fmla="*/ 48 w 83"/>
                      <a:gd name="T29" fmla="*/ 56 h 57"/>
                      <a:gd name="T30" fmla="*/ 8 w 83"/>
                      <a:gd name="T31" fmla="*/ 56 h 57"/>
                      <a:gd name="T32" fmla="*/ 8 w 83"/>
                      <a:gd name="T33"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2" name="Freeform 177">
                    <a:extLst>
                      <a:ext uri="{FF2B5EF4-FFF2-40B4-BE49-F238E27FC236}">
                        <a16:creationId xmlns:a16="http://schemas.microsoft.com/office/drawing/2014/main" id="{0B4AC325-F2EC-9E2B-DBA4-0FFF0AFE2DFA}"/>
                      </a:ext>
                    </a:extLst>
                  </p:cNvPr>
                  <p:cNvSpPr>
                    <a:spLocks/>
                  </p:cNvSpPr>
                  <p:nvPr/>
                </p:nvSpPr>
                <p:spPr bwMode="gray">
                  <a:xfrm>
                    <a:off x="4482966" y="4778529"/>
                    <a:ext cx="63072" cy="25335"/>
                  </a:xfrm>
                  <a:custGeom>
                    <a:avLst/>
                    <a:gdLst>
                      <a:gd name="T0" fmla="*/ 0 w 41"/>
                      <a:gd name="T1" fmla="*/ 16 h 17"/>
                      <a:gd name="T2" fmla="*/ 9 w 41"/>
                      <a:gd name="T3" fmla="*/ 16 h 17"/>
                      <a:gd name="T4" fmla="*/ 24 w 41"/>
                      <a:gd name="T5" fmla="*/ 0 h 17"/>
                      <a:gd name="T6" fmla="*/ 34 w 41"/>
                      <a:gd name="T7" fmla="*/ 16 h 17"/>
                      <a:gd name="T8" fmla="*/ 40 w 41"/>
                      <a:gd name="T9" fmla="*/ 0 h 17"/>
                      <a:gd name="T10" fmla="*/ 24 w 41"/>
                      <a:gd name="T11" fmla="*/ 0 h 17"/>
                      <a:gd name="T12" fmla="*/ 0 w 41"/>
                      <a:gd name="T13" fmla="*/ 0 h 17"/>
                      <a:gd name="T14" fmla="*/ 0 w 41"/>
                      <a:gd name="T15" fmla="*/ 16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17">
                        <a:moveTo>
                          <a:pt x="0" y="16"/>
                        </a:moveTo>
                        <a:lnTo>
                          <a:pt x="9" y="16"/>
                        </a:lnTo>
                        <a:lnTo>
                          <a:pt x="24" y="0"/>
                        </a:lnTo>
                        <a:lnTo>
                          <a:pt x="34" y="16"/>
                        </a:lnTo>
                        <a:lnTo>
                          <a:pt x="40" y="0"/>
                        </a:lnTo>
                        <a:lnTo>
                          <a:pt x="24" y="0"/>
                        </a:lnTo>
                        <a:lnTo>
                          <a:pt x="0" y="0"/>
                        </a:lnTo>
                        <a:lnTo>
                          <a:pt x="0" y="1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3" name="Freeform 178">
                    <a:extLst>
                      <a:ext uri="{FF2B5EF4-FFF2-40B4-BE49-F238E27FC236}">
                        <a16:creationId xmlns:a16="http://schemas.microsoft.com/office/drawing/2014/main" id="{2165053F-211B-9C65-4D11-FA0F04DFC456}"/>
                      </a:ext>
                    </a:extLst>
                  </p:cNvPr>
                  <p:cNvSpPr>
                    <a:spLocks/>
                  </p:cNvSpPr>
                  <p:nvPr/>
                </p:nvSpPr>
                <p:spPr bwMode="gray">
                  <a:xfrm>
                    <a:off x="4482966" y="4800064"/>
                    <a:ext cx="63072" cy="40536"/>
                  </a:xfrm>
                  <a:custGeom>
                    <a:avLst/>
                    <a:gdLst>
                      <a:gd name="T0" fmla="*/ 24 w 41"/>
                      <a:gd name="T1" fmla="*/ 25 h 26"/>
                      <a:gd name="T2" fmla="*/ 40 w 41"/>
                      <a:gd name="T3" fmla="*/ 7 h 26"/>
                      <a:gd name="T4" fmla="*/ 40 w 41"/>
                      <a:gd name="T5" fmla="*/ 0 h 26"/>
                      <a:gd name="T6" fmla="*/ 0 w 41"/>
                      <a:gd name="T7" fmla="*/ 0 h 26"/>
                      <a:gd name="T8" fmla="*/ 17 w 41"/>
                      <a:gd name="T9" fmla="*/ 7 h 26"/>
                      <a:gd name="T10" fmla="*/ 17 w 41"/>
                      <a:gd name="T11" fmla="*/ 17 h 26"/>
                      <a:gd name="T12" fmla="*/ 24 w 41"/>
                      <a:gd name="T13" fmla="*/ 25 h 26"/>
                    </a:gdLst>
                    <a:ahLst/>
                    <a:cxnLst>
                      <a:cxn ang="0">
                        <a:pos x="T0" y="T1"/>
                      </a:cxn>
                      <a:cxn ang="0">
                        <a:pos x="T2" y="T3"/>
                      </a:cxn>
                      <a:cxn ang="0">
                        <a:pos x="T4" y="T5"/>
                      </a:cxn>
                      <a:cxn ang="0">
                        <a:pos x="T6" y="T7"/>
                      </a:cxn>
                      <a:cxn ang="0">
                        <a:pos x="T8" y="T9"/>
                      </a:cxn>
                      <a:cxn ang="0">
                        <a:pos x="T10" y="T11"/>
                      </a:cxn>
                      <a:cxn ang="0">
                        <a:pos x="T12" y="T13"/>
                      </a:cxn>
                    </a:cxnLst>
                    <a:rect l="0" t="0" r="r" b="b"/>
                    <a:pathLst>
                      <a:path w="41" h="26">
                        <a:moveTo>
                          <a:pt x="24" y="25"/>
                        </a:moveTo>
                        <a:lnTo>
                          <a:pt x="40" y="7"/>
                        </a:lnTo>
                        <a:lnTo>
                          <a:pt x="40" y="0"/>
                        </a:lnTo>
                        <a:lnTo>
                          <a:pt x="0" y="0"/>
                        </a:lnTo>
                        <a:lnTo>
                          <a:pt x="17" y="7"/>
                        </a:lnTo>
                        <a:lnTo>
                          <a:pt x="17" y="17"/>
                        </a:lnTo>
                        <a:lnTo>
                          <a:pt x="24" y="2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4" name="Freeform 179">
                    <a:extLst>
                      <a:ext uri="{FF2B5EF4-FFF2-40B4-BE49-F238E27FC236}">
                        <a16:creationId xmlns:a16="http://schemas.microsoft.com/office/drawing/2014/main" id="{0D60250A-4EA1-A537-BA3D-88C82762F1D7}"/>
                      </a:ext>
                    </a:extLst>
                  </p:cNvPr>
                  <p:cNvSpPr>
                    <a:spLocks/>
                  </p:cNvSpPr>
                  <p:nvPr/>
                </p:nvSpPr>
                <p:spPr bwMode="gray">
                  <a:xfrm>
                    <a:off x="4520294" y="4800064"/>
                    <a:ext cx="140302" cy="102607"/>
                  </a:xfrm>
                  <a:custGeom>
                    <a:avLst/>
                    <a:gdLst>
                      <a:gd name="T0" fmla="*/ 82 w 91"/>
                      <a:gd name="T1" fmla="*/ 66 h 67"/>
                      <a:gd name="T2" fmla="*/ 90 w 91"/>
                      <a:gd name="T3" fmla="*/ 66 h 67"/>
                      <a:gd name="T4" fmla="*/ 90 w 91"/>
                      <a:gd name="T5" fmla="*/ 57 h 67"/>
                      <a:gd name="T6" fmla="*/ 90 w 91"/>
                      <a:gd name="T7" fmla="*/ 48 h 67"/>
                      <a:gd name="T8" fmla="*/ 90 w 91"/>
                      <a:gd name="T9" fmla="*/ 41 h 67"/>
                      <a:gd name="T10" fmla="*/ 90 w 91"/>
                      <a:gd name="T11" fmla="*/ 32 h 67"/>
                      <a:gd name="T12" fmla="*/ 75 w 91"/>
                      <a:gd name="T13" fmla="*/ 0 h 67"/>
                      <a:gd name="T14" fmla="*/ 57 w 91"/>
                      <a:gd name="T15" fmla="*/ 7 h 67"/>
                      <a:gd name="T16" fmla="*/ 41 w 91"/>
                      <a:gd name="T17" fmla="*/ 7 h 67"/>
                      <a:gd name="T18" fmla="*/ 50 w 91"/>
                      <a:gd name="T19" fmla="*/ 0 h 67"/>
                      <a:gd name="T20" fmla="*/ 16 w 91"/>
                      <a:gd name="T21" fmla="*/ 0 h 67"/>
                      <a:gd name="T22" fmla="*/ 16 w 91"/>
                      <a:gd name="T23" fmla="*/ 7 h 67"/>
                      <a:gd name="T24" fmla="*/ 0 w 91"/>
                      <a:gd name="T25" fmla="*/ 25 h 67"/>
                      <a:gd name="T26" fmla="*/ 25 w 91"/>
                      <a:gd name="T27" fmla="*/ 41 h 67"/>
                      <a:gd name="T28" fmla="*/ 34 w 91"/>
                      <a:gd name="T29" fmla="*/ 32 h 67"/>
                      <a:gd name="T30" fmla="*/ 41 w 91"/>
                      <a:gd name="T31" fmla="*/ 32 h 67"/>
                      <a:gd name="T32" fmla="*/ 57 w 91"/>
                      <a:gd name="T33" fmla="*/ 48 h 67"/>
                      <a:gd name="T34" fmla="*/ 57 w 91"/>
                      <a:gd name="T35" fmla="*/ 57 h 67"/>
                      <a:gd name="T36" fmla="*/ 65 w 91"/>
                      <a:gd name="T37" fmla="*/ 48 h 67"/>
                      <a:gd name="T38" fmla="*/ 75 w 91"/>
                      <a:gd name="T39" fmla="*/ 66 h 67"/>
                      <a:gd name="T40" fmla="*/ 82 w 91"/>
                      <a:gd name="T41"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5" name="Freeform 180">
                    <a:extLst>
                      <a:ext uri="{FF2B5EF4-FFF2-40B4-BE49-F238E27FC236}">
                        <a16:creationId xmlns:a16="http://schemas.microsoft.com/office/drawing/2014/main" id="{0982889D-EC30-0F57-BD69-9CF30C78A503}"/>
                      </a:ext>
                    </a:extLst>
                  </p:cNvPr>
                  <p:cNvSpPr>
                    <a:spLocks/>
                  </p:cNvSpPr>
                  <p:nvPr/>
                </p:nvSpPr>
                <p:spPr bwMode="gray">
                  <a:xfrm>
                    <a:off x="4558909" y="4849467"/>
                    <a:ext cx="50200" cy="62071"/>
                  </a:xfrm>
                  <a:custGeom>
                    <a:avLst/>
                    <a:gdLst>
                      <a:gd name="T0" fmla="*/ 0 w 33"/>
                      <a:gd name="T1" fmla="*/ 9 h 41"/>
                      <a:gd name="T2" fmla="*/ 9 w 33"/>
                      <a:gd name="T3" fmla="*/ 0 h 41"/>
                      <a:gd name="T4" fmla="*/ 16 w 33"/>
                      <a:gd name="T5" fmla="*/ 0 h 41"/>
                      <a:gd name="T6" fmla="*/ 32 w 33"/>
                      <a:gd name="T7" fmla="*/ 16 h 41"/>
                      <a:gd name="T8" fmla="*/ 32 w 33"/>
                      <a:gd name="T9" fmla="*/ 25 h 41"/>
                      <a:gd name="T10" fmla="*/ 16 w 33"/>
                      <a:gd name="T11" fmla="*/ 40 h 41"/>
                      <a:gd name="T12" fmla="*/ 9 w 33"/>
                      <a:gd name="T13" fmla="*/ 34 h 41"/>
                      <a:gd name="T14" fmla="*/ 0 w 33"/>
                      <a:gd name="T15" fmla="*/ 34 h 41"/>
                      <a:gd name="T16" fmla="*/ 0 w 33"/>
                      <a:gd name="T17" fmla="*/ 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41">
                        <a:moveTo>
                          <a:pt x="0" y="9"/>
                        </a:moveTo>
                        <a:lnTo>
                          <a:pt x="9" y="0"/>
                        </a:lnTo>
                        <a:lnTo>
                          <a:pt x="16" y="0"/>
                        </a:lnTo>
                        <a:lnTo>
                          <a:pt x="32" y="16"/>
                        </a:lnTo>
                        <a:lnTo>
                          <a:pt x="32" y="25"/>
                        </a:lnTo>
                        <a:lnTo>
                          <a:pt x="16" y="40"/>
                        </a:lnTo>
                        <a:lnTo>
                          <a:pt x="9" y="34"/>
                        </a:lnTo>
                        <a:lnTo>
                          <a:pt x="0" y="34"/>
                        </a:lnTo>
                        <a:lnTo>
                          <a:pt x="0" y="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6" name="Freeform 181">
                    <a:extLst>
                      <a:ext uri="{FF2B5EF4-FFF2-40B4-BE49-F238E27FC236}">
                        <a16:creationId xmlns:a16="http://schemas.microsoft.com/office/drawing/2014/main" id="{6FBD8AC0-0C0D-4A73-5E88-73759DE6FCF7}"/>
                      </a:ext>
                    </a:extLst>
                  </p:cNvPr>
                  <p:cNvSpPr>
                    <a:spLocks/>
                  </p:cNvSpPr>
                  <p:nvPr/>
                </p:nvSpPr>
                <p:spPr bwMode="gray">
                  <a:xfrm>
                    <a:off x="4583365" y="4873536"/>
                    <a:ext cx="91389" cy="88673"/>
                  </a:xfrm>
                  <a:custGeom>
                    <a:avLst/>
                    <a:gdLst>
                      <a:gd name="T0" fmla="*/ 58 w 59"/>
                      <a:gd name="T1" fmla="*/ 58 h 59"/>
                      <a:gd name="T2" fmla="*/ 58 w 59"/>
                      <a:gd name="T3" fmla="*/ 42 h 59"/>
                      <a:gd name="T4" fmla="*/ 41 w 59"/>
                      <a:gd name="T5" fmla="*/ 33 h 59"/>
                      <a:gd name="T6" fmla="*/ 41 w 59"/>
                      <a:gd name="T7" fmla="*/ 18 h 59"/>
                      <a:gd name="T8" fmla="*/ 34 w 59"/>
                      <a:gd name="T9" fmla="*/ 18 h 59"/>
                      <a:gd name="T10" fmla="*/ 24 w 59"/>
                      <a:gd name="T11" fmla="*/ 0 h 59"/>
                      <a:gd name="T12" fmla="*/ 16 w 59"/>
                      <a:gd name="T13" fmla="*/ 9 h 59"/>
                      <a:gd name="T14" fmla="*/ 0 w 59"/>
                      <a:gd name="T15" fmla="*/ 24 h 59"/>
                      <a:gd name="T16" fmla="*/ 41 w 59"/>
                      <a:gd name="T17" fmla="*/ 58 h 59"/>
                      <a:gd name="T18" fmla="*/ 58 w 59"/>
                      <a:gd name="T1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7" name="Freeform 182">
                    <a:extLst>
                      <a:ext uri="{FF2B5EF4-FFF2-40B4-BE49-F238E27FC236}">
                        <a16:creationId xmlns:a16="http://schemas.microsoft.com/office/drawing/2014/main" id="{25003BBB-F292-8790-1EC0-7357623022CD}"/>
                      </a:ext>
                    </a:extLst>
                  </p:cNvPr>
                  <p:cNvSpPr>
                    <a:spLocks/>
                  </p:cNvSpPr>
                  <p:nvPr/>
                </p:nvSpPr>
                <p:spPr bwMode="gray">
                  <a:xfrm>
                    <a:off x="4807333" y="4826666"/>
                    <a:ext cx="41189" cy="97540"/>
                  </a:xfrm>
                  <a:custGeom>
                    <a:avLst/>
                    <a:gdLst>
                      <a:gd name="T0" fmla="*/ 17 w 26"/>
                      <a:gd name="T1" fmla="*/ 0 h 65"/>
                      <a:gd name="T2" fmla="*/ 0 w 26"/>
                      <a:gd name="T3" fmla="*/ 0 h 65"/>
                      <a:gd name="T4" fmla="*/ 9 w 26"/>
                      <a:gd name="T5" fmla="*/ 31 h 65"/>
                      <a:gd name="T6" fmla="*/ 17 w 26"/>
                      <a:gd name="T7" fmla="*/ 55 h 65"/>
                      <a:gd name="T8" fmla="*/ 17 w 26"/>
                      <a:gd name="T9" fmla="*/ 64 h 65"/>
                      <a:gd name="T10" fmla="*/ 25 w 26"/>
                      <a:gd name="T11" fmla="*/ 64 h 65"/>
                      <a:gd name="T12" fmla="*/ 25 w 26"/>
                      <a:gd name="T13" fmla="*/ 31 h 65"/>
                      <a:gd name="T14" fmla="*/ 25 w 26"/>
                      <a:gd name="T15" fmla="*/ 15 h 65"/>
                      <a:gd name="T16" fmla="*/ 17 w 26"/>
                      <a:gd name="T17" fmla="*/ 8 h 65"/>
                      <a:gd name="T18" fmla="*/ 17 w 26"/>
                      <a:gd name="T19"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8" name="Freeform 183">
                    <a:extLst>
                      <a:ext uri="{FF2B5EF4-FFF2-40B4-BE49-F238E27FC236}">
                        <a16:creationId xmlns:a16="http://schemas.microsoft.com/office/drawing/2014/main" id="{46FCC929-0B32-970D-E505-46FDB6411CBE}"/>
                      </a:ext>
                    </a:extLst>
                  </p:cNvPr>
                  <p:cNvSpPr>
                    <a:spLocks/>
                  </p:cNvSpPr>
                  <p:nvPr/>
                </p:nvSpPr>
                <p:spPr bwMode="gray">
                  <a:xfrm>
                    <a:off x="4999122" y="4998946"/>
                    <a:ext cx="34754" cy="25335"/>
                  </a:xfrm>
                  <a:custGeom>
                    <a:avLst/>
                    <a:gdLst>
                      <a:gd name="T0" fmla="*/ 22 w 23"/>
                      <a:gd name="T1" fmla="*/ 0 h 17"/>
                      <a:gd name="T2" fmla="*/ 22 w 23"/>
                      <a:gd name="T3" fmla="*/ 16 h 17"/>
                      <a:gd name="T4" fmla="*/ 6 w 23"/>
                      <a:gd name="T5" fmla="*/ 16 h 17"/>
                      <a:gd name="T6" fmla="*/ 0 w 23"/>
                      <a:gd name="T7" fmla="*/ 16 h 17"/>
                      <a:gd name="T8" fmla="*/ 6 w 23"/>
                      <a:gd name="T9" fmla="*/ 0 h 17"/>
                      <a:gd name="T10" fmla="*/ 22 w 23"/>
                      <a:gd name="T11" fmla="*/ 0 h 17"/>
                    </a:gdLst>
                    <a:ahLst/>
                    <a:cxnLst>
                      <a:cxn ang="0">
                        <a:pos x="T0" y="T1"/>
                      </a:cxn>
                      <a:cxn ang="0">
                        <a:pos x="T2" y="T3"/>
                      </a:cxn>
                      <a:cxn ang="0">
                        <a:pos x="T4" y="T5"/>
                      </a:cxn>
                      <a:cxn ang="0">
                        <a:pos x="T6" y="T7"/>
                      </a:cxn>
                      <a:cxn ang="0">
                        <a:pos x="T8" y="T9"/>
                      </a:cxn>
                      <a:cxn ang="0">
                        <a:pos x="T10" y="T11"/>
                      </a:cxn>
                    </a:cxnLst>
                    <a:rect l="0" t="0" r="r" b="b"/>
                    <a:pathLst>
                      <a:path w="23" h="17">
                        <a:moveTo>
                          <a:pt x="22" y="0"/>
                        </a:moveTo>
                        <a:lnTo>
                          <a:pt x="22" y="16"/>
                        </a:lnTo>
                        <a:lnTo>
                          <a:pt x="6" y="16"/>
                        </a:lnTo>
                        <a:lnTo>
                          <a:pt x="0" y="16"/>
                        </a:lnTo>
                        <a:lnTo>
                          <a:pt x="6" y="0"/>
                        </a:lnTo>
                        <a:lnTo>
                          <a:pt x="22"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29" name="Freeform 184">
                    <a:extLst>
                      <a:ext uri="{FF2B5EF4-FFF2-40B4-BE49-F238E27FC236}">
                        <a16:creationId xmlns:a16="http://schemas.microsoft.com/office/drawing/2014/main" id="{E9049069-88DD-588B-0D30-34953756A2C2}"/>
                      </a:ext>
                    </a:extLst>
                  </p:cNvPr>
                  <p:cNvSpPr>
                    <a:spLocks/>
                  </p:cNvSpPr>
                  <p:nvPr/>
                </p:nvSpPr>
                <p:spPr bwMode="gray">
                  <a:xfrm>
                    <a:off x="5032589" y="4972343"/>
                    <a:ext cx="151887" cy="173546"/>
                  </a:xfrm>
                  <a:custGeom>
                    <a:avLst/>
                    <a:gdLst>
                      <a:gd name="T0" fmla="*/ 65 w 99"/>
                      <a:gd name="T1" fmla="*/ 9 h 115"/>
                      <a:gd name="T2" fmla="*/ 65 w 99"/>
                      <a:gd name="T3" fmla="*/ 24 h 115"/>
                      <a:gd name="T4" fmla="*/ 25 w 99"/>
                      <a:gd name="T5" fmla="*/ 18 h 115"/>
                      <a:gd name="T6" fmla="*/ 25 w 99"/>
                      <a:gd name="T7" fmla="*/ 33 h 115"/>
                      <a:gd name="T8" fmla="*/ 33 w 99"/>
                      <a:gd name="T9" fmla="*/ 24 h 115"/>
                      <a:gd name="T10" fmla="*/ 41 w 99"/>
                      <a:gd name="T11" fmla="*/ 33 h 115"/>
                      <a:gd name="T12" fmla="*/ 41 w 99"/>
                      <a:gd name="T13" fmla="*/ 41 h 115"/>
                      <a:gd name="T14" fmla="*/ 41 w 99"/>
                      <a:gd name="T15" fmla="*/ 74 h 115"/>
                      <a:gd name="T16" fmla="*/ 18 w 99"/>
                      <a:gd name="T17" fmla="*/ 74 h 115"/>
                      <a:gd name="T18" fmla="*/ 9 w 99"/>
                      <a:gd name="T19" fmla="*/ 81 h 115"/>
                      <a:gd name="T20" fmla="*/ 9 w 99"/>
                      <a:gd name="T21" fmla="*/ 90 h 115"/>
                      <a:gd name="T22" fmla="*/ 0 w 99"/>
                      <a:gd name="T23" fmla="*/ 90 h 115"/>
                      <a:gd name="T24" fmla="*/ 0 w 99"/>
                      <a:gd name="T25" fmla="*/ 98 h 115"/>
                      <a:gd name="T26" fmla="*/ 18 w 99"/>
                      <a:gd name="T27" fmla="*/ 114 h 115"/>
                      <a:gd name="T28" fmla="*/ 18 w 99"/>
                      <a:gd name="T29" fmla="*/ 106 h 115"/>
                      <a:gd name="T30" fmla="*/ 25 w 99"/>
                      <a:gd name="T31" fmla="*/ 106 h 115"/>
                      <a:gd name="T32" fmla="*/ 41 w 99"/>
                      <a:gd name="T33" fmla="*/ 106 h 115"/>
                      <a:gd name="T34" fmla="*/ 58 w 99"/>
                      <a:gd name="T35" fmla="*/ 98 h 115"/>
                      <a:gd name="T36" fmla="*/ 65 w 99"/>
                      <a:gd name="T37" fmla="*/ 74 h 115"/>
                      <a:gd name="T38" fmla="*/ 81 w 99"/>
                      <a:gd name="T39" fmla="*/ 58 h 115"/>
                      <a:gd name="T40" fmla="*/ 98 w 99"/>
                      <a:gd name="T41" fmla="*/ 0 h 115"/>
                      <a:gd name="T42" fmla="*/ 75 w 99"/>
                      <a:gd name="T43" fmla="*/ 9 h 115"/>
                      <a:gd name="T44" fmla="*/ 65 w 99"/>
                      <a:gd name="T45"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0" name="Freeform 185">
                    <a:extLst>
                      <a:ext uri="{FF2B5EF4-FFF2-40B4-BE49-F238E27FC236}">
                        <a16:creationId xmlns:a16="http://schemas.microsoft.com/office/drawing/2014/main" id="{56335399-1228-BFDF-DDCB-33FD96C23262}"/>
                      </a:ext>
                    </a:extLst>
                  </p:cNvPr>
                  <p:cNvSpPr>
                    <a:spLocks/>
                  </p:cNvSpPr>
                  <p:nvPr/>
                </p:nvSpPr>
                <p:spPr bwMode="gray">
                  <a:xfrm>
                    <a:off x="5381412" y="5059750"/>
                    <a:ext cx="39902" cy="36736"/>
                  </a:xfrm>
                  <a:custGeom>
                    <a:avLst/>
                    <a:gdLst>
                      <a:gd name="T0" fmla="*/ 25 w 26"/>
                      <a:gd name="T1" fmla="*/ 23 h 24"/>
                      <a:gd name="T2" fmla="*/ 9 w 26"/>
                      <a:gd name="T3" fmla="*/ 23 h 24"/>
                      <a:gd name="T4" fmla="*/ 0 w 26"/>
                      <a:gd name="T5" fmla="*/ 23 h 24"/>
                      <a:gd name="T6" fmla="*/ 9 w 26"/>
                      <a:gd name="T7" fmla="*/ 7 h 24"/>
                      <a:gd name="T8" fmla="*/ 25 w 26"/>
                      <a:gd name="T9" fmla="*/ 0 h 24"/>
                      <a:gd name="T10" fmla="*/ 25 w 26"/>
                      <a:gd name="T11" fmla="*/ 16 h 24"/>
                      <a:gd name="T12" fmla="*/ 25 w 26"/>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5" y="23"/>
                        </a:moveTo>
                        <a:lnTo>
                          <a:pt x="9" y="23"/>
                        </a:lnTo>
                        <a:lnTo>
                          <a:pt x="0" y="23"/>
                        </a:lnTo>
                        <a:lnTo>
                          <a:pt x="9" y="7"/>
                        </a:lnTo>
                        <a:lnTo>
                          <a:pt x="25" y="0"/>
                        </a:lnTo>
                        <a:lnTo>
                          <a:pt x="25" y="16"/>
                        </a:lnTo>
                        <a:lnTo>
                          <a:pt x="25" y="23"/>
                        </a:lnTo>
                      </a:path>
                    </a:pathLst>
                  </a:custGeom>
                  <a:grpFill/>
                  <a:ln w="3175" cap="rnd" cmpd="sng">
                    <a:solidFill>
                      <a:schemeClr val="bg1"/>
                    </a:solidFill>
                    <a:prstDash val="solid"/>
                    <a:round/>
                    <a:headEnd/>
                    <a:tailEnd/>
                  </a:ln>
                  <a:effectLst/>
                </p:spPr>
                <p:txBody>
                  <a:bodyPr/>
                  <a:lstStyle/>
                  <a:p>
                    <a:endParaRPr lang="en-US"/>
                  </a:p>
                </p:txBody>
              </p:sp>
              <p:sp>
                <p:nvSpPr>
                  <p:cNvPr id="1831" name="Freeform 186">
                    <a:extLst>
                      <a:ext uri="{FF2B5EF4-FFF2-40B4-BE49-F238E27FC236}">
                        <a16:creationId xmlns:a16="http://schemas.microsoft.com/office/drawing/2014/main" id="{63553FBF-D6DD-76E4-494F-64DB7993EDF9}"/>
                      </a:ext>
                    </a:extLst>
                  </p:cNvPr>
                  <p:cNvSpPr>
                    <a:spLocks/>
                  </p:cNvSpPr>
                  <p:nvPr/>
                </p:nvSpPr>
                <p:spPr bwMode="gray">
                  <a:xfrm>
                    <a:off x="5395571" y="5093952"/>
                    <a:ext cx="25743" cy="39270"/>
                  </a:xfrm>
                  <a:custGeom>
                    <a:avLst/>
                    <a:gdLst>
                      <a:gd name="T0" fmla="*/ 16 w 17"/>
                      <a:gd name="T1" fmla="*/ 0 h 26"/>
                      <a:gd name="T2" fmla="*/ 16 w 17"/>
                      <a:gd name="T3" fmla="*/ 9 h 26"/>
                      <a:gd name="T4" fmla="*/ 0 w 17"/>
                      <a:gd name="T5" fmla="*/ 25 h 26"/>
                      <a:gd name="T6" fmla="*/ 0 w 17"/>
                      <a:gd name="T7" fmla="*/ 9 h 26"/>
                      <a:gd name="T8" fmla="*/ 0 w 17"/>
                      <a:gd name="T9" fmla="*/ 0 h 26"/>
                      <a:gd name="T10" fmla="*/ 16 w 17"/>
                      <a:gd name="T11" fmla="*/ 0 h 26"/>
                    </a:gdLst>
                    <a:ahLst/>
                    <a:cxnLst>
                      <a:cxn ang="0">
                        <a:pos x="T0" y="T1"/>
                      </a:cxn>
                      <a:cxn ang="0">
                        <a:pos x="T2" y="T3"/>
                      </a:cxn>
                      <a:cxn ang="0">
                        <a:pos x="T4" y="T5"/>
                      </a:cxn>
                      <a:cxn ang="0">
                        <a:pos x="T6" y="T7"/>
                      </a:cxn>
                      <a:cxn ang="0">
                        <a:pos x="T8" y="T9"/>
                      </a:cxn>
                      <a:cxn ang="0">
                        <a:pos x="T10" y="T11"/>
                      </a:cxn>
                    </a:cxnLst>
                    <a:rect l="0" t="0" r="r" b="b"/>
                    <a:pathLst>
                      <a:path w="17" h="26">
                        <a:moveTo>
                          <a:pt x="16" y="0"/>
                        </a:moveTo>
                        <a:lnTo>
                          <a:pt x="16" y="9"/>
                        </a:lnTo>
                        <a:lnTo>
                          <a:pt x="0" y="25"/>
                        </a:lnTo>
                        <a:lnTo>
                          <a:pt x="0" y="9"/>
                        </a:lnTo>
                        <a:lnTo>
                          <a:pt x="0" y="0"/>
                        </a:lnTo>
                        <a:lnTo>
                          <a:pt x="16" y="0"/>
                        </a:lnTo>
                      </a:path>
                    </a:pathLst>
                  </a:custGeom>
                  <a:grpFill/>
                  <a:ln w="3175" cap="rnd" cmpd="sng">
                    <a:solidFill>
                      <a:schemeClr val="bg1"/>
                    </a:solidFill>
                    <a:prstDash val="solid"/>
                    <a:round/>
                    <a:headEnd/>
                    <a:tailEnd/>
                  </a:ln>
                  <a:effectLst/>
                </p:spPr>
                <p:txBody>
                  <a:bodyPr/>
                  <a:lstStyle/>
                  <a:p>
                    <a:endParaRPr lang="en-US"/>
                  </a:p>
                </p:txBody>
              </p:sp>
              <p:sp>
                <p:nvSpPr>
                  <p:cNvPr id="1832" name="Freeform 187">
                    <a:extLst>
                      <a:ext uri="{FF2B5EF4-FFF2-40B4-BE49-F238E27FC236}">
                        <a16:creationId xmlns:a16="http://schemas.microsoft.com/office/drawing/2014/main" id="{98EA0A13-7532-2760-EF12-175C925064B7}"/>
                      </a:ext>
                    </a:extLst>
                  </p:cNvPr>
                  <p:cNvSpPr>
                    <a:spLocks/>
                  </p:cNvSpPr>
                  <p:nvPr/>
                </p:nvSpPr>
                <p:spPr bwMode="gray">
                  <a:xfrm>
                    <a:off x="5046747" y="5376440"/>
                    <a:ext cx="263871" cy="247018"/>
                  </a:xfrm>
                  <a:custGeom>
                    <a:avLst/>
                    <a:gdLst>
                      <a:gd name="T0" fmla="*/ 56 w 172"/>
                      <a:gd name="T1" fmla="*/ 162 h 163"/>
                      <a:gd name="T2" fmla="*/ 49 w 172"/>
                      <a:gd name="T3" fmla="*/ 146 h 163"/>
                      <a:gd name="T4" fmla="*/ 32 w 172"/>
                      <a:gd name="T5" fmla="*/ 99 h 163"/>
                      <a:gd name="T6" fmla="*/ 32 w 172"/>
                      <a:gd name="T7" fmla="*/ 75 h 163"/>
                      <a:gd name="T8" fmla="*/ 0 w 172"/>
                      <a:gd name="T9" fmla="*/ 9 h 163"/>
                      <a:gd name="T10" fmla="*/ 0 w 172"/>
                      <a:gd name="T11" fmla="*/ 0 h 163"/>
                      <a:gd name="T12" fmla="*/ 16 w 172"/>
                      <a:gd name="T13" fmla="*/ 0 h 163"/>
                      <a:gd name="T14" fmla="*/ 32 w 172"/>
                      <a:gd name="T15" fmla="*/ 0 h 163"/>
                      <a:gd name="T16" fmla="*/ 81 w 172"/>
                      <a:gd name="T17" fmla="*/ 9 h 163"/>
                      <a:gd name="T18" fmla="*/ 97 w 172"/>
                      <a:gd name="T19" fmla="*/ 9 h 163"/>
                      <a:gd name="T20" fmla="*/ 130 w 172"/>
                      <a:gd name="T21" fmla="*/ 16 h 163"/>
                      <a:gd name="T22" fmla="*/ 146 w 172"/>
                      <a:gd name="T23" fmla="*/ 9 h 163"/>
                      <a:gd name="T24" fmla="*/ 153 w 172"/>
                      <a:gd name="T25" fmla="*/ 0 h 163"/>
                      <a:gd name="T26" fmla="*/ 171 w 172"/>
                      <a:gd name="T27" fmla="*/ 9 h 163"/>
                      <a:gd name="T28" fmla="*/ 153 w 172"/>
                      <a:gd name="T29" fmla="*/ 25 h 163"/>
                      <a:gd name="T30" fmla="*/ 146 w 172"/>
                      <a:gd name="T31" fmla="*/ 16 h 163"/>
                      <a:gd name="T32" fmla="*/ 121 w 172"/>
                      <a:gd name="T33" fmla="*/ 16 h 163"/>
                      <a:gd name="T34" fmla="*/ 112 w 172"/>
                      <a:gd name="T35" fmla="*/ 65 h 163"/>
                      <a:gd name="T36" fmla="*/ 106 w 172"/>
                      <a:gd name="T37" fmla="*/ 75 h 163"/>
                      <a:gd name="T38" fmla="*/ 106 w 172"/>
                      <a:gd name="T39" fmla="*/ 106 h 163"/>
                      <a:gd name="T40" fmla="*/ 106 w 172"/>
                      <a:gd name="T41" fmla="*/ 155 h 163"/>
                      <a:gd name="T42" fmla="*/ 89 w 172"/>
                      <a:gd name="T43" fmla="*/ 162 h 163"/>
                      <a:gd name="T44" fmla="*/ 72 w 172"/>
                      <a:gd name="T45" fmla="*/ 162 h 163"/>
                      <a:gd name="T46" fmla="*/ 66 w 172"/>
                      <a:gd name="T47" fmla="*/ 155 h 163"/>
                      <a:gd name="T48" fmla="*/ 56 w 172"/>
                      <a:gd name="T49" fmla="*/ 16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3" name="Freeform 188">
                    <a:extLst>
                      <a:ext uri="{FF2B5EF4-FFF2-40B4-BE49-F238E27FC236}">
                        <a16:creationId xmlns:a16="http://schemas.microsoft.com/office/drawing/2014/main" id="{32C706DB-613E-8DE5-F822-F03387D50F19}"/>
                      </a:ext>
                    </a:extLst>
                  </p:cNvPr>
                  <p:cNvSpPr>
                    <a:spLocks/>
                  </p:cNvSpPr>
                  <p:nvPr/>
                </p:nvSpPr>
                <p:spPr bwMode="gray">
                  <a:xfrm>
                    <a:off x="5046747" y="5154756"/>
                    <a:ext cx="248425" cy="247018"/>
                  </a:xfrm>
                  <a:custGeom>
                    <a:avLst/>
                    <a:gdLst>
                      <a:gd name="T0" fmla="*/ 0 w 162"/>
                      <a:gd name="T1" fmla="*/ 146 h 163"/>
                      <a:gd name="T2" fmla="*/ 16 w 162"/>
                      <a:gd name="T3" fmla="*/ 146 h 163"/>
                      <a:gd name="T4" fmla="*/ 32 w 162"/>
                      <a:gd name="T5" fmla="*/ 146 h 163"/>
                      <a:gd name="T6" fmla="*/ 81 w 162"/>
                      <a:gd name="T7" fmla="*/ 155 h 163"/>
                      <a:gd name="T8" fmla="*/ 97 w 162"/>
                      <a:gd name="T9" fmla="*/ 155 h 163"/>
                      <a:gd name="T10" fmla="*/ 130 w 162"/>
                      <a:gd name="T11" fmla="*/ 162 h 163"/>
                      <a:gd name="T12" fmla="*/ 146 w 162"/>
                      <a:gd name="T13" fmla="*/ 155 h 163"/>
                      <a:gd name="T14" fmla="*/ 130 w 162"/>
                      <a:gd name="T15" fmla="*/ 139 h 163"/>
                      <a:gd name="T16" fmla="*/ 130 w 162"/>
                      <a:gd name="T17" fmla="*/ 99 h 163"/>
                      <a:gd name="T18" fmla="*/ 161 w 162"/>
                      <a:gd name="T19" fmla="*/ 90 h 163"/>
                      <a:gd name="T20" fmla="*/ 153 w 162"/>
                      <a:gd name="T21" fmla="*/ 65 h 163"/>
                      <a:gd name="T22" fmla="*/ 130 w 162"/>
                      <a:gd name="T23" fmla="*/ 74 h 163"/>
                      <a:gd name="T24" fmla="*/ 130 w 162"/>
                      <a:gd name="T25" fmla="*/ 65 h 163"/>
                      <a:gd name="T26" fmla="*/ 137 w 162"/>
                      <a:gd name="T27" fmla="*/ 59 h 163"/>
                      <a:gd name="T28" fmla="*/ 130 w 162"/>
                      <a:gd name="T29" fmla="*/ 50 h 163"/>
                      <a:gd name="T30" fmla="*/ 130 w 162"/>
                      <a:gd name="T31" fmla="*/ 25 h 163"/>
                      <a:gd name="T32" fmla="*/ 112 w 162"/>
                      <a:gd name="T33" fmla="*/ 17 h 163"/>
                      <a:gd name="T34" fmla="*/ 97 w 162"/>
                      <a:gd name="T35" fmla="*/ 17 h 163"/>
                      <a:gd name="T36" fmla="*/ 97 w 162"/>
                      <a:gd name="T37" fmla="*/ 25 h 163"/>
                      <a:gd name="T38" fmla="*/ 81 w 162"/>
                      <a:gd name="T39" fmla="*/ 34 h 163"/>
                      <a:gd name="T40" fmla="*/ 66 w 162"/>
                      <a:gd name="T41" fmla="*/ 17 h 163"/>
                      <a:gd name="T42" fmla="*/ 66 w 162"/>
                      <a:gd name="T43" fmla="*/ 0 h 163"/>
                      <a:gd name="T44" fmla="*/ 56 w 162"/>
                      <a:gd name="T45" fmla="*/ 0 h 163"/>
                      <a:gd name="T46" fmla="*/ 24 w 162"/>
                      <a:gd name="T47" fmla="*/ 0 h 163"/>
                      <a:gd name="T48" fmla="*/ 9 w 162"/>
                      <a:gd name="T49" fmla="*/ 9 h 163"/>
                      <a:gd name="T50" fmla="*/ 16 w 162"/>
                      <a:gd name="T51" fmla="*/ 34 h 163"/>
                      <a:gd name="T52" fmla="*/ 16 w 162"/>
                      <a:gd name="T53" fmla="*/ 40 h 163"/>
                      <a:gd name="T54" fmla="*/ 24 w 162"/>
                      <a:gd name="T55" fmla="*/ 74 h 163"/>
                      <a:gd name="T56" fmla="*/ 24 w 162"/>
                      <a:gd name="T57" fmla="*/ 90 h 163"/>
                      <a:gd name="T58" fmla="*/ 9 w 162"/>
                      <a:gd name="T59" fmla="*/ 99 h 163"/>
                      <a:gd name="T60" fmla="*/ 0 w 162"/>
                      <a:gd name="T61" fmla="*/ 131 h 163"/>
                      <a:gd name="T62" fmla="*/ 0 w 162"/>
                      <a:gd name="T63" fmla="*/ 146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4" name="Freeform 189">
                    <a:extLst>
                      <a:ext uri="{FF2B5EF4-FFF2-40B4-BE49-F238E27FC236}">
                        <a16:creationId xmlns:a16="http://schemas.microsoft.com/office/drawing/2014/main" id="{613EEF76-613F-F83D-1BB7-03A8A67B937B}"/>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5" name="Freeform 190">
                    <a:extLst>
                      <a:ext uri="{FF2B5EF4-FFF2-40B4-BE49-F238E27FC236}">
                        <a16:creationId xmlns:a16="http://schemas.microsoft.com/office/drawing/2014/main" id="{3B8476B8-B94D-6906-5087-092A6C730912}"/>
                      </a:ext>
                    </a:extLst>
                  </p:cNvPr>
                  <p:cNvSpPr>
                    <a:spLocks/>
                  </p:cNvSpPr>
                  <p:nvPr/>
                </p:nvSpPr>
                <p:spPr bwMode="gray">
                  <a:xfrm>
                    <a:off x="5060906" y="5131955"/>
                    <a:ext cx="25743" cy="26602"/>
                  </a:xfrm>
                  <a:custGeom>
                    <a:avLst/>
                    <a:gdLst>
                      <a:gd name="T0" fmla="*/ 16 w 17"/>
                      <a:gd name="T1" fmla="*/ 0 h 17"/>
                      <a:gd name="T2" fmla="*/ 0 w 17"/>
                      <a:gd name="T3" fmla="*/ 16 h 17"/>
                      <a:gd name="T4" fmla="*/ 0 w 17"/>
                      <a:gd name="T5" fmla="*/ 8 h 17"/>
                      <a:gd name="T6" fmla="*/ 0 w 17"/>
                      <a:gd name="T7" fmla="*/ 0 h 17"/>
                      <a:gd name="T8" fmla="*/ 16 w 17"/>
                      <a:gd name="T9" fmla="*/ 0 h 17"/>
                    </a:gdLst>
                    <a:ahLst/>
                    <a:cxnLst>
                      <a:cxn ang="0">
                        <a:pos x="T0" y="T1"/>
                      </a:cxn>
                      <a:cxn ang="0">
                        <a:pos x="T2" y="T3"/>
                      </a:cxn>
                      <a:cxn ang="0">
                        <a:pos x="T4" y="T5"/>
                      </a:cxn>
                      <a:cxn ang="0">
                        <a:pos x="T6" y="T7"/>
                      </a:cxn>
                      <a:cxn ang="0">
                        <a:pos x="T8" y="T9"/>
                      </a:cxn>
                    </a:cxnLst>
                    <a:rect l="0" t="0" r="r" b="b"/>
                    <a:pathLst>
                      <a:path w="17" h="17">
                        <a:moveTo>
                          <a:pt x="16" y="0"/>
                        </a:moveTo>
                        <a:lnTo>
                          <a:pt x="0" y="16"/>
                        </a:lnTo>
                        <a:lnTo>
                          <a:pt x="0" y="8"/>
                        </a:lnTo>
                        <a:lnTo>
                          <a:pt x="0" y="0"/>
                        </a:lnTo>
                        <a:lnTo>
                          <a:pt x="16"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6" name="Freeform 191">
                    <a:extLst>
                      <a:ext uri="{FF2B5EF4-FFF2-40B4-BE49-F238E27FC236}">
                        <a16:creationId xmlns:a16="http://schemas.microsoft.com/office/drawing/2014/main" id="{18F00E5C-A6B3-CBC4-5D55-3FA466D5C0AC}"/>
                      </a:ext>
                    </a:extLst>
                  </p:cNvPr>
                  <p:cNvSpPr>
                    <a:spLocks/>
                  </p:cNvSpPr>
                  <p:nvPr/>
                </p:nvSpPr>
                <p:spPr bwMode="gray">
                  <a:xfrm>
                    <a:off x="5132988" y="5473980"/>
                    <a:ext cx="326942" cy="285021"/>
                  </a:xfrm>
                  <a:custGeom>
                    <a:avLst/>
                    <a:gdLst>
                      <a:gd name="T0" fmla="*/ 196 w 213"/>
                      <a:gd name="T1" fmla="*/ 10 h 188"/>
                      <a:gd name="T2" fmla="*/ 202 w 213"/>
                      <a:gd name="T3" fmla="*/ 57 h 188"/>
                      <a:gd name="T4" fmla="*/ 196 w 213"/>
                      <a:gd name="T5" fmla="*/ 57 h 188"/>
                      <a:gd name="T6" fmla="*/ 187 w 213"/>
                      <a:gd name="T7" fmla="*/ 65 h 188"/>
                      <a:gd name="T8" fmla="*/ 196 w 213"/>
                      <a:gd name="T9" fmla="*/ 74 h 188"/>
                      <a:gd name="T10" fmla="*/ 202 w 213"/>
                      <a:gd name="T11" fmla="*/ 65 h 188"/>
                      <a:gd name="T12" fmla="*/ 212 w 213"/>
                      <a:gd name="T13" fmla="*/ 65 h 188"/>
                      <a:gd name="T14" fmla="*/ 212 w 213"/>
                      <a:gd name="T15" fmla="*/ 74 h 188"/>
                      <a:gd name="T16" fmla="*/ 212 w 213"/>
                      <a:gd name="T17" fmla="*/ 97 h 188"/>
                      <a:gd name="T18" fmla="*/ 196 w 213"/>
                      <a:gd name="T19" fmla="*/ 105 h 188"/>
                      <a:gd name="T20" fmla="*/ 180 w 213"/>
                      <a:gd name="T21" fmla="*/ 130 h 188"/>
                      <a:gd name="T22" fmla="*/ 155 w 213"/>
                      <a:gd name="T23" fmla="*/ 153 h 188"/>
                      <a:gd name="T24" fmla="*/ 139 w 213"/>
                      <a:gd name="T25" fmla="*/ 171 h 188"/>
                      <a:gd name="T26" fmla="*/ 115 w 213"/>
                      <a:gd name="T27" fmla="*/ 178 h 188"/>
                      <a:gd name="T28" fmla="*/ 97 w 213"/>
                      <a:gd name="T29" fmla="*/ 178 h 188"/>
                      <a:gd name="T30" fmla="*/ 74 w 213"/>
                      <a:gd name="T31" fmla="*/ 178 h 188"/>
                      <a:gd name="T32" fmla="*/ 50 w 213"/>
                      <a:gd name="T33" fmla="*/ 187 h 188"/>
                      <a:gd name="T34" fmla="*/ 41 w 213"/>
                      <a:gd name="T35" fmla="*/ 187 h 188"/>
                      <a:gd name="T36" fmla="*/ 33 w 213"/>
                      <a:gd name="T37" fmla="*/ 178 h 188"/>
                      <a:gd name="T38" fmla="*/ 25 w 213"/>
                      <a:gd name="T39" fmla="*/ 153 h 188"/>
                      <a:gd name="T40" fmla="*/ 25 w 213"/>
                      <a:gd name="T41" fmla="*/ 147 h 188"/>
                      <a:gd name="T42" fmla="*/ 10 w 213"/>
                      <a:gd name="T43" fmla="*/ 97 h 188"/>
                      <a:gd name="T44" fmla="*/ 0 w 213"/>
                      <a:gd name="T45" fmla="*/ 97 h 188"/>
                      <a:gd name="T46" fmla="*/ 10 w 213"/>
                      <a:gd name="T47" fmla="*/ 90 h 188"/>
                      <a:gd name="T48" fmla="*/ 16 w 213"/>
                      <a:gd name="T49" fmla="*/ 97 h 188"/>
                      <a:gd name="T50" fmla="*/ 33 w 213"/>
                      <a:gd name="T51" fmla="*/ 97 h 188"/>
                      <a:gd name="T52" fmla="*/ 50 w 213"/>
                      <a:gd name="T53" fmla="*/ 90 h 188"/>
                      <a:gd name="T54" fmla="*/ 50 w 213"/>
                      <a:gd name="T55" fmla="*/ 41 h 188"/>
                      <a:gd name="T56" fmla="*/ 56 w 213"/>
                      <a:gd name="T57" fmla="*/ 50 h 188"/>
                      <a:gd name="T58" fmla="*/ 56 w 213"/>
                      <a:gd name="T59" fmla="*/ 65 h 188"/>
                      <a:gd name="T60" fmla="*/ 74 w 213"/>
                      <a:gd name="T61" fmla="*/ 65 h 188"/>
                      <a:gd name="T62" fmla="*/ 97 w 213"/>
                      <a:gd name="T63" fmla="*/ 50 h 188"/>
                      <a:gd name="T64" fmla="*/ 105 w 213"/>
                      <a:gd name="T65" fmla="*/ 57 h 188"/>
                      <a:gd name="T66" fmla="*/ 115 w 213"/>
                      <a:gd name="T67" fmla="*/ 50 h 188"/>
                      <a:gd name="T68" fmla="*/ 147 w 213"/>
                      <a:gd name="T69" fmla="*/ 16 h 188"/>
                      <a:gd name="T70" fmla="*/ 171 w 213"/>
                      <a:gd name="T71" fmla="*/ 0 h 188"/>
                      <a:gd name="T72" fmla="*/ 187 w 213"/>
                      <a:gd name="T73" fmla="*/ 10 h 188"/>
                      <a:gd name="T74" fmla="*/ 196 w 213"/>
                      <a:gd name="T75" fmla="*/ 1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7" name="Freeform 192">
                    <a:extLst>
                      <a:ext uri="{FF2B5EF4-FFF2-40B4-BE49-F238E27FC236}">
                        <a16:creationId xmlns:a16="http://schemas.microsoft.com/office/drawing/2014/main" id="{C1FB6709-ECB6-7AC8-6854-7B96340B0871}"/>
                      </a:ext>
                    </a:extLst>
                  </p:cNvPr>
                  <p:cNvSpPr>
                    <a:spLocks/>
                  </p:cNvSpPr>
                  <p:nvPr/>
                </p:nvSpPr>
                <p:spPr bwMode="gray">
                  <a:xfrm>
                    <a:off x="5208932" y="5389107"/>
                    <a:ext cx="187928" cy="184947"/>
                  </a:xfrm>
                  <a:custGeom>
                    <a:avLst/>
                    <a:gdLst>
                      <a:gd name="T0" fmla="*/ 0 w 122"/>
                      <a:gd name="T1" fmla="*/ 97 h 122"/>
                      <a:gd name="T2" fmla="*/ 6 w 122"/>
                      <a:gd name="T3" fmla="*/ 106 h 122"/>
                      <a:gd name="T4" fmla="*/ 6 w 122"/>
                      <a:gd name="T5" fmla="*/ 121 h 122"/>
                      <a:gd name="T6" fmla="*/ 24 w 122"/>
                      <a:gd name="T7" fmla="*/ 121 h 122"/>
                      <a:gd name="T8" fmla="*/ 47 w 122"/>
                      <a:gd name="T9" fmla="*/ 106 h 122"/>
                      <a:gd name="T10" fmla="*/ 55 w 122"/>
                      <a:gd name="T11" fmla="*/ 113 h 122"/>
                      <a:gd name="T12" fmla="*/ 65 w 122"/>
                      <a:gd name="T13" fmla="*/ 106 h 122"/>
                      <a:gd name="T14" fmla="*/ 97 w 122"/>
                      <a:gd name="T15" fmla="*/ 72 h 122"/>
                      <a:gd name="T16" fmla="*/ 121 w 122"/>
                      <a:gd name="T17" fmla="*/ 56 h 122"/>
                      <a:gd name="T18" fmla="*/ 105 w 122"/>
                      <a:gd name="T19" fmla="*/ 56 h 122"/>
                      <a:gd name="T20" fmla="*/ 97 w 122"/>
                      <a:gd name="T21" fmla="*/ 41 h 122"/>
                      <a:gd name="T22" fmla="*/ 80 w 122"/>
                      <a:gd name="T23" fmla="*/ 24 h 122"/>
                      <a:gd name="T24" fmla="*/ 65 w 122"/>
                      <a:gd name="T25" fmla="*/ 0 h 122"/>
                      <a:gd name="T26" fmla="*/ 47 w 122"/>
                      <a:gd name="T27" fmla="*/ 16 h 122"/>
                      <a:gd name="T28" fmla="*/ 40 w 122"/>
                      <a:gd name="T29" fmla="*/ 7 h 122"/>
                      <a:gd name="T30" fmla="*/ 15 w 122"/>
                      <a:gd name="T31" fmla="*/ 7 h 122"/>
                      <a:gd name="T32" fmla="*/ 6 w 122"/>
                      <a:gd name="T33" fmla="*/ 56 h 122"/>
                      <a:gd name="T34" fmla="*/ 0 w 122"/>
                      <a:gd name="T35" fmla="*/ 66 h 122"/>
                      <a:gd name="T36" fmla="*/ 0 w 122"/>
                      <a:gd name="T37" fmla="*/ 97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8" name="Freeform 193">
                    <a:extLst>
                      <a:ext uri="{FF2B5EF4-FFF2-40B4-BE49-F238E27FC236}">
                        <a16:creationId xmlns:a16="http://schemas.microsoft.com/office/drawing/2014/main" id="{BA1B4293-DE6D-C454-6ADE-2D7F7941E989}"/>
                      </a:ext>
                    </a:extLst>
                  </p:cNvPr>
                  <p:cNvSpPr>
                    <a:spLocks/>
                  </p:cNvSpPr>
                  <p:nvPr/>
                </p:nvSpPr>
                <p:spPr bwMode="gray">
                  <a:xfrm>
                    <a:off x="5309331" y="5353638"/>
                    <a:ext cx="163471" cy="138077"/>
                  </a:xfrm>
                  <a:custGeom>
                    <a:avLst/>
                    <a:gdLst>
                      <a:gd name="T0" fmla="*/ 65 w 106"/>
                      <a:gd name="T1" fmla="*/ 0 h 91"/>
                      <a:gd name="T2" fmla="*/ 47 w 106"/>
                      <a:gd name="T3" fmla="*/ 0 h 91"/>
                      <a:gd name="T4" fmla="*/ 47 w 106"/>
                      <a:gd name="T5" fmla="*/ 8 h 91"/>
                      <a:gd name="T6" fmla="*/ 24 w 106"/>
                      <a:gd name="T7" fmla="*/ 24 h 91"/>
                      <a:gd name="T8" fmla="*/ 0 w 106"/>
                      <a:gd name="T9" fmla="*/ 24 h 91"/>
                      <a:gd name="T10" fmla="*/ 15 w 106"/>
                      <a:gd name="T11" fmla="*/ 48 h 91"/>
                      <a:gd name="T12" fmla="*/ 32 w 106"/>
                      <a:gd name="T13" fmla="*/ 65 h 91"/>
                      <a:gd name="T14" fmla="*/ 40 w 106"/>
                      <a:gd name="T15" fmla="*/ 80 h 91"/>
                      <a:gd name="T16" fmla="*/ 56 w 106"/>
                      <a:gd name="T17" fmla="*/ 80 h 91"/>
                      <a:gd name="T18" fmla="*/ 72 w 106"/>
                      <a:gd name="T19" fmla="*/ 90 h 91"/>
                      <a:gd name="T20" fmla="*/ 81 w 106"/>
                      <a:gd name="T21" fmla="*/ 90 h 91"/>
                      <a:gd name="T22" fmla="*/ 97 w 106"/>
                      <a:gd name="T23" fmla="*/ 56 h 91"/>
                      <a:gd name="T24" fmla="*/ 105 w 106"/>
                      <a:gd name="T25" fmla="*/ 24 h 91"/>
                      <a:gd name="T26" fmla="*/ 97 w 106"/>
                      <a:gd name="T27" fmla="*/ 8 h 91"/>
                      <a:gd name="T28" fmla="*/ 81 w 106"/>
                      <a:gd name="T29" fmla="*/ 0 h 91"/>
                      <a:gd name="T30" fmla="*/ 65 w 106"/>
                      <a:gd name="T31"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39" name="Freeform 194">
                    <a:extLst>
                      <a:ext uri="{FF2B5EF4-FFF2-40B4-BE49-F238E27FC236}">
                        <a16:creationId xmlns:a16="http://schemas.microsoft.com/office/drawing/2014/main" id="{1441A1DB-0306-DB82-8522-3E1B56914C77}"/>
                      </a:ext>
                    </a:extLst>
                  </p:cNvPr>
                  <p:cNvSpPr>
                    <a:spLocks/>
                  </p:cNvSpPr>
                  <p:nvPr/>
                </p:nvSpPr>
                <p:spPr bwMode="gray">
                  <a:xfrm>
                    <a:off x="5409731" y="5244697"/>
                    <a:ext cx="212384" cy="329358"/>
                  </a:xfrm>
                  <a:custGeom>
                    <a:avLst/>
                    <a:gdLst>
                      <a:gd name="T0" fmla="*/ 32 w 138"/>
                      <a:gd name="T1" fmla="*/ 217 h 218"/>
                      <a:gd name="T2" fmla="*/ 32 w 138"/>
                      <a:gd name="T3" fmla="*/ 209 h 218"/>
                      <a:gd name="T4" fmla="*/ 32 w 138"/>
                      <a:gd name="T5" fmla="*/ 202 h 218"/>
                      <a:gd name="T6" fmla="*/ 64 w 138"/>
                      <a:gd name="T7" fmla="*/ 193 h 218"/>
                      <a:gd name="T8" fmla="*/ 72 w 138"/>
                      <a:gd name="T9" fmla="*/ 186 h 218"/>
                      <a:gd name="T10" fmla="*/ 72 w 138"/>
                      <a:gd name="T11" fmla="*/ 162 h 218"/>
                      <a:gd name="T12" fmla="*/ 56 w 138"/>
                      <a:gd name="T13" fmla="*/ 128 h 218"/>
                      <a:gd name="T14" fmla="*/ 87 w 138"/>
                      <a:gd name="T15" fmla="*/ 96 h 218"/>
                      <a:gd name="T16" fmla="*/ 112 w 138"/>
                      <a:gd name="T17" fmla="*/ 87 h 218"/>
                      <a:gd name="T18" fmla="*/ 137 w 138"/>
                      <a:gd name="T19" fmla="*/ 63 h 218"/>
                      <a:gd name="T20" fmla="*/ 129 w 138"/>
                      <a:gd name="T21" fmla="*/ 0 h 218"/>
                      <a:gd name="T22" fmla="*/ 112 w 138"/>
                      <a:gd name="T23" fmla="*/ 15 h 218"/>
                      <a:gd name="T24" fmla="*/ 81 w 138"/>
                      <a:gd name="T25" fmla="*/ 15 h 218"/>
                      <a:gd name="T26" fmla="*/ 64 w 138"/>
                      <a:gd name="T27" fmla="*/ 15 h 218"/>
                      <a:gd name="T28" fmla="*/ 56 w 138"/>
                      <a:gd name="T29" fmla="*/ 23 h 218"/>
                      <a:gd name="T30" fmla="*/ 64 w 138"/>
                      <a:gd name="T31" fmla="*/ 40 h 218"/>
                      <a:gd name="T32" fmla="*/ 72 w 138"/>
                      <a:gd name="T33" fmla="*/ 55 h 218"/>
                      <a:gd name="T34" fmla="*/ 72 w 138"/>
                      <a:gd name="T35" fmla="*/ 72 h 218"/>
                      <a:gd name="T36" fmla="*/ 64 w 138"/>
                      <a:gd name="T37" fmla="*/ 87 h 218"/>
                      <a:gd name="T38" fmla="*/ 56 w 138"/>
                      <a:gd name="T39" fmla="*/ 72 h 218"/>
                      <a:gd name="T40" fmla="*/ 56 w 138"/>
                      <a:gd name="T41" fmla="*/ 55 h 218"/>
                      <a:gd name="T42" fmla="*/ 47 w 138"/>
                      <a:gd name="T43" fmla="*/ 55 h 218"/>
                      <a:gd name="T44" fmla="*/ 40 w 138"/>
                      <a:gd name="T45" fmla="*/ 47 h 218"/>
                      <a:gd name="T46" fmla="*/ 0 w 138"/>
                      <a:gd name="T47" fmla="*/ 63 h 218"/>
                      <a:gd name="T48" fmla="*/ 0 w 138"/>
                      <a:gd name="T49" fmla="*/ 72 h 218"/>
                      <a:gd name="T50" fmla="*/ 16 w 138"/>
                      <a:gd name="T51" fmla="*/ 72 h 218"/>
                      <a:gd name="T52" fmla="*/ 32 w 138"/>
                      <a:gd name="T53" fmla="*/ 80 h 218"/>
                      <a:gd name="T54" fmla="*/ 40 w 138"/>
                      <a:gd name="T55" fmla="*/ 96 h 218"/>
                      <a:gd name="T56" fmla="*/ 32 w 138"/>
                      <a:gd name="T57" fmla="*/ 128 h 218"/>
                      <a:gd name="T58" fmla="*/ 16 w 138"/>
                      <a:gd name="T59" fmla="*/ 162 h 218"/>
                      <a:gd name="T60" fmla="*/ 22 w 138"/>
                      <a:gd name="T61" fmla="*/ 209 h 218"/>
                      <a:gd name="T62" fmla="*/ 22 w 138"/>
                      <a:gd name="T63" fmla="*/ 217 h 218"/>
                      <a:gd name="T64" fmla="*/ 32 w 138"/>
                      <a:gd name="T65" fmla="*/ 217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0" name="Freeform 195">
                    <a:extLst>
                      <a:ext uri="{FF2B5EF4-FFF2-40B4-BE49-F238E27FC236}">
                        <a16:creationId xmlns:a16="http://schemas.microsoft.com/office/drawing/2014/main" id="{99C01EA7-6BB7-F5A3-1E88-C6B62CB8124D}"/>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1" name="Freeform 196">
                    <a:extLst>
                      <a:ext uri="{FF2B5EF4-FFF2-40B4-BE49-F238E27FC236}">
                        <a16:creationId xmlns:a16="http://schemas.microsoft.com/office/drawing/2014/main" id="{E875C2E6-55B5-EB54-2A81-693E435E6E22}"/>
                      </a:ext>
                    </a:extLst>
                  </p:cNvPr>
                  <p:cNvSpPr>
                    <a:spLocks/>
                  </p:cNvSpPr>
                  <p:nvPr/>
                </p:nvSpPr>
                <p:spPr bwMode="gray">
                  <a:xfrm>
                    <a:off x="5420027" y="5561386"/>
                    <a:ext cx="27031" cy="26602"/>
                  </a:xfrm>
                  <a:custGeom>
                    <a:avLst/>
                    <a:gdLst>
                      <a:gd name="T0" fmla="*/ 16 w 17"/>
                      <a:gd name="T1" fmla="*/ 8 h 18"/>
                      <a:gd name="T2" fmla="*/ 16 w 17"/>
                      <a:gd name="T3" fmla="*/ 0 h 18"/>
                      <a:gd name="T4" fmla="*/ 9 w 17"/>
                      <a:gd name="T5" fmla="*/ 0 h 18"/>
                      <a:gd name="T6" fmla="*/ 0 w 17"/>
                      <a:gd name="T7" fmla="*/ 8 h 18"/>
                      <a:gd name="T8" fmla="*/ 9 w 17"/>
                      <a:gd name="T9" fmla="*/ 17 h 18"/>
                      <a:gd name="T10" fmla="*/ 16 w 17"/>
                      <a:gd name="T11" fmla="*/ 8 h 18"/>
                    </a:gdLst>
                    <a:ahLst/>
                    <a:cxnLst>
                      <a:cxn ang="0">
                        <a:pos x="T0" y="T1"/>
                      </a:cxn>
                      <a:cxn ang="0">
                        <a:pos x="T2" y="T3"/>
                      </a:cxn>
                      <a:cxn ang="0">
                        <a:pos x="T4" y="T5"/>
                      </a:cxn>
                      <a:cxn ang="0">
                        <a:pos x="T6" y="T7"/>
                      </a:cxn>
                      <a:cxn ang="0">
                        <a:pos x="T8" y="T9"/>
                      </a:cxn>
                      <a:cxn ang="0">
                        <a:pos x="T10" y="T11"/>
                      </a:cxn>
                    </a:cxnLst>
                    <a:rect l="0" t="0" r="r" b="b"/>
                    <a:pathLst>
                      <a:path w="17" h="18">
                        <a:moveTo>
                          <a:pt x="16" y="8"/>
                        </a:moveTo>
                        <a:lnTo>
                          <a:pt x="16" y="0"/>
                        </a:lnTo>
                        <a:lnTo>
                          <a:pt x="9" y="0"/>
                        </a:lnTo>
                        <a:lnTo>
                          <a:pt x="0" y="8"/>
                        </a:lnTo>
                        <a:lnTo>
                          <a:pt x="9" y="17"/>
                        </a:lnTo>
                        <a:lnTo>
                          <a:pt x="16" y="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2" name="Freeform 239">
                    <a:extLst>
                      <a:ext uri="{FF2B5EF4-FFF2-40B4-BE49-F238E27FC236}">
                        <a16:creationId xmlns:a16="http://schemas.microsoft.com/office/drawing/2014/main" id="{604AFE27-7906-79F0-FEA7-A882E630DDF2}"/>
                      </a:ext>
                    </a:extLst>
                  </p:cNvPr>
                  <p:cNvSpPr>
                    <a:spLocks/>
                  </p:cNvSpPr>
                  <p:nvPr/>
                </p:nvSpPr>
                <p:spPr bwMode="gray">
                  <a:xfrm>
                    <a:off x="5669739" y="5278899"/>
                    <a:ext cx="137728" cy="272353"/>
                  </a:xfrm>
                  <a:custGeom>
                    <a:avLst/>
                    <a:gdLst>
                      <a:gd name="T0" fmla="*/ 0 w 90"/>
                      <a:gd name="T1" fmla="*/ 129 h 180"/>
                      <a:gd name="T2" fmla="*/ 9 w 90"/>
                      <a:gd name="T3" fmla="*/ 163 h 180"/>
                      <a:gd name="T4" fmla="*/ 17 w 90"/>
                      <a:gd name="T5" fmla="*/ 179 h 180"/>
                      <a:gd name="T6" fmla="*/ 40 w 90"/>
                      <a:gd name="T7" fmla="*/ 179 h 180"/>
                      <a:gd name="T8" fmla="*/ 49 w 90"/>
                      <a:gd name="T9" fmla="*/ 170 h 180"/>
                      <a:gd name="T10" fmla="*/ 74 w 90"/>
                      <a:gd name="T11" fmla="*/ 80 h 180"/>
                      <a:gd name="T12" fmla="*/ 82 w 90"/>
                      <a:gd name="T13" fmla="*/ 40 h 180"/>
                      <a:gd name="T14" fmla="*/ 89 w 90"/>
                      <a:gd name="T15" fmla="*/ 49 h 180"/>
                      <a:gd name="T16" fmla="*/ 89 w 90"/>
                      <a:gd name="T17" fmla="*/ 40 h 180"/>
                      <a:gd name="T18" fmla="*/ 82 w 90"/>
                      <a:gd name="T19" fmla="*/ 8 h 180"/>
                      <a:gd name="T20" fmla="*/ 74 w 90"/>
                      <a:gd name="T21" fmla="*/ 0 h 180"/>
                      <a:gd name="T22" fmla="*/ 65 w 90"/>
                      <a:gd name="T23" fmla="*/ 17 h 180"/>
                      <a:gd name="T24" fmla="*/ 57 w 90"/>
                      <a:gd name="T25" fmla="*/ 17 h 180"/>
                      <a:gd name="T26" fmla="*/ 57 w 90"/>
                      <a:gd name="T27" fmla="*/ 32 h 180"/>
                      <a:gd name="T28" fmla="*/ 17 w 90"/>
                      <a:gd name="T29" fmla="*/ 57 h 180"/>
                      <a:gd name="T30" fmla="*/ 9 w 90"/>
                      <a:gd name="T31" fmla="*/ 73 h 180"/>
                      <a:gd name="T32" fmla="*/ 17 w 90"/>
                      <a:gd name="T33" fmla="*/ 105 h 180"/>
                      <a:gd name="T34" fmla="*/ 0 w 90"/>
                      <a:gd name="T35" fmla="*/ 12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3" name="Freeform 273">
                    <a:extLst>
                      <a:ext uri="{FF2B5EF4-FFF2-40B4-BE49-F238E27FC236}">
                        <a16:creationId xmlns:a16="http://schemas.microsoft.com/office/drawing/2014/main" id="{54017B1A-236B-3DAB-8C17-0A38872FF3E0}"/>
                      </a:ext>
                    </a:extLst>
                  </p:cNvPr>
                  <p:cNvSpPr>
                    <a:spLocks/>
                  </p:cNvSpPr>
                  <p:nvPr/>
                </p:nvSpPr>
                <p:spPr bwMode="gray">
                  <a:xfrm>
                    <a:off x="5443197" y="4309828"/>
                    <a:ext cx="54061" cy="27868"/>
                  </a:xfrm>
                  <a:custGeom>
                    <a:avLst/>
                    <a:gdLst>
                      <a:gd name="T0" fmla="*/ 0 w 35"/>
                      <a:gd name="T1" fmla="*/ 8 h 18"/>
                      <a:gd name="T2" fmla="*/ 10 w 35"/>
                      <a:gd name="T3" fmla="*/ 17 h 18"/>
                      <a:gd name="T4" fmla="*/ 18 w 35"/>
                      <a:gd name="T5" fmla="*/ 17 h 18"/>
                      <a:gd name="T6" fmla="*/ 25 w 35"/>
                      <a:gd name="T7" fmla="*/ 8 h 18"/>
                      <a:gd name="T8" fmla="*/ 34 w 35"/>
                      <a:gd name="T9" fmla="*/ 0 h 18"/>
                      <a:gd name="T10" fmla="*/ 0 w 35"/>
                      <a:gd name="T11" fmla="*/ 8 h 18"/>
                    </a:gdLst>
                    <a:ahLst/>
                    <a:cxnLst>
                      <a:cxn ang="0">
                        <a:pos x="T0" y="T1"/>
                      </a:cxn>
                      <a:cxn ang="0">
                        <a:pos x="T2" y="T3"/>
                      </a:cxn>
                      <a:cxn ang="0">
                        <a:pos x="T4" y="T5"/>
                      </a:cxn>
                      <a:cxn ang="0">
                        <a:pos x="T6" y="T7"/>
                      </a:cxn>
                      <a:cxn ang="0">
                        <a:pos x="T8" y="T9"/>
                      </a:cxn>
                      <a:cxn ang="0">
                        <a:pos x="T10" y="T11"/>
                      </a:cxn>
                    </a:cxnLst>
                    <a:rect l="0" t="0" r="r" b="b"/>
                    <a:pathLst>
                      <a:path w="35" h="18">
                        <a:moveTo>
                          <a:pt x="0" y="8"/>
                        </a:moveTo>
                        <a:lnTo>
                          <a:pt x="10" y="17"/>
                        </a:lnTo>
                        <a:lnTo>
                          <a:pt x="18" y="17"/>
                        </a:lnTo>
                        <a:lnTo>
                          <a:pt x="25" y="8"/>
                        </a:lnTo>
                        <a:lnTo>
                          <a:pt x="34" y="0"/>
                        </a:lnTo>
                        <a:lnTo>
                          <a:pt x="0" y="8"/>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4" name="Freeform 313">
                    <a:extLst>
                      <a:ext uri="{FF2B5EF4-FFF2-40B4-BE49-F238E27FC236}">
                        <a16:creationId xmlns:a16="http://schemas.microsoft.com/office/drawing/2014/main" id="{72C5C182-92A1-1357-C10B-38C0F084E407}"/>
                      </a:ext>
                    </a:extLst>
                  </p:cNvPr>
                  <p:cNvSpPr>
                    <a:spLocks/>
                  </p:cNvSpPr>
                  <p:nvPr/>
                </p:nvSpPr>
                <p:spPr bwMode="gray">
                  <a:xfrm>
                    <a:off x="5346659" y="5610790"/>
                    <a:ext cx="50200" cy="49404"/>
                  </a:xfrm>
                  <a:custGeom>
                    <a:avLst/>
                    <a:gdLst>
                      <a:gd name="T0" fmla="*/ 32 w 33"/>
                      <a:gd name="T1" fmla="*/ 15 h 33"/>
                      <a:gd name="T2" fmla="*/ 23 w 33"/>
                      <a:gd name="T3" fmla="*/ 25 h 33"/>
                      <a:gd name="T4" fmla="*/ 8 w 33"/>
                      <a:gd name="T5" fmla="*/ 32 h 33"/>
                      <a:gd name="T6" fmla="*/ 0 w 33"/>
                      <a:gd name="T7" fmla="*/ 25 h 33"/>
                      <a:gd name="T8" fmla="*/ 16 w 33"/>
                      <a:gd name="T9" fmla="*/ 0 h 33"/>
                      <a:gd name="T10" fmla="*/ 23 w 33"/>
                      <a:gd name="T11" fmla="*/ 7 h 33"/>
                      <a:gd name="T12" fmla="*/ 32 w 33"/>
                      <a:gd name="T13" fmla="*/ 15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32" y="15"/>
                        </a:moveTo>
                        <a:lnTo>
                          <a:pt x="23" y="25"/>
                        </a:lnTo>
                        <a:lnTo>
                          <a:pt x="8" y="32"/>
                        </a:lnTo>
                        <a:lnTo>
                          <a:pt x="0" y="25"/>
                        </a:lnTo>
                        <a:lnTo>
                          <a:pt x="16" y="0"/>
                        </a:lnTo>
                        <a:lnTo>
                          <a:pt x="23" y="7"/>
                        </a:lnTo>
                        <a:lnTo>
                          <a:pt x="32" y="15"/>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5" name="Freeform 325">
                    <a:extLst>
                      <a:ext uri="{FF2B5EF4-FFF2-40B4-BE49-F238E27FC236}">
                        <a16:creationId xmlns:a16="http://schemas.microsoft.com/office/drawing/2014/main" id="{BDF30E5E-7DFA-B4D6-2B03-97FB1FD1D0BF}"/>
                      </a:ext>
                    </a:extLst>
                  </p:cNvPr>
                  <p:cNvSpPr>
                    <a:spLocks/>
                  </p:cNvSpPr>
                  <p:nvPr/>
                </p:nvSpPr>
                <p:spPr bwMode="gray">
                  <a:xfrm>
                    <a:off x="5082788" y="4579648"/>
                    <a:ext cx="200799" cy="320490"/>
                  </a:xfrm>
                  <a:custGeom>
                    <a:avLst/>
                    <a:gdLst>
                      <a:gd name="T0" fmla="*/ 17 w 130"/>
                      <a:gd name="T1" fmla="*/ 8 h 212"/>
                      <a:gd name="T2" fmla="*/ 17 w 130"/>
                      <a:gd name="T3" fmla="*/ 24 h 212"/>
                      <a:gd name="T4" fmla="*/ 32 w 130"/>
                      <a:gd name="T5" fmla="*/ 40 h 212"/>
                      <a:gd name="T6" fmla="*/ 25 w 130"/>
                      <a:gd name="T7" fmla="*/ 89 h 212"/>
                      <a:gd name="T8" fmla="*/ 0 w 130"/>
                      <a:gd name="T9" fmla="*/ 120 h 212"/>
                      <a:gd name="T10" fmla="*/ 0 w 130"/>
                      <a:gd name="T11" fmla="*/ 130 h 212"/>
                      <a:gd name="T12" fmla="*/ 8 w 130"/>
                      <a:gd name="T13" fmla="*/ 137 h 212"/>
                      <a:gd name="T14" fmla="*/ 8 w 130"/>
                      <a:gd name="T15" fmla="*/ 145 h 212"/>
                      <a:gd name="T16" fmla="*/ 25 w 130"/>
                      <a:gd name="T17" fmla="*/ 177 h 212"/>
                      <a:gd name="T18" fmla="*/ 8 w 130"/>
                      <a:gd name="T19" fmla="*/ 177 h 212"/>
                      <a:gd name="T20" fmla="*/ 8 w 130"/>
                      <a:gd name="T21" fmla="*/ 186 h 212"/>
                      <a:gd name="T22" fmla="*/ 17 w 130"/>
                      <a:gd name="T23" fmla="*/ 193 h 212"/>
                      <a:gd name="T24" fmla="*/ 25 w 130"/>
                      <a:gd name="T25" fmla="*/ 211 h 212"/>
                      <a:gd name="T26" fmla="*/ 65 w 130"/>
                      <a:gd name="T27" fmla="*/ 202 h 212"/>
                      <a:gd name="T28" fmla="*/ 73 w 130"/>
                      <a:gd name="T29" fmla="*/ 193 h 212"/>
                      <a:gd name="T30" fmla="*/ 65 w 130"/>
                      <a:gd name="T31" fmla="*/ 193 h 212"/>
                      <a:gd name="T32" fmla="*/ 88 w 130"/>
                      <a:gd name="T33" fmla="*/ 186 h 212"/>
                      <a:gd name="T34" fmla="*/ 106 w 130"/>
                      <a:gd name="T35" fmla="*/ 170 h 212"/>
                      <a:gd name="T36" fmla="*/ 113 w 130"/>
                      <a:gd name="T37" fmla="*/ 162 h 212"/>
                      <a:gd name="T38" fmla="*/ 122 w 130"/>
                      <a:gd name="T39" fmla="*/ 162 h 212"/>
                      <a:gd name="T40" fmla="*/ 106 w 130"/>
                      <a:gd name="T41" fmla="*/ 137 h 212"/>
                      <a:gd name="T42" fmla="*/ 122 w 130"/>
                      <a:gd name="T43" fmla="*/ 105 h 212"/>
                      <a:gd name="T44" fmla="*/ 129 w 130"/>
                      <a:gd name="T45" fmla="*/ 105 h 212"/>
                      <a:gd name="T46" fmla="*/ 129 w 130"/>
                      <a:gd name="T47" fmla="*/ 96 h 212"/>
                      <a:gd name="T48" fmla="*/ 129 w 130"/>
                      <a:gd name="T49" fmla="*/ 55 h 212"/>
                      <a:gd name="T50" fmla="*/ 32 w 130"/>
                      <a:gd name="T51" fmla="*/ 0 h 212"/>
                      <a:gd name="T52" fmla="*/ 17 w 130"/>
                      <a:gd name="T53" fmla="*/ 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6" name="Freeform 326">
                    <a:extLst>
                      <a:ext uri="{FF2B5EF4-FFF2-40B4-BE49-F238E27FC236}">
                        <a16:creationId xmlns:a16="http://schemas.microsoft.com/office/drawing/2014/main" id="{939278A4-1E10-7BF1-2794-4977A53CF4E4}"/>
                      </a:ext>
                    </a:extLst>
                  </p:cNvPr>
                  <p:cNvSpPr>
                    <a:spLocks/>
                  </p:cNvSpPr>
                  <p:nvPr/>
                </p:nvSpPr>
                <p:spPr bwMode="gray">
                  <a:xfrm>
                    <a:off x="4709507" y="4745593"/>
                    <a:ext cx="150599" cy="114008"/>
                  </a:xfrm>
                  <a:custGeom>
                    <a:avLst/>
                    <a:gdLst>
                      <a:gd name="T0" fmla="*/ 0 w 98"/>
                      <a:gd name="T1" fmla="*/ 58 h 75"/>
                      <a:gd name="T2" fmla="*/ 6 w 98"/>
                      <a:gd name="T3" fmla="*/ 50 h 75"/>
                      <a:gd name="T4" fmla="*/ 23 w 98"/>
                      <a:gd name="T5" fmla="*/ 25 h 75"/>
                      <a:gd name="T6" fmla="*/ 40 w 98"/>
                      <a:gd name="T7" fmla="*/ 18 h 75"/>
                      <a:gd name="T8" fmla="*/ 56 w 98"/>
                      <a:gd name="T9" fmla="*/ 0 h 75"/>
                      <a:gd name="T10" fmla="*/ 72 w 98"/>
                      <a:gd name="T11" fmla="*/ 0 h 75"/>
                      <a:gd name="T12" fmla="*/ 72 w 98"/>
                      <a:gd name="T13" fmla="*/ 18 h 75"/>
                      <a:gd name="T14" fmla="*/ 88 w 98"/>
                      <a:gd name="T15" fmla="*/ 33 h 75"/>
                      <a:gd name="T16" fmla="*/ 97 w 98"/>
                      <a:gd name="T17" fmla="*/ 33 h 75"/>
                      <a:gd name="T18" fmla="*/ 97 w 98"/>
                      <a:gd name="T19" fmla="*/ 40 h 75"/>
                      <a:gd name="T20" fmla="*/ 80 w 98"/>
                      <a:gd name="T21" fmla="*/ 50 h 75"/>
                      <a:gd name="T22" fmla="*/ 63 w 98"/>
                      <a:gd name="T23" fmla="*/ 50 h 75"/>
                      <a:gd name="T24" fmla="*/ 31 w 98"/>
                      <a:gd name="T25" fmla="*/ 50 h 75"/>
                      <a:gd name="T26" fmla="*/ 31 w 98"/>
                      <a:gd name="T27" fmla="*/ 58 h 75"/>
                      <a:gd name="T28" fmla="*/ 31 w 98"/>
                      <a:gd name="T29" fmla="*/ 74 h 75"/>
                      <a:gd name="T30" fmla="*/ 23 w 98"/>
                      <a:gd name="T31" fmla="*/ 65 h 75"/>
                      <a:gd name="T32" fmla="*/ 6 w 98"/>
                      <a:gd name="T33" fmla="*/ 65 h 75"/>
                      <a:gd name="T34" fmla="*/ 0 w 98"/>
                      <a:gd name="T35" fmla="*/ 5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7" name="Freeform 327">
                    <a:extLst>
                      <a:ext uri="{FF2B5EF4-FFF2-40B4-BE49-F238E27FC236}">
                        <a16:creationId xmlns:a16="http://schemas.microsoft.com/office/drawing/2014/main" id="{EBB3B138-3DF4-89C5-0E20-8759F8D168B2}"/>
                      </a:ext>
                    </a:extLst>
                  </p:cNvPr>
                  <p:cNvSpPr>
                    <a:spLocks/>
                  </p:cNvSpPr>
                  <p:nvPr/>
                </p:nvSpPr>
                <p:spPr bwMode="gray">
                  <a:xfrm>
                    <a:off x="4833076" y="4796264"/>
                    <a:ext cx="50200" cy="124142"/>
                  </a:xfrm>
                  <a:custGeom>
                    <a:avLst/>
                    <a:gdLst>
                      <a:gd name="T0" fmla="*/ 17 w 33"/>
                      <a:gd name="T1" fmla="*/ 7 h 82"/>
                      <a:gd name="T2" fmla="*/ 0 w 33"/>
                      <a:gd name="T3" fmla="*/ 17 h 82"/>
                      <a:gd name="T4" fmla="*/ 0 w 33"/>
                      <a:gd name="T5" fmla="*/ 25 h 82"/>
                      <a:gd name="T6" fmla="*/ 8 w 33"/>
                      <a:gd name="T7" fmla="*/ 32 h 82"/>
                      <a:gd name="T8" fmla="*/ 8 w 33"/>
                      <a:gd name="T9" fmla="*/ 48 h 82"/>
                      <a:gd name="T10" fmla="*/ 8 w 33"/>
                      <a:gd name="T11" fmla="*/ 81 h 82"/>
                      <a:gd name="T12" fmla="*/ 23 w 33"/>
                      <a:gd name="T13" fmla="*/ 81 h 82"/>
                      <a:gd name="T14" fmla="*/ 23 w 33"/>
                      <a:gd name="T15" fmla="*/ 57 h 82"/>
                      <a:gd name="T16" fmla="*/ 32 w 33"/>
                      <a:gd name="T17" fmla="*/ 25 h 82"/>
                      <a:gd name="T18" fmla="*/ 32 w 33"/>
                      <a:gd name="T19" fmla="*/ 7 h 82"/>
                      <a:gd name="T20" fmla="*/ 23 w 33"/>
                      <a:gd name="T21" fmla="*/ 0 h 82"/>
                      <a:gd name="T22" fmla="*/ 17 w 33"/>
                      <a:gd name="T23" fmla="*/ 0 h 82"/>
                      <a:gd name="T24" fmla="*/ 17 w 33"/>
                      <a:gd name="T25" fmla="*/ 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grpFill/>
                  <a:ln w="3175" cap="rnd" cmpd="sng">
                    <a:solidFill>
                      <a:schemeClr val="bg1"/>
                    </a:solidFill>
                    <a:prstDash val="solid"/>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848" name="Freeform 169">
                    <a:extLst>
                      <a:ext uri="{FF2B5EF4-FFF2-40B4-BE49-F238E27FC236}">
                        <a16:creationId xmlns:a16="http://schemas.microsoft.com/office/drawing/2014/main" id="{F34E5DB5-2EFE-13C4-3CAA-69604BF0F9F4}"/>
                      </a:ext>
                    </a:extLst>
                  </p:cNvPr>
                  <p:cNvSpPr>
                    <a:spLocks/>
                  </p:cNvSpPr>
                  <p:nvPr/>
                </p:nvSpPr>
                <p:spPr bwMode="gray">
                  <a:xfrm>
                    <a:off x="4960506" y="4273093"/>
                    <a:ext cx="73369" cy="162146"/>
                  </a:xfrm>
                  <a:custGeom>
                    <a:avLst/>
                    <a:gdLst>
                      <a:gd name="T0" fmla="*/ 47 w 48"/>
                      <a:gd name="T1" fmla="*/ 66 h 107"/>
                      <a:gd name="T2" fmla="*/ 47 w 48"/>
                      <a:gd name="T3" fmla="*/ 72 h 107"/>
                      <a:gd name="T4" fmla="*/ 31 w 48"/>
                      <a:gd name="T5" fmla="*/ 90 h 107"/>
                      <a:gd name="T6" fmla="*/ 31 w 48"/>
                      <a:gd name="T7" fmla="*/ 97 h 107"/>
                      <a:gd name="T8" fmla="*/ 25 w 48"/>
                      <a:gd name="T9" fmla="*/ 106 h 107"/>
                      <a:gd name="T10" fmla="*/ 25 w 48"/>
                      <a:gd name="T11" fmla="*/ 81 h 107"/>
                      <a:gd name="T12" fmla="*/ 6 w 48"/>
                      <a:gd name="T13" fmla="*/ 72 h 107"/>
                      <a:gd name="T14" fmla="*/ 0 w 48"/>
                      <a:gd name="T15" fmla="*/ 56 h 107"/>
                      <a:gd name="T16" fmla="*/ 15 w 48"/>
                      <a:gd name="T17" fmla="*/ 41 h 107"/>
                      <a:gd name="T18" fmla="*/ 6 w 48"/>
                      <a:gd name="T19" fmla="*/ 9 h 107"/>
                      <a:gd name="T20" fmla="*/ 15 w 48"/>
                      <a:gd name="T21" fmla="*/ 0 h 107"/>
                      <a:gd name="T22" fmla="*/ 31 w 48"/>
                      <a:gd name="T23" fmla="*/ 0 h 107"/>
                      <a:gd name="T24" fmla="*/ 40 w 48"/>
                      <a:gd name="T25" fmla="*/ 9 h 107"/>
                      <a:gd name="T26" fmla="*/ 47 w 48"/>
                      <a:gd name="T27" fmla="*/ 0 h 107"/>
                      <a:gd name="T28" fmla="*/ 40 w 48"/>
                      <a:gd name="T29" fmla="*/ 16 h 107"/>
                      <a:gd name="T30" fmla="*/ 47 w 48"/>
                      <a:gd name="T31" fmla="*/ 32 h 107"/>
                      <a:gd name="T32" fmla="*/ 31 w 48"/>
                      <a:gd name="T33" fmla="*/ 49 h 107"/>
                      <a:gd name="T34" fmla="*/ 31 w 48"/>
                      <a:gd name="T35" fmla="*/ 56 h 107"/>
                      <a:gd name="T36" fmla="*/ 47 w 48"/>
                      <a:gd name="T37" fmla="*/ 56 h 107"/>
                      <a:gd name="T38" fmla="*/ 47 w 48"/>
                      <a:gd name="T39" fmla="*/ 6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grp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grpSp>
          </p:grpSp>
          <p:sp>
            <p:nvSpPr>
              <p:cNvPr id="1605" name="Freeform 204">
                <a:extLst>
                  <a:ext uri="{FF2B5EF4-FFF2-40B4-BE49-F238E27FC236}">
                    <a16:creationId xmlns:a16="http://schemas.microsoft.com/office/drawing/2014/main" id="{BB73900E-A569-01F8-EF25-574A543E01CD}"/>
                  </a:ext>
                </a:extLst>
              </p:cNvPr>
              <p:cNvSpPr>
                <a:spLocks/>
              </p:cNvSpPr>
              <p:nvPr/>
            </p:nvSpPr>
            <p:spPr bwMode="gray">
              <a:xfrm>
                <a:off x="4667310" y="1521272"/>
                <a:ext cx="1109370" cy="1699992"/>
              </a:xfrm>
              <a:custGeom>
                <a:avLst/>
                <a:gdLst>
                  <a:gd name="T0" fmla="*/ 40 w 788"/>
                  <a:gd name="T1" fmla="*/ 470 h 1160"/>
                  <a:gd name="T2" fmla="*/ 25 w 788"/>
                  <a:gd name="T3" fmla="*/ 528 h 1160"/>
                  <a:gd name="T4" fmla="*/ 57 w 788"/>
                  <a:gd name="T5" fmla="*/ 575 h 1160"/>
                  <a:gd name="T6" fmla="*/ 147 w 788"/>
                  <a:gd name="T7" fmla="*/ 575 h 1160"/>
                  <a:gd name="T8" fmla="*/ 211 w 788"/>
                  <a:gd name="T9" fmla="*/ 657 h 1160"/>
                  <a:gd name="T10" fmla="*/ 221 w 788"/>
                  <a:gd name="T11" fmla="*/ 746 h 1160"/>
                  <a:gd name="T12" fmla="*/ 227 w 788"/>
                  <a:gd name="T13" fmla="*/ 794 h 1160"/>
                  <a:gd name="T14" fmla="*/ 261 w 788"/>
                  <a:gd name="T15" fmla="*/ 802 h 1160"/>
                  <a:gd name="T16" fmla="*/ 244 w 788"/>
                  <a:gd name="T17" fmla="*/ 818 h 1160"/>
                  <a:gd name="T18" fmla="*/ 252 w 788"/>
                  <a:gd name="T19" fmla="*/ 874 h 1160"/>
                  <a:gd name="T20" fmla="*/ 293 w 788"/>
                  <a:gd name="T21" fmla="*/ 874 h 1160"/>
                  <a:gd name="T22" fmla="*/ 252 w 788"/>
                  <a:gd name="T23" fmla="*/ 914 h 1160"/>
                  <a:gd name="T24" fmla="*/ 276 w 788"/>
                  <a:gd name="T25" fmla="*/ 1038 h 1160"/>
                  <a:gd name="T26" fmla="*/ 349 w 788"/>
                  <a:gd name="T27" fmla="*/ 1135 h 1160"/>
                  <a:gd name="T28" fmla="*/ 398 w 788"/>
                  <a:gd name="T29" fmla="*/ 1101 h 1160"/>
                  <a:gd name="T30" fmla="*/ 423 w 788"/>
                  <a:gd name="T31" fmla="*/ 1029 h 1160"/>
                  <a:gd name="T32" fmla="*/ 430 w 788"/>
                  <a:gd name="T33" fmla="*/ 996 h 1160"/>
                  <a:gd name="T34" fmla="*/ 537 w 788"/>
                  <a:gd name="T35" fmla="*/ 914 h 1160"/>
                  <a:gd name="T36" fmla="*/ 641 w 788"/>
                  <a:gd name="T37" fmla="*/ 859 h 1160"/>
                  <a:gd name="T38" fmla="*/ 600 w 788"/>
                  <a:gd name="T39" fmla="*/ 843 h 1160"/>
                  <a:gd name="T40" fmla="*/ 609 w 788"/>
                  <a:gd name="T41" fmla="*/ 802 h 1160"/>
                  <a:gd name="T42" fmla="*/ 641 w 788"/>
                  <a:gd name="T43" fmla="*/ 836 h 1160"/>
                  <a:gd name="T44" fmla="*/ 625 w 788"/>
                  <a:gd name="T45" fmla="*/ 746 h 1160"/>
                  <a:gd name="T46" fmla="*/ 641 w 788"/>
                  <a:gd name="T47" fmla="*/ 722 h 1160"/>
                  <a:gd name="T48" fmla="*/ 674 w 788"/>
                  <a:gd name="T49" fmla="*/ 688 h 1160"/>
                  <a:gd name="T50" fmla="*/ 699 w 788"/>
                  <a:gd name="T51" fmla="*/ 649 h 1160"/>
                  <a:gd name="T52" fmla="*/ 682 w 788"/>
                  <a:gd name="T53" fmla="*/ 575 h 1160"/>
                  <a:gd name="T54" fmla="*/ 674 w 788"/>
                  <a:gd name="T55" fmla="*/ 535 h 1160"/>
                  <a:gd name="T56" fmla="*/ 690 w 788"/>
                  <a:gd name="T57" fmla="*/ 470 h 1160"/>
                  <a:gd name="T58" fmla="*/ 739 w 788"/>
                  <a:gd name="T59" fmla="*/ 301 h 1160"/>
                  <a:gd name="T60" fmla="*/ 731 w 788"/>
                  <a:gd name="T61" fmla="*/ 187 h 1160"/>
                  <a:gd name="T62" fmla="*/ 650 w 788"/>
                  <a:gd name="T63" fmla="*/ 252 h 1160"/>
                  <a:gd name="T64" fmla="*/ 666 w 788"/>
                  <a:gd name="T65" fmla="*/ 187 h 1160"/>
                  <a:gd name="T66" fmla="*/ 634 w 788"/>
                  <a:gd name="T67" fmla="*/ 196 h 1160"/>
                  <a:gd name="T68" fmla="*/ 553 w 788"/>
                  <a:gd name="T69" fmla="*/ 162 h 1160"/>
                  <a:gd name="T70" fmla="*/ 659 w 788"/>
                  <a:gd name="T71" fmla="*/ 137 h 1160"/>
                  <a:gd name="T72" fmla="*/ 634 w 788"/>
                  <a:gd name="T73" fmla="*/ 74 h 1160"/>
                  <a:gd name="T74" fmla="*/ 479 w 788"/>
                  <a:gd name="T75" fmla="*/ 0 h 1160"/>
                  <a:gd name="T76" fmla="*/ 333 w 788"/>
                  <a:gd name="T77" fmla="*/ 130 h 1160"/>
                  <a:gd name="T78" fmla="*/ 244 w 788"/>
                  <a:gd name="T79" fmla="*/ 137 h 1160"/>
                  <a:gd name="T80" fmla="*/ 155 w 788"/>
                  <a:gd name="T81" fmla="*/ 221 h 1160"/>
                  <a:gd name="T82" fmla="*/ 82 w 788"/>
                  <a:gd name="T83" fmla="*/ 292 h 1160"/>
                  <a:gd name="T84" fmla="*/ 115 w 788"/>
                  <a:gd name="T85" fmla="*/ 358 h 1160"/>
                  <a:gd name="T86" fmla="*/ 9 w 788"/>
                  <a:gd name="T87" fmla="*/ 429 h 1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06" name="Freeform 3">
                <a:extLst>
                  <a:ext uri="{FF2B5EF4-FFF2-40B4-BE49-F238E27FC236}">
                    <a16:creationId xmlns:a16="http://schemas.microsoft.com/office/drawing/2014/main" id="{7887DA5A-1B26-9523-8263-29CEFA84566A}"/>
                  </a:ext>
                </a:extLst>
              </p:cNvPr>
              <p:cNvSpPr>
                <a:spLocks/>
              </p:cNvSpPr>
              <p:nvPr/>
            </p:nvSpPr>
            <p:spPr bwMode="gray">
              <a:xfrm>
                <a:off x="3845293" y="2542248"/>
                <a:ext cx="333282" cy="297835"/>
              </a:xfrm>
              <a:custGeom>
                <a:avLst/>
                <a:gdLst>
                  <a:gd name="T0" fmla="*/ 0 w 237"/>
                  <a:gd name="T1" fmla="*/ 89 h 203"/>
                  <a:gd name="T2" fmla="*/ 16 w 237"/>
                  <a:gd name="T3" fmla="*/ 97 h 203"/>
                  <a:gd name="T4" fmla="*/ 9 w 237"/>
                  <a:gd name="T5" fmla="*/ 114 h 203"/>
                  <a:gd name="T6" fmla="*/ 25 w 237"/>
                  <a:gd name="T7" fmla="*/ 121 h 203"/>
                  <a:gd name="T8" fmla="*/ 65 w 237"/>
                  <a:gd name="T9" fmla="*/ 121 h 203"/>
                  <a:gd name="T10" fmla="*/ 81 w 237"/>
                  <a:gd name="T11" fmla="*/ 139 h 203"/>
                  <a:gd name="T12" fmla="*/ 65 w 237"/>
                  <a:gd name="T13" fmla="*/ 146 h 203"/>
                  <a:gd name="T14" fmla="*/ 25 w 237"/>
                  <a:gd name="T15" fmla="*/ 146 h 203"/>
                  <a:gd name="T16" fmla="*/ 34 w 237"/>
                  <a:gd name="T17" fmla="*/ 170 h 203"/>
                  <a:gd name="T18" fmla="*/ 49 w 237"/>
                  <a:gd name="T19" fmla="*/ 177 h 203"/>
                  <a:gd name="T20" fmla="*/ 65 w 237"/>
                  <a:gd name="T21" fmla="*/ 177 h 203"/>
                  <a:gd name="T22" fmla="*/ 74 w 237"/>
                  <a:gd name="T23" fmla="*/ 202 h 203"/>
                  <a:gd name="T24" fmla="*/ 114 w 237"/>
                  <a:gd name="T25" fmla="*/ 195 h 203"/>
                  <a:gd name="T26" fmla="*/ 155 w 237"/>
                  <a:gd name="T27" fmla="*/ 177 h 203"/>
                  <a:gd name="T28" fmla="*/ 162 w 237"/>
                  <a:gd name="T29" fmla="*/ 170 h 203"/>
                  <a:gd name="T30" fmla="*/ 196 w 237"/>
                  <a:gd name="T31" fmla="*/ 195 h 203"/>
                  <a:gd name="T32" fmla="*/ 211 w 237"/>
                  <a:gd name="T33" fmla="*/ 186 h 203"/>
                  <a:gd name="T34" fmla="*/ 220 w 237"/>
                  <a:gd name="T35" fmla="*/ 177 h 203"/>
                  <a:gd name="T36" fmla="*/ 220 w 237"/>
                  <a:gd name="T37" fmla="*/ 162 h 203"/>
                  <a:gd name="T38" fmla="*/ 227 w 237"/>
                  <a:gd name="T39" fmla="*/ 162 h 203"/>
                  <a:gd name="T40" fmla="*/ 236 w 237"/>
                  <a:gd name="T41" fmla="*/ 146 h 203"/>
                  <a:gd name="T42" fmla="*/ 196 w 237"/>
                  <a:gd name="T43" fmla="*/ 121 h 203"/>
                  <a:gd name="T44" fmla="*/ 180 w 237"/>
                  <a:gd name="T45" fmla="*/ 114 h 203"/>
                  <a:gd name="T46" fmla="*/ 180 w 237"/>
                  <a:gd name="T47" fmla="*/ 89 h 203"/>
                  <a:gd name="T48" fmla="*/ 171 w 237"/>
                  <a:gd name="T49" fmla="*/ 49 h 203"/>
                  <a:gd name="T50" fmla="*/ 186 w 237"/>
                  <a:gd name="T51" fmla="*/ 8 h 203"/>
                  <a:gd name="T52" fmla="*/ 180 w 237"/>
                  <a:gd name="T53" fmla="*/ 0 h 203"/>
                  <a:gd name="T54" fmla="*/ 155 w 237"/>
                  <a:gd name="T55" fmla="*/ 0 h 203"/>
                  <a:gd name="T56" fmla="*/ 139 w 237"/>
                  <a:gd name="T57" fmla="*/ 40 h 203"/>
                  <a:gd name="T58" fmla="*/ 121 w 237"/>
                  <a:gd name="T59" fmla="*/ 33 h 203"/>
                  <a:gd name="T60" fmla="*/ 106 w 237"/>
                  <a:gd name="T61" fmla="*/ 33 h 203"/>
                  <a:gd name="T62" fmla="*/ 89 w 237"/>
                  <a:gd name="T63" fmla="*/ 25 h 203"/>
                  <a:gd name="T64" fmla="*/ 74 w 237"/>
                  <a:gd name="T65" fmla="*/ 40 h 203"/>
                  <a:gd name="T66" fmla="*/ 65 w 237"/>
                  <a:gd name="T67" fmla="*/ 15 h 203"/>
                  <a:gd name="T68" fmla="*/ 49 w 237"/>
                  <a:gd name="T69" fmla="*/ 15 h 203"/>
                  <a:gd name="T70" fmla="*/ 9 w 237"/>
                  <a:gd name="T71" fmla="*/ 49 h 203"/>
                  <a:gd name="T72" fmla="*/ 9 w 237"/>
                  <a:gd name="T73" fmla="*/ 56 h 203"/>
                  <a:gd name="T74" fmla="*/ 0 w 237"/>
                  <a:gd name="T75" fmla="*/ 74 h 203"/>
                  <a:gd name="T76" fmla="*/ 0 w 237"/>
                  <a:gd name="T77" fmla="*/ 8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07" name="Freeform 4">
                <a:extLst>
                  <a:ext uri="{FF2B5EF4-FFF2-40B4-BE49-F238E27FC236}">
                    <a16:creationId xmlns:a16="http://schemas.microsoft.com/office/drawing/2014/main" id="{9A1F7C8D-FFB5-C514-DE61-08603B66D94E}"/>
                  </a:ext>
                </a:extLst>
              </p:cNvPr>
              <p:cNvSpPr>
                <a:spLocks/>
              </p:cNvSpPr>
              <p:nvPr/>
            </p:nvSpPr>
            <p:spPr bwMode="gray">
              <a:xfrm>
                <a:off x="4370537" y="2528767"/>
                <a:ext cx="516999" cy="606703"/>
              </a:xfrm>
              <a:custGeom>
                <a:avLst/>
                <a:gdLst>
                  <a:gd name="T0" fmla="*/ 34 w 367"/>
                  <a:gd name="T1" fmla="*/ 148 h 414"/>
                  <a:gd name="T2" fmla="*/ 99 w 367"/>
                  <a:gd name="T3" fmla="*/ 163 h 414"/>
                  <a:gd name="T4" fmla="*/ 131 w 367"/>
                  <a:gd name="T5" fmla="*/ 171 h 414"/>
                  <a:gd name="T6" fmla="*/ 146 w 367"/>
                  <a:gd name="T7" fmla="*/ 148 h 414"/>
                  <a:gd name="T8" fmla="*/ 179 w 367"/>
                  <a:gd name="T9" fmla="*/ 186 h 414"/>
                  <a:gd name="T10" fmla="*/ 187 w 367"/>
                  <a:gd name="T11" fmla="*/ 195 h 414"/>
                  <a:gd name="T12" fmla="*/ 211 w 367"/>
                  <a:gd name="T13" fmla="*/ 226 h 414"/>
                  <a:gd name="T14" fmla="*/ 196 w 367"/>
                  <a:gd name="T15" fmla="*/ 292 h 414"/>
                  <a:gd name="T16" fmla="*/ 196 w 367"/>
                  <a:gd name="T17" fmla="*/ 317 h 414"/>
                  <a:gd name="T18" fmla="*/ 155 w 367"/>
                  <a:gd name="T19" fmla="*/ 325 h 414"/>
                  <a:gd name="T20" fmla="*/ 146 w 367"/>
                  <a:gd name="T21" fmla="*/ 350 h 414"/>
                  <a:gd name="T22" fmla="*/ 179 w 367"/>
                  <a:gd name="T23" fmla="*/ 341 h 414"/>
                  <a:gd name="T24" fmla="*/ 227 w 367"/>
                  <a:gd name="T25" fmla="*/ 365 h 414"/>
                  <a:gd name="T26" fmla="*/ 261 w 367"/>
                  <a:gd name="T27" fmla="*/ 397 h 414"/>
                  <a:gd name="T28" fmla="*/ 301 w 367"/>
                  <a:gd name="T29" fmla="*/ 413 h 414"/>
                  <a:gd name="T30" fmla="*/ 268 w 367"/>
                  <a:gd name="T31" fmla="*/ 373 h 414"/>
                  <a:gd name="T32" fmla="*/ 310 w 367"/>
                  <a:gd name="T33" fmla="*/ 390 h 414"/>
                  <a:gd name="T34" fmla="*/ 326 w 367"/>
                  <a:gd name="T35" fmla="*/ 365 h 414"/>
                  <a:gd name="T36" fmla="*/ 317 w 367"/>
                  <a:gd name="T37" fmla="*/ 341 h 414"/>
                  <a:gd name="T38" fmla="*/ 285 w 367"/>
                  <a:gd name="T39" fmla="*/ 300 h 414"/>
                  <a:gd name="T40" fmla="*/ 310 w 367"/>
                  <a:gd name="T41" fmla="*/ 300 h 414"/>
                  <a:gd name="T42" fmla="*/ 333 w 367"/>
                  <a:gd name="T43" fmla="*/ 325 h 414"/>
                  <a:gd name="T44" fmla="*/ 350 w 367"/>
                  <a:gd name="T45" fmla="*/ 308 h 414"/>
                  <a:gd name="T46" fmla="*/ 317 w 367"/>
                  <a:gd name="T47" fmla="*/ 226 h 414"/>
                  <a:gd name="T48" fmla="*/ 276 w 367"/>
                  <a:gd name="T49" fmla="*/ 211 h 414"/>
                  <a:gd name="T50" fmla="*/ 293 w 367"/>
                  <a:gd name="T51" fmla="*/ 186 h 414"/>
                  <a:gd name="T52" fmla="*/ 285 w 367"/>
                  <a:gd name="T53" fmla="*/ 163 h 414"/>
                  <a:gd name="T54" fmla="*/ 251 w 367"/>
                  <a:gd name="T55" fmla="*/ 130 h 414"/>
                  <a:gd name="T56" fmla="*/ 220 w 367"/>
                  <a:gd name="T57" fmla="*/ 98 h 414"/>
                  <a:gd name="T58" fmla="*/ 196 w 367"/>
                  <a:gd name="T59" fmla="*/ 58 h 414"/>
                  <a:gd name="T60" fmla="*/ 155 w 367"/>
                  <a:gd name="T61" fmla="*/ 49 h 414"/>
                  <a:gd name="T62" fmla="*/ 122 w 367"/>
                  <a:gd name="T63" fmla="*/ 58 h 414"/>
                  <a:gd name="T64" fmla="*/ 114 w 367"/>
                  <a:gd name="T65" fmla="*/ 49 h 414"/>
                  <a:gd name="T66" fmla="*/ 106 w 367"/>
                  <a:gd name="T67" fmla="*/ 9 h 414"/>
                  <a:gd name="T68" fmla="*/ 90 w 367"/>
                  <a:gd name="T69" fmla="*/ 0 h 414"/>
                  <a:gd name="T70" fmla="*/ 49 w 367"/>
                  <a:gd name="T71" fmla="*/ 74 h 414"/>
                  <a:gd name="T72" fmla="*/ 40 w 367"/>
                  <a:gd name="T73" fmla="*/ 83 h 414"/>
                  <a:gd name="T74" fmla="*/ 59 w 367"/>
                  <a:gd name="T75" fmla="*/ 17 h 414"/>
                  <a:gd name="T76" fmla="*/ 34 w 367"/>
                  <a:gd name="T77" fmla="*/ 0 h 414"/>
                  <a:gd name="T78" fmla="*/ 0 w 367"/>
                  <a:gd name="T79" fmla="*/ 65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08" name="Freeform 5">
                <a:extLst>
                  <a:ext uri="{FF2B5EF4-FFF2-40B4-BE49-F238E27FC236}">
                    <a16:creationId xmlns:a16="http://schemas.microsoft.com/office/drawing/2014/main" id="{751C95A4-9442-E859-5053-0B906F889E96}"/>
                  </a:ext>
                </a:extLst>
              </p:cNvPr>
              <p:cNvSpPr>
                <a:spLocks/>
              </p:cNvSpPr>
              <p:nvPr/>
            </p:nvSpPr>
            <p:spPr bwMode="gray">
              <a:xfrm>
                <a:off x="3744013" y="3552194"/>
                <a:ext cx="1038710" cy="579739"/>
              </a:xfrm>
              <a:custGeom>
                <a:avLst/>
                <a:gdLst>
                  <a:gd name="T0" fmla="*/ 380 w 738"/>
                  <a:gd name="T1" fmla="*/ 0 h 396"/>
                  <a:gd name="T2" fmla="*/ 420 w 738"/>
                  <a:gd name="T3" fmla="*/ 32 h 396"/>
                  <a:gd name="T4" fmla="*/ 429 w 738"/>
                  <a:gd name="T5" fmla="*/ 48 h 396"/>
                  <a:gd name="T6" fmla="*/ 461 w 738"/>
                  <a:gd name="T7" fmla="*/ 56 h 396"/>
                  <a:gd name="T8" fmla="*/ 504 w 738"/>
                  <a:gd name="T9" fmla="*/ 56 h 396"/>
                  <a:gd name="T10" fmla="*/ 519 w 738"/>
                  <a:gd name="T11" fmla="*/ 72 h 396"/>
                  <a:gd name="T12" fmla="*/ 479 w 738"/>
                  <a:gd name="T13" fmla="*/ 88 h 396"/>
                  <a:gd name="T14" fmla="*/ 470 w 738"/>
                  <a:gd name="T15" fmla="*/ 145 h 396"/>
                  <a:gd name="T16" fmla="*/ 485 w 738"/>
                  <a:gd name="T17" fmla="*/ 103 h 396"/>
                  <a:gd name="T18" fmla="*/ 504 w 738"/>
                  <a:gd name="T19" fmla="*/ 72 h 396"/>
                  <a:gd name="T20" fmla="*/ 519 w 738"/>
                  <a:gd name="T21" fmla="*/ 113 h 396"/>
                  <a:gd name="T22" fmla="*/ 544 w 738"/>
                  <a:gd name="T23" fmla="*/ 122 h 396"/>
                  <a:gd name="T24" fmla="*/ 551 w 738"/>
                  <a:gd name="T25" fmla="*/ 145 h 396"/>
                  <a:gd name="T26" fmla="*/ 616 w 738"/>
                  <a:gd name="T27" fmla="*/ 113 h 396"/>
                  <a:gd name="T28" fmla="*/ 672 w 738"/>
                  <a:gd name="T29" fmla="*/ 88 h 396"/>
                  <a:gd name="T30" fmla="*/ 713 w 738"/>
                  <a:gd name="T31" fmla="*/ 48 h 396"/>
                  <a:gd name="T32" fmla="*/ 730 w 738"/>
                  <a:gd name="T33" fmla="*/ 72 h 396"/>
                  <a:gd name="T34" fmla="*/ 730 w 738"/>
                  <a:gd name="T35" fmla="*/ 97 h 396"/>
                  <a:gd name="T36" fmla="*/ 690 w 738"/>
                  <a:gd name="T37" fmla="*/ 145 h 396"/>
                  <a:gd name="T38" fmla="*/ 672 w 738"/>
                  <a:gd name="T39" fmla="*/ 145 h 396"/>
                  <a:gd name="T40" fmla="*/ 641 w 738"/>
                  <a:gd name="T41" fmla="*/ 194 h 396"/>
                  <a:gd name="T42" fmla="*/ 624 w 738"/>
                  <a:gd name="T43" fmla="*/ 218 h 396"/>
                  <a:gd name="T44" fmla="*/ 616 w 738"/>
                  <a:gd name="T45" fmla="*/ 178 h 396"/>
                  <a:gd name="T46" fmla="*/ 624 w 738"/>
                  <a:gd name="T47" fmla="*/ 242 h 396"/>
                  <a:gd name="T48" fmla="*/ 559 w 738"/>
                  <a:gd name="T49" fmla="*/ 299 h 396"/>
                  <a:gd name="T50" fmla="*/ 567 w 738"/>
                  <a:gd name="T51" fmla="*/ 396 h 396"/>
                  <a:gd name="T52" fmla="*/ 535 w 738"/>
                  <a:gd name="T53" fmla="*/ 371 h 396"/>
                  <a:gd name="T54" fmla="*/ 504 w 738"/>
                  <a:gd name="T55" fmla="*/ 331 h 396"/>
                  <a:gd name="T56" fmla="*/ 445 w 738"/>
                  <a:gd name="T57" fmla="*/ 331 h 396"/>
                  <a:gd name="T58" fmla="*/ 420 w 738"/>
                  <a:gd name="T59" fmla="*/ 331 h 396"/>
                  <a:gd name="T60" fmla="*/ 348 w 738"/>
                  <a:gd name="T61" fmla="*/ 364 h 396"/>
                  <a:gd name="T62" fmla="*/ 292 w 738"/>
                  <a:gd name="T63" fmla="*/ 331 h 396"/>
                  <a:gd name="T64" fmla="*/ 268 w 738"/>
                  <a:gd name="T65" fmla="*/ 339 h 396"/>
                  <a:gd name="T66" fmla="*/ 234 w 738"/>
                  <a:gd name="T67" fmla="*/ 299 h 396"/>
                  <a:gd name="T68" fmla="*/ 97 w 738"/>
                  <a:gd name="T69" fmla="*/ 290 h 396"/>
                  <a:gd name="T70" fmla="*/ 81 w 738"/>
                  <a:gd name="T71" fmla="*/ 267 h 396"/>
                  <a:gd name="T72" fmla="*/ 32 w 738"/>
                  <a:gd name="T73" fmla="*/ 234 h 396"/>
                  <a:gd name="T74" fmla="*/ 24 w 738"/>
                  <a:gd name="T75" fmla="*/ 210 h 396"/>
                  <a:gd name="T76" fmla="*/ 24 w 738"/>
                  <a:gd name="T77" fmla="*/ 202 h 396"/>
                  <a:gd name="T78" fmla="*/ 0 w 738"/>
                  <a:gd name="T79" fmla="*/ 169 h 396"/>
                  <a:gd name="T80" fmla="*/ 7 w 738"/>
                  <a:gd name="T81" fmla="*/ 63 h 396"/>
                  <a:gd name="T82" fmla="*/ 16 w 738"/>
                  <a:gd name="T83" fmla="*/ 4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09" name="Freeform 6">
                <a:extLst>
                  <a:ext uri="{FF2B5EF4-FFF2-40B4-BE49-F238E27FC236}">
                    <a16:creationId xmlns:a16="http://schemas.microsoft.com/office/drawing/2014/main" id="{5EFD8C92-12E7-5B70-C36C-FA6D03678BB4}"/>
                  </a:ext>
                </a:extLst>
              </p:cNvPr>
              <p:cNvSpPr>
                <a:spLocks/>
              </p:cNvSpPr>
              <p:nvPr/>
            </p:nvSpPr>
            <p:spPr bwMode="gray">
              <a:xfrm>
                <a:off x="2965570" y="2684425"/>
                <a:ext cx="675985" cy="724366"/>
              </a:xfrm>
              <a:custGeom>
                <a:avLst/>
                <a:gdLst>
                  <a:gd name="T0" fmla="*/ 479 w 480"/>
                  <a:gd name="T1" fmla="*/ 453 h 494"/>
                  <a:gd name="T2" fmla="*/ 432 w 480"/>
                  <a:gd name="T3" fmla="*/ 388 h 494"/>
                  <a:gd name="T4" fmla="*/ 414 w 480"/>
                  <a:gd name="T5" fmla="*/ 365 h 494"/>
                  <a:gd name="T6" fmla="*/ 389 w 480"/>
                  <a:gd name="T7" fmla="*/ 381 h 494"/>
                  <a:gd name="T8" fmla="*/ 366 w 480"/>
                  <a:gd name="T9" fmla="*/ 348 h 494"/>
                  <a:gd name="T10" fmla="*/ 341 w 480"/>
                  <a:gd name="T11" fmla="*/ 348 h 494"/>
                  <a:gd name="T12" fmla="*/ 317 w 480"/>
                  <a:gd name="T13" fmla="*/ 49 h 494"/>
                  <a:gd name="T14" fmla="*/ 276 w 480"/>
                  <a:gd name="T15" fmla="*/ 49 h 494"/>
                  <a:gd name="T16" fmla="*/ 236 w 480"/>
                  <a:gd name="T17" fmla="*/ 33 h 494"/>
                  <a:gd name="T18" fmla="*/ 196 w 480"/>
                  <a:gd name="T19" fmla="*/ 17 h 494"/>
                  <a:gd name="T20" fmla="*/ 162 w 480"/>
                  <a:gd name="T21" fmla="*/ 8 h 494"/>
                  <a:gd name="T22" fmla="*/ 131 w 480"/>
                  <a:gd name="T23" fmla="*/ 17 h 494"/>
                  <a:gd name="T24" fmla="*/ 90 w 480"/>
                  <a:gd name="T25" fmla="*/ 42 h 494"/>
                  <a:gd name="T26" fmla="*/ 65 w 480"/>
                  <a:gd name="T27" fmla="*/ 57 h 494"/>
                  <a:gd name="T28" fmla="*/ 25 w 480"/>
                  <a:gd name="T29" fmla="*/ 98 h 494"/>
                  <a:gd name="T30" fmla="*/ 50 w 480"/>
                  <a:gd name="T31" fmla="*/ 139 h 494"/>
                  <a:gd name="T32" fmla="*/ 74 w 480"/>
                  <a:gd name="T33" fmla="*/ 179 h 494"/>
                  <a:gd name="T34" fmla="*/ 50 w 480"/>
                  <a:gd name="T35" fmla="*/ 186 h 494"/>
                  <a:gd name="T36" fmla="*/ 40 w 480"/>
                  <a:gd name="T37" fmla="*/ 170 h 494"/>
                  <a:gd name="T38" fmla="*/ 0 w 480"/>
                  <a:gd name="T39" fmla="*/ 202 h 494"/>
                  <a:gd name="T40" fmla="*/ 18 w 480"/>
                  <a:gd name="T41" fmla="*/ 219 h 494"/>
                  <a:gd name="T42" fmla="*/ 34 w 480"/>
                  <a:gd name="T43" fmla="*/ 235 h 494"/>
                  <a:gd name="T44" fmla="*/ 65 w 480"/>
                  <a:gd name="T45" fmla="*/ 235 h 494"/>
                  <a:gd name="T46" fmla="*/ 82 w 480"/>
                  <a:gd name="T47" fmla="*/ 235 h 494"/>
                  <a:gd name="T48" fmla="*/ 82 w 480"/>
                  <a:gd name="T49" fmla="*/ 267 h 494"/>
                  <a:gd name="T50" fmla="*/ 59 w 480"/>
                  <a:gd name="T51" fmla="*/ 276 h 494"/>
                  <a:gd name="T52" fmla="*/ 40 w 480"/>
                  <a:gd name="T53" fmla="*/ 276 h 494"/>
                  <a:gd name="T54" fmla="*/ 50 w 480"/>
                  <a:gd name="T55" fmla="*/ 365 h 494"/>
                  <a:gd name="T56" fmla="*/ 74 w 480"/>
                  <a:gd name="T57" fmla="*/ 356 h 494"/>
                  <a:gd name="T58" fmla="*/ 74 w 480"/>
                  <a:gd name="T59" fmla="*/ 381 h 494"/>
                  <a:gd name="T60" fmla="*/ 106 w 480"/>
                  <a:gd name="T61" fmla="*/ 388 h 494"/>
                  <a:gd name="T62" fmla="*/ 114 w 480"/>
                  <a:gd name="T63" fmla="*/ 388 h 494"/>
                  <a:gd name="T64" fmla="*/ 131 w 480"/>
                  <a:gd name="T65" fmla="*/ 406 h 494"/>
                  <a:gd name="T66" fmla="*/ 90 w 480"/>
                  <a:gd name="T67" fmla="*/ 453 h 494"/>
                  <a:gd name="T68" fmla="*/ 59 w 480"/>
                  <a:gd name="T69" fmla="*/ 471 h 494"/>
                  <a:gd name="T70" fmla="*/ 40 w 480"/>
                  <a:gd name="T71" fmla="*/ 493 h 494"/>
                  <a:gd name="T72" fmla="*/ 114 w 480"/>
                  <a:gd name="T73" fmla="*/ 453 h 494"/>
                  <a:gd name="T74" fmla="*/ 139 w 480"/>
                  <a:gd name="T75" fmla="*/ 429 h 494"/>
                  <a:gd name="T76" fmla="*/ 187 w 480"/>
                  <a:gd name="T77" fmla="*/ 388 h 494"/>
                  <a:gd name="T78" fmla="*/ 179 w 480"/>
                  <a:gd name="T79" fmla="*/ 372 h 494"/>
                  <a:gd name="T80" fmla="*/ 196 w 480"/>
                  <a:gd name="T81" fmla="*/ 341 h 494"/>
                  <a:gd name="T82" fmla="*/ 227 w 480"/>
                  <a:gd name="T83" fmla="*/ 325 h 494"/>
                  <a:gd name="T84" fmla="*/ 211 w 480"/>
                  <a:gd name="T85" fmla="*/ 341 h 494"/>
                  <a:gd name="T86" fmla="*/ 211 w 480"/>
                  <a:gd name="T87" fmla="*/ 372 h 494"/>
                  <a:gd name="T88" fmla="*/ 211 w 480"/>
                  <a:gd name="T89" fmla="*/ 381 h 494"/>
                  <a:gd name="T90" fmla="*/ 243 w 480"/>
                  <a:gd name="T91" fmla="*/ 365 h 494"/>
                  <a:gd name="T92" fmla="*/ 243 w 480"/>
                  <a:gd name="T93" fmla="*/ 332 h 494"/>
                  <a:gd name="T94" fmla="*/ 301 w 480"/>
                  <a:gd name="T95" fmla="*/ 356 h 494"/>
                  <a:gd name="T96" fmla="*/ 349 w 480"/>
                  <a:gd name="T97" fmla="*/ 365 h 494"/>
                  <a:gd name="T98" fmla="*/ 358 w 480"/>
                  <a:gd name="T99" fmla="*/ 372 h 494"/>
                  <a:gd name="T100" fmla="*/ 423 w 480"/>
                  <a:gd name="T101" fmla="*/ 453 h 494"/>
                  <a:gd name="T102" fmla="*/ 407 w 480"/>
                  <a:gd name="T103" fmla="*/ 406 h 494"/>
                  <a:gd name="T104" fmla="*/ 414 w 480"/>
                  <a:gd name="T105" fmla="*/ 388 h 494"/>
                  <a:gd name="T106" fmla="*/ 432 w 480"/>
                  <a:gd name="T107" fmla="*/ 421 h 494"/>
                  <a:gd name="T108" fmla="*/ 432 w 480"/>
                  <a:gd name="T109" fmla="*/ 429 h 494"/>
                  <a:gd name="T110" fmla="*/ 432 w 480"/>
                  <a:gd name="T111" fmla="*/ 453 h 494"/>
                  <a:gd name="T112" fmla="*/ 438 w 480"/>
                  <a:gd name="T113" fmla="*/ 462 h 494"/>
                  <a:gd name="T114" fmla="*/ 455 w 480"/>
                  <a:gd name="T115" fmla="*/ 471 h 494"/>
                  <a:gd name="T116" fmla="*/ 455 w 480"/>
                  <a:gd name="T117" fmla="*/ 453 h 494"/>
                  <a:gd name="T118" fmla="*/ 463 w 480"/>
                  <a:gd name="T119" fmla="*/ 478 h 494"/>
                  <a:gd name="T120" fmla="*/ 479 w 480"/>
                  <a:gd name="T121" fmla="*/ 47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10" name="Freeform 7">
                <a:extLst>
                  <a:ext uri="{FF2B5EF4-FFF2-40B4-BE49-F238E27FC236}">
                    <a16:creationId xmlns:a16="http://schemas.microsoft.com/office/drawing/2014/main" id="{0CEE3DFA-1104-6B54-2311-DEC82DF3B24D}"/>
                  </a:ext>
                </a:extLst>
              </p:cNvPr>
              <p:cNvSpPr>
                <a:spLocks/>
              </p:cNvSpPr>
              <p:nvPr/>
            </p:nvSpPr>
            <p:spPr bwMode="gray">
              <a:xfrm>
                <a:off x="3446061" y="2505479"/>
                <a:ext cx="1542755" cy="1259979"/>
              </a:xfrm>
              <a:custGeom>
                <a:avLst/>
                <a:gdLst>
                  <a:gd name="T0" fmla="*/ 756 w 1096"/>
                  <a:gd name="T1" fmla="*/ 851 h 860"/>
                  <a:gd name="T2" fmla="*/ 763 w 1096"/>
                  <a:gd name="T3" fmla="*/ 827 h 860"/>
                  <a:gd name="T4" fmla="*/ 771 w 1096"/>
                  <a:gd name="T5" fmla="*/ 786 h 860"/>
                  <a:gd name="T6" fmla="*/ 706 w 1096"/>
                  <a:gd name="T7" fmla="*/ 746 h 860"/>
                  <a:gd name="T8" fmla="*/ 632 w 1096"/>
                  <a:gd name="T9" fmla="*/ 746 h 860"/>
                  <a:gd name="T10" fmla="*/ 585 w 1096"/>
                  <a:gd name="T11" fmla="*/ 722 h 860"/>
                  <a:gd name="T12" fmla="*/ 171 w 1096"/>
                  <a:gd name="T13" fmla="*/ 680 h 860"/>
                  <a:gd name="T14" fmla="*/ 138 w 1096"/>
                  <a:gd name="T15" fmla="*/ 615 h 860"/>
                  <a:gd name="T16" fmla="*/ 91 w 1096"/>
                  <a:gd name="T17" fmla="*/ 510 h 860"/>
                  <a:gd name="T18" fmla="*/ 48 w 1096"/>
                  <a:gd name="T19" fmla="*/ 503 h 860"/>
                  <a:gd name="T20" fmla="*/ 0 w 1096"/>
                  <a:gd name="T21" fmla="*/ 470 h 860"/>
                  <a:gd name="T22" fmla="*/ 66 w 1096"/>
                  <a:gd name="T23" fmla="*/ 202 h 860"/>
                  <a:gd name="T24" fmla="*/ 147 w 1096"/>
                  <a:gd name="T25" fmla="*/ 164 h 860"/>
                  <a:gd name="T26" fmla="*/ 187 w 1096"/>
                  <a:gd name="T27" fmla="*/ 171 h 860"/>
                  <a:gd name="T28" fmla="*/ 212 w 1096"/>
                  <a:gd name="T29" fmla="*/ 195 h 860"/>
                  <a:gd name="T30" fmla="*/ 268 w 1096"/>
                  <a:gd name="T31" fmla="*/ 195 h 860"/>
                  <a:gd name="T32" fmla="*/ 341 w 1096"/>
                  <a:gd name="T33" fmla="*/ 220 h 860"/>
                  <a:gd name="T34" fmla="*/ 358 w 1096"/>
                  <a:gd name="T35" fmla="*/ 261 h 860"/>
                  <a:gd name="T36" fmla="*/ 415 w 1096"/>
                  <a:gd name="T37" fmla="*/ 236 h 860"/>
                  <a:gd name="T38" fmla="*/ 504 w 1096"/>
                  <a:gd name="T39" fmla="*/ 252 h 860"/>
                  <a:gd name="T40" fmla="*/ 552 w 1096"/>
                  <a:gd name="T41" fmla="*/ 227 h 860"/>
                  <a:gd name="T42" fmla="*/ 569 w 1096"/>
                  <a:gd name="T43" fmla="*/ 202 h 860"/>
                  <a:gd name="T44" fmla="*/ 577 w 1096"/>
                  <a:gd name="T45" fmla="*/ 261 h 860"/>
                  <a:gd name="T46" fmla="*/ 601 w 1096"/>
                  <a:gd name="T47" fmla="*/ 195 h 860"/>
                  <a:gd name="T48" fmla="*/ 592 w 1096"/>
                  <a:gd name="T49" fmla="*/ 105 h 860"/>
                  <a:gd name="T50" fmla="*/ 617 w 1096"/>
                  <a:gd name="T51" fmla="*/ 0 h 860"/>
                  <a:gd name="T52" fmla="*/ 617 w 1096"/>
                  <a:gd name="T53" fmla="*/ 65 h 860"/>
                  <a:gd name="T54" fmla="*/ 632 w 1096"/>
                  <a:gd name="T55" fmla="*/ 171 h 860"/>
                  <a:gd name="T56" fmla="*/ 666 w 1096"/>
                  <a:gd name="T57" fmla="*/ 202 h 860"/>
                  <a:gd name="T58" fmla="*/ 697 w 1096"/>
                  <a:gd name="T59" fmla="*/ 267 h 860"/>
                  <a:gd name="T60" fmla="*/ 731 w 1096"/>
                  <a:gd name="T61" fmla="*/ 179 h 860"/>
                  <a:gd name="T62" fmla="*/ 763 w 1096"/>
                  <a:gd name="T63" fmla="*/ 227 h 860"/>
                  <a:gd name="T64" fmla="*/ 763 w 1096"/>
                  <a:gd name="T65" fmla="*/ 276 h 860"/>
                  <a:gd name="T66" fmla="*/ 697 w 1096"/>
                  <a:gd name="T67" fmla="*/ 292 h 860"/>
                  <a:gd name="T68" fmla="*/ 673 w 1096"/>
                  <a:gd name="T69" fmla="*/ 373 h 860"/>
                  <a:gd name="T70" fmla="*/ 626 w 1096"/>
                  <a:gd name="T71" fmla="*/ 413 h 860"/>
                  <a:gd name="T72" fmla="*/ 592 w 1096"/>
                  <a:gd name="T73" fmla="*/ 478 h 860"/>
                  <a:gd name="T74" fmla="*/ 626 w 1096"/>
                  <a:gd name="T75" fmla="*/ 560 h 860"/>
                  <a:gd name="T76" fmla="*/ 716 w 1096"/>
                  <a:gd name="T77" fmla="*/ 593 h 860"/>
                  <a:gd name="T78" fmla="*/ 788 w 1096"/>
                  <a:gd name="T79" fmla="*/ 680 h 860"/>
                  <a:gd name="T80" fmla="*/ 819 w 1096"/>
                  <a:gd name="T81" fmla="*/ 575 h 860"/>
                  <a:gd name="T82" fmla="*/ 812 w 1096"/>
                  <a:gd name="T83" fmla="*/ 503 h 860"/>
                  <a:gd name="T84" fmla="*/ 803 w 1096"/>
                  <a:gd name="T85" fmla="*/ 429 h 860"/>
                  <a:gd name="T86" fmla="*/ 859 w 1096"/>
                  <a:gd name="T87" fmla="*/ 413 h 860"/>
                  <a:gd name="T88" fmla="*/ 918 w 1096"/>
                  <a:gd name="T89" fmla="*/ 454 h 860"/>
                  <a:gd name="T90" fmla="*/ 967 w 1096"/>
                  <a:gd name="T91" fmla="*/ 487 h 860"/>
                  <a:gd name="T92" fmla="*/ 1015 w 1096"/>
                  <a:gd name="T93" fmla="*/ 575 h 860"/>
                  <a:gd name="T94" fmla="*/ 1055 w 1096"/>
                  <a:gd name="T95" fmla="*/ 600 h 860"/>
                  <a:gd name="T96" fmla="*/ 1070 w 1096"/>
                  <a:gd name="T97" fmla="*/ 633 h 860"/>
                  <a:gd name="T98" fmla="*/ 1095 w 1096"/>
                  <a:gd name="T99" fmla="*/ 665 h 860"/>
                  <a:gd name="T100" fmla="*/ 1015 w 1096"/>
                  <a:gd name="T101" fmla="*/ 705 h 860"/>
                  <a:gd name="T102" fmla="*/ 933 w 1096"/>
                  <a:gd name="T103" fmla="*/ 722 h 860"/>
                  <a:gd name="T104" fmla="*/ 925 w 1096"/>
                  <a:gd name="T105" fmla="*/ 737 h 860"/>
                  <a:gd name="T106" fmla="*/ 983 w 1096"/>
                  <a:gd name="T107" fmla="*/ 737 h 860"/>
                  <a:gd name="T108" fmla="*/ 974 w 1096"/>
                  <a:gd name="T109" fmla="*/ 746 h 860"/>
                  <a:gd name="T110" fmla="*/ 1015 w 1096"/>
                  <a:gd name="T111" fmla="*/ 786 h 860"/>
                  <a:gd name="T112" fmla="*/ 1039 w 1096"/>
                  <a:gd name="T113" fmla="*/ 777 h 860"/>
                  <a:gd name="T114" fmla="*/ 967 w 1096"/>
                  <a:gd name="T115" fmla="*/ 827 h 860"/>
                  <a:gd name="T116" fmla="*/ 974 w 1096"/>
                  <a:gd name="T117" fmla="*/ 786 h 860"/>
                  <a:gd name="T118" fmla="*/ 933 w 1096"/>
                  <a:gd name="T119" fmla="*/ 762 h 860"/>
                  <a:gd name="T120" fmla="*/ 902 w 1096"/>
                  <a:gd name="T121" fmla="*/ 795 h 860"/>
                  <a:gd name="T122" fmla="*/ 819 w 1096"/>
                  <a:gd name="T123" fmla="*/ 817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11" name="Line 36">
                <a:extLst>
                  <a:ext uri="{FF2B5EF4-FFF2-40B4-BE49-F238E27FC236}">
                    <a16:creationId xmlns:a16="http://schemas.microsoft.com/office/drawing/2014/main" id="{AF2B6C3D-21CB-AB5C-08B2-D5A95F9A5C4E}"/>
                  </a:ext>
                </a:extLst>
              </p:cNvPr>
              <p:cNvSpPr>
                <a:spLocks noChangeShapeType="1"/>
              </p:cNvSpPr>
              <p:nvPr/>
            </p:nvSpPr>
            <p:spPr bwMode="gray">
              <a:xfrm>
                <a:off x="3150465" y="4214050"/>
                <a:ext cx="10599" cy="0"/>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612" name="Line 38">
                <a:extLst>
                  <a:ext uri="{FF2B5EF4-FFF2-40B4-BE49-F238E27FC236}">
                    <a16:creationId xmlns:a16="http://schemas.microsoft.com/office/drawing/2014/main" id="{5AFC3195-7441-6979-5CF8-9BE9134CF936}"/>
                  </a:ext>
                </a:extLst>
              </p:cNvPr>
              <p:cNvSpPr>
                <a:spLocks noChangeShapeType="1"/>
              </p:cNvSpPr>
              <p:nvPr/>
            </p:nvSpPr>
            <p:spPr bwMode="gray">
              <a:xfrm flipV="1">
                <a:off x="4622559" y="3906408"/>
                <a:ext cx="11777" cy="12256"/>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613" name="Freeform 47">
                <a:extLst>
                  <a:ext uri="{FF2B5EF4-FFF2-40B4-BE49-F238E27FC236}">
                    <a16:creationId xmlns:a16="http://schemas.microsoft.com/office/drawing/2014/main" id="{7792F14F-ADAA-A8AD-0210-55E503DDDE11}"/>
                  </a:ext>
                </a:extLst>
              </p:cNvPr>
              <p:cNvSpPr>
                <a:spLocks/>
              </p:cNvSpPr>
              <p:nvPr/>
            </p:nvSpPr>
            <p:spPr bwMode="gray">
              <a:xfrm>
                <a:off x="4405866" y="3644118"/>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14" name="Freeform 48">
                <a:extLst>
                  <a:ext uri="{FF2B5EF4-FFF2-40B4-BE49-F238E27FC236}">
                    <a16:creationId xmlns:a16="http://schemas.microsoft.com/office/drawing/2014/main" id="{E48EB1A0-32E4-7B61-088D-AC8013C8B550}"/>
                  </a:ext>
                </a:extLst>
              </p:cNvPr>
              <p:cNvSpPr>
                <a:spLocks/>
              </p:cNvSpPr>
              <p:nvPr/>
            </p:nvSpPr>
            <p:spPr bwMode="gray">
              <a:xfrm>
                <a:off x="4405866" y="3644118"/>
                <a:ext cx="150742" cy="121341"/>
              </a:xfrm>
              <a:custGeom>
                <a:avLst/>
                <a:gdLst>
                  <a:gd name="T0" fmla="*/ 49 w 107"/>
                  <a:gd name="T1" fmla="*/ 0 h 83"/>
                  <a:gd name="T2" fmla="*/ 49 w 107"/>
                  <a:gd name="T3" fmla="*/ 9 h 83"/>
                  <a:gd name="T4" fmla="*/ 9 w 107"/>
                  <a:gd name="T5" fmla="*/ 9 h 83"/>
                  <a:gd name="T6" fmla="*/ 0 w 107"/>
                  <a:gd name="T7" fmla="*/ 34 h 83"/>
                  <a:gd name="T8" fmla="*/ 9 w 107"/>
                  <a:gd name="T9" fmla="*/ 25 h 83"/>
                  <a:gd name="T10" fmla="*/ 0 w 107"/>
                  <a:gd name="T11" fmla="*/ 59 h 83"/>
                  <a:gd name="T12" fmla="*/ 0 w 107"/>
                  <a:gd name="T13" fmla="*/ 74 h 83"/>
                  <a:gd name="T14" fmla="*/ 0 w 107"/>
                  <a:gd name="T15" fmla="*/ 82 h 83"/>
                  <a:gd name="T16" fmla="*/ 9 w 107"/>
                  <a:gd name="T17" fmla="*/ 82 h 83"/>
                  <a:gd name="T18" fmla="*/ 15 w 107"/>
                  <a:gd name="T19" fmla="*/ 74 h 83"/>
                  <a:gd name="T20" fmla="*/ 15 w 107"/>
                  <a:gd name="T21" fmla="*/ 40 h 83"/>
                  <a:gd name="T22" fmla="*/ 24 w 107"/>
                  <a:gd name="T23" fmla="*/ 25 h 83"/>
                  <a:gd name="T24" fmla="*/ 34 w 107"/>
                  <a:gd name="T25" fmla="*/ 18 h 83"/>
                  <a:gd name="T26" fmla="*/ 34 w 107"/>
                  <a:gd name="T27" fmla="*/ 9 h 83"/>
                  <a:gd name="T28" fmla="*/ 56 w 107"/>
                  <a:gd name="T29" fmla="*/ 18 h 83"/>
                  <a:gd name="T30" fmla="*/ 56 w 107"/>
                  <a:gd name="T31" fmla="*/ 34 h 83"/>
                  <a:gd name="T32" fmla="*/ 49 w 107"/>
                  <a:gd name="T33" fmla="*/ 50 h 83"/>
                  <a:gd name="T34" fmla="*/ 65 w 107"/>
                  <a:gd name="T35" fmla="*/ 40 h 83"/>
                  <a:gd name="T36" fmla="*/ 65 w 107"/>
                  <a:gd name="T37" fmla="*/ 59 h 83"/>
                  <a:gd name="T38" fmla="*/ 81 w 107"/>
                  <a:gd name="T39" fmla="*/ 50 h 83"/>
                  <a:gd name="T40" fmla="*/ 81 w 107"/>
                  <a:gd name="T41" fmla="*/ 18 h 83"/>
                  <a:gd name="T42" fmla="*/ 97 w 107"/>
                  <a:gd name="T43" fmla="*/ 34 h 83"/>
                  <a:gd name="T44" fmla="*/ 106 w 107"/>
                  <a:gd name="T45" fmla="*/ 25 h 83"/>
                  <a:gd name="T46" fmla="*/ 89 w 107"/>
                  <a:gd name="T47" fmla="*/ 9 h 83"/>
                  <a:gd name="T48" fmla="*/ 49 w 107"/>
                  <a:gd name="T4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15" name="Freeform 49">
                <a:extLst>
                  <a:ext uri="{FF2B5EF4-FFF2-40B4-BE49-F238E27FC236}">
                    <a16:creationId xmlns:a16="http://schemas.microsoft.com/office/drawing/2014/main" id="{49E35541-0B9F-B972-B447-16FE88F47D85}"/>
                  </a:ext>
                </a:extLst>
              </p:cNvPr>
              <p:cNvSpPr>
                <a:spLocks/>
              </p:cNvSpPr>
              <p:nvPr/>
            </p:nvSpPr>
            <p:spPr bwMode="gray">
              <a:xfrm>
                <a:off x="4326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16" name="Freeform 50">
                <a:extLst>
                  <a:ext uri="{FF2B5EF4-FFF2-40B4-BE49-F238E27FC236}">
                    <a16:creationId xmlns:a16="http://schemas.microsoft.com/office/drawing/2014/main" id="{248A7C4D-BE87-0B36-8FF2-C0DAFBF2F69E}"/>
                  </a:ext>
                </a:extLst>
              </p:cNvPr>
              <p:cNvSpPr>
                <a:spLocks/>
              </p:cNvSpPr>
              <p:nvPr/>
            </p:nvSpPr>
            <p:spPr bwMode="gray">
              <a:xfrm>
                <a:off x="4326961" y="3563224"/>
                <a:ext cx="136610" cy="72314"/>
              </a:xfrm>
              <a:custGeom>
                <a:avLst/>
                <a:gdLst>
                  <a:gd name="T0" fmla="*/ 96 w 97"/>
                  <a:gd name="T1" fmla="*/ 48 h 49"/>
                  <a:gd name="T2" fmla="*/ 90 w 97"/>
                  <a:gd name="T3" fmla="*/ 48 h 49"/>
                  <a:gd name="T4" fmla="*/ 65 w 97"/>
                  <a:gd name="T5" fmla="*/ 48 h 49"/>
                  <a:gd name="T6" fmla="*/ 56 w 97"/>
                  <a:gd name="T7" fmla="*/ 40 h 49"/>
                  <a:gd name="T8" fmla="*/ 47 w 97"/>
                  <a:gd name="T9" fmla="*/ 48 h 49"/>
                  <a:gd name="T10" fmla="*/ 47 w 97"/>
                  <a:gd name="T11" fmla="*/ 40 h 49"/>
                  <a:gd name="T12" fmla="*/ 24 w 97"/>
                  <a:gd name="T13" fmla="*/ 48 h 49"/>
                  <a:gd name="T14" fmla="*/ 15 w 97"/>
                  <a:gd name="T15" fmla="*/ 40 h 49"/>
                  <a:gd name="T16" fmla="*/ 0 w 97"/>
                  <a:gd name="T17" fmla="*/ 48 h 49"/>
                  <a:gd name="T18" fmla="*/ 31 w 97"/>
                  <a:gd name="T19" fmla="*/ 24 h 49"/>
                  <a:gd name="T20" fmla="*/ 56 w 97"/>
                  <a:gd name="T21" fmla="*/ 0 h 49"/>
                  <a:gd name="T22" fmla="*/ 71 w 97"/>
                  <a:gd name="T23" fmla="*/ 8 h 49"/>
                  <a:gd name="T24" fmla="*/ 80 w 97"/>
                  <a:gd name="T25" fmla="*/ 24 h 49"/>
                  <a:gd name="T26" fmla="*/ 90 w 97"/>
                  <a:gd name="T27" fmla="*/ 24 h 49"/>
                  <a:gd name="T28" fmla="*/ 96 w 97"/>
                  <a:gd name="T29"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17" name="Freeform 51">
                <a:extLst>
                  <a:ext uri="{FF2B5EF4-FFF2-40B4-BE49-F238E27FC236}">
                    <a16:creationId xmlns:a16="http://schemas.microsoft.com/office/drawing/2014/main" id="{66FBF754-C9CB-B755-EA63-FA538D84B678}"/>
                  </a:ext>
                </a:extLst>
              </p:cNvPr>
              <p:cNvSpPr>
                <a:spLocks/>
              </p:cNvSpPr>
              <p:nvPr/>
            </p:nvSpPr>
            <p:spPr bwMode="gray">
              <a:xfrm>
                <a:off x="4484772"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18" name="Freeform 52">
                <a:extLst>
                  <a:ext uri="{FF2B5EF4-FFF2-40B4-BE49-F238E27FC236}">
                    <a16:creationId xmlns:a16="http://schemas.microsoft.com/office/drawing/2014/main" id="{FCF4E8B7-AF9B-EB42-9E90-ACC1CCE5F5F9}"/>
                  </a:ext>
                </a:extLst>
              </p:cNvPr>
              <p:cNvSpPr>
                <a:spLocks/>
              </p:cNvSpPr>
              <p:nvPr/>
            </p:nvSpPr>
            <p:spPr bwMode="gray">
              <a:xfrm>
                <a:off x="4484772" y="3731139"/>
                <a:ext cx="82437" cy="34318"/>
              </a:xfrm>
              <a:custGeom>
                <a:avLst/>
                <a:gdLst>
                  <a:gd name="T0" fmla="*/ 0 w 59"/>
                  <a:gd name="T1" fmla="*/ 23 h 24"/>
                  <a:gd name="T2" fmla="*/ 18 w 59"/>
                  <a:gd name="T3" fmla="*/ 15 h 24"/>
                  <a:gd name="T4" fmla="*/ 25 w 59"/>
                  <a:gd name="T5" fmla="*/ 6 h 24"/>
                  <a:gd name="T6" fmla="*/ 58 w 59"/>
                  <a:gd name="T7" fmla="*/ 0 h 24"/>
                  <a:gd name="T8" fmla="*/ 25 w 59"/>
                  <a:gd name="T9" fmla="*/ 23 h 24"/>
                  <a:gd name="T10" fmla="*/ 9 w 59"/>
                  <a:gd name="T11" fmla="*/ 23 h 24"/>
                  <a:gd name="T12" fmla="*/ 0 w 59"/>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59" h="24">
                    <a:moveTo>
                      <a:pt x="0" y="23"/>
                    </a:moveTo>
                    <a:lnTo>
                      <a:pt x="18" y="15"/>
                    </a:lnTo>
                    <a:lnTo>
                      <a:pt x="25" y="6"/>
                    </a:lnTo>
                    <a:lnTo>
                      <a:pt x="58" y="0"/>
                    </a:lnTo>
                    <a:lnTo>
                      <a:pt x="25" y="23"/>
                    </a:lnTo>
                    <a:lnTo>
                      <a:pt x="9" y="23"/>
                    </a:lnTo>
                    <a:lnTo>
                      <a:pt x="0" y="2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19" name="Freeform 53">
                <a:extLst>
                  <a:ext uri="{FF2B5EF4-FFF2-40B4-BE49-F238E27FC236}">
                    <a16:creationId xmlns:a16="http://schemas.microsoft.com/office/drawing/2014/main" id="{73E3E2AB-2E62-2452-BAE9-85B552C3C979}"/>
                  </a:ext>
                </a:extLst>
              </p:cNvPr>
              <p:cNvSpPr>
                <a:spLocks/>
              </p:cNvSpPr>
              <p:nvPr/>
            </p:nvSpPr>
            <p:spPr bwMode="gray">
              <a:xfrm>
                <a:off x="4566031" y="3694370"/>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0" name="Freeform 54">
                <a:extLst>
                  <a:ext uri="{FF2B5EF4-FFF2-40B4-BE49-F238E27FC236}">
                    <a16:creationId xmlns:a16="http://schemas.microsoft.com/office/drawing/2014/main" id="{BF92F8AE-717F-74FF-DF76-EA03FD0C2F4D}"/>
                  </a:ext>
                </a:extLst>
              </p:cNvPr>
              <p:cNvSpPr>
                <a:spLocks/>
              </p:cNvSpPr>
              <p:nvPr/>
            </p:nvSpPr>
            <p:spPr bwMode="gray">
              <a:xfrm>
                <a:off x="4566031" y="3694370"/>
                <a:ext cx="47107" cy="24513"/>
              </a:xfrm>
              <a:custGeom>
                <a:avLst/>
                <a:gdLst>
                  <a:gd name="T0" fmla="*/ 0 w 33"/>
                  <a:gd name="T1" fmla="*/ 16 h 17"/>
                  <a:gd name="T2" fmla="*/ 0 w 33"/>
                  <a:gd name="T3" fmla="*/ 6 h 17"/>
                  <a:gd name="T4" fmla="*/ 23 w 33"/>
                  <a:gd name="T5" fmla="*/ 6 h 17"/>
                  <a:gd name="T6" fmla="*/ 32 w 33"/>
                  <a:gd name="T7" fmla="*/ 0 h 17"/>
                  <a:gd name="T8" fmla="*/ 32 w 33"/>
                  <a:gd name="T9" fmla="*/ 16 h 17"/>
                  <a:gd name="T10" fmla="*/ 0 w 33"/>
                  <a:gd name="T11" fmla="*/ 16 h 17"/>
                </a:gdLst>
                <a:ahLst/>
                <a:cxnLst>
                  <a:cxn ang="0">
                    <a:pos x="T0" y="T1"/>
                  </a:cxn>
                  <a:cxn ang="0">
                    <a:pos x="T2" y="T3"/>
                  </a:cxn>
                  <a:cxn ang="0">
                    <a:pos x="T4" y="T5"/>
                  </a:cxn>
                  <a:cxn ang="0">
                    <a:pos x="T6" y="T7"/>
                  </a:cxn>
                  <a:cxn ang="0">
                    <a:pos x="T8" y="T9"/>
                  </a:cxn>
                  <a:cxn ang="0">
                    <a:pos x="T10" y="T11"/>
                  </a:cxn>
                </a:cxnLst>
                <a:rect l="0" t="0" r="r" b="b"/>
                <a:pathLst>
                  <a:path w="33" h="17">
                    <a:moveTo>
                      <a:pt x="0" y="16"/>
                    </a:moveTo>
                    <a:lnTo>
                      <a:pt x="0" y="6"/>
                    </a:lnTo>
                    <a:lnTo>
                      <a:pt x="23" y="6"/>
                    </a:lnTo>
                    <a:lnTo>
                      <a:pt x="32" y="0"/>
                    </a:lnTo>
                    <a:lnTo>
                      <a:pt x="32" y="16"/>
                    </a:lnTo>
                    <a:lnTo>
                      <a:pt x="0"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21" name="Freeform 60">
                <a:extLst>
                  <a:ext uri="{FF2B5EF4-FFF2-40B4-BE49-F238E27FC236}">
                    <a16:creationId xmlns:a16="http://schemas.microsoft.com/office/drawing/2014/main" id="{F3B6502B-969E-86AD-4D91-F908A43DFF28}"/>
                  </a:ext>
                </a:extLst>
              </p:cNvPr>
              <p:cNvSpPr>
                <a:spLocks/>
              </p:cNvSpPr>
              <p:nvPr/>
            </p:nvSpPr>
            <p:spPr bwMode="gray">
              <a:xfrm>
                <a:off x="4622558" y="4950672"/>
                <a:ext cx="150742" cy="854286"/>
              </a:xfrm>
              <a:custGeom>
                <a:avLst/>
                <a:gdLst>
                  <a:gd name="T0" fmla="*/ 82 w 107"/>
                  <a:gd name="T1" fmla="*/ 0 h 583"/>
                  <a:gd name="T2" fmla="*/ 89 w 107"/>
                  <a:gd name="T3" fmla="*/ 32 h 583"/>
                  <a:gd name="T4" fmla="*/ 106 w 107"/>
                  <a:gd name="T5" fmla="*/ 72 h 583"/>
                  <a:gd name="T6" fmla="*/ 89 w 107"/>
                  <a:gd name="T7" fmla="*/ 97 h 583"/>
                  <a:gd name="T8" fmla="*/ 82 w 107"/>
                  <a:gd name="T9" fmla="*/ 146 h 583"/>
                  <a:gd name="T10" fmla="*/ 72 w 107"/>
                  <a:gd name="T11" fmla="*/ 227 h 583"/>
                  <a:gd name="T12" fmla="*/ 66 w 107"/>
                  <a:gd name="T13" fmla="*/ 268 h 583"/>
                  <a:gd name="T14" fmla="*/ 57 w 107"/>
                  <a:gd name="T15" fmla="*/ 308 h 583"/>
                  <a:gd name="T16" fmla="*/ 48 w 107"/>
                  <a:gd name="T17" fmla="*/ 357 h 583"/>
                  <a:gd name="T18" fmla="*/ 48 w 107"/>
                  <a:gd name="T19" fmla="*/ 405 h 583"/>
                  <a:gd name="T20" fmla="*/ 57 w 107"/>
                  <a:gd name="T21" fmla="*/ 414 h 583"/>
                  <a:gd name="T22" fmla="*/ 41 w 107"/>
                  <a:gd name="T23" fmla="*/ 460 h 583"/>
                  <a:gd name="T24" fmla="*/ 32 w 107"/>
                  <a:gd name="T25" fmla="*/ 502 h 583"/>
                  <a:gd name="T26" fmla="*/ 32 w 107"/>
                  <a:gd name="T27" fmla="*/ 526 h 583"/>
                  <a:gd name="T28" fmla="*/ 41 w 107"/>
                  <a:gd name="T29" fmla="*/ 542 h 583"/>
                  <a:gd name="T30" fmla="*/ 72 w 107"/>
                  <a:gd name="T31" fmla="*/ 551 h 583"/>
                  <a:gd name="T32" fmla="*/ 89 w 107"/>
                  <a:gd name="T33" fmla="*/ 559 h 583"/>
                  <a:gd name="T34" fmla="*/ 66 w 107"/>
                  <a:gd name="T35" fmla="*/ 566 h 583"/>
                  <a:gd name="T36" fmla="*/ 57 w 107"/>
                  <a:gd name="T37" fmla="*/ 582 h 583"/>
                  <a:gd name="T38" fmla="*/ 57 w 107"/>
                  <a:gd name="T39" fmla="*/ 575 h 583"/>
                  <a:gd name="T40" fmla="*/ 41 w 107"/>
                  <a:gd name="T41" fmla="*/ 575 h 583"/>
                  <a:gd name="T42" fmla="*/ 32 w 107"/>
                  <a:gd name="T43" fmla="*/ 559 h 583"/>
                  <a:gd name="T44" fmla="*/ 17 w 107"/>
                  <a:gd name="T45" fmla="*/ 551 h 583"/>
                  <a:gd name="T46" fmla="*/ 8 w 107"/>
                  <a:gd name="T47" fmla="*/ 551 h 583"/>
                  <a:gd name="T48" fmla="*/ 17 w 107"/>
                  <a:gd name="T49" fmla="*/ 534 h 583"/>
                  <a:gd name="T50" fmla="*/ 17 w 107"/>
                  <a:gd name="T51" fmla="*/ 534 h 583"/>
                  <a:gd name="T52" fmla="*/ 17 w 107"/>
                  <a:gd name="T53" fmla="*/ 534 h 583"/>
                  <a:gd name="T54" fmla="*/ 17 w 107"/>
                  <a:gd name="T55" fmla="*/ 510 h 583"/>
                  <a:gd name="T56" fmla="*/ 0 w 107"/>
                  <a:gd name="T57" fmla="*/ 502 h 583"/>
                  <a:gd name="T58" fmla="*/ 8 w 107"/>
                  <a:gd name="T59" fmla="*/ 470 h 583"/>
                  <a:gd name="T60" fmla="*/ 17 w 107"/>
                  <a:gd name="T61" fmla="*/ 477 h 583"/>
                  <a:gd name="T62" fmla="*/ 8 w 107"/>
                  <a:gd name="T63" fmla="*/ 445 h 583"/>
                  <a:gd name="T64" fmla="*/ 8 w 107"/>
                  <a:gd name="T65" fmla="*/ 429 h 583"/>
                  <a:gd name="T66" fmla="*/ 17 w 107"/>
                  <a:gd name="T67" fmla="*/ 405 h 583"/>
                  <a:gd name="T68" fmla="*/ 23 w 107"/>
                  <a:gd name="T69" fmla="*/ 414 h 583"/>
                  <a:gd name="T70" fmla="*/ 41 w 107"/>
                  <a:gd name="T71" fmla="*/ 357 h 583"/>
                  <a:gd name="T72" fmla="*/ 23 w 107"/>
                  <a:gd name="T73" fmla="*/ 348 h 583"/>
                  <a:gd name="T74" fmla="*/ 32 w 107"/>
                  <a:gd name="T75" fmla="*/ 315 h 583"/>
                  <a:gd name="T76" fmla="*/ 32 w 107"/>
                  <a:gd name="T77" fmla="*/ 283 h 583"/>
                  <a:gd name="T78" fmla="*/ 48 w 107"/>
                  <a:gd name="T79" fmla="*/ 186 h 583"/>
                  <a:gd name="T80" fmla="*/ 57 w 107"/>
                  <a:gd name="T81" fmla="*/ 153 h 583"/>
                  <a:gd name="T82" fmla="*/ 66 w 107"/>
                  <a:gd name="T83" fmla="*/ 72 h 583"/>
                  <a:gd name="T84" fmla="*/ 66 w 107"/>
                  <a:gd name="T85" fmla="*/ 7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2" name="Freeform 61">
                <a:extLst>
                  <a:ext uri="{FF2B5EF4-FFF2-40B4-BE49-F238E27FC236}">
                    <a16:creationId xmlns:a16="http://schemas.microsoft.com/office/drawing/2014/main" id="{5562C7FF-5D63-E10A-B721-CA1870B90302}"/>
                  </a:ext>
                </a:extLst>
              </p:cNvPr>
              <p:cNvSpPr>
                <a:spLocks/>
              </p:cNvSpPr>
              <p:nvPr/>
            </p:nvSpPr>
            <p:spPr bwMode="gray">
              <a:xfrm>
                <a:off x="4654355" y="5770641"/>
                <a:ext cx="95392" cy="93151"/>
              </a:xfrm>
              <a:custGeom>
                <a:avLst/>
                <a:gdLst>
                  <a:gd name="T0" fmla="*/ 66 w 67"/>
                  <a:gd name="T1" fmla="*/ 48 h 64"/>
                  <a:gd name="T2" fmla="*/ 66 w 67"/>
                  <a:gd name="T3" fmla="*/ 0 h 64"/>
                  <a:gd name="T4" fmla="*/ 49 w 67"/>
                  <a:gd name="T5" fmla="*/ 7 h 64"/>
                  <a:gd name="T6" fmla="*/ 49 w 67"/>
                  <a:gd name="T7" fmla="*/ 23 h 64"/>
                  <a:gd name="T8" fmla="*/ 43 w 67"/>
                  <a:gd name="T9" fmla="*/ 32 h 64"/>
                  <a:gd name="T10" fmla="*/ 34 w 67"/>
                  <a:gd name="T11" fmla="*/ 32 h 64"/>
                  <a:gd name="T12" fmla="*/ 9 w 67"/>
                  <a:gd name="T13" fmla="*/ 16 h 64"/>
                  <a:gd name="T14" fmla="*/ 0 w 67"/>
                  <a:gd name="T15" fmla="*/ 23 h 64"/>
                  <a:gd name="T16" fmla="*/ 9 w 67"/>
                  <a:gd name="T17" fmla="*/ 32 h 64"/>
                  <a:gd name="T18" fmla="*/ 18 w 67"/>
                  <a:gd name="T19" fmla="*/ 32 h 64"/>
                  <a:gd name="T20" fmla="*/ 18 w 67"/>
                  <a:gd name="T21" fmla="*/ 40 h 64"/>
                  <a:gd name="T22" fmla="*/ 25 w 67"/>
                  <a:gd name="T23" fmla="*/ 40 h 64"/>
                  <a:gd name="T24" fmla="*/ 25 w 67"/>
                  <a:gd name="T25" fmla="*/ 48 h 64"/>
                  <a:gd name="T26" fmla="*/ 43 w 67"/>
                  <a:gd name="T27" fmla="*/ 57 h 64"/>
                  <a:gd name="T28" fmla="*/ 49 w 67"/>
                  <a:gd name="T29" fmla="*/ 57 h 64"/>
                  <a:gd name="T30" fmla="*/ 59 w 67"/>
                  <a:gd name="T31" fmla="*/ 63 h 64"/>
                  <a:gd name="T32" fmla="*/ 66 w 67"/>
                  <a:gd name="T3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3" name="Freeform 62">
                <a:extLst>
                  <a:ext uri="{FF2B5EF4-FFF2-40B4-BE49-F238E27FC236}">
                    <a16:creationId xmlns:a16="http://schemas.microsoft.com/office/drawing/2014/main" id="{9C943969-52C4-B644-F04F-AB4CB3B9903A}"/>
                  </a:ext>
                </a:extLst>
              </p:cNvPr>
              <p:cNvSpPr>
                <a:spLocks/>
              </p:cNvSpPr>
              <p:nvPr/>
            </p:nvSpPr>
            <p:spPr bwMode="gray">
              <a:xfrm>
                <a:off x="4747392" y="5770640"/>
                <a:ext cx="70660" cy="106632"/>
              </a:xfrm>
              <a:custGeom>
                <a:avLst/>
                <a:gdLst>
                  <a:gd name="T0" fmla="*/ 0 w 50"/>
                  <a:gd name="T1" fmla="*/ 48 h 73"/>
                  <a:gd name="T2" fmla="*/ 0 w 50"/>
                  <a:gd name="T3" fmla="*/ 0 h 73"/>
                  <a:gd name="T4" fmla="*/ 8 w 50"/>
                  <a:gd name="T5" fmla="*/ 23 h 73"/>
                  <a:gd name="T6" fmla="*/ 33 w 50"/>
                  <a:gd name="T7" fmla="*/ 40 h 73"/>
                  <a:gd name="T8" fmla="*/ 49 w 50"/>
                  <a:gd name="T9" fmla="*/ 48 h 73"/>
                  <a:gd name="T10" fmla="*/ 42 w 50"/>
                  <a:gd name="T11" fmla="*/ 57 h 73"/>
                  <a:gd name="T12" fmla="*/ 17 w 50"/>
                  <a:gd name="T13" fmla="*/ 63 h 73"/>
                  <a:gd name="T14" fmla="*/ 8 w 50"/>
                  <a:gd name="T15" fmla="*/ 72 h 73"/>
                  <a:gd name="T16" fmla="*/ 0 w 50"/>
                  <a:gd name="T17" fmla="*/ 4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0" h="73">
                    <a:moveTo>
                      <a:pt x="0" y="48"/>
                    </a:moveTo>
                    <a:lnTo>
                      <a:pt x="0" y="0"/>
                    </a:lnTo>
                    <a:lnTo>
                      <a:pt x="8" y="23"/>
                    </a:lnTo>
                    <a:lnTo>
                      <a:pt x="33" y="40"/>
                    </a:lnTo>
                    <a:lnTo>
                      <a:pt x="49" y="48"/>
                    </a:lnTo>
                    <a:lnTo>
                      <a:pt x="42" y="57"/>
                    </a:lnTo>
                    <a:lnTo>
                      <a:pt x="17" y="63"/>
                    </a:lnTo>
                    <a:lnTo>
                      <a:pt x="8" y="72"/>
                    </a:lnTo>
                    <a:lnTo>
                      <a:pt x="0" y="4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4" name="Freeform 63">
                <a:extLst>
                  <a:ext uri="{FF2B5EF4-FFF2-40B4-BE49-F238E27FC236}">
                    <a16:creationId xmlns:a16="http://schemas.microsoft.com/office/drawing/2014/main" id="{5D348B0F-A34C-B8FC-E231-C9B7B2F3419E}"/>
                  </a:ext>
                </a:extLst>
              </p:cNvPr>
              <p:cNvSpPr>
                <a:spLocks/>
              </p:cNvSpPr>
              <p:nvPr/>
            </p:nvSpPr>
            <p:spPr bwMode="gray">
              <a:xfrm>
                <a:off x="4667310" y="5032792"/>
                <a:ext cx="356836" cy="726817"/>
              </a:xfrm>
              <a:custGeom>
                <a:avLst/>
                <a:gdLst>
                  <a:gd name="T0" fmla="*/ 202 w 253"/>
                  <a:gd name="T1" fmla="*/ 122 h 496"/>
                  <a:gd name="T2" fmla="*/ 252 w 253"/>
                  <a:gd name="T3" fmla="*/ 74 h 496"/>
                  <a:gd name="T4" fmla="*/ 236 w 253"/>
                  <a:gd name="T5" fmla="*/ 50 h 496"/>
                  <a:gd name="T6" fmla="*/ 221 w 253"/>
                  <a:gd name="T7" fmla="*/ 74 h 496"/>
                  <a:gd name="T8" fmla="*/ 187 w 253"/>
                  <a:gd name="T9" fmla="*/ 74 h 496"/>
                  <a:gd name="T10" fmla="*/ 196 w 253"/>
                  <a:gd name="T11" fmla="*/ 50 h 496"/>
                  <a:gd name="T12" fmla="*/ 155 w 253"/>
                  <a:gd name="T13" fmla="*/ 34 h 496"/>
                  <a:gd name="T14" fmla="*/ 122 w 253"/>
                  <a:gd name="T15" fmla="*/ 0 h 496"/>
                  <a:gd name="T16" fmla="*/ 90 w 253"/>
                  <a:gd name="T17" fmla="*/ 0 h 496"/>
                  <a:gd name="T18" fmla="*/ 74 w 253"/>
                  <a:gd name="T19" fmla="*/ 34 h 496"/>
                  <a:gd name="T20" fmla="*/ 65 w 253"/>
                  <a:gd name="T21" fmla="*/ 65 h 496"/>
                  <a:gd name="T22" fmla="*/ 34 w 253"/>
                  <a:gd name="T23" fmla="*/ 137 h 496"/>
                  <a:gd name="T24" fmla="*/ 34 w 253"/>
                  <a:gd name="T25" fmla="*/ 196 h 496"/>
                  <a:gd name="T26" fmla="*/ 25 w 253"/>
                  <a:gd name="T27" fmla="*/ 219 h 496"/>
                  <a:gd name="T28" fmla="*/ 16 w 253"/>
                  <a:gd name="T29" fmla="*/ 267 h 496"/>
                  <a:gd name="T30" fmla="*/ 16 w 253"/>
                  <a:gd name="T31" fmla="*/ 317 h 496"/>
                  <a:gd name="T32" fmla="*/ 25 w 253"/>
                  <a:gd name="T33" fmla="*/ 349 h 496"/>
                  <a:gd name="T34" fmla="*/ 16 w 253"/>
                  <a:gd name="T35" fmla="*/ 389 h 496"/>
                  <a:gd name="T36" fmla="*/ 9 w 253"/>
                  <a:gd name="T37" fmla="*/ 421 h 496"/>
                  <a:gd name="T38" fmla="*/ 0 w 253"/>
                  <a:gd name="T39" fmla="*/ 463 h 496"/>
                  <a:gd name="T40" fmla="*/ 9 w 253"/>
                  <a:gd name="T41" fmla="*/ 463 h 496"/>
                  <a:gd name="T42" fmla="*/ 16 w 253"/>
                  <a:gd name="T43" fmla="*/ 495 h 496"/>
                  <a:gd name="T44" fmla="*/ 57 w 253"/>
                  <a:gd name="T45" fmla="*/ 495 h 496"/>
                  <a:gd name="T46" fmla="*/ 57 w 253"/>
                  <a:gd name="T47" fmla="*/ 463 h 496"/>
                  <a:gd name="T48" fmla="*/ 74 w 253"/>
                  <a:gd name="T49" fmla="*/ 429 h 496"/>
                  <a:gd name="T50" fmla="*/ 99 w 253"/>
                  <a:gd name="T51" fmla="*/ 398 h 496"/>
                  <a:gd name="T52" fmla="*/ 74 w 253"/>
                  <a:gd name="T53" fmla="*/ 381 h 496"/>
                  <a:gd name="T54" fmla="*/ 82 w 253"/>
                  <a:gd name="T55" fmla="*/ 364 h 496"/>
                  <a:gd name="T56" fmla="*/ 99 w 253"/>
                  <a:gd name="T57" fmla="*/ 349 h 496"/>
                  <a:gd name="T58" fmla="*/ 106 w 253"/>
                  <a:gd name="T59" fmla="*/ 333 h 496"/>
                  <a:gd name="T60" fmla="*/ 115 w 253"/>
                  <a:gd name="T61" fmla="*/ 317 h 496"/>
                  <a:gd name="T62" fmla="*/ 122 w 253"/>
                  <a:gd name="T63" fmla="*/ 308 h 496"/>
                  <a:gd name="T64" fmla="*/ 106 w 253"/>
                  <a:gd name="T65" fmla="*/ 284 h 496"/>
                  <a:gd name="T66" fmla="*/ 139 w 253"/>
                  <a:gd name="T67" fmla="*/ 284 h 496"/>
                  <a:gd name="T68" fmla="*/ 139 w 253"/>
                  <a:gd name="T69" fmla="*/ 252 h 496"/>
                  <a:gd name="T70" fmla="*/ 162 w 253"/>
                  <a:gd name="T71" fmla="*/ 252 h 496"/>
                  <a:gd name="T72" fmla="*/ 211 w 253"/>
                  <a:gd name="T73" fmla="*/ 219 h 496"/>
                  <a:gd name="T74" fmla="*/ 202 w 253"/>
                  <a:gd name="T75" fmla="*/ 202 h 496"/>
                  <a:gd name="T76" fmla="*/ 187 w 253"/>
                  <a:gd name="T77" fmla="*/ 18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25" name="Freeform 64">
                <a:extLst>
                  <a:ext uri="{FF2B5EF4-FFF2-40B4-BE49-F238E27FC236}">
                    <a16:creationId xmlns:a16="http://schemas.microsoft.com/office/drawing/2014/main" id="{BAAB8FF2-1B35-BE59-BBDC-ECD07C287AA2}"/>
                  </a:ext>
                </a:extLst>
              </p:cNvPr>
              <p:cNvSpPr>
                <a:spLocks/>
              </p:cNvSpPr>
              <p:nvPr/>
            </p:nvSpPr>
            <p:spPr bwMode="gray">
              <a:xfrm>
                <a:off x="4885180" y="5733869"/>
                <a:ext cx="60062" cy="37996"/>
              </a:xfrm>
              <a:custGeom>
                <a:avLst/>
                <a:gdLst>
                  <a:gd name="T0" fmla="*/ 0 w 42"/>
                  <a:gd name="T1" fmla="*/ 8 h 26"/>
                  <a:gd name="T2" fmla="*/ 16 w 42"/>
                  <a:gd name="T3" fmla="*/ 17 h 26"/>
                  <a:gd name="T4" fmla="*/ 24 w 42"/>
                  <a:gd name="T5" fmla="*/ 25 h 26"/>
                  <a:gd name="T6" fmla="*/ 41 w 42"/>
                  <a:gd name="T7" fmla="*/ 8 h 26"/>
                  <a:gd name="T8" fmla="*/ 41 w 42"/>
                  <a:gd name="T9" fmla="*/ 0 h 26"/>
                  <a:gd name="T10" fmla="*/ 16 w 42"/>
                  <a:gd name="T11" fmla="*/ 0 h 26"/>
                  <a:gd name="T12" fmla="*/ 7 w 42"/>
                  <a:gd name="T13" fmla="*/ 0 h 26"/>
                  <a:gd name="T14" fmla="*/ 0 w 42"/>
                  <a:gd name="T15" fmla="*/ 8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26">
                    <a:moveTo>
                      <a:pt x="0" y="8"/>
                    </a:moveTo>
                    <a:lnTo>
                      <a:pt x="16" y="17"/>
                    </a:lnTo>
                    <a:lnTo>
                      <a:pt x="24" y="25"/>
                    </a:lnTo>
                    <a:lnTo>
                      <a:pt x="41" y="8"/>
                    </a:lnTo>
                    <a:lnTo>
                      <a:pt x="41" y="0"/>
                    </a:lnTo>
                    <a:lnTo>
                      <a:pt x="16" y="0"/>
                    </a:lnTo>
                    <a:lnTo>
                      <a:pt x="7" y="0"/>
                    </a:lnTo>
                    <a:lnTo>
                      <a:pt x="0" y="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6" name="Freeform 65">
                <a:extLst>
                  <a:ext uri="{FF2B5EF4-FFF2-40B4-BE49-F238E27FC236}">
                    <a16:creationId xmlns:a16="http://schemas.microsoft.com/office/drawing/2014/main" id="{B3CA7609-5E98-D221-AE7E-72989164E390}"/>
                  </a:ext>
                </a:extLst>
              </p:cNvPr>
              <p:cNvSpPr>
                <a:spLocks/>
              </p:cNvSpPr>
              <p:nvPr/>
            </p:nvSpPr>
            <p:spPr bwMode="gray">
              <a:xfrm>
                <a:off x="4667310" y="3776490"/>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7" name="Freeform 66">
                <a:extLst>
                  <a:ext uri="{FF2B5EF4-FFF2-40B4-BE49-F238E27FC236}">
                    <a16:creationId xmlns:a16="http://schemas.microsoft.com/office/drawing/2014/main" id="{9E2F88CA-CA0B-E672-B66A-974C4B142165}"/>
                  </a:ext>
                </a:extLst>
              </p:cNvPr>
              <p:cNvSpPr>
                <a:spLocks/>
              </p:cNvSpPr>
              <p:nvPr/>
            </p:nvSpPr>
            <p:spPr bwMode="gray">
              <a:xfrm>
                <a:off x="4667310" y="3776490"/>
                <a:ext cx="36508" cy="24513"/>
              </a:xfrm>
              <a:custGeom>
                <a:avLst/>
                <a:gdLst>
                  <a:gd name="T0" fmla="*/ 0 w 26"/>
                  <a:gd name="T1" fmla="*/ 16 h 17"/>
                  <a:gd name="T2" fmla="*/ 9 w 26"/>
                  <a:gd name="T3" fmla="*/ 16 h 17"/>
                  <a:gd name="T4" fmla="*/ 25 w 26"/>
                  <a:gd name="T5" fmla="*/ 0 h 17"/>
                  <a:gd name="T6" fmla="*/ 16 w 26"/>
                  <a:gd name="T7" fmla="*/ 0 h 17"/>
                  <a:gd name="T8" fmla="*/ 0 w 26"/>
                  <a:gd name="T9" fmla="*/ 16 h 17"/>
                </a:gdLst>
                <a:ahLst/>
                <a:cxnLst>
                  <a:cxn ang="0">
                    <a:pos x="T0" y="T1"/>
                  </a:cxn>
                  <a:cxn ang="0">
                    <a:pos x="T2" y="T3"/>
                  </a:cxn>
                  <a:cxn ang="0">
                    <a:pos x="T4" y="T5"/>
                  </a:cxn>
                  <a:cxn ang="0">
                    <a:pos x="T6" y="T7"/>
                  </a:cxn>
                  <a:cxn ang="0">
                    <a:pos x="T8" y="T9"/>
                  </a:cxn>
                </a:cxnLst>
                <a:rect l="0" t="0" r="r" b="b"/>
                <a:pathLst>
                  <a:path w="26" h="17">
                    <a:moveTo>
                      <a:pt x="0" y="16"/>
                    </a:moveTo>
                    <a:lnTo>
                      <a:pt x="9" y="16"/>
                    </a:lnTo>
                    <a:lnTo>
                      <a:pt x="25" y="0"/>
                    </a:lnTo>
                    <a:lnTo>
                      <a:pt x="16" y="0"/>
                    </a:lnTo>
                    <a:lnTo>
                      <a:pt x="0"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28" name="Freeform 67">
                <a:extLst>
                  <a:ext uri="{FF2B5EF4-FFF2-40B4-BE49-F238E27FC236}">
                    <a16:creationId xmlns:a16="http://schemas.microsoft.com/office/drawing/2014/main" id="{410D43FE-3211-1CD4-3400-C7186EB7CAE4}"/>
                  </a:ext>
                </a:extLst>
              </p:cNvPr>
              <p:cNvSpPr>
                <a:spLocks/>
              </p:cNvSpPr>
              <p:nvPr/>
            </p:nvSpPr>
            <p:spPr bwMode="gray">
              <a:xfrm>
                <a:off x="4829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29" name="Freeform 68">
                <a:extLst>
                  <a:ext uri="{FF2B5EF4-FFF2-40B4-BE49-F238E27FC236}">
                    <a16:creationId xmlns:a16="http://schemas.microsoft.com/office/drawing/2014/main" id="{1FF07460-5944-CCE2-3956-734AAFE55EF6}"/>
                  </a:ext>
                </a:extLst>
              </p:cNvPr>
              <p:cNvSpPr>
                <a:spLocks/>
              </p:cNvSpPr>
              <p:nvPr/>
            </p:nvSpPr>
            <p:spPr bwMode="gray">
              <a:xfrm>
                <a:off x="4829829" y="3538711"/>
                <a:ext cx="45930" cy="26964"/>
              </a:xfrm>
              <a:custGeom>
                <a:avLst/>
                <a:gdLst>
                  <a:gd name="T0" fmla="*/ 0 w 33"/>
                  <a:gd name="T1" fmla="*/ 0 h 18"/>
                  <a:gd name="T2" fmla="*/ 16 w 33"/>
                  <a:gd name="T3" fmla="*/ 17 h 18"/>
                  <a:gd name="T4" fmla="*/ 32 w 33"/>
                  <a:gd name="T5" fmla="*/ 17 h 18"/>
                  <a:gd name="T6" fmla="*/ 16 w 33"/>
                  <a:gd name="T7" fmla="*/ 9 h 18"/>
                  <a:gd name="T8" fmla="*/ 0 w 33"/>
                  <a:gd name="T9" fmla="*/ 0 h 18"/>
                </a:gdLst>
                <a:ahLst/>
                <a:cxnLst>
                  <a:cxn ang="0">
                    <a:pos x="T0" y="T1"/>
                  </a:cxn>
                  <a:cxn ang="0">
                    <a:pos x="T2" y="T3"/>
                  </a:cxn>
                  <a:cxn ang="0">
                    <a:pos x="T4" y="T5"/>
                  </a:cxn>
                  <a:cxn ang="0">
                    <a:pos x="T6" y="T7"/>
                  </a:cxn>
                  <a:cxn ang="0">
                    <a:pos x="T8" y="T9"/>
                  </a:cxn>
                </a:cxnLst>
                <a:rect l="0" t="0" r="r" b="b"/>
                <a:pathLst>
                  <a:path w="33" h="18">
                    <a:moveTo>
                      <a:pt x="0" y="0"/>
                    </a:moveTo>
                    <a:lnTo>
                      <a:pt x="16" y="17"/>
                    </a:lnTo>
                    <a:lnTo>
                      <a:pt x="32" y="17"/>
                    </a:lnTo>
                    <a:lnTo>
                      <a:pt x="16" y="9"/>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30" name="Freeform 69">
                <a:extLst>
                  <a:ext uri="{FF2B5EF4-FFF2-40B4-BE49-F238E27FC236}">
                    <a16:creationId xmlns:a16="http://schemas.microsoft.com/office/drawing/2014/main" id="{7519D931-B167-EB48-9CB8-68C674CD1E35}"/>
                  </a:ext>
                </a:extLst>
              </p:cNvPr>
              <p:cNvSpPr>
                <a:spLocks/>
              </p:cNvSpPr>
              <p:nvPr/>
            </p:nvSpPr>
            <p:spPr bwMode="gray">
              <a:xfrm>
                <a:off x="4829829" y="3622056"/>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1" name="Freeform 70">
                <a:extLst>
                  <a:ext uri="{FF2B5EF4-FFF2-40B4-BE49-F238E27FC236}">
                    <a16:creationId xmlns:a16="http://schemas.microsoft.com/office/drawing/2014/main" id="{908702EB-E6A9-EEBA-29A2-4A7F2C1B6943}"/>
                  </a:ext>
                </a:extLst>
              </p:cNvPr>
              <p:cNvSpPr>
                <a:spLocks/>
              </p:cNvSpPr>
              <p:nvPr/>
            </p:nvSpPr>
            <p:spPr bwMode="gray">
              <a:xfrm>
                <a:off x="4829829" y="3622056"/>
                <a:ext cx="45930" cy="36769"/>
              </a:xfrm>
              <a:custGeom>
                <a:avLst/>
                <a:gdLst>
                  <a:gd name="T0" fmla="*/ 0 w 33"/>
                  <a:gd name="T1" fmla="*/ 8 h 25"/>
                  <a:gd name="T2" fmla="*/ 24 w 33"/>
                  <a:gd name="T3" fmla="*/ 24 h 25"/>
                  <a:gd name="T4" fmla="*/ 24 w 33"/>
                  <a:gd name="T5" fmla="*/ 15 h 25"/>
                  <a:gd name="T6" fmla="*/ 32 w 33"/>
                  <a:gd name="T7" fmla="*/ 8 h 25"/>
                  <a:gd name="T8" fmla="*/ 16 w 33"/>
                  <a:gd name="T9" fmla="*/ 8 h 25"/>
                  <a:gd name="T10" fmla="*/ 7 w 33"/>
                  <a:gd name="T11" fmla="*/ 0 h 25"/>
                  <a:gd name="T12" fmla="*/ 0 w 33"/>
                  <a:gd name="T13" fmla="*/ 8 h 25"/>
                </a:gdLst>
                <a:ahLst/>
                <a:cxnLst>
                  <a:cxn ang="0">
                    <a:pos x="T0" y="T1"/>
                  </a:cxn>
                  <a:cxn ang="0">
                    <a:pos x="T2" y="T3"/>
                  </a:cxn>
                  <a:cxn ang="0">
                    <a:pos x="T4" y="T5"/>
                  </a:cxn>
                  <a:cxn ang="0">
                    <a:pos x="T6" y="T7"/>
                  </a:cxn>
                  <a:cxn ang="0">
                    <a:pos x="T8" y="T9"/>
                  </a:cxn>
                  <a:cxn ang="0">
                    <a:pos x="T10" y="T11"/>
                  </a:cxn>
                  <a:cxn ang="0">
                    <a:pos x="T12" y="T13"/>
                  </a:cxn>
                </a:cxnLst>
                <a:rect l="0" t="0" r="r" b="b"/>
                <a:pathLst>
                  <a:path w="33" h="25">
                    <a:moveTo>
                      <a:pt x="0" y="8"/>
                    </a:moveTo>
                    <a:lnTo>
                      <a:pt x="24" y="24"/>
                    </a:lnTo>
                    <a:lnTo>
                      <a:pt x="24" y="15"/>
                    </a:lnTo>
                    <a:lnTo>
                      <a:pt x="32" y="8"/>
                    </a:lnTo>
                    <a:lnTo>
                      <a:pt x="16" y="8"/>
                    </a:lnTo>
                    <a:lnTo>
                      <a:pt x="7" y="0"/>
                    </a:lnTo>
                    <a:lnTo>
                      <a:pt x="0"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32" name="Freeform 71">
                <a:extLst>
                  <a:ext uri="{FF2B5EF4-FFF2-40B4-BE49-F238E27FC236}">
                    <a16:creationId xmlns:a16="http://schemas.microsoft.com/office/drawing/2014/main" id="{DF5A0DAD-429B-5D69-A0CF-A7DA08B0876F}"/>
                  </a:ext>
                </a:extLst>
              </p:cNvPr>
              <p:cNvSpPr>
                <a:spLocks/>
              </p:cNvSpPr>
              <p:nvPr/>
            </p:nvSpPr>
            <p:spPr bwMode="gray">
              <a:xfrm>
                <a:off x="4919333" y="3493362"/>
                <a:ext cx="116590" cy="142177"/>
              </a:xfrm>
              <a:custGeom>
                <a:avLst/>
                <a:gdLst>
                  <a:gd name="T0" fmla="*/ 0 w 83"/>
                  <a:gd name="T1" fmla="*/ 72 h 97"/>
                  <a:gd name="T2" fmla="*/ 0 w 83"/>
                  <a:gd name="T3" fmla="*/ 80 h 97"/>
                  <a:gd name="T4" fmla="*/ 48 w 83"/>
                  <a:gd name="T5" fmla="*/ 80 h 97"/>
                  <a:gd name="T6" fmla="*/ 48 w 83"/>
                  <a:gd name="T7" fmla="*/ 88 h 97"/>
                  <a:gd name="T8" fmla="*/ 57 w 83"/>
                  <a:gd name="T9" fmla="*/ 80 h 97"/>
                  <a:gd name="T10" fmla="*/ 73 w 83"/>
                  <a:gd name="T11" fmla="*/ 88 h 97"/>
                  <a:gd name="T12" fmla="*/ 73 w 83"/>
                  <a:gd name="T13" fmla="*/ 96 h 97"/>
                  <a:gd name="T14" fmla="*/ 82 w 83"/>
                  <a:gd name="T15" fmla="*/ 96 h 97"/>
                  <a:gd name="T16" fmla="*/ 82 w 83"/>
                  <a:gd name="T17" fmla="*/ 80 h 97"/>
                  <a:gd name="T18" fmla="*/ 65 w 83"/>
                  <a:gd name="T19" fmla="*/ 72 h 97"/>
                  <a:gd name="T20" fmla="*/ 73 w 83"/>
                  <a:gd name="T21" fmla="*/ 63 h 97"/>
                  <a:gd name="T22" fmla="*/ 65 w 83"/>
                  <a:gd name="T23" fmla="*/ 56 h 97"/>
                  <a:gd name="T24" fmla="*/ 73 w 83"/>
                  <a:gd name="T25" fmla="*/ 48 h 97"/>
                  <a:gd name="T26" fmla="*/ 48 w 83"/>
                  <a:gd name="T27" fmla="*/ 48 h 97"/>
                  <a:gd name="T28" fmla="*/ 42 w 83"/>
                  <a:gd name="T29" fmla="*/ 40 h 97"/>
                  <a:gd name="T30" fmla="*/ 48 w 83"/>
                  <a:gd name="T31" fmla="*/ 31 h 97"/>
                  <a:gd name="T32" fmla="*/ 42 w 83"/>
                  <a:gd name="T33" fmla="*/ 31 h 97"/>
                  <a:gd name="T34" fmla="*/ 48 w 83"/>
                  <a:gd name="T35" fmla="*/ 0 h 97"/>
                  <a:gd name="T36" fmla="*/ 32 w 83"/>
                  <a:gd name="T37" fmla="*/ 6 h 97"/>
                  <a:gd name="T38" fmla="*/ 8 w 83"/>
                  <a:gd name="T39" fmla="*/ 56 h 97"/>
                  <a:gd name="T40" fmla="*/ 8 w 83"/>
                  <a:gd name="T41" fmla="*/ 63 h 97"/>
                  <a:gd name="T42" fmla="*/ 0 w 83"/>
                  <a:gd name="T43" fmla="*/ 7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3" name="Freeform 77">
                <a:extLst>
                  <a:ext uri="{FF2B5EF4-FFF2-40B4-BE49-F238E27FC236}">
                    <a16:creationId xmlns:a16="http://schemas.microsoft.com/office/drawing/2014/main" id="{17542C81-21BE-6155-EC81-3354E058DF49}"/>
                  </a:ext>
                </a:extLst>
              </p:cNvPr>
              <p:cNvSpPr>
                <a:spLocks/>
              </p:cNvSpPr>
              <p:nvPr/>
            </p:nvSpPr>
            <p:spPr bwMode="gray">
              <a:xfrm>
                <a:off x="3880624" y="3977498"/>
                <a:ext cx="539375" cy="368925"/>
              </a:xfrm>
              <a:custGeom>
                <a:avLst/>
                <a:gdLst>
                  <a:gd name="T0" fmla="*/ 243 w 383"/>
                  <a:gd name="T1" fmla="*/ 114 h 252"/>
                  <a:gd name="T2" fmla="*/ 251 w 383"/>
                  <a:gd name="T3" fmla="*/ 155 h 252"/>
                  <a:gd name="T4" fmla="*/ 268 w 383"/>
                  <a:gd name="T5" fmla="*/ 196 h 252"/>
                  <a:gd name="T6" fmla="*/ 317 w 383"/>
                  <a:gd name="T7" fmla="*/ 196 h 252"/>
                  <a:gd name="T8" fmla="*/ 323 w 383"/>
                  <a:gd name="T9" fmla="*/ 196 h 252"/>
                  <a:gd name="T10" fmla="*/ 341 w 383"/>
                  <a:gd name="T11" fmla="*/ 162 h 252"/>
                  <a:gd name="T12" fmla="*/ 373 w 383"/>
                  <a:gd name="T13" fmla="*/ 155 h 252"/>
                  <a:gd name="T14" fmla="*/ 373 w 383"/>
                  <a:gd name="T15" fmla="*/ 196 h 252"/>
                  <a:gd name="T16" fmla="*/ 364 w 383"/>
                  <a:gd name="T17" fmla="*/ 196 h 252"/>
                  <a:gd name="T18" fmla="*/ 332 w 383"/>
                  <a:gd name="T19" fmla="*/ 203 h 252"/>
                  <a:gd name="T20" fmla="*/ 341 w 383"/>
                  <a:gd name="T21" fmla="*/ 227 h 252"/>
                  <a:gd name="T22" fmla="*/ 317 w 383"/>
                  <a:gd name="T23" fmla="*/ 251 h 252"/>
                  <a:gd name="T24" fmla="*/ 276 w 383"/>
                  <a:gd name="T25" fmla="*/ 227 h 252"/>
                  <a:gd name="T26" fmla="*/ 243 w 383"/>
                  <a:gd name="T27" fmla="*/ 227 h 252"/>
                  <a:gd name="T28" fmla="*/ 195 w 383"/>
                  <a:gd name="T29" fmla="*/ 203 h 252"/>
                  <a:gd name="T30" fmla="*/ 155 w 383"/>
                  <a:gd name="T31" fmla="*/ 186 h 252"/>
                  <a:gd name="T32" fmla="*/ 155 w 383"/>
                  <a:gd name="T33" fmla="*/ 162 h 252"/>
                  <a:gd name="T34" fmla="*/ 114 w 383"/>
                  <a:gd name="T35" fmla="*/ 106 h 252"/>
                  <a:gd name="T36" fmla="*/ 96 w 383"/>
                  <a:gd name="T37" fmla="*/ 90 h 252"/>
                  <a:gd name="T38" fmla="*/ 81 w 383"/>
                  <a:gd name="T39" fmla="*/ 65 h 252"/>
                  <a:gd name="T40" fmla="*/ 64 w 383"/>
                  <a:gd name="T41" fmla="*/ 49 h 252"/>
                  <a:gd name="T42" fmla="*/ 40 w 383"/>
                  <a:gd name="T43" fmla="*/ 18 h 252"/>
                  <a:gd name="T44" fmla="*/ 32 w 383"/>
                  <a:gd name="T45" fmla="*/ 34 h 252"/>
                  <a:gd name="T46" fmla="*/ 81 w 383"/>
                  <a:gd name="T47" fmla="*/ 122 h 252"/>
                  <a:gd name="T48" fmla="*/ 96 w 383"/>
                  <a:gd name="T49" fmla="*/ 131 h 252"/>
                  <a:gd name="T50" fmla="*/ 81 w 383"/>
                  <a:gd name="T51" fmla="*/ 131 h 252"/>
                  <a:gd name="T52" fmla="*/ 64 w 383"/>
                  <a:gd name="T53" fmla="*/ 106 h 252"/>
                  <a:gd name="T54" fmla="*/ 32 w 383"/>
                  <a:gd name="T55" fmla="*/ 81 h 252"/>
                  <a:gd name="T56" fmla="*/ 32 w 383"/>
                  <a:gd name="T57" fmla="*/ 74 h 252"/>
                  <a:gd name="T58" fmla="*/ 16 w 383"/>
                  <a:gd name="T59" fmla="*/ 41 h 252"/>
                  <a:gd name="T60" fmla="*/ 24 w 383"/>
                  <a:gd name="T61" fmla="*/ 0 h 252"/>
                  <a:gd name="T62" fmla="*/ 137 w 383"/>
                  <a:gd name="T63" fmla="*/ 9 h 252"/>
                  <a:gd name="T64" fmla="*/ 155 w 383"/>
                  <a:gd name="T65" fmla="*/ 41 h 252"/>
                  <a:gd name="T66" fmla="*/ 179 w 383"/>
                  <a:gd name="T67" fmla="*/ 49 h 252"/>
                  <a:gd name="T68" fmla="*/ 195 w 383"/>
                  <a:gd name="T69" fmla="*/ 41 h 252"/>
                  <a:gd name="T70" fmla="*/ 251 w 383"/>
                  <a:gd name="T71" fmla="*/ 97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34" name="Freeform 78">
                <a:extLst>
                  <a:ext uri="{FF2B5EF4-FFF2-40B4-BE49-F238E27FC236}">
                    <a16:creationId xmlns:a16="http://schemas.microsoft.com/office/drawing/2014/main" id="{67FB8F28-7585-C65C-9190-27B1DFB61B4B}"/>
                  </a:ext>
                </a:extLst>
              </p:cNvPr>
              <p:cNvSpPr>
                <a:spLocks/>
              </p:cNvSpPr>
              <p:nvPr/>
            </p:nvSpPr>
            <p:spPr bwMode="gray">
              <a:xfrm>
                <a:off x="4383492" y="4264302"/>
                <a:ext cx="23553" cy="46574"/>
              </a:xfrm>
              <a:custGeom>
                <a:avLst/>
                <a:gdLst>
                  <a:gd name="T0" fmla="*/ 0 w 17"/>
                  <a:gd name="T1" fmla="*/ 31 h 32"/>
                  <a:gd name="T2" fmla="*/ 16 w 17"/>
                  <a:gd name="T3" fmla="*/ 31 h 32"/>
                  <a:gd name="T4" fmla="*/ 16 w 17"/>
                  <a:gd name="T5" fmla="*/ 0 h 32"/>
                  <a:gd name="T6" fmla="*/ 0 w 17"/>
                  <a:gd name="T7" fmla="*/ 7 h 32"/>
                  <a:gd name="T8" fmla="*/ 0 w 17"/>
                  <a:gd name="T9" fmla="*/ 31 h 32"/>
                </a:gdLst>
                <a:ahLst/>
                <a:cxnLst>
                  <a:cxn ang="0">
                    <a:pos x="T0" y="T1"/>
                  </a:cxn>
                  <a:cxn ang="0">
                    <a:pos x="T2" y="T3"/>
                  </a:cxn>
                  <a:cxn ang="0">
                    <a:pos x="T4" y="T5"/>
                  </a:cxn>
                  <a:cxn ang="0">
                    <a:pos x="T6" y="T7"/>
                  </a:cxn>
                  <a:cxn ang="0">
                    <a:pos x="T8" y="T9"/>
                  </a:cxn>
                </a:cxnLst>
                <a:rect l="0" t="0" r="r" b="b"/>
                <a:pathLst>
                  <a:path w="17" h="32">
                    <a:moveTo>
                      <a:pt x="0" y="31"/>
                    </a:moveTo>
                    <a:lnTo>
                      <a:pt x="16" y="31"/>
                    </a:lnTo>
                    <a:lnTo>
                      <a:pt x="16" y="0"/>
                    </a:lnTo>
                    <a:lnTo>
                      <a:pt x="0" y="7"/>
                    </a:lnTo>
                    <a:lnTo>
                      <a:pt x="0" y="31"/>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5" name="Freeform 79">
                <a:extLst>
                  <a:ext uri="{FF2B5EF4-FFF2-40B4-BE49-F238E27FC236}">
                    <a16:creationId xmlns:a16="http://schemas.microsoft.com/office/drawing/2014/main" id="{C42659FC-0128-1F94-9A31-5110EC61338B}"/>
                  </a:ext>
                </a:extLst>
              </p:cNvPr>
              <p:cNvSpPr>
                <a:spLocks/>
              </p:cNvSpPr>
              <p:nvPr/>
            </p:nvSpPr>
            <p:spPr bwMode="gray">
              <a:xfrm>
                <a:off x="4326961" y="4274107"/>
                <a:ext cx="67128" cy="87022"/>
              </a:xfrm>
              <a:custGeom>
                <a:avLst/>
                <a:gdLst>
                  <a:gd name="T0" fmla="*/ 40 w 48"/>
                  <a:gd name="T1" fmla="*/ 24 h 59"/>
                  <a:gd name="T2" fmla="*/ 47 w 48"/>
                  <a:gd name="T3" fmla="*/ 33 h 59"/>
                  <a:gd name="T4" fmla="*/ 31 w 48"/>
                  <a:gd name="T5" fmla="*/ 48 h 59"/>
                  <a:gd name="T6" fmla="*/ 24 w 48"/>
                  <a:gd name="T7" fmla="*/ 58 h 59"/>
                  <a:gd name="T8" fmla="*/ 0 w 48"/>
                  <a:gd name="T9" fmla="*/ 48 h 59"/>
                  <a:gd name="T10" fmla="*/ 6 w 48"/>
                  <a:gd name="T11" fmla="*/ 24 h 59"/>
                  <a:gd name="T12" fmla="*/ 24 w 48"/>
                  <a:gd name="T13" fmla="*/ 24 h 59"/>
                  <a:gd name="T14" fmla="*/ 6 w 48"/>
                  <a:gd name="T15" fmla="*/ 8 h 59"/>
                  <a:gd name="T16" fmla="*/ 15 w 48"/>
                  <a:gd name="T17" fmla="*/ 0 h 59"/>
                  <a:gd name="T18" fmla="*/ 40 w 48"/>
                  <a:gd name="T19" fmla="*/ 0 h 59"/>
                  <a:gd name="T20" fmla="*/ 40 w 48"/>
                  <a:gd name="T21" fmla="*/ 2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6" name="Freeform 80">
                <a:extLst>
                  <a:ext uri="{FF2B5EF4-FFF2-40B4-BE49-F238E27FC236}">
                    <a16:creationId xmlns:a16="http://schemas.microsoft.com/office/drawing/2014/main" id="{10E5D75B-A601-86F0-E16F-9B8972B93735}"/>
                  </a:ext>
                </a:extLst>
              </p:cNvPr>
              <p:cNvSpPr>
                <a:spLocks/>
              </p:cNvSpPr>
              <p:nvPr/>
            </p:nvSpPr>
            <p:spPr bwMode="gray">
              <a:xfrm>
                <a:off x="4370536" y="4323134"/>
                <a:ext cx="115412" cy="47801"/>
              </a:xfrm>
              <a:custGeom>
                <a:avLst/>
                <a:gdLst>
                  <a:gd name="T0" fmla="*/ 16 w 82"/>
                  <a:gd name="T1" fmla="*/ 0 h 33"/>
                  <a:gd name="T2" fmla="*/ 59 w 82"/>
                  <a:gd name="T3" fmla="*/ 0 h 33"/>
                  <a:gd name="T4" fmla="*/ 81 w 82"/>
                  <a:gd name="T5" fmla="*/ 7 h 33"/>
                  <a:gd name="T6" fmla="*/ 65 w 82"/>
                  <a:gd name="T7" fmla="*/ 15 h 33"/>
                  <a:gd name="T8" fmla="*/ 34 w 82"/>
                  <a:gd name="T9" fmla="*/ 32 h 33"/>
                  <a:gd name="T10" fmla="*/ 25 w 82"/>
                  <a:gd name="T11" fmla="*/ 32 h 33"/>
                  <a:gd name="T12" fmla="*/ 25 w 82"/>
                  <a:gd name="T13" fmla="*/ 25 h 33"/>
                  <a:gd name="T14" fmla="*/ 0 w 82"/>
                  <a:gd name="T15" fmla="*/ 15 h 33"/>
                  <a:gd name="T16" fmla="*/ 16 w 82"/>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2" h="33">
                    <a:moveTo>
                      <a:pt x="16" y="0"/>
                    </a:moveTo>
                    <a:lnTo>
                      <a:pt x="59" y="0"/>
                    </a:lnTo>
                    <a:lnTo>
                      <a:pt x="81" y="7"/>
                    </a:lnTo>
                    <a:lnTo>
                      <a:pt x="65" y="15"/>
                    </a:lnTo>
                    <a:lnTo>
                      <a:pt x="34" y="32"/>
                    </a:lnTo>
                    <a:lnTo>
                      <a:pt x="25" y="32"/>
                    </a:lnTo>
                    <a:lnTo>
                      <a:pt x="25" y="25"/>
                    </a:lnTo>
                    <a:lnTo>
                      <a:pt x="0" y="15"/>
                    </a:lnTo>
                    <a:lnTo>
                      <a:pt x="16"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7" name="Freeform 81">
                <a:extLst>
                  <a:ext uri="{FF2B5EF4-FFF2-40B4-BE49-F238E27FC236}">
                    <a16:creationId xmlns:a16="http://schemas.microsoft.com/office/drawing/2014/main" id="{DBCA7687-ED44-D854-31F8-6C530FD7E3CB}"/>
                  </a:ext>
                </a:extLst>
              </p:cNvPr>
              <p:cNvSpPr>
                <a:spLocks/>
              </p:cNvSpPr>
              <p:nvPr/>
            </p:nvSpPr>
            <p:spPr bwMode="gray">
              <a:xfrm>
                <a:off x="4361114" y="4345196"/>
                <a:ext cx="45930" cy="25739"/>
              </a:xfrm>
              <a:custGeom>
                <a:avLst/>
                <a:gdLst>
                  <a:gd name="T0" fmla="*/ 7 w 33"/>
                  <a:gd name="T1" fmla="*/ 0 h 18"/>
                  <a:gd name="T2" fmla="*/ 0 w 33"/>
                  <a:gd name="T3" fmla="*/ 10 h 18"/>
                  <a:gd name="T4" fmla="*/ 7 w 33"/>
                  <a:gd name="T5" fmla="*/ 17 h 18"/>
                  <a:gd name="T6" fmla="*/ 32 w 33"/>
                  <a:gd name="T7" fmla="*/ 17 h 18"/>
                  <a:gd name="T8" fmla="*/ 32 w 33"/>
                  <a:gd name="T9" fmla="*/ 10 h 18"/>
                  <a:gd name="T10" fmla="*/ 7 w 33"/>
                  <a:gd name="T11" fmla="*/ 0 h 18"/>
                </a:gdLst>
                <a:ahLst/>
                <a:cxnLst>
                  <a:cxn ang="0">
                    <a:pos x="T0" y="T1"/>
                  </a:cxn>
                  <a:cxn ang="0">
                    <a:pos x="T2" y="T3"/>
                  </a:cxn>
                  <a:cxn ang="0">
                    <a:pos x="T4" y="T5"/>
                  </a:cxn>
                  <a:cxn ang="0">
                    <a:pos x="T6" y="T7"/>
                  </a:cxn>
                  <a:cxn ang="0">
                    <a:pos x="T8" y="T9"/>
                  </a:cxn>
                  <a:cxn ang="0">
                    <a:pos x="T10" y="T11"/>
                  </a:cxn>
                </a:cxnLst>
                <a:rect l="0" t="0" r="r" b="b"/>
                <a:pathLst>
                  <a:path w="33" h="18">
                    <a:moveTo>
                      <a:pt x="7" y="0"/>
                    </a:moveTo>
                    <a:lnTo>
                      <a:pt x="0" y="10"/>
                    </a:lnTo>
                    <a:lnTo>
                      <a:pt x="7" y="17"/>
                    </a:lnTo>
                    <a:lnTo>
                      <a:pt x="32" y="17"/>
                    </a:lnTo>
                    <a:lnTo>
                      <a:pt x="32" y="10"/>
                    </a:lnTo>
                    <a:lnTo>
                      <a:pt x="7"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8" name="Freeform 82">
                <a:extLst>
                  <a:ext uri="{FF2B5EF4-FFF2-40B4-BE49-F238E27FC236}">
                    <a16:creationId xmlns:a16="http://schemas.microsoft.com/office/drawing/2014/main" id="{8AD3FA80-C5A5-4429-E699-C20A4A166797}"/>
                  </a:ext>
                </a:extLst>
              </p:cNvPr>
              <p:cNvSpPr>
                <a:spLocks/>
              </p:cNvSpPr>
              <p:nvPr/>
            </p:nvSpPr>
            <p:spPr bwMode="gray">
              <a:xfrm>
                <a:off x="4418821" y="4332939"/>
                <a:ext cx="67128" cy="87022"/>
              </a:xfrm>
              <a:custGeom>
                <a:avLst/>
                <a:gdLst>
                  <a:gd name="T0" fmla="*/ 47 w 48"/>
                  <a:gd name="T1" fmla="*/ 0 h 59"/>
                  <a:gd name="T2" fmla="*/ 47 w 48"/>
                  <a:gd name="T3" fmla="*/ 8 h 59"/>
                  <a:gd name="T4" fmla="*/ 40 w 48"/>
                  <a:gd name="T5" fmla="*/ 50 h 59"/>
                  <a:gd name="T6" fmla="*/ 47 w 48"/>
                  <a:gd name="T7" fmla="*/ 58 h 59"/>
                  <a:gd name="T8" fmla="*/ 40 w 48"/>
                  <a:gd name="T9" fmla="*/ 58 h 59"/>
                  <a:gd name="T10" fmla="*/ 15 w 48"/>
                  <a:gd name="T11" fmla="*/ 50 h 59"/>
                  <a:gd name="T12" fmla="*/ 0 w 48"/>
                  <a:gd name="T13" fmla="*/ 33 h 59"/>
                  <a:gd name="T14" fmla="*/ 0 w 48"/>
                  <a:gd name="T15" fmla="*/ 25 h 59"/>
                  <a:gd name="T16" fmla="*/ 31 w 48"/>
                  <a:gd name="T17" fmla="*/ 8 h 59"/>
                  <a:gd name="T18" fmla="*/ 47 w 48"/>
                  <a:gd name="T19"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39" name="Freeform 83">
                <a:extLst>
                  <a:ext uri="{FF2B5EF4-FFF2-40B4-BE49-F238E27FC236}">
                    <a16:creationId xmlns:a16="http://schemas.microsoft.com/office/drawing/2014/main" id="{31F978AB-D2D3-BF17-51C9-3D95225862C7}"/>
                  </a:ext>
                </a:extLst>
              </p:cNvPr>
              <p:cNvSpPr>
                <a:spLocks/>
              </p:cNvSpPr>
              <p:nvPr/>
            </p:nvSpPr>
            <p:spPr bwMode="gray">
              <a:xfrm>
                <a:off x="4440019" y="4406480"/>
                <a:ext cx="58884" cy="60057"/>
              </a:xfrm>
              <a:custGeom>
                <a:avLst/>
                <a:gdLst>
                  <a:gd name="T0" fmla="*/ 41 w 42"/>
                  <a:gd name="T1" fmla="*/ 40 h 41"/>
                  <a:gd name="T2" fmla="*/ 41 w 42"/>
                  <a:gd name="T3" fmla="*/ 24 h 41"/>
                  <a:gd name="T4" fmla="*/ 32 w 42"/>
                  <a:gd name="T5" fmla="*/ 15 h 41"/>
                  <a:gd name="T6" fmla="*/ 32 w 42"/>
                  <a:gd name="T7" fmla="*/ 8 h 41"/>
                  <a:gd name="T8" fmla="*/ 25 w 42"/>
                  <a:gd name="T9" fmla="*/ 8 h 41"/>
                  <a:gd name="T10" fmla="*/ 0 w 42"/>
                  <a:gd name="T11" fmla="*/ 0 h 41"/>
                  <a:gd name="T12" fmla="*/ 0 w 42"/>
                  <a:gd name="T13" fmla="*/ 15 h 41"/>
                  <a:gd name="T14" fmla="*/ 10 w 42"/>
                  <a:gd name="T15" fmla="*/ 24 h 41"/>
                  <a:gd name="T16" fmla="*/ 16 w 42"/>
                  <a:gd name="T17" fmla="*/ 15 h 41"/>
                  <a:gd name="T18" fmla="*/ 25 w 42"/>
                  <a:gd name="T19" fmla="*/ 31 h 41"/>
                  <a:gd name="T20" fmla="*/ 41 w 42"/>
                  <a:gd name="T21" fmla="*/ 4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0" name="Freeform 84">
                <a:extLst>
                  <a:ext uri="{FF2B5EF4-FFF2-40B4-BE49-F238E27FC236}">
                    <a16:creationId xmlns:a16="http://schemas.microsoft.com/office/drawing/2014/main" id="{AADBAA29-CCC2-A586-20F2-7254D5B39D73}"/>
                  </a:ext>
                </a:extLst>
              </p:cNvPr>
              <p:cNvSpPr>
                <a:spLocks/>
              </p:cNvSpPr>
              <p:nvPr/>
            </p:nvSpPr>
            <p:spPr bwMode="gray">
              <a:xfrm>
                <a:off x="4497725" y="4440798"/>
                <a:ext cx="58884" cy="47801"/>
              </a:xfrm>
              <a:custGeom>
                <a:avLst/>
                <a:gdLst>
                  <a:gd name="T0" fmla="*/ 0 w 42"/>
                  <a:gd name="T1" fmla="*/ 16 h 32"/>
                  <a:gd name="T2" fmla="*/ 24 w 42"/>
                  <a:gd name="T3" fmla="*/ 25 h 32"/>
                  <a:gd name="T4" fmla="*/ 24 w 42"/>
                  <a:gd name="T5" fmla="*/ 31 h 32"/>
                  <a:gd name="T6" fmla="*/ 32 w 42"/>
                  <a:gd name="T7" fmla="*/ 25 h 32"/>
                  <a:gd name="T8" fmla="*/ 24 w 42"/>
                  <a:gd name="T9" fmla="*/ 16 h 32"/>
                  <a:gd name="T10" fmla="*/ 41 w 42"/>
                  <a:gd name="T11" fmla="*/ 7 h 32"/>
                  <a:gd name="T12" fmla="*/ 32 w 42"/>
                  <a:gd name="T13" fmla="*/ 0 h 32"/>
                  <a:gd name="T14" fmla="*/ 16 w 42"/>
                  <a:gd name="T15" fmla="*/ 7 h 32"/>
                  <a:gd name="T16" fmla="*/ 9 w 42"/>
                  <a:gd name="T17" fmla="*/ 7 h 32"/>
                  <a:gd name="T18" fmla="*/ 0 w 42"/>
                  <a:gd name="T19" fmla="*/ 0 h 32"/>
                  <a:gd name="T20" fmla="*/ 0 w 42"/>
                  <a:gd name="T21"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1" name="Freeform 85">
                <a:extLst>
                  <a:ext uri="{FF2B5EF4-FFF2-40B4-BE49-F238E27FC236}">
                    <a16:creationId xmlns:a16="http://schemas.microsoft.com/office/drawing/2014/main" id="{648A31D3-FF70-E6AE-D161-B6E60812FA48}"/>
                  </a:ext>
                </a:extLst>
              </p:cNvPr>
              <p:cNvSpPr>
                <a:spLocks/>
              </p:cNvSpPr>
              <p:nvPr/>
            </p:nvSpPr>
            <p:spPr bwMode="gray">
              <a:xfrm>
                <a:off x="4555431" y="4440798"/>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2" name="Freeform 86">
                <a:extLst>
                  <a:ext uri="{FF2B5EF4-FFF2-40B4-BE49-F238E27FC236}">
                    <a16:creationId xmlns:a16="http://schemas.microsoft.com/office/drawing/2014/main" id="{229E1F9A-DFC5-13DD-E1BC-B2B293D1E65C}"/>
                  </a:ext>
                </a:extLst>
              </p:cNvPr>
              <p:cNvSpPr>
                <a:spLocks/>
              </p:cNvSpPr>
              <p:nvPr/>
            </p:nvSpPr>
            <p:spPr bwMode="gray">
              <a:xfrm>
                <a:off x="4555431" y="4440798"/>
                <a:ext cx="44752" cy="47801"/>
              </a:xfrm>
              <a:custGeom>
                <a:avLst/>
                <a:gdLst>
                  <a:gd name="T0" fmla="*/ 24 w 32"/>
                  <a:gd name="T1" fmla="*/ 7 h 32"/>
                  <a:gd name="T2" fmla="*/ 31 w 32"/>
                  <a:gd name="T3" fmla="*/ 16 h 32"/>
                  <a:gd name="T4" fmla="*/ 24 w 32"/>
                  <a:gd name="T5" fmla="*/ 25 h 32"/>
                  <a:gd name="T6" fmla="*/ 24 w 32"/>
                  <a:gd name="T7" fmla="*/ 31 h 32"/>
                  <a:gd name="T8" fmla="*/ 15 w 32"/>
                  <a:gd name="T9" fmla="*/ 16 h 32"/>
                  <a:gd name="T10" fmla="*/ 0 w 32"/>
                  <a:gd name="T11" fmla="*/ 7 h 32"/>
                  <a:gd name="T12" fmla="*/ 0 w 32"/>
                  <a:gd name="T13" fmla="*/ 0 h 32"/>
                  <a:gd name="T14" fmla="*/ 8 w 32"/>
                  <a:gd name="T15" fmla="*/ 0 h 32"/>
                  <a:gd name="T16" fmla="*/ 15 w 32"/>
                  <a:gd name="T17" fmla="*/ 0 h 32"/>
                  <a:gd name="T18" fmla="*/ 24 w 32"/>
                  <a:gd name="T1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43" name="Freeform 87">
                <a:extLst>
                  <a:ext uri="{FF2B5EF4-FFF2-40B4-BE49-F238E27FC236}">
                    <a16:creationId xmlns:a16="http://schemas.microsoft.com/office/drawing/2014/main" id="{25D0EB76-6040-08AA-904A-DEBE23567499}"/>
                  </a:ext>
                </a:extLst>
              </p:cNvPr>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4" name="Freeform 88">
                <a:extLst>
                  <a:ext uri="{FF2B5EF4-FFF2-40B4-BE49-F238E27FC236}">
                    <a16:creationId xmlns:a16="http://schemas.microsoft.com/office/drawing/2014/main" id="{3AD14B9C-E3E9-4899-2894-639EA436972D}"/>
                  </a:ext>
                </a:extLst>
              </p:cNvPr>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45" name="Freeform 89">
                <a:extLst>
                  <a:ext uri="{FF2B5EF4-FFF2-40B4-BE49-F238E27FC236}">
                    <a16:creationId xmlns:a16="http://schemas.microsoft.com/office/drawing/2014/main" id="{4132E791-403D-4889-A038-BFA4A1822875}"/>
                  </a:ext>
                </a:extLst>
              </p:cNvPr>
              <p:cNvSpPr>
                <a:spLocks/>
              </p:cNvSpPr>
              <p:nvPr/>
            </p:nvSpPr>
            <p:spPr bwMode="gray">
              <a:xfrm>
                <a:off x="4542477" y="4440798"/>
                <a:ext cx="23553" cy="25739"/>
              </a:xfrm>
              <a:custGeom>
                <a:avLst/>
                <a:gdLst>
                  <a:gd name="T0" fmla="*/ 16 w 17"/>
                  <a:gd name="T1" fmla="*/ 16 h 17"/>
                  <a:gd name="T2" fmla="*/ 16 w 17"/>
                  <a:gd name="T3" fmla="*/ 0 h 17"/>
                  <a:gd name="T4" fmla="*/ 0 w 17"/>
                  <a:gd name="T5" fmla="*/ 0 h 17"/>
                  <a:gd name="T6" fmla="*/ 16 w 17"/>
                  <a:gd name="T7" fmla="*/ 16 h 17"/>
                </a:gdLst>
                <a:ahLst/>
                <a:cxnLst>
                  <a:cxn ang="0">
                    <a:pos x="T0" y="T1"/>
                  </a:cxn>
                  <a:cxn ang="0">
                    <a:pos x="T2" y="T3"/>
                  </a:cxn>
                  <a:cxn ang="0">
                    <a:pos x="T4" y="T5"/>
                  </a:cxn>
                  <a:cxn ang="0">
                    <a:pos x="T6" y="T7"/>
                  </a:cxn>
                </a:cxnLst>
                <a:rect l="0" t="0" r="r" b="b"/>
                <a:pathLst>
                  <a:path w="17" h="17">
                    <a:moveTo>
                      <a:pt x="16" y="16"/>
                    </a:moveTo>
                    <a:lnTo>
                      <a:pt x="16" y="0"/>
                    </a:lnTo>
                    <a:lnTo>
                      <a:pt x="0" y="0"/>
                    </a:lnTo>
                    <a:lnTo>
                      <a:pt x="16" y="16"/>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6" name="Freeform 90">
                <a:extLst>
                  <a:ext uri="{FF2B5EF4-FFF2-40B4-BE49-F238E27FC236}">
                    <a16:creationId xmlns:a16="http://schemas.microsoft.com/office/drawing/2014/main" id="{3557AE30-42D9-2EDE-D0DA-E4BFEC6679AD}"/>
                  </a:ext>
                </a:extLst>
              </p:cNvPr>
              <p:cNvSpPr>
                <a:spLocks/>
              </p:cNvSpPr>
              <p:nvPr/>
            </p:nvSpPr>
            <p:spPr bwMode="gray">
              <a:xfrm>
                <a:off x="4689685" y="4241014"/>
                <a:ext cx="70660" cy="46574"/>
              </a:xfrm>
              <a:custGeom>
                <a:avLst/>
                <a:gdLst>
                  <a:gd name="T0" fmla="*/ 0 w 50"/>
                  <a:gd name="T1" fmla="*/ 23 h 32"/>
                  <a:gd name="T2" fmla="*/ 0 w 50"/>
                  <a:gd name="T3" fmla="*/ 0 h 32"/>
                  <a:gd name="T4" fmla="*/ 24 w 50"/>
                  <a:gd name="T5" fmla="*/ 0 h 32"/>
                  <a:gd name="T6" fmla="*/ 24 w 50"/>
                  <a:gd name="T7" fmla="*/ 6 h 32"/>
                  <a:gd name="T8" fmla="*/ 34 w 50"/>
                  <a:gd name="T9" fmla="*/ 6 h 32"/>
                  <a:gd name="T10" fmla="*/ 49 w 50"/>
                  <a:gd name="T11" fmla="*/ 16 h 32"/>
                  <a:gd name="T12" fmla="*/ 41 w 50"/>
                  <a:gd name="T13" fmla="*/ 23 h 32"/>
                  <a:gd name="T14" fmla="*/ 41 w 50"/>
                  <a:gd name="T15" fmla="*/ 16 h 32"/>
                  <a:gd name="T16" fmla="*/ 18 w 50"/>
                  <a:gd name="T17" fmla="*/ 23 h 32"/>
                  <a:gd name="T18" fmla="*/ 18 w 50"/>
                  <a:gd name="T19" fmla="*/ 16 h 32"/>
                  <a:gd name="T20" fmla="*/ 9 w 50"/>
                  <a:gd name="T21" fmla="*/ 23 h 32"/>
                  <a:gd name="T22" fmla="*/ 9 w 50"/>
                  <a:gd name="T23" fmla="*/ 31 h 32"/>
                  <a:gd name="T24" fmla="*/ 0 w 50"/>
                  <a:gd name="T25"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7" name="Freeform 91">
                <a:extLst>
                  <a:ext uri="{FF2B5EF4-FFF2-40B4-BE49-F238E27FC236}">
                    <a16:creationId xmlns:a16="http://schemas.microsoft.com/office/drawing/2014/main" id="{08E911CC-7C82-BEF7-32CC-B231EE897754}"/>
                  </a:ext>
                </a:extLst>
              </p:cNvPr>
              <p:cNvSpPr>
                <a:spLocks/>
              </p:cNvSpPr>
              <p:nvPr/>
            </p:nvSpPr>
            <p:spPr bwMode="gray">
              <a:xfrm>
                <a:off x="4646112" y="4241014"/>
                <a:ext cx="45930" cy="34318"/>
              </a:xfrm>
              <a:custGeom>
                <a:avLst/>
                <a:gdLst>
                  <a:gd name="T0" fmla="*/ 31 w 32"/>
                  <a:gd name="T1" fmla="*/ 23 h 24"/>
                  <a:gd name="T2" fmla="*/ 31 w 32"/>
                  <a:gd name="T3" fmla="*/ 0 h 24"/>
                  <a:gd name="T4" fmla="*/ 15 w 32"/>
                  <a:gd name="T5" fmla="*/ 0 h 24"/>
                  <a:gd name="T6" fmla="*/ 24 w 32"/>
                  <a:gd name="T7" fmla="*/ 16 h 24"/>
                  <a:gd name="T8" fmla="*/ 0 w 32"/>
                  <a:gd name="T9" fmla="*/ 23 h 24"/>
                  <a:gd name="T10" fmla="*/ 6 w 32"/>
                  <a:gd name="T11" fmla="*/ 23 h 24"/>
                  <a:gd name="T12" fmla="*/ 31 w 32"/>
                  <a:gd name="T13" fmla="*/ 23 h 24"/>
                </a:gdLst>
                <a:ahLst/>
                <a:cxnLst>
                  <a:cxn ang="0">
                    <a:pos x="T0" y="T1"/>
                  </a:cxn>
                  <a:cxn ang="0">
                    <a:pos x="T2" y="T3"/>
                  </a:cxn>
                  <a:cxn ang="0">
                    <a:pos x="T4" y="T5"/>
                  </a:cxn>
                  <a:cxn ang="0">
                    <a:pos x="T6" y="T7"/>
                  </a:cxn>
                  <a:cxn ang="0">
                    <a:pos x="T8" y="T9"/>
                  </a:cxn>
                  <a:cxn ang="0">
                    <a:pos x="T10" y="T11"/>
                  </a:cxn>
                  <a:cxn ang="0">
                    <a:pos x="T12" y="T13"/>
                  </a:cxn>
                </a:cxnLst>
                <a:rect l="0" t="0" r="r" b="b"/>
                <a:pathLst>
                  <a:path w="32" h="24">
                    <a:moveTo>
                      <a:pt x="31" y="23"/>
                    </a:moveTo>
                    <a:lnTo>
                      <a:pt x="31" y="0"/>
                    </a:lnTo>
                    <a:lnTo>
                      <a:pt x="15" y="0"/>
                    </a:lnTo>
                    <a:lnTo>
                      <a:pt x="24" y="16"/>
                    </a:lnTo>
                    <a:lnTo>
                      <a:pt x="0" y="23"/>
                    </a:lnTo>
                    <a:lnTo>
                      <a:pt x="6" y="23"/>
                    </a:lnTo>
                    <a:lnTo>
                      <a:pt x="31" y="2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48" name="Freeform 92">
                <a:extLst>
                  <a:ext uri="{FF2B5EF4-FFF2-40B4-BE49-F238E27FC236}">
                    <a16:creationId xmlns:a16="http://schemas.microsoft.com/office/drawing/2014/main" id="{ECCFC44E-9C5E-D69F-B09A-F62CAF43EFCC}"/>
                  </a:ext>
                </a:extLst>
              </p:cNvPr>
              <p:cNvSpPr>
                <a:spLocks/>
              </p:cNvSpPr>
              <p:nvPr/>
            </p:nvSpPr>
            <p:spPr bwMode="gray">
              <a:xfrm>
                <a:off x="4566031" y="4380740"/>
                <a:ext cx="207271" cy="311318"/>
              </a:xfrm>
              <a:custGeom>
                <a:avLst/>
                <a:gdLst>
                  <a:gd name="T0" fmla="*/ 112 w 147"/>
                  <a:gd name="T1" fmla="*/ 211 h 212"/>
                  <a:gd name="T2" fmla="*/ 122 w 147"/>
                  <a:gd name="T3" fmla="*/ 178 h 212"/>
                  <a:gd name="T4" fmla="*/ 112 w 147"/>
                  <a:gd name="T5" fmla="*/ 154 h 212"/>
                  <a:gd name="T6" fmla="*/ 122 w 147"/>
                  <a:gd name="T7" fmla="*/ 154 h 212"/>
                  <a:gd name="T8" fmla="*/ 112 w 147"/>
                  <a:gd name="T9" fmla="*/ 146 h 212"/>
                  <a:gd name="T10" fmla="*/ 112 w 147"/>
                  <a:gd name="T11" fmla="*/ 137 h 212"/>
                  <a:gd name="T12" fmla="*/ 146 w 147"/>
                  <a:gd name="T13" fmla="*/ 137 h 212"/>
                  <a:gd name="T14" fmla="*/ 146 w 147"/>
                  <a:gd name="T15" fmla="*/ 122 h 212"/>
                  <a:gd name="T16" fmla="*/ 137 w 147"/>
                  <a:gd name="T17" fmla="*/ 106 h 212"/>
                  <a:gd name="T18" fmla="*/ 146 w 147"/>
                  <a:gd name="T19" fmla="*/ 81 h 212"/>
                  <a:gd name="T20" fmla="*/ 122 w 147"/>
                  <a:gd name="T21" fmla="*/ 81 h 212"/>
                  <a:gd name="T22" fmla="*/ 112 w 147"/>
                  <a:gd name="T23" fmla="*/ 72 h 212"/>
                  <a:gd name="T24" fmla="*/ 88 w 147"/>
                  <a:gd name="T25" fmla="*/ 72 h 212"/>
                  <a:gd name="T26" fmla="*/ 81 w 147"/>
                  <a:gd name="T27" fmla="*/ 66 h 212"/>
                  <a:gd name="T28" fmla="*/ 81 w 147"/>
                  <a:gd name="T29" fmla="*/ 57 h 212"/>
                  <a:gd name="T30" fmla="*/ 72 w 147"/>
                  <a:gd name="T31" fmla="*/ 41 h 212"/>
                  <a:gd name="T32" fmla="*/ 81 w 147"/>
                  <a:gd name="T33" fmla="*/ 25 h 212"/>
                  <a:gd name="T34" fmla="*/ 88 w 147"/>
                  <a:gd name="T35" fmla="*/ 17 h 212"/>
                  <a:gd name="T36" fmla="*/ 97 w 147"/>
                  <a:gd name="T37" fmla="*/ 7 h 212"/>
                  <a:gd name="T38" fmla="*/ 88 w 147"/>
                  <a:gd name="T39" fmla="*/ 0 h 212"/>
                  <a:gd name="T40" fmla="*/ 72 w 147"/>
                  <a:gd name="T41" fmla="*/ 17 h 212"/>
                  <a:gd name="T42" fmla="*/ 48 w 147"/>
                  <a:gd name="T43" fmla="*/ 25 h 212"/>
                  <a:gd name="T44" fmla="*/ 40 w 147"/>
                  <a:gd name="T45" fmla="*/ 41 h 212"/>
                  <a:gd name="T46" fmla="*/ 23 w 147"/>
                  <a:gd name="T47" fmla="*/ 48 h 212"/>
                  <a:gd name="T48" fmla="*/ 23 w 147"/>
                  <a:gd name="T49" fmla="*/ 66 h 212"/>
                  <a:gd name="T50" fmla="*/ 16 w 147"/>
                  <a:gd name="T51" fmla="*/ 48 h 212"/>
                  <a:gd name="T52" fmla="*/ 23 w 147"/>
                  <a:gd name="T53" fmla="*/ 57 h 212"/>
                  <a:gd name="T54" fmla="*/ 16 w 147"/>
                  <a:gd name="T55" fmla="*/ 66 h 212"/>
                  <a:gd name="T56" fmla="*/ 16 w 147"/>
                  <a:gd name="T57" fmla="*/ 72 h 212"/>
                  <a:gd name="T58" fmla="*/ 16 w 147"/>
                  <a:gd name="T59" fmla="*/ 81 h 212"/>
                  <a:gd name="T60" fmla="*/ 16 w 147"/>
                  <a:gd name="T61" fmla="*/ 113 h 212"/>
                  <a:gd name="T62" fmla="*/ 23 w 147"/>
                  <a:gd name="T63" fmla="*/ 113 h 212"/>
                  <a:gd name="T64" fmla="*/ 16 w 147"/>
                  <a:gd name="T65" fmla="*/ 131 h 212"/>
                  <a:gd name="T66" fmla="*/ 7 w 147"/>
                  <a:gd name="T67" fmla="*/ 131 h 212"/>
                  <a:gd name="T68" fmla="*/ 7 w 147"/>
                  <a:gd name="T69" fmla="*/ 137 h 212"/>
                  <a:gd name="T70" fmla="*/ 0 w 147"/>
                  <a:gd name="T71" fmla="*/ 137 h 212"/>
                  <a:gd name="T72" fmla="*/ 0 w 147"/>
                  <a:gd name="T73" fmla="*/ 146 h 212"/>
                  <a:gd name="T74" fmla="*/ 23 w 147"/>
                  <a:gd name="T75" fmla="*/ 162 h 212"/>
                  <a:gd name="T76" fmla="*/ 40 w 147"/>
                  <a:gd name="T77" fmla="*/ 154 h 212"/>
                  <a:gd name="T78" fmla="*/ 48 w 147"/>
                  <a:gd name="T79" fmla="*/ 162 h 212"/>
                  <a:gd name="T80" fmla="*/ 63 w 147"/>
                  <a:gd name="T81" fmla="*/ 178 h 212"/>
                  <a:gd name="T82" fmla="*/ 72 w 147"/>
                  <a:gd name="T83" fmla="*/ 194 h 212"/>
                  <a:gd name="T84" fmla="*/ 106 w 147"/>
                  <a:gd name="T85" fmla="*/ 187 h 212"/>
                  <a:gd name="T86" fmla="*/ 112 w 147"/>
                  <a:gd name="T87" fmla="*/ 194 h 212"/>
                  <a:gd name="T88" fmla="*/ 112 w 147"/>
                  <a:gd name="T89" fmla="*/ 203 h 212"/>
                  <a:gd name="T90" fmla="*/ 106 w 147"/>
                  <a:gd name="T91" fmla="*/ 203 h 212"/>
                  <a:gd name="T92" fmla="*/ 112 w 147"/>
                  <a:gd name="T93" fmla="*/ 21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49" name="Freeform 93">
                <a:extLst>
                  <a:ext uri="{FF2B5EF4-FFF2-40B4-BE49-F238E27FC236}">
                    <a16:creationId xmlns:a16="http://schemas.microsoft.com/office/drawing/2014/main" id="{028AE271-032E-4959-9C28-458BC42D1E39}"/>
                  </a:ext>
                </a:extLst>
              </p:cNvPr>
              <p:cNvSpPr>
                <a:spLocks/>
              </p:cNvSpPr>
              <p:nvPr/>
            </p:nvSpPr>
            <p:spPr bwMode="gray">
              <a:xfrm>
                <a:off x="4530701" y="4595230"/>
                <a:ext cx="104813" cy="120114"/>
              </a:xfrm>
              <a:custGeom>
                <a:avLst/>
                <a:gdLst>
                  <a:gd name="T0" fmla="*/ 73 w 74"/>
                  <a:gd name="T1" fmla="*/ 16 h 82"/>
                  <a:gd name="T2" fmla="*/ 65 w 74"/>
                  <a:gd name="T3" fmla="*/ 8 h 82"/>
                  <a:gd name="T4" fmla="*/ 48 w 74"/>
                  <a:gd name="T5" fmla="*/ 16 h 82"/>
                  <a:gd name="T6" fmla="*/ 25 w 74"/>
                  <a:gd name="T7" fmla="*/ 0 h 82"/>
                  <a:gd name="T8" fmla="*/ 8 w 74"/>
                  <a:gd name="T9" fmla="*/ 8 h 82"/>
                  <a:gd name="T10" fmla="*/ 8 w 74"/>
                  <a:gd name="T11" fmla="*/ 16 h 82"/>
                  <a:gd name="T12" fmla="*/ 0 w 74"/>
                  <a:gd name="T13" fmla="*/ 25 h 82"/>
                  <a:gd name="T14" fmla="*/ 0 w 74"/>
                  <a:gd name="T15" fmla="*/ 41 h 82"/>
                  <a:gd name="T16" fmla="*/ 8 w 74"/>
                  <a:gd name="T17" fmla="*/ 57 h 82"/>
                  <a:gd name="T18" fmla="*/ 8 w 74"/>
                  <a:gd name="T19" fmla="*/ 48 h 82"/>
                  <a:gd name="T20" fmla="*/ 17 w 74"/>
                  <a:gd name="T21" fmla="*/ 48 h 82"/>
                  <a:gd name="T22" fmla="*/ 8 w 74"/>
                  <a:gd name="T23" fmla="*/ 57 h 82"/>
                  <a:gd name="T24" fmla="*/ 0 w 74"/>
                  <a:gd name="T25" fmla="*/ 73 h 82"/>
                  <a:gd name="T26" fmla="*/ 17 w 74"/>
                  <a:gd name="T27" fmla="*/ 81 h 82"/>
                  <a:gd name="T28" fmla="*/ 41 w 74"/>
                  <a:gd name="T29" fmla="*/ 57 h 82"/>
                  <a:gd name="T30" fmla="*/ 57 w 74"/>
                  <a:gd name="T31" fmla="*/ 48 h 82"/>
                  <a:gd name="T32" fmla="*/ 65 w 74"/>
                  <a:gd name="T33" fmla="*/ 41 h 82"/>
                  <a:gd name="T34" fmla="*/ 73 w 74"/>
                  <a:gd name="T35" fmla="*/ 25 h 82"/>
                  <a:gd name="T36" fmla="*/ 65 w 74"/>
                  <a:gd name="T37" fmla="*/ 16 h 82"/>
                  <a:gd name="T38" fmla="*/ 73 w 74"/>
                  <a:gd name="T39"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0" name="Freeform 94">
                <a:extLst>
                  <a:ext uri="{FF2B5EF4-FFF2-40B4-BE49-F238E27FC236}">
                    <a16:creationId xmlns:a16="http://schemas.microsoft.com/office/drawing/2014/main" id="{1E2B4DAC-9D07-D858-763E-39A6745E3D7C}"/>
                  </a:ext>
                </a:extLst>
              </p:cNvPr>
              <p:cNvSpPr>
                <a:spLocks/>
              </p:cNvSpPr>
              <p:nvPr/>
            </p:nvSpPr>
            <p:spPr bwMode="gray">
              <a:xfrm>
                <a:off x="4520102" y="4618519"/>
                <a:ext cx="229647" cy="344410"/>
              </a:xfrm>
              <a:custGeom>
                <a:avLst/>
                <a:gdLst>
                  <a:gd name="T0" fmla="*/ 155 w 163"/>
                  <a:gd name="T1" fmla="*/ 137 h 235"/>
                  <a:gd name="T2" fmla="*/ 139 w 163"/>
                  <a:gd name="T3" fmla="*/ 137 h 235"/>
                  <a:gd name="T4" fmla="*/ 139 w 163"/>
                  <a:gd name="T5" fmla="*/ 122 h 235"/>
                  <a:gd name="T6" fmla="*/ 121 w 163"/>
                  <a:gd name="T7" fmla="*/ 131 h 235"/>
                  <a:gd name="T8" fmla="*/ 105 w 163"/>
                  <a:gd name="T9" fmla="*/ 122 h 235"/>
                  <a:gd name="T10" fmla="*/ 96 w 163"/>
                  <a:gd name="T11" fmla="*/ 97 h 235"/>
                  <a:gd name="T12" fmla="*/ 114 w 163"/>
                  <a:gd name="T13" fmla="*/ 65 h 235"/>
                  <a:gd name="T14" fmla="*/ 145 w 163"/>
                  <a:gd name="T15" fmla="*/ 49 h 235"/>
                  <a:gd name="T16" fmla="*/ 139 w 163"/>
                  <a:gd name="T17" fmla="*/ 41 h 235"/>
                  <a:gd name="T18" fmla="*/ 145 w 163"/>
                  <a:gd name="T19" fmla="*/ 41 h 235"/>
                  <a:gd name="T20" fmla="*/ 145 w 163"/>
                  <a:gd name="T21" fmla="*/ 32 h 235"/>
                  <a:gd name="T22" fmla="*/ 139 w 163"/>
                  <a:gd name="T23" fmla="*/ 25 h 235"/>
                  <a:gd name="T24" fmla="*/ 105 w 163"/>
                  <a:gd name="T25" fmla="*/ 32 h 235"/>
                  <a:gd name="T26" fmla="*/ 96 w 163"/>
                  <a:gd name="T27" fmla="*/ 16 h 235"/>
                  <a:gd name="T28" fmla="*/ 81 w 163"/>
                  <a:gd name="T29" fmla="*/ 0 h 235"/>
                  <a:gd name="T30" fmla="*/ 73 w 163"/>
                  <a:gd name="T31" fmla="*/ 0 h 235"/>
                  <a:gd name="T32" fmla="*/ 81 w 163"/>
                  <a:gd name="T33" fmla="*/ 9 h 235"/>
                  <a:gd name="T34" fmla="*/ 73 w 163"/>
                  <a:gd name="T35" fmla="*/ 25 h 235"/>
                  <a:gd name="T36" fmla="*/ 65 w 163"/>
                  <a:gd name="T37" fmla="*/ 32 h 235"/>
                  <a:gd name="T38" fmla="*/ 49 w 163"/>
                  <a:gd name="T39" fmla="*/ 41 h 235"/>
                  <a:gd name="T40" fmla="*/ 25 w 163"/>
                  <a:gd name="T41" fmla="*/ 65 h 235"/>
                  <a:gd name="T42" fmla="*/ 8 w 163"/>
                  <a:gd name="T43" fmla="*/ 57 h 235"/>
                  <a:gd name="T44" fmla="*/ 16 w 163"/>
                  <a:gd name="T45" fmla="*/ 41 h 235"/>
                  <a:gd name="T46" fmla="*/ 0 w 163"/>
                  <a:gd name="T47" fmla="*/ 57 h 235"/>
                  <a:gd name="T48" fmla="*/ 8 w 163"/>
                  <a:gd name="T49" fmla="*/ 72 h 235"/>
                  <a:gd name="T50" fmla="*/ 0 w 163"/>
                  <a:gd name="T51" fmla="*/ 72 h 235"/>
                  <a:gd name="T52" fmla="*/ 16 w 163"/>
                  <a:gd name="T53" fmla="*/ 89 h 235"/>
                  <a:gd name="T54" fmla="*/ 33 w 163"/>
                  <a:gd name="T55" fmla="*/ 106 h 235"/>
                  <a:gd name="T56" fmla="*/ 73 w 163"/>
                  <a:gd name="T57" fmla="*/ 186 h 235"/>
                  <a:gd name="T58" fmla="*/ 139 w 163"/>
                  <a:gd name="T59" fmla="*/ 234 h 235"/>
                  <a:gd name="T60" fmla="*/ 155 w 163"/>
                  <a:gd name="T61" fmla="*/ 227 h 235"/>
                  <a:gd name="T62" fmla="*/ 162 w 163"/>
                  <a:gd name="T63" fmla="*/ 211 h 235"/>
                  <a:gd name="T64" fmla="*/ 155 w 163"/>
                  <a:gd name="T65" fmla="*/ 203 h 235"/>
                  <a:gd name="T66" fmla="*/ 162 w 163"/>
                  <a:gd name="T67" fmla="*/ 154 h 235"/>
                  <a:gd name="T68" fmla="*/ 155 w 163"/>
                  <a:gd name="T69" fmla="*/ 13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1" name="Freeform 95">
                <a:extLst>
                  <a:ext uri="{FF2B5EF4-FFF2-40B4-BE49-F238E27FC236}">
                    <a16:creationId xmlns:a16="http://schemas.microsoft.com/office/drawing/2014/main" id="{8EC1B94B-AA65-F476-B513-F052FE1A6304}"/>
                  </a:ext>
                </a:extLst>
              </p:cNvPr>
              <p:cNvSpPr>
                <a:spLocks/>
              </p:cNvSpPr>
              <p:nvPr/>
            </p:nvSpPr>
            <p:spPr bwMode="gray">
              <a:xfrm>
                <a:off x="4737971" y="4797464"/>
                <a:ext cx="207271" cy="261066"/>
              </a:xfrm>
              <a:custGeom>
                <a:avLst/>
                <a:gdLst>
                  <a:gd name="T0" fmla="*/ 146 w 147"/>
                  <a:gd name="T1" fmla="*/ 137 h 178"/>
                  <a:gd name="T2" fmla="*/ 146 w 147"/>
                  <a:gd name="T3" fmla="*/ 112 h 178"/>
                  <a:gd name="T4" fmla="*/ 137 w 147"/>
                  <a:gd name="T5" fmla="*/ 96 h 178"/>
                  <a:gd name="T6" fmla="*/ 137 w 147"/>
                  <a:gd name="T7" fmla="*/ 89 h 178"/>
                  <a:gd name="T8" fmla="*/ 121 w 147"/>
                  <a:gd name="T9" fmla="*/ 89 h 178"/>
                  <a:gd name="T10" fmla="*/ 112 w 147"/>
                  <a:gd name="T11" fmla="*/ 72 h 178"/>
                  <a:gd name="T12" fmla="*/ 112 w 147"/>
                  <a:gd name="T13" fmla="*/ 64 h 178"/>
                  <a:gd name="T14" fmla="*/ 105 w 147"/>
                  <a:gd name="T15" fmla="*/ 49 h 178"/>
                  <a:gd name="T16" fmla="*/ 56 w 147"/>
                  <a:gd name="T17" fmla="*/ 32 h 178"/>
                  <a:gd name="T18" fmla="*/ 49 w 147"/>
                  <a:gd name="T19" fmla="*/ 24 h 178"/>
                  <a:gd name="T20" fmla="*/ 49 w 147"/>
                  <a:gd name="T21" fmla="*/ 0 h 178"/>
                  <a:gd name="T22" fmla="*/ 32 w 147"/>
                  <a:gd name="T23" fmla="*/ 0 h 178"/>
                  <a:gd name="T24" fmla="*/ 15 w 147"/>
                  <a:gd name="T25" fmla="*/ 15 h 178"/>
                  <a:gd name="T26" fmla="*/ 0 w 147"/>
                  <a:gd name="T27" fmla="*/ 15 h 178"/>
                  <a:gd name="T28" fmla="*/ 7 w 147"/>
                  <a:gd name="T29" fmla="*/ 32 h 178"/>
                  <a:gd name="T30" fmla="*/ 0 w 147"/>
                  <a:gd name="T31" fmla="*/ 81 h 178"/>
                  <a:gd name="T32" fmla="*/ 7 w 147"/>
                  <a:gd name="T33" fmla="*/ 89 h 178"/>
                  <a:gd name="T34" fmla="*/ 0 w 147"/>
                  <a:gd name="T35" fmla="*/ 105 h 178"/>
                  <a:gd name="T36" fmla="*/ 7 w 147"/>
                  <a:gd name="T37" fmla="*/ 129 h 178"/>
                  <a:gd name="T38" fmla="*/ 7 w 147"/>
                  <a:gd name="T39" fmla="*/ 137 h 178"/>
                  <a:gd name="T40" fmla="*/ 15 w 147"/>
                  <a:gd name="T41" fmla="*/ 177 h 178"/>
                  <a:gd name="T42" fmla="*/ 24 w 147"/>
                  <a:gd name="T43" fmla="*/ 177 h 178"/>
                  <a:gd name="T44" fmla="*/ 40 w 147"/>
                  <a:gd name="T45" fmla="*/ 161 h 178"/>
                  <a:gd name="T46" fmla="*/ 65 w 147"/>
                  <a:gd name="T47" fmla="*/ 171 h 178"/>
                  <a:gd name="T48" fmla="*/ 72 w 147"/>
                  <a:gd name="T49" fmla="*/ 161 h 178"/>
                  <a:gd name="T50" fmla="*/ 89 w 147"/>
                  <a:gd name="T51" fmla="*/ 171 h 178"/>
                  <a:gd name="T52" fmla="*/ 97 w 147"/>
                  <a:gd name="T53" fmla="*/ 129 h 178"/>
                  <a:gd name="T54" fmla="*/ 129 w 147"/>
                  <a:gd name="T55" fmla="*/ 129 h 178"/>
                  <a:gd name="T56" fmla="*/ 146 w 147"/>
                  <a:gd name="T57" fmla="*/ 13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2" name="Freeform 96">
                <a:extLst>
                  <a:ext uri="{FF2B5EF4-FFF2-40B4-BE49-F238E27FC236}">
                    <a16:creationId xmlns:a16="http://schemas.microsoft.com/office/drawing/2014/main" id="{5D5B864A-7E4B-D3BF-2538-469A94B55B64}"/>
                  </a:ext>
                </a:extLst>
              </p:cNvPr>
              <p:cNvSpPr>
                <a:spLocks/>
              </p:cNvSpPr>
              <p:nvPr/>
            </p:nvSpPr>
            <p:spPr bwMode="gray">
              <a:xfrm>
                <a:off x="4862805" y="4986216"/>
                <a:ext cx="149565" cy="166690"/>
              </a:xfrm>
              <a:custGeom>
                <a:avLst/>
                <a:gdLst>
                  <a:gd name="T0" fmla="*/ 97 w 106"/>
                  <a:gd name="T1" fmla="*/ 82 h 114"/>
                  <a:gd name="T2" fmla="*/ 105 w 106"/>
                  <a:gd name="T3" fmla="*/ 66 h 114"/>
                  <a:gd name="T4" fmla="*/ 88 w 106"/>
                  <a:gd name="T5" fmla="*/ 57 h 114"/>
                  <a:gd name="T6" fmla="*/ 88 w 106"/>
                  <a:gd name="T7" fmla="*/ 42 h 114"/>
                  <a:gd name="T8" fmla="*/ 82 w 106"/>
                  <a:gd name="T9" fmla="*/ 42 h 114"/>
                  <a:gd name="T10" fmla="*/ 57 w 106"/>
                  <a:gd name="T11" fmla="*/ 32 h 114"/>
                  <a:gd name="T12" fmla="*/ 57 w 106"/>
                  <a:gd name="T13" fmla="*/ 8 h 114"/>
                  <a:gd name="T14" fmla="*/ 40 w 106"/>
                  <a:gd name="T15" fmla="*/ 0 h 114"/>
                  <a:gd name="T16" fmla="*/ 8 w 106"/>
                  <a:gd name="T17" fmla="*/ 0 h 114"/>
                  <a:gd name="T18" fmla="*/ 0 w 106"/>
                  <a:gd name="T19" fmla="*/ 42 h 114"/>
                  <a:gd name="T20" fmla="*/ 16 w 106"/>
                  <a:gd name="T21" fmla="*/ 66 h 114"/>
                  <a:gd name="T22" fmla="*/ 40 w 106"/>
                  <a:gd name="T23" fmla="*/ 66 h 114"/>
                  <a:gd name="T24" fmla="*/ 57 w 106"/>
                  <a:gd name="T25" fmla="*/ 82 h 114"/>
                  <a:gd name="T26" fmla="*/ 57 w 106"/>
                  <a:gd name="T27" fmla="*/ 89 h 114"/>
                  <a:gd name="T28" fmla="*/ 48 w 106"/>
                  <a:gd name="T29" fmla="*/ 106 h 114"/>
                  <a:gd name="T30" fmla="*/ 72 w 106"/>
                  <a:gd name="T31" fmla="*/ 113 h 114"/>
                  <a:gd name="T32" fmla="*/ 82 w 106"/>
                  <a:gd name="T33" fmla="*/ 106 h 114"/>
                  <a:gd name="T34" fmla="*/ 97 w 106"/>
                  <a:gd name="T35" fmla="*/ 97 h 114"/>
                  <a:gd name="T36" fmla="*/ 97 w 106"/>
                  <a:gd name="T37"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3" name="Freeform 97">
                <a:extLst>
                  <a:ext uri="{FF2B5EF4-FFF2-40B4-BE49-F238E27FC236}">
                    <a16:creationId xmlns:a16="http://schemas.microsoft.com/office/drawing/2014/main" id="{C9E9993B-1EED-90A0-EBD5-1A18A601C034}"/>
                  </a:ext>
                </a:extLst>
              </p:cNvPr>
              <p:cNvSpPr>
                <a:spLocks/>
              </p:cNvSpPr>
              <p:nvPr/>
            </p:nvSpPr>
            <p:spPr bwMode="gray">
              <a:xfrm>
                <a:off x="4931110" y="5211739"/>
                <a:ext cx="104813" cy="96827"/>
              </a:xfrm>
              <a:custGeom>
                <a:avLst/>
                <a:gdLst>
                  <a:gd name="T0" fmla="*/ 65 w 75"/>
                  <a:gd name="T1" fmla="*/ 49 h 66"/>
                  <a:gd name="T2" fmla="*/ 74 w 75"/>
                  <a:gd name="T3" fmla="*/ 31 h 66"/>
                  <a:gd name="T4" fmla="*/ 65 w 75"/>
                  <a:gd name="T5" fmla="*/ 25 h 66"/>
                  <a:gd name="T6" fmla="*/ 40 w 75"/>
                  <a:gd name="T7" fmla="*/ 8 h 66"/>
                  <a:gd name="T8" fmla="*/ 34 w 75"/>
                  <a:gd name="T9" fmla="*/ 8 h 66"/>
                  <a:gd name="T10" fmla="*/ 24 w 75"/>
                  <a:gd name="T11" fmla="*/ 0 h 66"/>
                  <a:gd name="T12" fmla="*/ 15 w 75"/>
                  <a:gd name="T13" fmla="*/ 0 h 66"/>
                  <a:gd name="T14" fmla="*/ 0 w 75"/>
                  <a:gd name="T15" fmla="*/ 56 h 66"/>
                  <a:gd name="T16" fmla="*/ 9 w 75"/>
                  <a:gd name="T17" fmla="*/ 56 h 66"/>
                  <a:gd name="T18" fmla="*/ 34 w 75"/>
                  <a:gd name="T19" fmla="*/ 65 h 66"/>
                  <a:gd name="T20" fmla="*/ 57 w 75"/>
                  <a:gd name="T21" fmla="*/ 65 h 66"/>
                  <a:gd name="T22" fmla="*/ 65 w 75"/>
                  <a:gd name="T23" fmla="*/ 49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54" name="Freeform 98">
                <a:extLst>
                  <a:ext uri="{FF2B5EF4-FFF2-40B4-BE49-F238E27FC236}">
                    <a16:creationId xmlns:a16="http://schemas.microsoft.com/office/drawing/2014/main" id="{AFAC6C95-7C45-6167-9382-55A8413575BB}"/>
                  </a:ext>
                </a:extLst>
              </p:cNvPr>
              <p:cNvSpPr>
                <a:spLocks/>
              </p:cNvSpPr>
              <p:nvPr/>
            </p:nvSpPr>
            <p:spPr bwMode="gray">
              <a:xfrm>
                <a:off x="4654355" y="4522916"/>
                <a:ext cx="711316" cy="762362"/>
              </a:xfrm>
              <a:custGeom>
                <a:avLst/>
                <a:gdLst>
                  <a:gd name="T0" fmla="*/ 285 w 505"/>
                  <a:gd name="T1" fmla="*/ 16 h 520"/>
                  <a:gd name="T2" fmla="*/ 261 w 505"/>
                  <a:gd name="T3" fmla="*/ 40 h 520"/>
                  <a:gd name="T4" fmla="*/ 236 w 505"/>
                  <a:gd name="T5" fmla="*/ 34 h 520"/>
                  <a:gd name="T6" fmla="*/ 220 w 505"/>
                  <a:gd name="T7" fmla="*/ 40 h 520"/>
                  <a:gd name="T8" fmla="*/ 188 w 505"/>
                  <a:gd name="T9" fmla="*/ 49 h 520"/>
                  <a:gd name="T10" fmla="*/ 180 w 505"/>
                  <a:gd name="T11" fmla="*/ 9 h 520"/>
                  <a:gd name="T12" fmla="*/ 171 w 505"/>
                  <a:gd name="T13" fmla="*/ 0 h 520"/>
                  <a:gd name="T14" fmla="*/ 140 w 505"/>
                  <a:gd name="T15" fmla="*/ 16 h 520"/>
                  <a:gd name="T16" fmla="*/ 124 w 505"/>
                  <a:gd name="T17" fmla="*/ 16 h 520"/>
                  <a:gd name="T18" fmla="*/ 131 w 505"/>
                  <a:gd name="T19" fmla="*/ 40 h 520"/>
                  <a:gd name="T20" fmla="*/ 99 w 505"/>
                  <a:gd name="T21" fmla="*/ 57 h 520"/>
                  <a:gd name="T22" fmla="*/ 83 w 505"/>
                  <a:gd name="T23" fmla="*/ 40 h 520"/>
                  <a:gd name="T24" fmla="*/ 49 w 505"/>
                  <a:gd name="T25" fmla="*/ 49 h 520"/>
                  <a:gd name="T26" fmla="*/ 49 w 505"/>
                  <a:gd name="T27" fmla="*/ 57 h 520"/>
                  <a:gd name="T28" fmla="*/ 49 w 505"/>
                  <a:gd name="T29" fmla="*/ 114 h 520"/>
                  <a:gd name="T30" fmla="*/ 0 w 505"/>
                  <a:gd name="T31" fmla="*/ 162 h 520"/>
                  <a:gd name="T32" fmla="*/ 25 w 505"/>
                  <a:gd name="T33" fmla="*/ 196 h 520"/>
                  <a:gd name="T34" fmla="*/ 43 w 505"/>
                  <a:gd name="T35" fmla="*/ 202 h 520"/>
                  <a:gd name="T36" fmla="*/ 74 w 505"/>
                  <a:gd name="T37" fmla="*/ 202 h 520"/>
                  <a:gd name="T38" fmla="*/ 108 w 505"/>
                  <a:gd name="T39" fmla="*/ 187 h 520"/>
                  <a:gd name="T40" fmla="*/ 115 w 505"/>
                  <a:gd name="T41" fmla="*/ 219 h 520"/>
                  <a:gd name="T42" fmla="*/ 171 w 505"/>
                  <a:gd name="T43" fmla="*/ 251 h 520"/>
                  <a:gd name="T44" fmla="*/ 180 w 505"/>
                  <a:gd name="T45" fmla="*/ 276 h 520"/>
                  <a:gd name="T46" fmla="*/ 196 w 505"/>
                  <a:gd name="T47" fmla="*/ 283 h 520"/>
                  <a:gd name="T48" fmla="*/ 205 w 505"/>
                  <a:gd name="T49" fmla="*/ 324 h 520"/>
                  <a:gd name="T50" fmla="*/ 230 w 505"/>
                  <a:gd name="T51" fmla="*/ 358 h 520"/>
                  <a:gd name="T52" fmla="*/ 236 w 505"/>
                  <a:gd name="T53" fmla="*/ 373 h 520"/>
                  <a:gd name="T54" fmla="*/ 245 w 505"/>
                  <a:gd name="T55" fmla="*/ 398 h 520"/>
                  <a:gd name="T56" fmla="*/ 261 w 505"/>
                  <a:gd name="T57" fmla="*/ 422 h 520"/>
                  <a:gd name="T58" fmla="*/ 211 w 505"/>
                  <a:gd name="T59" fmla="*/ 470 h 520"/>
                  <a:gd name="T60" fmla="*/ 230 w 505"/>
                  <a:gd name="T61" fmla="*/ 478 h 520"/>
                  <a:gd name="T62" fmla="*/ 261 w 505"/>
                  <a:gd name="T63" fmla="*/ 495 h 520"/>
                  <a:gd name="T64" fmla="*/ 261 w 505"/>
                  <a:gd name="T65" fmla="*/ 519 h 520"/>
                  <a:gd name="T66" fmla="*/ 293 w 505"/>
                  <a:gd name="T67" fmla="*/ 485 h 520"/>
                  <a:gd name="T68" fmla="*/ 326 w 505"/>
                  <a:gd name="T69" fmla="*/ 438 h 520"/>
                  <a:gd name="T70" fmla="*/ 333 w 505"/>
                  <a:gd name="T71" fmla="*/ 389 h 520"/>
                  <a:gd name="T72" fmla="*/ 375 w 505"/>
                  <a:gd name="T73" fmla="*/ 364 h 520"/>
                  <a:gd name="T74" fmla="*/ 407 w 505"/>
                  <a:gd name="T75" fmla="*/ 358 h 520"/>
                  <a:gd name="T76" fmla="*/ 423 w 505"/>
                  <a:gd name="T77" fmla="*/ 341 h 520"/>
                  <a:gd name="T78" fmla="*/ 439 w 505"/>
                  <a:gd name="T79" fmla="*/ 299 h 520"/>
                  <a:gd name="T80" fmla="*/ 447 w 505"/>
                  <a:gd name="T81" fmla="*/ 236 h 520"/>
                  <a:gd name="T82" fmla="*/ 504 w 505"/>
                  <a:gd name="T83" fmla="*/ 162 h 520"/>
                  <a:gd name="T84" fmla="*/ 472 w 505"/>
                  <a:gd name="T85" fmla="*/ 130 h 520"/>
                  <a:gd name="T86" fmla="*/ 416 w 505"/>
                  <a:gd name="T87" fmla="*/ 106 h 520"/>
                  <a:gd name="T88" fmla="*/ 375 w 505"/>
                  <a:gd name="T89" fmla="*/ 97 h 520"/>
                  <a:gd name="T90" fmla="*/ 375 w 505"/>
                  <a:gd name="T91" fmla="*/ 81 h 520"/>
                  <a:gd name="T92" fmla="*/ 333 w 505"/>
                  <a:gd name="T93" fmla="*/ 74 h 520"/>
                  <a:gd name="T94" fmla="*/ 326 w 505"/>
                  <a:gd name="T95" fmla="*/ 65 h 520"/>
                  <a:gd name="T96" fmla="*/ 302 w 505"/>
                  <a:gd name="T97" fmla="*/ 65 h 520"/>
                  <a:gd name="T98" fmla="*/ 293 w 505"/>
                  <a:gd name="T99" fmla="*/ 74 h 520"/>
                  <a:gd name="T100" fmla="*/ 293 w 505"/>
                  <a:gd name="T101" fmla="*/ 65 h 520"/>
                  <a:gd name="T102" fmla="*/ 310 w 505"/>
                  <a:gd name="T103" fmla="*/ 40 h 520"/>
                  <a:gd name="T104" fmla="*/ 293 w 505"/>
                  <a:gd name="T105" fmla="*/ 16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5" name="Freeform 99">
                <a:extLst>
                  <a:ext uri="{FF2B5EF4-FFF2-40B4-BE49-F238E27FC236}">
                    <a16:creationId xmlns:a16="http://schemas.microsoft.com/office/drawing/2014/main" id="{03A83006-CCD6-28AB-3766-FBE4CD4F0C80}"/>
                  </a:ext>
                </a:extLst>
              </p:cNvPr>
              <p:cNvSpPr>
                <a:spLocks/>
              </p:cNvSpPr>
              <p:nvPr/>
            </p:nvSpPr>
            <p:spPr bwMode="gray">
              <a:xfrm>
                <a:off x="5011191" y="4513111"/>
                <a:ext cx="45930" cy="69862"/>
              </a:xfrm>
              <a:custGeom>
                <a:avLst/>
                <a:gdLst>
                  <a:gd name="T0" fmla="*/ 0 w 33"/>
                  <a:gd name="T1" fmla="*/ 41 h 48"/>
                  <a:gd name="T2" fmla="*/ 8 w 33"/>
                  <a:gd name="T3" fmla="*/ 47 h 48"/>
                  <a:gd name="T4" fmla="*/ 17 w 33"/>
                  <a:gd name="T5" fmla="*/ 41 h 48"/>
                  <a:gd name="T6" fmla="*/ 32 w 33"/>
                  <a:gd name="T7" fmla="*/ 23 h 48"/>
                  <a:gd name="T8" fmla="*/ 0 w 33"/>
                  <a:gd name="T9" fmla="*/ 0 h 48"/>
                  <a:gd name="T10" fmla="*/ 0 w 33"/>
                  <a:gd name="T11" fmla="*/ 7 h 48"/>
                  <a:gd name="T12" fmla="*/ 0 w 33"/>
                  <a:gd name="T13" fmla="*/ 23 h 48"/>
                  <a:gd name="T14" fmla="*/ 0 w 33"/>
                  <a:gd name="T15" fmla="*/ 41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8">
                    <a:moveTo>
                      <a:pt x="0" y="41"/>
                    </a:moveTo>
                    <a:lnTo>
                      <a:pt x="8" y="47"/>
                    </a:lnTo>
                    <a:lnTo>
                      <a:pt x="17" y="41"/>
                    </a:lnTo>
                    <a:lnTo>
                      <a:pt x="32" y="23"/>
                    </a:lnTo>
                    <a:lnTo>
                      <a:pt x="0" y="0"/>
                    </a:lnTo>
                    <a:lnTo>
                      <a:pt x="0" y="7"/>
                    </a:lnTo>
                    <a:lnTo>
                      <a:pt x="0" y="23"/>
                    </a:lnTo>
                    <a:lnTo>
                      <a:pt x="0" y="41"/>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56" name="Freeform 100">
                <a:extLst>
                  <a:ext uri="{FF2B5EF4-FFF2-40B4-BE49-F238E27FC236}">
                    <a16:creationId xmlns:a16="http://schemas.microsoft.com/office/drawing/2014/main" id="{E295768D-85E2-263D-1635-6FA5C458278D}"/>
                  </a:ext>
                </a:extLst>
              </p:cNvPr>
              <p:cNvSpPr>
                <a:spLocks/>
              </p:cNvSpPr>
              <p:nvPr/>
            </p:nvSpPr>
            <p:spPr bwMode="gray">
              <a:xfrm>
                <a:off x="4944065" y="4513111"/>
                <a:ext cx="68305" cy="69862"/>
              </a:xfrm>
              <a:custGeom>
                <a:avLst/>
                <a:gdLst>
                  <a:gd name="T0" fmla="*/ 48 w 49"/>
                  <a:gd name="T1" fmla="*/ 41 h 48"/>
                  <a:gd name="T2" fmla="*/ 48 w 49"/>
                  <a:gd name="T3" fmla="*/ 23 h 48"/>
                  <a:gd name="T4" fmla="*/ 48 w 49"/>
                  <a:gd name="T5" fmla="*/ 7 h 48"/>
                  <a:gd name="T6" fmla="*/ 48 w 49"/>
                  <a:gd name="T7" fmla="*/ 0 h 48"/>
                  <a:gd name="T8" fmla="*/ 15 w 49"/>
                  <a:gd name="T9" fmla="*/ 0 h 48"/>
                  <a:gd name="T10" fmla="*/ 0 w 49"/>
                  <a:gd name="T11" fmla="*/ 16 h 48"/>
                  <a:gd name="T12" fmla="*/ 15 w 49"/>
                  <a:gd name="T13" fmla="*/ 47 h 48"/>
                  <a:gd name="T14" fmla="*/ 25 w 49"/>
                  <a:gd name="T15" fmla="*/ 47 h 48"/>
                  <a:gd name="T16" fmla="*/ 31 w 49"/>
                  <a:gd name="T17" fmla="*/ 41 h 48"/>
                  <a:gd name="T18" fmla="*/ 48 w 49"/>
                  <a:gd name="T19" fmla="*/ 4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57" name="Freeform 101">
                <a:extLst>
                  <a:ext uri="{FF2B5EF4-FFF2-40B4-BE49-F238E27FC236}">
                    <a16:creationId xmlns:a16="http://schemas.microsoft.com/office/drawing/2014/main" id="{114F7435-9749-4294-B091-37EA9C4F2504}"/>
                  </a:ext>
                </a:extLst>
              </p:cNvPr>
              <p:cNvSpPr>
                <a:spLocks/>
              </p:cNvSpPr>
              <p:nvPr/>
            </p:nvSpPr>
            <p:spPr bwMode="gray">
              <a:xfrm>
                <a:off x="4885180" y="4465311"/>
                <a:ext cx="81260" cy="131146"/>
              </a:xfrm>
              <a:custGeom>
                <a:avLst/>
                <a:gdLst>
                  <a:gd name="T0" fmla="*/ 16 w 57"/>
                  <a:gd name="T1" fmla="*/ 0 h 90"/>
                  <a:gd name="T2" fmla="*/ 32 w 57"/>
                  <a:gd name="T3" fmla="*/ 9 h 90"/>
                  <a:gd name="T4" fmla="*/ 32 w 57"/>
                  <a:gd name="T5" fmla="*/ 15 h 90"/>
                  <a:gd name="T6" fmla="*/ 41 w 57"/>
                  <a:gd name="T7" fmla="*/ 15 h 90"/>
                  <a:gd name="T8" fmla="*/ 56 w 57"/>
                  <a:gd name="T9" fmla="*/ 33 h 90"/>
                  <a:gd name="T10" fmla="*/ 41 w 57"/>
                  <a:gd name="T11" fmla="*/ 49 h 90"/>
                  <a:gd name="T12" fmla="*/ 56 w 57"/>
                  <a:gd name="T13" fmla="*/ 80 h 90"/>
                  <a:gd name="T14" fmla="*/ 32 w 57"/>
                  <a:gd name="T15" fmla="*/ 89 h 90"/>
                  <a:gd name="T16" fmla="*/ 24 w 57"/>
                  <a:gd name="T17" fmla="*/ 89 h 90"/>
                  <a:gd name="T18" fmla="*/ 16 w 57"/>
                  <a:gd name="T19" fmla="*/ 74 h 90"/>
                  <a:gd name="T20" fmla="*/ 16 w 57"/>
                  <a:gd name="T21" fmla="*/ 49 h 90"/>
                  <a:gd name="T22" fmla="*/ 16 w 57"/>
                  <a:gd name="T23" fmla="*/ 40 h 90"/>
                  <a:gd name="T24" fmla="*/ 7 w 57"/>
                  <a:gd name="T25" fmla="*/ 40 h 90"/>
                  <a:gd name="T26" fmla="*/ 0 w 57"/>
                  <a:gd name="T27" fmla="*/ 33 h 90"/>
                  <a:gd name="T28" fmla="*/ 0 w 57"/>
                  <a:gd name="T29" fmla="*/ 15 h 90"/>
                  <a:gd name="T30" fmla="*/ 7 w 57"/>
                  <a:gd name="T31" fmla="*/ 15 h 90"/>
                  <a:gd name="T32" fmla="*/ 7 w 57"/>
                  <a:gd name="T33" fmla="*/ 9 h 90"/>
                  <a:gd name="T34" fmla="*/ 16 w 57"/>
                  <a:gd name="T3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58" name="Freeform 102">
                <a:extLst>
                  <a:ext uri="{FF2B5EF4-FFF2-40B4-BE49-F238E27FC236}">
                    <a16:creationId xmlns:a16="http://schemas.microsoft.com/office/drawing/2014/main" id="{F8E61F2E-27E0-2FB2-0A37-CD7AFAEF6A5A}"/>
                  </a:ext>
                </a:extLst>
              </p:cNvPr>
              <p:cNvSpPr>
                <a:spLocks/>
              </p:cNvSpPr>
              <p:nvPr/>
            </p:nvSpPr>
            <p:spPr bwMode="gray">
              <a:xfrm>
                <a:off x="4667311" y="4391771"/>
                <a:ext cx="242601" cy="216942"/>
              </a:xfrm>
              <a:custGeom>
                <a:avLst/>
                <a:gdLst>
                  <a:gd name="T0" fmla="*/ 171 w 172"/>
                  <a:gd name="T1" fmla="*/ 50 h 148"/>
                  <a:gd name="T2" fmla="*/ 162 w 172"/>
                  <a:gd name="T3" fmla="*/ 59 h 148"/>
                  <a:gd name="T4" fmla="*/ 162 w 172"/>
                  <a:gd name="T5" fmla="*/ 65 h 148"/>
                  <a:gd name="T6" fmla="*/ 155 w 172"/>
                  <a:gd name="T7" fmla="*/ 65 h 148"/>
                  <a:gd name="T8" fmla="*/ 155 w 172"/>
                  <a:gd name="T9" fmla="*/ 83 h 148"/>
                  <a:gd name="T10" fmla="*/ 162 w 172"/>
                  <a:gd name="T11" fmla="*/ 90 h 148"/>
                  <a:gd name="T12" fmla="*/ 155 w 172"/>
                  <a:gd name="T13" fmla="*/ 99 h 148"/>
                  <a:gd name="T14" fmla="*/ 131 w 172"/>
                  <a:gd name="T15" fmla="*/ 106 h 148"/>
                  <a:gd name="T16" fmla="*/ 106 w 172"/>
                  <a:gd name="T17" fmla="*/ 99 h 148"/>
                  <a:gd name="T18" fmla="*/ 115 w 172"/>
                  <a:gd name="T19" fmla="*/ 106 h 148"/>
                  <a:gd name="T20" fmla="*/ 115 w 172"/>
                  <a:gd name="T21" fmla="*/ 124 h 148"/>
                  <a:gd name="T22" fmla="*/ 122 w 172"/>
                  <a:gd name="T23" fmla="*/ 130 h 148"/>
                  <a:gd name="T24" fmla="*/ 99 w 172"/>
                  <a:gd name="T25" fmla="*/ 147 h 148"/>
                  <a:gd name="T26" fmla="*/ 90 w 172"/>
                  <a:gd name="T27" fmla="*/ 147 h 148"/>
                  <a:gd name="T28" fmla="*/ 82 w 172"/>
                  <a:gd name="T29" fmla="*/ 139 h 148"/>
                  <a:gd name="T30" fmla="*/ 74 w 172"/>
                  <a:gd name="T31" fmla="*/ 130 h 148"/>
                  <a:gd name="T32" fmla="*/ 74 w 172"/>
                  <a:gd name="T33" fmla="*/ 115 h 148"/>
                  <a:gd name="T34" fmla="*/ 65 w 172"/>
                  <a:gd name="T35" fmla="*/ 99 h 148"/>
                  <a:gd name="T36" fmla="*/ 74 w 172"/>
                  <a:gd name="T37" fmla="*/ 74 h 148"/>
                  <a:gd name="T38" fmla="*/ 50 w 172"/>
                  <a:gd name="T39" fmla="*/ 74 h 148"/>
                  <a:gd name="T40" fmla="*/ 40 w 172"/>
                  <a:gd name="T41" fmla="*/ 65 h 148"/>
                  <a:gd name="T42" fmla="*/ 16 w 172"/>
                  <a:gd name="T43" fmla="*/ 65 h 148"/>
                  <a:gd name="T44" fmla="*/ 9 w 172"/>
                  <a:gd name="T45" fmla="*/ 59 h 148"/>
                  <a:gd name="T46" fmla="*/ 9 w 172"/>
                  <a:gd name="T47" fmla="*/ 50 h 148"/>
                  <a:gd name="T48" fmla="*/ 0 w 172"/>
                  <a:gd name="T49" fmla="*/ 34 h 148"/>
                  <a:gd name="T50" fmla="*/ 9 w 172"/>
                  <a:gd name="T51" fmla="*/ 18 h 148"/>
                  <a:gd name="T52" fmla="*/ 16 w 172"/>
                  <a:gd name="T53" fmla="*/ 10 h 148"/>
                  <a:gd name="T54" fmla="*/ 25 w 172"/>
                  <a:gd name="T55" fmla="*/ 18 h 148"/>
                  <a:gd name="T56" fmla="*/ 16 w 172"/>
                  <a:gd name="T57" fmla="*/ 25 h 148"/>
                  <a:gd name="T58" fmla="*/ 16 w 172"/>
                  <a:gd name="T59" fmla="*/ 41 h 148"/>
                  <a:gd name="T60" fmla="*/ 25 w 172"/>
                  <a:gd name="T61" fmla="*/ 34 h 148"/>
                  <a:gd name="T62" fmla="*/ 25 w 172"/>
                  <a:gd name="T63" fmla="*/ 18 h 148"/>
                  <a:gd name="T64" fmla="*/ 40 w 172"/>
                  <a:gd name="T65" fmla="*/ 10 h 148"/>
                  <a:gd name="T66" fmla="*/ 40 w 172"/>
                  <a:gd name="T67" fmla="*/ 0 h 148"/>
                  <a:gd name="T68" fmla="*/ 40 w 172"/>
                  <a:gd name="T69" fmla="*/ 10 h 148"/>
                  <a:gd name="T70" fmla="*/ 65 w 172"/>
                  <a:gd name="T71" fmla="*/ 10 h 148"/>
                  <a:gd name="T72" fmla="*/ 65 w 172"/>
                  <a:gd name="T73" fmla="*/ 18 h 148"/>
                  <a:gd name="T74" fmla="*/ 90 w 172"/>
                  <a:gd name="T75" fmla="*/ 18 h 148"/>
                  <a:gd name="T76" fmla="*/ 106 w 172"/>
                  <a:gd name="T77" fmla="*/ 25 h 148"/>
                  <a:gd name="T78" fmla="*/ 122 w 172"/>
                  <a:gd name="T79" fmla="*/ 18 h 148"/>
                  <a:gd name="T80" fmla="*/ 139 w 172"/>
                  <a:gd name="T81" fmla="*/ 18 h 148"/>
                  <a:gd name="T82" fmla="*/ 131 w 172"/>
                  <a:gd name="T83" fmla="*/ 18 h 148"/>
                  <a:gd name="T84" fmla="*/ 139 w 172"/>
                  <a:gd name="T85" fmla="*/ 25 h 148"/>
                  <a:gd name="T86" fmla="*/ 155 w 172"/>
                  <a:gd name="T87" fmla="*/ 34 h 148"/>
                  <a:gd name="T88" fmla="*/ 155 w 172"/>
                  <a:gd name="T89" fmla="*/ 50 h 148"/>
                  <a:gd name="T90" fmla="*/ 162 w 172"/>
                  <a:gd name="T91" fmla="*/ 41 h 148"/>
                  <a:gd name="T92" fmla="*/ 171 w 172"/>
                  <a:gd name="T93" fmla="*/ 5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59" name="Freeform 197">
                <a:extLst>
                  <a:ext uri="{FF2B5EF4-FFF2-40B4-BE49-F238E27FC236}">
                    <a16:creationId xmlns:a16="http://schemas.microsoft.com/office/drawing/2014/main" id="{302F11A6-3E5D-72C7-9A9E-BD24B78CAC32}"/>
                  </a:ext>
                </a:extLst>
              </p:cNvPr>
              <p:cNvSpPr>
                <a:spLocks/>
              </p:cNvSpPr>
              <p:nvPr/>
            </p:nvSpPr>
            <p:spPr bwMode="gray">
              <a:xfrm>
                <a:off x="4646112" y="5474029"/>
                <a:ext cx="24732" cy="49026"/>
              </a:xfrm>
              <a:custGeom>
                <a:avLst/>
                <a:gdLst>
                  <a:gd name="T0" fmla="*/ 6 w 17"/>
                  <a:gd name="T1" fmla="*/ 0 h 33"/>
                  <a:gd name="T2" fmla="*/ 0 w 17"/>
                  <a:gd name="T3" fmla="*/ 23 h 33"/>
                  <a:gd name="T4" fmla="*/ 6 w 17"/>
                  <a:gd name="T5" fmla="*/ 32 h 33"/>
                  <a:gd name="T6" fmla="*/ 16 w 17"/>
                  <a:gd name="T7" fmla="*/ 7 h 33"/>
                  <a:gd name="T8" fmla="*/ 6 w 17"/>
                  <a:gd name="T9" fmla="*/ 0 h 33"/>
                </a:gdLst>
                <a:ahLst/>
                <a:cxnLst>
                  <a:cxn ang="0">
                    <a:pos x="T0" y="T1"/>
                  </a:cxn>
                  <a:cxn ang="0">
                    <a:pos x="T2" y="T3"/>
                  </a:cxn>
                  <a:cxn ang="0">
                    <a:pos x="T4" y="T5"/>
                  </a:cxn>
                  <a:cxn ang="0">
                    <a:pos x="T6" y="T7"/>
                  </a:cxn>
                  <a:cxn ang="0">
                    <a:pos x="T8" y="T9"/>
                  </a:cxn>
                </a:cxnLst>
                <a:rect l="0" t="0" r="r" b="b"/>
                <a:pathLst>
                  <a:path w="17" h="33">
                    <a:moveTo>
                      <a:pt x="6" y="0"/>
                    </a:moveTo>
                    <a:lnTo>
                      <a:pt x="0" y="23"/>
                    </a:lnTo>
                    <a:lnTo>
                      <a:pt x="6" y="32"/>
                    </a:lnTo>
                    <a:lnTo>
                      <a:pt x="16" y="7"/>
                    </a:lnTo>
                    <a:lnTo>
                      <a:pt x="6"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0" name="Freeform 198">
                <a:extLst>
                  <a:ext uri="{FF2B5EF4-FFF2-40B4-BE49-F238E27FC236}">
                    <a16:creationId xmlns:a16="http://schemas.microsoft.com/office/drawing/2014/main" id="{DC0D667E-2DA8-6CA7-7D0B-28CA28E8D13F}"/>
                  </a:ext>
                </a:extLst>
              </p:cNvPr>
              <p:cNvSpPr>
                <a:spLocks/>
              </p:cNvSpPr>
              <p:nvPr/>
            </p:nvSpPr>
            <p:spPr bwMode="gray">
              <a:xfrm>
                <a:off x="4576629" y="4264303"/>
                <a:ext cx="36508" cy="24513"/>
              </a:xfrm>
              <a:custGeom>
                <a:avLst/>
                <a:gdLst>
                  <a:gd name="T0" fmla="*/ 0 w 26"/>
                  <a:gd name="T1" fmla="*/ 7 h 17"/>
                  <a:gd name="T2" fmla="*/ 16 w 26"/>
                  <a:gd name="T3" fmla="*/ 16 h 17"/>
                  <a:gd name="T4" fmla="*/ 25 w 26"/>
                  <a:gd name="T5" fmla="*/ 7 h 17"/>
                  <a:gd name="T6" fmla="*/ 9 w 26"/>
                  <a:gd name="T7" fmla="*/ 0 h 17"/>
                  <a:gd name="T8" fmla="*/ 0 w 26"/>
                  <a:gd name="T9" fmla="*/ 7 h 17"/>
                </a:gdLst>
                <a:ahLst/>
                <a:cxnLst>
                  <a:cxn ang="0">
                    <a:pos x="T0" y="T1"/>
                  </a:cxn>
                  <a:cxn ang="0">
                    <a:pos x="T2" y="T3"/>
                  </a:cxn>
                  <a:cxn ang="0">
                    <a:pos x="T4" y="T5"/>
                  </a:cxn>
                  <a:cxn ang="0">
                    <a:pos x="T6" y="T7"/>
                  </a:cxn>
                  <a:cxn ang="0">
                    <a:pos x="T8" y="T9"/>
                  </a:cxn>
                </a:cxnLst>
                <a:rect l="0" t="0" r="r" b="b"/>
                <a:pathLst>
                  <a:path w="26" h="17">
                    <a:moveTo>
                      <a:pt x="0" y="7"/>
                    </a:moveTo>
                    <a:lnTo>
                      <a:pt x="16" y="16"/>
                    </a:lnTo>
                    <a:lnTo>
                      <a:pt x="25" y="7"/>
                    </a:lnTo>
                    <a:lnTo>
                      <a:pt x="9" y="0"/>
                    </a:lnTo>
                    <a:lnTo>
                      <a:pt x="0" y="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1" name="Freeform 199">
                <a:extLst>
                  <a:ext uri="{FF2B5EF4-FFF2-40B4-BE49-F238E27FC236}">
                    <a16:creationId xmlns:a16="http://schemas.microsoft.com/office/drawing/2014/main" id="{F5243071-6AE6-A608-F890-EAD91C96FB91}"/>
                  </a:ext>
                </a:extLst>
              </p:cNvPr>
              <p:cNvSpPr>
                <a:spLocks/>
              </p:cNvSpPr>
              <p:nvPr/>
            </p:nvSpPr>
            <p:spPr bwMode="gray">
              <a:xfrm>
                <a:off x="4462396" y="4168700"/>
                <a:ext cx="184895" cy="73540"/>
              </a:xfrm>
              <a:custGeom>
                <a:avLst/>
                <a:gdLst>
                  <a:gd name="T0" fmla="*/ 0 w 132"/>
                  <a:gd name="T1" fmla="*/ 24 h 50"/>
                  <a:gd name="T2" fmla="*/ 9 w 132"/>
                  <a:gd name="T3" fmla="*/ 24 h 50"/>
                  <a:gd name="T4" fmla="*/ 25 w 132"/>
                  <a:gd name="T5" fmla="*/ 8 h 50"/>
                  <a:gd name="T6" fmla="*/ 41 w 132"/>
                  <a:gd name="T7" fmla="*/ 15 h 50"/>
                  <a:gd name="T8" fmla="*/ 34 w 132"/>
                  <a:gd name="T9" fmla="*/ 15 h 50"/>
                  <a:gd name="T10" fmla="*/ 41 w 132"/>
                  <a:gd name="T11" fmla="*/ 15 h 50"/>
                  <a:gd name="T12" fmla="*/ 74 w 132"/>
                  <a:gd name="T13" fmla="*/ 24 h 50"/>
                  <a:gd name="T14" fmla="*/ 81 w 132"/>
                  <a:gd name="T15" fmla="*/ 40 h 50"/>
                  <a:gd name="T16" fmla="*/ 97 w 132"/>
                  <a:gd name="T17" fmla="*/ 40 h 50"/>
                  <a:gd name="T18" fmla="*/ 90 w 132"/>
                  <a:gd name="T19" fmla="*/ 49 h 50"/>
                  <a:gd name="T20" fmla="*/ 131 w 132"/>
                  <a:gd name="T21" fmla="*/ 49 h 50"/>
                  <a:gd name="T22" fmla="*/ 122 w 132"/>
                  <a:gd name="T23" fmla="*/ 40 h 50"/>
                  <a:gd name="T24" fmla="*/ 114 w 132"/>
                  <a:gd name="T25" fmla="*/ 40 h 50"/>
                  <a:gd name="T26" fmla="*/ 114 w 132"/>
                  <a:gd name="T27" fmla="*/ 31 h 50"/>
                  <a:gd name="T28" fmla="*/ 81 w 132"/>
                  <a:gd name="T29" fmla="*/ 15 h 50"/>
                  <a:gd name="T30" fmla="*/ 41 w 132"/>
                  <a:gd name="T31" fmla="*/ 0 h 50"/>
                  <a:gd name="T32" fmla="*/ 16 w 132"/>
                  <a:gd name="T33" fmla="*/ 8 h 50"/>
                  <a:gd name="T34" fmla="*/ 0 w 132"/>
                  <a:gd name="T35" fmla="*/ 24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2" name="Freeform 200">
                <a:extLst>
                  <a:ext uri="{FF2B5EF4-FFF2-40B4-BE49-F238E27FC236}">
                    <a16:creationId xmlns:a16="http://schemas.microsoft.com/office/drawing/2014/main" id="{BDEDE277-98C7-C0A0-71F7-0C2E413C54BB}"/>
                  </a:ext>
                </a:extLst>
              </p:cNvPr>
              <p:cNvSpPr>
                <a:spLocks/>
              </p:cNvSpPr>
              <p:nvPr/>
            </p:nvSpPr>
            <p:spPr bwMode="gray">
              <a:xfrm>
                <a:off x="4576630" y="4131930"/>
                <a:ext cx="23553" cy="37996"/>
              </a:xfrm>
              <a:custGeom>
                <a:avLst/>
                <a:gdLst>
                  <a:gd name="T0" fmla="*/ 0 w 17"/>
                  <a:gd name="T1" fmla="*/ 0 h 26"/>
                  <a:gd name="T2" fmla="*/ 0 w 17"/>
                  <a:gd name="T3" fmla="*/ 8 h 26"/>
                  <a:gd name="T4" fmla="*/ 16 w 17"/>
                  <a:gd name="T5" fmla="*/ 25 h 26"/>
                  <a:gd name="T6" fmla="*/ 16 w 17"/>
                  <a:gd name="T7" fmla="*/ 8 h 26"/>
                  <a:gd name="T8" fmla="*/ 0 w 17"/>
                  <a:gd name="T9" fmla="*/ 0 h 26"/>
                </a:gdLst>
                <a:ahLst/>
                <a:cxnLst>
                  <a:cxn ang="0">
                    <a:pos x="T0" y="T1"/>
                  </a:cxn>
                  <a:cxn ang="0">
                    <a:pos x="T2" y="T3"/>
                  </a:cxn>
                  <a:cxn ang="0">
                    <a:pos x="T4" y="T5"/>
                  </a:cxn>
                  <a:cxn ang="0">
                    <a:pos x="T6" y="T7"/>
                  </a:cxn>
                  <a:cxn ang="0">
                    <a:pos x="T8" y="T9"/>
                  </a:cxn>
                </a:cxnLst>
                <a:rect l="0" t="0" r="r" b="b"/>
                <a:pathLst>
                  <a:path w="17" h="26">
                    <a:moveTo>
                      <a:pt x="0" y="0"/>
                    </a:moveTo>
                    <a:lnTo>
                      <a:pt x="0" y="8"/>
                    </a:lnTo>
                    <a:lnTo>
                      <a:pt x="16" y="25"/>
                    </a:lnTo>
                    <a:lnTo>
                      <a:pt x="16" y="8"/>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3" name="Freeform 201">
                <a:extLst>
                  <a:ext uri="{FF2B5EF4-FFF2-40B4-BE49-F238E27FC236}">
                    <a16:creationId xmlns:a16="http://schemas.microsoft.com/office/drawing/2014/main" id="{224C3172-0C53-992E-85C9-90193250A95F}"/>
                  </a:ext>
                </a:extLst>
              </p:cNvPr>
              <p:cNvSpPr>
                <a:spLocks/>
              </p:cNvSpPr>
              <p:nvPr/>
            </p:nvSpPr>
            <p:spPr bwMode="gray">
              <a:xfrm>
                <a:off x="4418821" y="2957748"/>
                <a:ext cx="124834" cy="132371"/>
              </a:xfrm>
              <a:custGeom>
                <a:avLst/>
                <a:gdLst>
                  <a:gd name="T0" fmla="*/ 0 w 89"/>
                  <a:gd name="T1" fmla="*/ 73 h 91"/>
                  <a:gd name="T2" fmla="*/ 15 w 89"/>
                  <a:gd name="T3" fmla="*/ 73 h 91"/>
                  <a:gd name="T4" fmla="*/ 15 w 89"/>
                  <a:gd name="T5" fmla="*/ 90 h 91"/>
                  <a:gd name="T6" fmla="*/ 31 w 89"/>
                  <a:gd name="T7" fmla="*/ 90 h 91"/>
                  <a:gd name="T8" fmla="*/ 47 w 89"/>
                  <a:gd name="T9" fmla="*/ 65 h 91"/>
                  <a:gd name="T10" fmla="*/ 56 w 89"/>
                  <a:gd name="T11" fmla="*/ 65 h 91"/>
                  <a:gd name="T12" fmla="*/ 72 w 89"/>
                  <a:gd name="T13" fmla="*/ 81 h 91"/>
                  <a:gd name="T14" fmla="*/ 88 w 89"/>
                  <a:gd name="T15" fmla="*/ 65 h 91"/>
                  <a:gd name="T16" fmla="*/ 72 w 89"/>
                  <a:gd name="T17" fmla="*/ 65 h 91"/>
                  <a:gd name="T18" fmla="*/ 56 w 89"/>
                  <a:gd name="T19" fmla="*/ 40 h 91"/>
                  <a:gd name="T20" fmla="*/ 31 w 89"/>
                  <a:gd name="T21" fmla="*/ 16 h 91"/>
                  <a:gd name="T22" fmla="*/ 25 w 89"/>
                  <a:gd name="T23" fmla="*/ 0 h 91"/>
                  <a:gd name="T24" fmla="*/ 15 w 89"/>
                  <a:gd name="T25" fmla="*/ 16 h 91"/>
                  <a:gd name="T26" fmla="*/ 6 w 89"/>
                  <a:gd name="T27" fmla="*/ 25 h 91"/>
                  <a:gd name="T28" fmla="*/ 15 w 89"/>
                  <a:gd name="T29" fmla="*/ 65 h 91"/>
                  <a:gd name="T30" fmla="*/ 0 w 89"/>
                  <a:gd name="T31" fmla="*/ 7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4" name="Freeform 202">
                <a:extLst>
                  <a:ext uri="{FF2B5EF4-FFF2-40B4-BE49-F238E27FC236}">
                    <a16:creationId xmlns:a16="http://schemas.microsoft.com/office/drawing/2014/main" id="{A75674DB-77DC-E747-F1BA-A34B1A301EC3}"/>
                  </a:ext>
                </a:extLst>
              </p:cNvPr>
              <p:cNvSpPr>
                <a:spLocks/>
              </p:cNvSpPr>
              <p:nvPr/>
            </p:nvSpPr>
            <p:spPr bwMode="gray">
              <a:xfrm>
                <a:off x="4599004" y="2851116"/>
                <a:ext cx="36508" cy="60057"/>
              </a:xfrm>
              <a:custGeom>
                <a:avLst/>
                <a:gdLst>
                  <a:gd name="T0" fmla="*/ 0 w 26"/>
                  <a:gd name="T1" fmla="*/ 25 h 41"/>
                  <a:gd name="T2" fmla="*/ 0 w 26"/>
                  <a:gd name="T3" fmla="*/ 40 h 41"/>
                  <a:gd name="T4" fmla="*/ 17 w 26"/>
                  <a:gd name="T5" fmla="*/ 31 h 41"/>
                  <a:gd name="T6" fmla="*/ 25 w 26"/>
                  <a:gd name="T7" fmla="*/ 25 h 41"/>
                  <a:gd name="T8" fmla="*/ 25 w 26"/>
                  <a:gd name="T9" fmla="*/ 16 h 41"/>
                  <a:gd name="T10" fmla="*/ 25 w 26"/>
                  <a:gd name="T11" fmla="*/ 0 h 41"/>
                  <a:gd name="T12" fmla="*/ 9 w 26"/>
                  <a:gd name="T13" fmla="*/ 0 h 41"/>
                  <a:gd name="T14" fmla="*/ 0 w 26"/>
                  <a:gd name="T15" fmla="*/ 25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41">
                    <a:moveTo>
                      <a:pt x="0" y="25"/>
                    </a:moveTo>
                    <a:lnTo>
                      <a:pt x="0" y="40"/>
                    </a:lnTo>
                    <a:lnTo>
                      <a:pt x="17" y="31"/>
                    </a:lnTo>
                    <a:lnTo>
                      <a:pt x="25" y="25"/>
                    </a:lnTo>
                    <a:lnTo>
                      <a:pt x="25" y="16"/>
                    </a:lnTo>
                    <a:lnTo>
                      <a:pt x="25" y="0"/>
                    </a:lnTo>
                    <a:lnTo>
                      <a:pt x="9" y="0"/>
                    </a:lnTo>
                    <a:lnTo>
                      <a:pt x="0" y="25"/>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5" name="Freeform 203">
                <a:extLst>
                  <a:ext uri="{FF2B5EF4-FFF2-40B4-BE49-F238E27FC236}">
                    <a16:creationId xmlns:a16="http://schemas.microsoft.com/office/drawing/2014/main" id="{6DFFC28E-9C6D-0CD6-55D8-6658898E32BB}"/>
                  </a:ext>
                </a:extLst>
              </p:cNvPr>
              <p:cNvSpPr>
                <a:spLocks/>
              </p:cNvSpPr>
              <p:nvPr/>
            </p:nvSpPr>
            <p:spPr bwMode="gray">
              <a:xfrm>
                <a:off x="4530701" y="2528767"/>
                <a:ext cx="82437" cy="63735"/>
              </a:xfrm>
              <a:custGeom>
                <a:avLst/>
                <a:gdLst>
                  <a:gd name="T0" fmla="*/ 0 w 58"/>
                  <a:gd name="T1" fmla="*/ 0 h 43"/>
                  <a:gd name="T2" fmla="*/ 0 w 58"/>
                  <a:gd name="T3" fmla="*/ 17 h 43"/>
                  <a:gd name="T4" fmla="*/ 0 w 58"/>
                  <a:gd name="T5" fmla="*/ 42 h 43"/>
                  <a:gd name="T6" fmla="*/ 25 w 58"/>
                  <a:gd name="T7" fmla="*/ 42 h 43"/>
                  <a:gd name="T8" fmla="*/ 32 w 58"/>
                  <a:gd name="T9" fmla="*/ 42 h 43"/>
                  <a:gd name="T10" fmla="*/ 57 w 58"/>
                  <a:gd name="T11" fmla="*/ 42 h 43"/>
                  <a:gd name="T12" fmla="*/ 57 w 58"/>
                  <a:gd name="T13" fmla="*/ 34 h 43"/>
                  <a:gd name="T14" fmla="*/ 48 w 58"/>
                  <a:gd name="T15" fmla="*/ 9 h 43"/>
                  <a:gd name="T16" fmla="*/ 41 w 58"/>
                  <a:gd name="T17" fmla="*/ 0 h 43"/>
                  <a:gd name="T18" fmla="*/ 17 w 58"/>
                  <a:gd name="T19" fmla="*/ 0 h 43"/>
                  <a:gd name="T20" fmla="*/ 0 w 58"/>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66" name="Freeform 212">
                <a:extLst>
                  <a:ext uri="{FF2B5EF4-FFF2-40B4-BE49-F238E27FC236}">
                    <a16:creationId xmlns:a16="http://schemas.microsoft.com/office/drawing/2014/main" id="{4372BBAB-B0D3-8BEC-511B-287085BA11FB}"/>
                  </a:ext>
                </a:extLst>
              </p:cNvPr>
              <p:cNvSpPr>
                <a:spLocks/>
              </p:cNvSpPr>
              <p:nvPr/>
            </p:nvSpPr>
            <p:spPr bwMode="gray">
              <a:xfrm>
                <a:off x="4246880" y="2413555"/>
                <a:ext cx="57707" cy="60057"/>
              </a:xfrm>
              <a:custGeom>
                <a:avLst/>
                <a:gdLst>
                  <a:gd name="T0" fmla="*/ 0 w 41"/>
                  <a:gd name="T1" fmla="*/ 23 h 41"/>
                  <a:gd name="T2" fmla="*/ 40 w 41"/>
                  <a:gd name="T3" fmla="*/ 40 h 41"/>
                  <a:gd name="T4" fmla="*/ 40 w 41"/>
                  <a:gd name="T5" fmla="*/ 16 h 41"/>
                  <a:gd name="T6" fmla="*/ 23 w 41"/>
                  <a:gd name="T7" fmla="*/ 0 h 41"/>
                  <a:gd name="T8" fmla="*/ 16 w 41"/>
                  <a:gd name="T9" fmla="*/ 0 h 41"/>
                  <a:gd name="T10" fmla="*/ 0 w 41"/>
                  <a:gd name="T11" fmla="*/ 23 h 41"/>
                </a:gdLst>
                <a:ahLst/>
                <a:cxnLst>
                  <a:cxn ang="0">
                    <a:pos x="T0" y="T1"/>
                  </a:cxn>
                  <a:cxn ang="0">
                    <a:pos x="T2" y="T3"/>
                  </a:cxn>
                  <a:cxn ang="0">
                    <a:pos x="T4" y="T5"/>
                  </a:cxn>
                  <a:cxn ang="0">
                    <a:pos x="T6" y="T7"/>
                  </a:cxn>
                  <a:cxn ang="0">
                    <a:pos x="T8" y="T9"/>
                  </a:cxn>
                  <a:cxn ang="0">
                    <a:pos x="T10" y="T11"/>
                  </a:cxn>
                </a:cxnLst>
                <a:rect l="0" t="0" r="r" b="b"/>
                <a:pathLst>
                  <a:path w="41" h="41">
                    <a:moveTo>
                      <a:pt x="0" y="23"/>
                    </a:moveTo>
                    <a:lnTo>
                      <a:pt x="40" y="40"/>
                    </a:lnTo>
                    <a:lnTo>
                      <a:pt x="40" y="16"/>
                    </a:lnTo>
                    <a:lnTo>
                      <a:pt x="23" y="0"/>
                    </a:lnTo>
                    <a:lnTo>
                      <a:pt x="16" y="0"/>
                    </a:lnTo>
                    <a:lnTo>
                      <a:pt x="0" y="2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7" name="Freeform 213">
                <a:extLst>
                  <a:ext uri="{FF2B5EF4-FFF2-40B4-BE49-F238E27FC236}">
                    <a16:creationId xmlns:a16="http://schemas.microsoft.com/office/drawing/2014/main" id="{239F19CB-4826-ACC2-344A-A368A0F2CB70}"/>
                  </a:ext>
                </a:extLst>
              </p:cNvPr>
              <p:cNvSpPr>
                <a:spLocks/>
              </p:cNvSpPr>
              <p:nvPr/>
            </p:nvSpPr>
            <p:spPr bwMode="gray">
              <a:xfrm>
                <a:off x="4257479" y="2294664"/>
                <a:ext cx="299130" cy="202234"/>
              </a:xfrm>
              <a:custGeom>
                <a:avLst/>
                <a:gdLst>
                  <a:gd name="T0" fmla="*/ 0 w 212"/>
                  <a:gd name="T1" fmla="*/ 0 h 138"/>
                  <a:gd name="T2" fmla="*/ 0 w 212"/>
                  <a:gd name="T3" fmla="*/ 16 h 138"/>
                  <a:gd name="T4" fmla="*/ 15 w 212"/>
                  <a:gd name="T5" fmla="*/ 40 h 138"/>
                  <a:gd name="T6" fmla="*/ 32 w 212"/>
                  <a:gd name="T7" fmla="*/ 40 h 138"/>
                  <a:gd name="T8" fmla="*/ 49 w 212"/>
                  <a:gd name="T9" fmla="*/ 47 h 138"/>
                  <a:gd name="T10" fmla="*/ 49 w 212"/>
                  <a:gd name="T11" fmla="*/ 121 h 138"/>
                  <a:gd name="T12" fmla="*/ 120 w 212"/>
                  <a:gd name="T13" fmla="*/ 137 h 138"/>
                  <a:gd name="T14" fmla="*/ 145 w 212"/>
                  <a:gd name="T15" fmla="*/ 137 h 138"/>
                  <a:gd name="T16" fmla="*/ 161 w 212"/>
                  <a:gd name="T17" fmla="*/ 121 h 138"/>
                  <a:gd name="T18" fmla="*/ 179 w 212"/>
                  <a:gd name="T19" fmla="*/ 129 h 138"/>
                  <a:gd name="T20" fmla="*/ 202 w 212"/>
                  <a:gd name="T21" fmla="*/ 121 h 138"/>
                  <a:gd name="T22" fmla="*/ 211 w 212"/>
                  <a:gd name="T23" fmla="*/ 81 h 138"/>
                  <a:gd name="T24" fmla="*/ 186 w 212"/>
                  <a:gd name="T25" fmla="*/ 72 h 138"/>
                  <a:gd name="T26" fmla="*/ 145 w 212"/>
                  <a:gd name="T27" fmla="*/ 63 h 138"/>
                  <a:gd name="T28" fmla="*/ 120 w 212"/>
                  <a:gd name="T29" fmla="*/ 81 h 138"/>
                  <a:gd name="T30" fmla="*/ 96 w 212"/>
                  <a:gd name="T31" fmla="*/ 72 h 138"/>
                  <a:gd name="T32" fmla="*/ 73 w 212"/>
                  <a:gd name="T33" fmla="*/ 56 h 138"/>
                  <a:gd name="T34" fmla="*/ 80 w 212"/>
                  <a:gd name="T35" fmla="*/ 47 h 138"/>
                  <a:gd name="T36" fmla="*/ 64 w 212"/>
                  <a:gd name="T37" fmla="*/ 23 h 138"/>
                  <a:gd name="T38" fmla="*/ 40 w 212"/>
                  <a:gd name="T39" fmla="*/ 23 h 138"/>
                  <a:gd name="T40" fmla="*/ 24 w 212"/>
                  <a:gd name="T41" fmla="*/ 7 h 138"/>
                  <a:gd name="T42" fmla="*/ 0 w 212"/>
                  <a:gd name="T43"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68" name="Freeform 214">
                <a:extLst>
                  <a:ext uri="{FF2B5EF4-FFF2-40B4-BE49-F238E27FC236}">
                    <a16:creationId xmlns:a16="http://schemas.microsoft.com/office/drawing/2014/main" id="{2B91E731-6FD0-00BA-6FD3-02898E074CC4}"/>
                  </a:ext>
                </a:extLst>
              </p:cNvPr>
              <p:cNvSpPr>
                <a:spLocks/>
              </p:cNvSpPr>
              <p:nvPr/>
            </p:nvSpPr>
            <p:spPr bwMode="gray">
              <a:xfrm>
                <a:off x="4278678" y="1866909"/>
                <a:ext cx="162519" cy="334605"/>
              </a:xfrm>
              <a:custGeom>
                <a:avLst/>
                <a:gdLst>
                  <a:gd name="T0" fmla="*/ 0 w 115"/>
                  <a:gd name="T1" fmla="*/ 97 h 228"/>
                  <a:gd name="T2" fmla="*/ 25 w 115"/>
                  <a:gd name="T3" fmla="*/ 146 h 228"/>
                  <a:gd name="T4" fmla="*/ 17 w 115"/>
                  <a:gd name="T5" fmla="*/ 169 h 228"/>
                  <a:gd name="T6" fmla="*/ 17 w 115"/>
                  <a:gd name="T7" fmla="*/ 202 h 228"/>
                  <a:gd name="T8" fmla="*/ 34 w 115"/>
                  <a:gd name="T9" fmla="*/ 227 h 228"/>
                  <a:gd name="T10" fmla="*/ 74 w 115"/>
                  <a:gd name="T11" fmla="*/ 227 h 228"/>
                  <a:gd name="T12" fmla="*/ 99 w 115"/>
                  <a:gd name="T13" fmla="*/ 169 h 228"/>
                  <a:gd name="T14" fmla="*/ 114 w 115"/>
                  <a:gd name="T15" fmla="*/ 153 h 228"/>
                  <a:gd name="T16" fmla="*/ 114 w 115"/>
                  <a:gd name="T17" fmla="*/ 128 h 228"/>
                  <a:gd name="T18" fmla="*/ 90 w 115"/>
                  <a:gd name="T19" fmla="*/ 122 h 228"/>
                  <a:gd name="T20" fmla="*/ 99 w 115"/>
                  <a:gd name="T21" fmla="*/ 88 h 228"/>
                  <a:gd name="T22" fmla="*/ 90 w 115"/>
                  <a:gd name="T23" fmla="*/ 65 h 228"/>
                  <a:gd name="T24" fmla="*/ 58 w 115"/>
                  <a:gd name="T25" fmla="*/ 65 h 228"/>
                  <a:gd name="T26" fmla="*/ 40 w 115"/>
                  <a:gd name="T27" fmla="*/ 40 h 228"/>
                  <a:gd name="T28" fmla="*/ 34 w 115"/>
                  <a:gd name="T29" fmla="*/ 0 h 228"/>
                  <a:gd name="T30" fmla="*/ 17 w 115"/>
                  <a:gd name="T31" fmla="*/ 0 h 228"/>
                  <a:gd name="T32" fmla="*/ 17 w 115"/>
                  <a:gd name="T33" fmla="*/ 40 h 228"/>
                  <a:gd name="T34" fmla="*/ 0 w 115"/>
                  <a:gd name="T35" fmla="*/ 65 h 228"/>
                  <a:gd name="T36" fmla="*/ 0 w 115"/>
                  <a:gd name="T37" fmla="*/ 9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69" name="Freeform 215">
                <a:extLst>
                  <a:ext uri="{FF2B5EF4-FFF2-40B4-BE49-F238E27FC236}">
                    <a16:creationId xmlns:a16="http://schemas.microsoft.com/office/drawing/2014/main" id="{A97D0AE9-5BA5-A37E-D8E2-6858F0755D36}"/>
                  </a:ext>
                </a:extLst>
              </p:cNvPr>
              <p:cNvSpPr>
                <a:spLocks/>
              </p:cNvSpPr>
              <p:nvPr/>
            </p:nvSpPr>
            <p:spPr bwMode="gray">
              <a:xfrm>
                <a:off x="4361114" y="1616874"/>
                <a:ext cx="526420" cy="748879"/>
              </a:xfrm>
              <a:custGeom>
                <a:avLst/>
                <a:gdLst>
                  <a:gd name="T0" fmla="*/ 0 w 374"/>
                  <a:gd name="T1" fmla="*/ 156 h 511"/>
                  <a:gd name="T2" fmla="*/ 7 w 374"/>
                  <a:gd name="T3" fmla="*/ 196 h 511"/>
                  <a:gd name="T4" fmla="*/ 23 w 374"/>
                  <a:gd name="T5" fmla="*/ 219 h 511"/>
                  <a:gd name="T6" fmla="*/ 66 w 374"/>
                  <a:gd name="T7" fmla="*/ 219 h 511"/>
                  <a:gd name="T8" fmla="*/ 88 w 374"/>
                  <a:gd name="T9" fmla="*/ 211 h 511"/>
                  <a:gd name="T10" fmla="*/ 162 w 374"/>
                  <a:gd name="T11" fmla="*/ 203 h 511"/>
                  <a:gd name="T12" fmla="*/ 138 w 374"/>
                  <a:gd name="T13" fmla="*/ 219 h 511"/>
                  <a:gd name="T14" fmla="*/ 97 w 374"/>
                  <a:gd name="T15" fmla="*/ 236 h 511"/>
                  <a:gd name="T16" fmla="*/ 88 w 374"/>
                  <a:gd name="T17" fmla="*/ 251 h 511"/>
                  <a:gd name="T18" fmla="*/ 56 w 374"/>
                  <a:gd name="T19" fmla="*/ 236 h 511"/>
                  <a:gd name="T20" fmla="*/ 47 w 374"/>
                  <a:gd name="T21" fmla="*/ 276 h 511"/>
                  <a:gd name="T22" fmla="*/ 66 w 374"/>
                  <a:gd name="T23" fmla="*/ 293 h 511"/>
                  <a:gd name="T24" fmla="*/ 72 w 374"/>
                  <a:gd name="T25" fmla="*/ 348 h 511"/>
                  <a:gd name="T26" fmla="*/ 56 w 374"/>
                  <a:gd name="T27" fmla="*/ 358 h 511"/>
                  <a:gd name="T28" fmla="*/ 32 w 374"/>
                  <a:gd name="T29" fmla="*/ 398 h 511"/>
                  <a:gd name="T30" fmla="*/ 66 w 374"/>
                  <a:gd name="T31" fmla="*/ 405 h 511"/>
                  <a:gd name="T32" fmla="*/ 32 w 374"/>
                  <a:gd name="T33" fmla="*/ 413 h 511"/>
                  <a:gd name="T34" fmla="*/ 32 w 374"/>
                  <a:gd name="T35" fmla="*/ 438 h 511"/>
                  <a:gd name="T36" fmla="*/ 41 w 374"/>
                  <a:gd name="T37" fmla="*/ 445 h 511"/>
                  <a:gd name="T38" fmla="*/ 7 w 374"/>
                  <a:gd name="T39" fmla="*/ 470 h 511"/>
                  <a:gd name="T40" fmla="*/ 7 w 374"/>
                  <a:gd name="T41" fmla="*/ 495 h 511"/>
                  <a:gd name="T42" fmla="*/ 66 w 374"/>
                  <a:gd name="T43" fmla="*/ 503 h 511"/>
                  <a:gd name="T44" fmla="*/ 81 w 374"/>
                  <a:gd name="T45" fmla="*/ 495 h 511"/>
                  <a:gd name="T46" fmla="*/ 97 w 374"/>
                  <a:gd name="T47" fmla="*/ 503 h 511"/>
                  <a:gd name="T48" fmla="*/ 113 w 374"/>
                  <a:gd name="T49" fmla="*/ 495 h 511"/>
                  <a:gd name="T50" fmla="*/ 121 w 374"/>
                  <a:gd name="T51" fmla="*/ 510 h 511"/>
                  <a:gd name="T52" fmla="*/ 146 w 374"/>
                  <a:gd name="T53" fmla="*/ 495 h 511"/>
                  <a:gd name="T54" fmla="*/ 162 w 374"/>
                  <a:gd name="T55" fmla="*/ 470 h 511"/>
                  <a:gd name="T56" fmla="*/ 146 w 374"/>
                  <a:gd name="T57" fmla="*/ 445 h 511"/>
                  <a:gd name="T58" fmla="*/ 162 w 374"/>
                  <a:gd name="T59" fmla="*/ 430 h 511"/>
                  <a:gd name="T60" fmla="*/ 162 w 374"/>
                  <a:gd name="T61" fmla="*/ 405 h 511"/>
                  <a:gd name="T62" fmla="*/ 186 w 374"/>
                  <a:gd name="T63" fmla="*/ 405 h 511"/>
                  <a:gd name="T64" fmla="*/ 209 w 374"/>
                  <a:gd name="T65" fmla="*/ 308 h 511"/>
                  <a:gd name="T66" fmla="*/ 243 w 374"/>
                  <a:gd name="T67" fmla="*/ 293 h 511"/>
                  <a:gd name="T68" fmla="*/ 275 w 374"/>
                  <a:gd name="T69" fmla="*/ 227 h 511"/>
                  <a:gd name="T70" fmla="*/ 333 w 374"/>
                  <a:gd name="T71" fmla="*/ 156 h 511"/>
                  <a:gd name="T72" fmla="*/ 333 w 374"/>
                  <a:gd name="T73" fmla="*/ 137 h 511"/>
                  <a:gd name="T74" fmla="*/ 373 w 374"/>
                  <a:gd name="T75" fmla="*/ 90 h 511"/>
                  <a:gd name="T76" fmla="*/ 373 w 374"/>
                  <a:gd name="T77" fmla="*/ 65 h 511"/>
                  <a:gd name="T78" fmla="*/ 349 w 374"/>
                  <a:gd name="T79" fmla="*/ 57 h 511"/>
                  <a:gd name="T80" fmla="*/ 333 w 374"/>
                  <a:gd name="T81" fmla="*/ 25 h 511"/>
                  <a:gd name="T82" fmla="*/ 268 w 374"/>
                  <a:gd name="T83" fmla="*/ 0 h 511"/>
                  <a:gd name="T84" fmla="*/ 227 w 374"/>
                  <a:gd name="T85" fmla="*/ 0 h 511"/>
                  <a:gd name="T86" fmla="*/ 203 w 374"/>
                  <a:gd name="T87" fmla="*/ 9 h 511"/>
                  <a:gd name="T88" fmla="*/ 169 w 374"/>
                  <a:gd name="T89" fmla="*/ 0 h 511"/>
                  <a:gd name="T90" fmla="*/ 121 w 374"/>
                  <a:gd name="T91" fmla="*/ 17 h 511"/>
                  <a:gd name="T92" fmla="*/ 97 w 374"/>
                  <a:gd name="T93" fmla="*/ 49 h 511"/>
                  <a:gd name="T94" fmla="*/ 47 w 374"/>
                  <a:gd name="T95" fmla="*/ 90 h 511"/>
                  <a:gd name="T96" fmla="*/ 47 w 374"/>
                  <a:gd name="T97" fmla="*/ 113 h 511"/>
                  <a:gd name="T98" fmla="*/ 16 w 374"/>
                  <a:gd name="T99" fmla="*/ 113 h 511"/>
                  <a:gd name="T100" fmla="*/ 0 w 374"/>
                  <a:gd name="T101" fmla="*/ 15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70" name="Freeform 216">
                <a:extLst>
                  <a:ext uri="{FF2B5EF4-FFF2-40B4-BE49-F238E27FC236}">
                    <a16:creationId xmlns:a16="http://schemas.microsoft.com/office/drawing/2014/main" id="{0409F1DB-C56A-EEB0-2E83-E94044947395}"/>
                  </a:ext>
                </a:extLst>
              </p:cNvPr>
              <p:cNvSpPr>
                <a:spLocks/>
              </p:cNvSpPr>
              <p:nvPr/>
            </p:nvSpPr>
            <p:spPr bwMode="gray">
              <a:xfrm>
                <a:off x="4073762" y="2081400"/>
                <a:ext cx="196672" cy="154433"/>
              </a:xfrm>
              <a:custGeom>
                <a:avLst/>
                <a:gdLst>
                  <a:gd name="T0" fmla="*/ 0 w 140"/>
                  <a:gd name="T1" fmla="*/ 7 h 106"/>
                  <a:gd name="T2" fmla="*/ 0 w 140"/>
                  <a:gd name="T3" fmla="*/ 23 h 106"/>
                  <a:gd name="T4" fmla="*/ 24 w 140"/>
                  <a:gd name="T5" fmla="*/ 31 h 106"/>
                  <a:gd name="T6" fmla="*/ 18 w 140"/>
                  <a:gd name="T7" fmla="*/ 56 h 106"/>
                  <a:gd name="T8" fmla="*/ 24 w 140"/>
                  <a:gd name="T9" fmla="*/ 72 h 106"/>
                  <a:gd name="T10" fmla="*/ 65 w 140"/>
                  <a:gd name="T11" fmla="*/ 81 h 106"/>
                  <a:gd name="T12" fmla="*/ 83 w 140"/>
                  <a:gd name="T13" fmla="*/ 105 h 106"/>
                  <a:gd name="T14" fmla="*/ 98 w 140"/>
                  <a:gd name="T15" fmla="*/ 88 h 106"/>
                  <a:gd name="T16" fmla="*/ 131 w 140"/>
                  <a:gd name="T17" fmla="*/ 88 h 106"/>
                  <a:gd name="T18" fmla="*/ 139 w 140"/>
                  <a:gd name="T19" fmla="*/ 72 h 106"/>
                  <a:gd name="T20" fmla="*/ 131 w 140"/>
                  <a:gd name="T21" fmla="*/ 56 h 106"/>
                  <a:gd name="T22" fmla="*/ 106 w 140"/>
                  <a:gd name="T23" fmla="*/ 31 h 106"/>
                  <a:gd name="T24" fmla="*/ 98 w 140"/>
                  <a:gd name="T25" fmla="*/ 81 h 106"/>
                  <a:gd name="T26" fmla="*/ 83 w 140"/>
                  <a:gd name="T27" fmla="*/ 81 h 106"/>
                  <a:gd name="T28" fmla="*/ 83 w 140"/>
                  <a:gd name="T29" fmla="*/ 31 h 106"/>
                  <a:gd name="T30" fmla="*/ 65 w 140"/>
                  <a:gd name="T31" fmla="*/ 7 h 106"/>
                  <a:gd name="T32" fmla="*/ 9 w 140"/>
                  <a:gd name="T33" fmla="*/ 0 h 106"/>
                  <a:gd name="T34" fmla="*/ 0 w 140"/>
                  <a:gd name="T35" fmla="*/ 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71" name="Freeform 217">
                <a:extLst>
                  <a:ext uri="{FF2B5EF4-FFF2-40B4-BE49-F238E27FC236}">
                    <a16:creationId xmlns:a16="http://schemas.microsoft.com/office/drawing/2014/main" id="{2252DE11-9665-23E2-A9FD-5366B2454E62}"/>
                  </a:ext>
                </a:extLst>
              </p:cNvPr>
              <p:cNvSpPr>
                <a:spLocks/>
              </p:cNvSpPr>
              <p:nvPr/>
            </p:nvSpPr>
            <p:spPr bwMode="gray">
              <a:xfrm>
                <a:off x="4246879" y="2221125"/>
                <a:ext cx="81260" cy="49026"/>
              </a:xfrm>
              <a:custGeom>
                <a:avLst/>
                <a:gdLst>
                  <a:gd name="T0" fmla="*/ 0 w 58"/>
                  <a:gd name="T1" fmla="*/ 9 h 33"/>
                  <a:gd name="T2" fmla="*/ 48 w 58"/>
                  <a:gd name="T3" fmla="*/ 32 h 33"/>
                  <a:gd name="T4" fmla="*/ 57 w 58"/>
                  <a:gd name="T5" fmla="*/ 17 h 33"/>
                  <a:gd name="T6" fmla="*/ 57 w 58"/>
                  <a:gd name="T7" fmla="*/ 0 h 33"/>
                  <a:gd name="T8" fmla="*/ 23 w 58"/>
                  <a:gd name="T9" fmla="*/ 0 h 33"/>
                  <a:gd name="T10" fmla="*/ 0 w 58"/>
                  <a:gd name="T11" fmla="*/ 9 h 33"/>
                </a:gdLst>
                <a:ahLst/>
                <a:cxnLst>
                  <a:cxn ang="0">
                    <a:pos x="T0" y="T1"/>
                  </a:cxn>
                  <a:cxn ang="0">
                    <a:pos x="T2" y="T3"/>
                  </a:cxn>
                  <a:cxn ang="0">
                    <a:pos x="T4" y="T5"/>
                  </a:cxn>
                  <a:cxn ang="0">
                    <a:pos x="T6" y="T7"/>
                  </a:cxn>
                  <a:cxn ang="0">
                    <a:pos x="T8" y="T9"/>
                  </a:cxn>
                  <a:cxn ang="0">
                    <a:pos x="T10" y="T11"/>
                  </a:cxn>
                </a:cxnLst>
                <a:rect l="0" t="0" r="r" b="b"/>
                <a:pathLst>
                  <a:path w="58" h="33">
                    <a:moveTo>
                      <a:pt x="0" y="9"/>
                    </a:moveTo>
                    <a:lnTo>
                      <a:pt x="48" y="32"/>
                    </a:lnTo>
                    <a:lnTo>
                      <a:pt x="57" y="17"/>
                    </a:lnTo>
                    <a:lnTo>
                      <a:pt x="57" y="0"/>
                    </a:lnTo>
                    <a:lnTo>
                      <a:pt x="23" y="0"/>
                    </a:lnTo>
                    <a:lnTo>
                      <a:pt x="0" y="9"/>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2" name="Freeform 218">
                <a:extLst>
                  <a:ext uri="{FF2B5EF4-FFF2-40B4-BE49-F238E27FC236}">
                    <a16:creationId xmlns:a16="http://schemas.microsoft.com/office/drawing/2014/main" id="{4F5861A4-E0DA-9D37-F5B4-5D38F06A5C67}"/>
                  </a:ext>
                </a:extLst>
              </p:cNvPr>
              <p:cNvSpPr>
                <a:spLocks/>
              </p:cNvSpPr>
              <p:nvPr/>
            </p:nvSpPr>
            <p:spPr bwMode="gray">
              <a:xfrm>
                <a:off x="4086716" y="2234608"/>
                <a:ext cx="36508" cy="61283"/>
              </a:xfrm>
              <a:custGeom>
                <a:avLst/>
                <a:gdLst>
                  <a:gd name="T0" fmla="*/ 0 w 26"/>
                  <a:gd name="T1" fmla="*/ 0 h 42"/>
                  <a:gd name="T2" fmla="*/ 0 w 26"/>
                  <a:gd name="T3" fmla="*/ 33 h 42"/>
                  <a:gd name="T4" fmla="*/ 25 w 26"/>
                  <a:gd name="T5" fmla="*/ 41 h 42"/>
                  <a:gd name="T6" fmla="*/ 9 w 26"/>
                  <a:gd name="T7" fmla="*/ 0 h 42"/>
                  <a:gd name="T8" fmla="*/ 0 w 26"/>
                  <a:gd name="T9" fmla="*/ 0 h 42"/>
                </a:gdLst>
                <a:ahLst/>
                <a:cxnLst>
                  <a:cxn ang="0">
                    <a:pos x="T0" y="T1"/>
                  </a:cxn>
                  <a:cxn ang="0">
                    <a:pos x="T2" y="T3"/>
                  </a:cxn>
                  <a:cxn ang="0">
                    <a:pos x="T4" y="T5"/>
                  </a:cxn>
                  <a:cxn ang="0">
                    <a:pos x="T6" y="T7"/>
                  </a:cxn>
                  <a:cxn ang="0">
                    <a:pos x="T8" y="T9"/>
                  </a:cxn>
                </a:cxnLst>
                <a:rect l="0" t="0" r="r" b="b"/>
                <a:pathLst>
                  <a:path w="26" h="42">
                    <a:moveTo>
                      <a:pt x="0" y="0"/>
                    </a:moveTo>
                    <a:lnTo>
                      <a:pt x="0" y="33"/>
                    </a:lnTo>
                    <a:lnTo>
                      <a:pt x="25" y="41"/>
                    </a:lnTo>
                    <a:lnTo>
                      <a:pt x="9" y="0"/>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3" name="Freeform 219">
                <a:extLst>
                  <a:ext uri="{FF2B5EF4-FFF2-40B4-BE49-F238E27FC236}">
                    <a16:creationId xmlns:a16="http://schemas.microsoft.com/office/drawing/2014/main" id="{E39A9DD7-F06F-9971-DA79-F3387F0E5328}"/>
                  </a:ext>
                </a:extLst>
              </p:cNvPr>
              <p:cNvSpPr>
                <a:spLocks/>
              </p:cNvSpPr>
              <p:nvPr/>
            </p:nvSpPr>
            <p:spPr bwMode="gray">
              <a:xfrm>
                <a:off x="4098492" y="2317951"/>
                <a:ext cx="126012" cy="131146"/>
              </a:xfrm>
              <a:custGeom>
                <a:avLst/>
                <a:gdLst>
                  <a:gd name="T0" fmla="*/ 0 w 89"/>
                  <a:gd name="T1" fmla="*/ 7 h 89"/>
                  <a:gd name="T2" fmla="*/ 24 w 89"/>
                  <a:gd name="T3" fmla="*/ 71 h 89"/>
                  <a:gd name="T4" fmla="*/ 40 w 89"/>
                  <a:gd name="T5" fmla="*/ 56 h 89"/>
                  <a:gd name="T6" fmla="*/ 56 w 89"/>
                  <a:gd name="T7" fmla="*/ 88 h 89"/>
                  <a:gd name="T8" fmla="*/ 80 w 89"/>
                  <a:gd name="T9" fmla="*/ 88 h 89"/>
                  <a:gd name="T10" fmla="*/ 88 w 89"/>
                  <a:gd name="T11" fmla="*/ 65 h 89"/>
                  <a:gd name="T12" fmla="*/ 88 w 89"/>
                  <a:gd name="T13" fmla="*/ 16 h 89"/>
                  <a:gd name="T14" fmla="*/ 71 w 89"/>
                  <a:gd name="T15" fmla="*/ 0 h 89"/>
                  <a:gd name="T16" fmla="*/ 47 w 89"/>
                  <a:gd name="T17" fmla="*/ 0 h 89"/>
                  <a:gd name="T18" fmla="*/ 40 w 89"/>
                  <a:gd name="T19" fmla="*/ 40 h 89"/>
                  <a:gd name="T20" fmla="*/ 16 w 89"/>
                  <a:gd name="T21" fmla="*/ 7 h 89"/>
                  <a:gd name="T22" fmla="*/ 0 w 89"/>
                  <a:gd name="T2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4" name="Freeform 220">
                <a:extLst>
                  <a:ext uri="{FF2B5EF4-FFF2-40B4-BE49-F238E27FC236}">
                    <a16:creationId xmlns:a16="http://schemas.microsoft.com/office/drawing/2014/main" id="{F5D976AF-849F-3545-F2A9-C960FD9CE788}"/>
                  </a:ext>
                </a:extLst>
              </p:cNvPr>
              <p:cNvSpPr>
                <a:spLocks/>
              </p:cNvSpPr>
              <p:nvPr/>
            </p:nvSpPr>
            <p:spPr bwMode="gray">
              <a:xfrm>
                <a:off x="3937151" y="2150036"/>
                <a:ext cx="94214" cy="37996"/>
              </a:xfrm>
              <a:custGeom>
                <a:avLst/>
                <a:gdLst>
                  <a:gd name="T0" fmla="*/ 0 w 67"/>
                  <a:gd name="T1" fmla="*/ 25 h 26"/>
                  <a:gd name="T2" fmla="*/ 56 w 67"/>
                  <a:gd name="T3" fmla="*/ 25 h 26"/>
                  <a:gd name="T4" fmla="*/ 66 w 67"/>
                  <a:gd name="T5" fmla="*/ 16 h 26"/>
                  <a:gd name="T6" fmla="*/ 41 w 67"/>
                  <a:gd name="T7" fmla="*/ 0 h 26"/>
                  <a:gd name="T8" fmla="*/ 9 w 67"/>
                  <a:gd name="T9" fmla="*/ 9 h 26"/>
                  <a:gd name="T10" fmla="*/ 0 w 67"/>
                  <a:gd name="T11" fmla="*/ 25 h 26"/>
                </a:gdLst>
                <a:ahLst/>
                <a:cxnLst>
                  <a:cxn ang="0">
                    <a:pos x="T0" y="T1"/>
                  </a:cxn>
                  <a:cxn ang="0">
                    <a:pos x="T2" y="T3"/>
                  </a:cxn>
                  <a:cxn ang="0">
                    <a:pos x="T4" y="T5"/>
                  </a:cxn>
                  <a:cxn ang="0">
                    <a:pos x="T6" y="T7"/>
                  </a:cxn>
                  <a:cxn ang="0">
                    <a:pos x="T8" y="T9"/>
                  </a:cxn>
                  <a:cxn ang="0">
                    <a:pos x="T10" y="T11"/>
                  </a:cxn>
                </a:cxnLst>
                <a:rect l="0" t="0" r="r" b="b"/>
                <a:pathLst>
                  <a:path w="67" h="26">
                    <a:moveTo>
                      <a:pt x="0" y="25"/>
                    </a:moveTo>
                    <a:lnTo>
                      <a:pt x="56" y="25"/>
                    </a:lnTo>
                    <a:lnTo>
                      <a:pt x="66" y="16"/>
                    </a:lnTo>
                    <a:lnTo>
                      <a:pt x="41" y="0"/>
                    </a:lnTo>
                    <a:lnTo>
                      <a:pt x="9" y="9"/>
                    </a:lnTo>
                    <a:lnTo>
                      <a:pt x="0" y="25"/>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5" name="Freeform 221">
                <a:extLst>
                  <a:ext uri="{FF2B5EF4-FFF2-40B4-BE49-F238E27FC236}">
                    <a16:creationId xmlns:a16="http://schemas.microsoft.com/office/drawing/2014/main" id="{7AD033E7-FF8E-FE9A-1E91-A4B373D2032A}"/>
                  </a:ext>
                </a:extLst>
              </p:cNvPr>
              <p:cNvSpPr>
                <a:spLocks/>
              </p:cNvSpPr>
              <p:nvPr/>
            </p:nvSpPr>
            <p:spPr bwMode="gray">
              <a:xfrm>
                <a:off x="3902999" y="2199063"/>
                <a:ext cx="35330" cy="36769"/>
              </a:xfrm>
              <a:custGeom>
                <a:avLst/>
                <a:gdLst>
                  <a:gd name="T0" fmla="*/ 0 w 25"/>
                  <a:gd name="T1" fmla="*/ 7 h 25"/>
                  <a:gd name="T2" fmla="*/ 8 w 25"/>
                  <a:gd name="T3" fmla="*/ 24 h 25"/>
                  <a:gd name="T4" fmla="*/ 24 w 25"/>
                  <a:gd name="T5" fmla="*/ 24 h 25"/>
                  <a:gd name="T6" fmla="*/ 16 w 25"/>
                  <a:gd name="T7" fmla="*/ 0 h 25"/>
                  <a:gd name="T8" fmla="*/ 0 w 25"/>
                  <a:gd name="T9" fmla="*/ 7 h 25"/>
                </a:gdLst>
                <a:ahLst/>
                <a:cxnLst>
                  <a:cxn ang="0">
                    <a:pos x="T0" y="T1"/>
                  </a:cxn>
                  <a:cxn ang="0">
                    <a:pos x="T2" y="T3"/>
                  </a:cxn>
                  <a:cxn ang="0">
                    <a:pos x="T4" y="T5"/>
                  </a:cxn>
                  <a:cxn ang="0">
                    <a:pos x="T6" y="T7"/>
                  </a:cxn>
                  <a:cxn ang="0">
                    <a:pos x="T8" y="T9"/>
                  </a:cxn>
                </a:cxnLst>
                <a:rect l="0" t="0" r="r" b="b"/>
                <a:pathLst>
                  <a:path w="25" h="25">
                    <a:moveTo>
                      <a:pt x="0" y="7"/>
                    </a:moveTo>
                    <a:lnTo>
                      <a:pt x="8" y="24"/>
                    </a:lnTo>
                    <a:lnTo>
                      <a:pt x="24" y="24"/>
                    </a:lnTo>
                    <a:lnTo>
                      <a:pt x="16" y="0"/>
                    </a:lnTo>
                    <a:lnTo>
                      <a:pt x="0" y="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6" name="Freeform 222">
                <a:extLst>
                  <a:ext uri="{FF2B5EF4-FFF2-40B4-BE49-F238E27FC236}">
                    <a16:creationId xmlns:a16="http://schemas.microsoft.com/office/drawing/2014/main" id="{0AC8B4F8-0EB3-0A98-2CC8-643D40F3984C}"/>
                  </a:ext>
                </a:extLst>
              </p:cNvPr>
              <p:cNvSpPr>
                <a:spLocks/>
              </p:cNvSpPr>
              <p:nvPr/>
            </p:nvSpPr>
            <p:spPr bwMode="gray">
              <a:xfrm>
                <a:off x="3937151" y="2210095"/>
                <a:ext cx="70660" cy="60057"/>
              </a:xfrm>
              <a:custGeom>
                <a:avLst/>
                <a:gdLst>
                  <a:gd name="T0" fmla="*/ 0 w 50"/>
                  <a:gd name="T1" fmla="*/ 17 h 41"/>
                  <a:gd name="T2" fmla="*/ 9 w 50"/>
                  <a:gd name="T3" fmla="*/ 33 h 41"/>
                  <a:gd name="T4" fmla="*/ 24 w 50"/>
                  <a:gd name="T5" fmla="*/ 40 h 41"/>
                  <a:gd name="T6" fmla="*/ 49 w 50"/>
                  <a:gd name="T7" fmla="*/ 25 h 41"/>
                  <a:gd name="T8" fmla="*/ 49 w 50"/>
                  <a:gd name="T9" fmla="*/ 0 h 41"/>
                  <a:gd name="T10" fmla="*/ 0 w 50"/>
                  <a:gd name="T11" fmla="*/ 17 h 41"/>
                </a:gdLst>
                <a:ahLst/>
                <a:cxnLst>
                  <a:cxn ang="0">
                    <a:pos x="T0" y="T1"/>
                  </a:cxn>
                  <a:cxn ang="0">
                    <a:pos x="T2" y="T3"/>
                  </a:cxn>
                  <a:cxn ang="0">
                    <a:pos x="T4" y="T5"/>
                  </a:cxn>
                  <a:cxn ang="0">
                    <a:pos x="T6" y="T7"/>
                  </a:cxn>
                  <a:cxn ang="0">
                    <a:pos x="T8" y="T9"/>
                  </a:cxn>
                  <a:cxn ang="0">
                    <a:pos x="T10" y="T11"/>
                  </a:cxn>
                </a:cxnLst>
                <a:rect l="0" t="0" r="r" b="b"/>
                <a:pathLst>
                  <a:path w="50" h="41">
                    <a:moveTo>
                      <a:pt x="0" y="17"/>
                    </a:moveTo>
                    <a:lnTo>
                      <a:pt x="9" y="33"/>
                    </a:lnTo>
                    <a:lnTo>
                      <a:pt x="24" y="40"/>
                    </a:lnTo>
                    <a:lnTo>
                      <a:pt x="49" y="25"/>
                    </a:lnTo>
                    <a:lnTo>
                      <a:pt x="49" y="0"/>
                    </a:lnTo>
                    <a:lnTo>
                      <a:pt x="0" y="17"/>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7" name="Freeform 223">
                <a:extLst>
                  <a:ext uri="{FF2B5EF4-FFF2-40B4-BE49-F238E27FC236}">
                    <a16:creationId xmlns:a16="http://schemas.microsoft.com/office/drawing/2014/main" id="{58AE92D8-0226-7A71-F619-4B81513BAA70}"/>
                  </a:ext>
                </a:extLst>
              </p:cNvPr>
              <p:cNvSpPr>
                <a:spLocks/>
              </p:cNvSpPr>
              <p:nvPr/>
            </p:nvSpPr>
            <p:spPr bwMode="gray">
              <a:xfrm>
                <a:off x="3753434" y="2246864"/>
                <a:ext cx="150742" cy="142177"/>
              </a:xfrm>
              <a:custGeom>
                <a:avLst/>
                <a:gdLst>
                  <a:gd name="T0" fmla="*/ 0 w 107"/>
                  <a:gd name="T1" fmla="*/ 73 h 97"/>
                  <a:gd name="T2" fmla="*/ 9 w 107"/>
                  <a:gd name="T3" fmla="*/ 96 h 97"/>
                  <a:gd name="T4" fmla="*/ 40 w 107"/>
                  <a:gd name="T5" fmla="*/ 96 h 97"/>
                  <a:gd name="T6" fmla="*/ 65 w 107"/>
                  <a:gd name="T7" fmla="*/ 65 h 97"/>
                  <a:gd name="T8" fmla="*/ 81 w 107"/>
                  <a:gd name="T9" fmla="*/ 73 h 97"/>
                  <a:gd name="T10" fmla="*/ 99 w 107"/>
                  <a:gd name="T11" fmla="*/ 49 h 97"/>
                  <a:gd name="T12" fmla="*/ 99 w 107"/>
                  <a:gd name="T13" fmla="*/ 33 h 97"/>
                  <a:gd name="T14" fmla="*/ 106 w 107"/>
                  <a:gd name="T15" fmla="*/ 15 h 97"/>
                  <a:gd name="T16" fmla="*/ 90 w 107"/>
                  <a:gd name="T17" fmla="*/ 0 h 97"/>
                  <a:gd name="T18" fmla="*/ 81 w 107"/>
                  <a:gd name="T19" fmla="*/ 15 h 97"/>
                  <a:gd name="T20" fmla="*/ 58 w 107"/>
                  <a:gd name="T21" fmla="*/ 15 h 97"/>
                  <a:gd name="T22" fmla="*/ 0 w 107"/>
                  <a:gd name="T23" fmla="*/ 7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78" name="Freeform 224">
                <a:extLst>
                  <a:ext uri="{FF2B5EF4-FFF2-40B4-BE49-F238E27FC236}">
                    <a16:creationId xmlns:a16="http://schemas.microsoft.com/office/drawing/2014/main" id="{8FFF85FF-1ACA-273C-BC00-0CBFE9A3906C}"/>
                  </a:ext>
                </a:extLst>
              </p:cNvPr>
              <p:cNvSpPr>
                <a:spLocks/>
              </p:cNvSpPr>
              <p:nvPr/>
            </p:nvSpPr>
            <p:spPr bwMode="gray">
              <a:xfrm>
                <a:off x="3867670" y="2317952"/>
                <a:ext cx="220225" cy="178947"/>
              </a:xfrm>
              <a:custGeom>
                <a:avLst/>
                <a:gdLst>
                  <a:gd name="T0" fmla="*/ 0 w 156"/>
                  <a:gd name="T1" fmla="*/ 81 h 122"/>
                  <a:gd name="T2" fmla="*/ 33 w 156"/>
                  <a:gd name="T3" fmla="*/ 88 h 122"/>
                  <a:gd name="T4" fmla="*/ 41 w 156"/>
                  <a:gd name="T5" fmla="*/ 81 h 122"/>
                  <a:gd name="T6" fmla="*/ 58 w 156"/>
                  <a:gd name="T7" fmla="*/ 96 h 122"/>
                  <a:gd name="T8" fmla="*/ 41 w 156"/>
                  <a:gd name="T9" fmla="*/ 105 h 122"/>
                  <a:gd name="T10" fmla="*/ 49 w 156"/>
                  <a:gd name="T11" fmla="*/ 113 h 122"/>
                  <a:gd name="T12" fmla="*/ 65 w 156"/>
                  <a:gd name="T13" fmla="*/ 121 h 122"/>
                  <a:gd name="T14" fmla="*/ 105 w 156"/>
                  <a:gd name="T15" fmla="*/ 88 h 122"/>
                  <a:gd name="T16" fmla="*/ 146 w 156"/>
                  <a:gd name="T17" fmla="*/ 88 h 122"/>
                  <a:gd name="T18" fmla="*/ 155 w 156"/>
                  <a:gd name="T19" fmla="*/ 47 h 122"/>
                  <a:gd name="T20" fmla="*/ 115 w 156"/>
                  <a:gd name="T21" fmla="*/ 24 h 122"/>
                  <a:gd name="T22" fmla="*/ 105 w 156"/>
                  <a:gd name="T23" fmla="*/ 0 h 122"/>
                  <a:gd name="T24" fmla="*/ 90 w 156"/>
                  <a:gd name="T25" fmla="*/ 24 h 122"/>
                  <a:gd name="T26" fmla="*/ 98 w 156"/>
                  <a:gd name="T27" fmla="*/ 31 h 122"/>
                  <a:gd name="T28" fmla="*/ 98 w 156"/>
                  <a:gd name="T29" fmla="*/ 47 h 122"/>
                  <a:gd name="T30" fmla="*/ 105 w 156"/>
                  <a:gd name="T31" fmla="*/ 65 h 122"/>
                  <a:gd name="T32" fmla="*/ 81 w 156"/>
                  <a:gd name="T33" fmla="*/ 65 h 122"/>
                  <a:gd name="T34" fmla="*/ 65 w 156"/>
                  <a:gd name="T35" fmla="*/ 31 h 122"/>
                  <a:gd name="T36" fmla="*/ 25 w 156"/>
                  <a:gd name="T37" fmla="*/ 16 h 122"/>
                  <a:gd name="T38" fmla="*/ 0 w 156"/>
                  <a:gd name="T39" fmla="*/ 81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79" name="Freeform 225">
                <a:extLst>
                  <a:ext uri="{FF2B5EF4-FFF2-40B4-BE49-F238E27FC236}">
                    <a16:creationId xmlns:a16="http://schemas.microsoft.com/office/drawing/2014/main" id="{AD8BE9DA-DD93-FC2D-1CB1-320F7FF47D82}"/>
                  </a:ext>
                </a:extLst>
              </p:cNvPr>
              <p:cNvSpPr>
                <a:spLocks/>
              </p:cNvSpPr>
              <p:nvPr/>
            </p:nvSpPr>
            <p:spPr bwMode="gray">
              <a:xfrm>
                <a:off x="4132646" y="2505479"/>
                <a:ext cx="127189" cy="180173"/>
              </a:xfrm>
              <a:custGeom>
                <a:avLst/>
                <a:gdLst>
                  <a:gd name="T0" fmla="*/ 0 w 90"/>
                  <a:gd name="T1" fmla="*/ 58 h 123"/>
                  <a:gd name="T2" fmla="*/ 16 w 90"/>
                  <a:gd name="T3" fmla="*/ 90 h 123"/>
                  <a:gd name="T4" fmla="*/ 23 w 90"/>
                  <a:gd name="T5" fmla="*/ 90 h 123"/>
                  <a:gd name="T6" fmla="*/ 47 w 90"/>
                  <a:gd name="T7" fmla="*/ 122 h 123"/>
                  <a:gd name="T8" fmla="*/ 64 w 90"/>
                  <a:gd name="T9" fmla="*/ 114 h 123"/>
                  <a:gd name="T10" fmla="*/ 81 w 90"/>
                  <a:gd name="T11" fmla="*/ 105 h 123"/>
                  <a:gd name="T12" fmla="*/ 89 w 90"/>
                  <a:gd name="T13" fmla="*/ 81 h 123"/>
                  <a:gd name="T14" fmla="*/ 81 w 90"/>
                  <a:gd name="T15" fmla="*/ 58 h 123"/>
                  <a:gd name="T16" fmla="*/ 64 w 90"/>
                  <a:gd name="T17" fmla="*/ 50 h 123"/>
                  <a:gd name="T18" fmla="*/ 72 w 90"/>
                  <a:gd name="T19" fmla="*/ 25 h 123"/>
                  <a:gd name="T20" fmla="*/ 64 w 90"/>
                  <a:gd name="T21" fmla="*/ 0 h 123"/>
                  <a:gd name="T22" fmla="*/ 56 w 90"/>
                  <a:gd name="T23" fmla="*/ 16 h 123"/>
                  <a:gd name="T24" fmla="*/ 32 w 90"/>
                  <a:gd name="T25" fmla="*/ 9 h 123"/>
                  <a:gd name="T26" fmla="*/ 23 w 90"/>
                  <a:gd name="T27" fmla="*/ 16 h 123"/>
                  <a:gd name="T28" fmla="*/ 16 w 90"/>
                  <a:gd name="T29" fmla="*/ 33 h 123"/>
                  <a:gd name="T30" fmla="*/ 32 w 90"/>
                  <a:gd name="T31" fmla="*/ 50 h 123"/>
                  <a:gd name="T32" fmla="*/ 16 w 90"/>
                  <a:gd name="T33" fmla="*/ 50 h 123"/>
                  <a:gd name="T34" fmla="*/ 0 w 90"/>
                  <a:gd name="T35" fmla="*/ 5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80" name="Freeform 226">
                <a:extLst>
                  <a:ext uri="{FF2B5EF4-FFF2-40B4-BE49-F238E27FC236}">
                    <a16:creationId xmlns:a16="http://schemas.microsoft.com/office/drawing/2014/main" id="{4FDBF1AC-FCB3-795C-F6A9-B57219771D30}"/>
                  </a:ext>
                </a:extLst>
              </p:cNvPr>
              <p:cNvSpPr>
                <a:spLocks/>
              </p:cNvSpPr>
              <p:nvPr/>
            </p:nvSpPr>
            <p:spPr bwMode="gray">
              <a:xfrm>
                <a:off x="3731059" y="2483416"/>
                <a:ext cx="184895" cy="214490"/>
              </a:xfrm>
              <a:custGeom>
                <a:avLst/>
                <a:gdLst>
                  <a:gd name="T0" fmla="*/ 0 w 131"/>
                  <a:gd name="T1" fmla="*/ 105 h 146"/>
                  <a:gd name="T2" fmla="*/ 16 w 131"/>
                  <a:gd name="T3" fmla="*/ 129 h 146"/>
                  <a:gd name="T4" fmla="*/ 25 w 131"/>
                  <a:gd name="T5" fmla="*/ 145 h 146"/>
                  <a:gd name="T6" fmla="*/ 56 w 131"/>
                  <a:gd name="T7" fmla="*/ 137 h 146"/>
                  <a:gd name="T8" fmla="*/ 74 w 131"/>
                  <a:gd name="T9" fmla="*/ 114 h 146"/>
                  <a:gd name="T10" fmla="*/ 74 w 131"/>
                  <a:gd name="T11" fmla="*/ 89 h 146"/>
                  <a:gd name="T12" fmla="*/ 130 w 131"/>
                  <a:gd name="T13" fmla="*/ 48 h 146"/>
                  <a:gd name="T14" fmla="*/ 115 w 131"/>
                  <a:gd name="T15" fmla="*/ 31 h 146"/>
                  <a:gd name="T16" fmla="*/ 97 w 131"/>
                  <a:gd name="T17" fmla="*/ 15 h 146"/>
                  <a:gd name="T18" fmla="*/ 74 w 131"/>
                  <a:gd name="T19" fmla="*/ 15 h 146"/>
                  <a:gd name="T20" fmla="*/ 50 w 131"/>
                  <a:gd name="T21" fmla="*/ 0 h 146"/>
                  <a:gd name="T22" fmla="*/ 9 w 131"/>
                  <a:gd name="T23" fmla="*/ 24 h 146"/>
                  <a:gd name="T24" fmla="*/ 16 w 131"/>
                  <a:gd name="T25" fmla="*/ 48 h 146"/>
                  <a:gd name="T26" fmla="*/ 16 w 131"/>
                  <a:gd name="T27" fmla="*/ 73 h 146"/>
                  <a:gd name="T28" fmla="*/ 0 w 131"/>
                  <a:gd name="T29" fmla="*/ 10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81" name="Freeform 228">
                <a:extLst>
                  <a:ext uri="{FF2B5EF4-FFF2-40B4-BE49-F238E27FC236}">
                    <a16:creationId xmlns:a16="http://schemas.microsoft.com/office/drawing/2014/main" id="{30B941D7-F493-AA05-2E9D-3A489957E314}"/>
                  </a:ext>
                </a:extLst>
              </p:cNvPr>
              <p:cNvSpPr>
                <a:spLocks/>
              </p:cNvSpPr>
              <p:nvPr/>
            </p:nvSpPr>
            <p:spPr bwMode="gray">
              <a:xfrm>
                <a:off x="2965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82" name="Freeform 229">
                <a:extLst>
                  <a:ext uri="{FF2B5EF4-FFF2-40B4-BE49-F238E27FC236}">
                    <a16:creationId xmlns:a16="http://schemas.microsoft.com/office/drawing/2014/main" id="{0A124FC3-3971-B07D-0D33-0AE9B18AD802}"/>
                  </a:ext>
                </a:extLst>
              </p:cNvPr>
              <p:cNvSpPr>
                <a:spLocks/>
              </p:cNvSpPr>
              <p:nvPr/>
            </p:nvSpPr>
            <p:spPr bwMode="gray">
              <a:xfrm>
                <a:off x="2965569" y="3194299"/>
                <a:ext cx="36508" cy="26964"/>
              </a:xfrm>
              <a:custGeom>
                <a:avLst/>
                <a:gdLst>
                  <a:gd name="T0" fmla="*/ 0 w 26"/>
                  <a:gd name="T1" fmla="*/ 8 h 18"/>
                  <a:gd name="T2" fmla="*/ 18 w 26"/>
                  <a:gd name="T3" fmla="*/ 17 h 18"/>
                  <a:gd name="T4" fmla="*/ 25 w 26"/>
                  <a:gd name="T5" fmla="*/ 8 h 18"/>
                  <a:gd name="T6" fmla="*/ 18 w 26"/>
                  <a:gd name="T7" fmla="*/ 0 h 18"/>
                  <a:gd name="T8" fmla="*/ 0 w 26"/>
                  <a:gd name="T9" fmla="*/ 8 h 18"/>
                </a:gdLst>
                <a:ahLst/>
                <a:cxnLst>
                  <a:cxn ang="0">
                    <a:pos x="T0" y="T1"/>
                  </a:cxn>
                  <a:cxn ang="0">
                    <a:pos x="T2" y="T3"/>
                  </a:cxn>
                  <a:cxn ang="0">
                    <a:pos x="T4" y="T5"/>
                  </a:cxn>
                  <a:cxn ang="0">
                    <a:pos x="T6" y="T7"/>
                  </a:cxn>
                  <a:cxn ang="0">
                    <a:pos x="T8" y="T9"/>
                  </a:cxn>
                </a:cxnLst>
                <a:rect l="0" t="0" r="r" b="b"/>
                <a:pathLst>
                  <a:path w="26" h="18">
                    <a:moveTo>
                      <a:pt x="0" y="8"/>
                    </a:moveTo>
                    <a:lnTo>
                      <a:pt x="18" y="17"/>
                    </a:lnTo>
                    <a:lnTo>
                      <a:pt x="25" y="8"/>
                    </a:lnTo>
                    <a:lnTo>
                      <a:pt x="18" y="0"/>
                    </a:lnTo>
                    <a:lnTo>
                      <a:pt x="0" y="8"/>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83" name="Freeform 230">
                <a:extLst>
                  <a:ext uri="{FF2B5EF4-FFF2-40B4-BE49-F238E27FC236}">
                    <a16:creationId xmlns:a16="http://schemas.microsoft.com/office/drawing/2014/main" id="{CBAF638E-35F6-8E84-0373-450551BB02BF}"/>
                  </a:ext>
                </a:extLst>
              </p:cNvPr>
              <p:cNvSpPr>
                <a:spLocks/>
              </p:cNvSpPr>
              <p:nvPr/>
            </p:nvSpPr>
            <p:spPr bwMode="gray">
              <a:xfrm>
                <a:off x="3194039" y="3265390"/>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84" name="Freeform 231">
                <a:extLst>
                  <a:ext uri="{FF2B5EF4-FFF2-40B4-BE49-F238E27FC236}">
                    <a16:creationId xmlns:a16="http://schemas.microsoft.com/office/drawing/2014/main" id="{E691808D-90F6-AC94-F527-6EC238F74102}"/>
                  </a:ext>
                </a:extLst>
              </p:cNvPr>
              <p:cNvSpPr>
                <a:spLocks/>
              </p:cNvSpPr>
              <p:nvPr/>
            </p:nvSpPr>
            <p:spPr bwMode="gray">
              <a:xfrm>
                <a:off x="3194039" y="3265390"/>
                <a:ext cx="57707" cy="62509"/>
              </a:xfrm>
              <a:custGeom>
                <a:avLst/>
                <a:gdLst>
                  <a:gd name="T0" fmla="*/ 0 w 41"/>
                  <a:gd name="T1" fmla="*/ 33 h 43"/>
                  <a:gd name="T2" fmla="*/ 9 w 41"/>
                  <a:gd name="T3" fmla="*/ 42 h 43"/>
                  <a:gd name="T4" fmla="*/ 25 w 41"/>
                  <a:gd name="T5" fmla="*/ 25 h 43"/>
                  <a:gd name="T6" fmla="*/ 34 w 41"/>
                  <a:gd name="T7" fmla="*/ 25 h 43"/>
                  <a:gd name="T8" fmla="*/ 34 w 41"/>
                  <a:gd name="T9" fmla="*/ 17 h 43"/>
                  <a:gd name="T10" fmla="*/ 25 w 41"/>
                  <a:gd name="T11" fmla="*/ 17 h 43"/>
                  <a:gd name="T12" fmla="*/ 40 w 41"/>
                  <a:gd name="T13" fmla="*/ 10 h 43"/>
                  <a:gd name="T14" fmla="*/ 34 w 41"/>
                  <a:gd name="T15" fmla="*/ 0 h 43"/>
                  <a:gd name="T16" fmla="*/ 0 w 41"/>
                  <a:gd name="T17" fmla="*/ 3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85" name="Freeform 232">
                <a:extLst>
                  <a:ext uri="{FF2B5EF4-FFF2-40B4-BE49-F238E27FC236}">
                    <a16:creationId xmlns:a16="http://schemas.microsoft.com/office/drawing/2014/main" id="{EEC0978D-2185-0F27-6D16-C15710E4F3DD}"/>
                  </a:ext>
                </a:extLst>
              </p:cNvPr>
              <p:cNvSpPr>
                <a:spLocks/>
              </p:cNvSpPr>
              <p:nvPr/>
            </p:nvSpPr>
            <p:spPr bwMode="gray">
              <a:xfrm>
                <a:off x="3594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86" name="Freeform 233">
                <a:extLst>
                  <a:ext uri="{FF2B5EF4-FFF2-40B4-BE49-F238E27FC236}">
                    <a16:creationId xmlns:a16="http://schemas.microsoft.com/office/drawing/2014/main" id="{20B12876-77BF-15C5-7CB9-BE53F5E2BF89}"/>
                  </a:ext>
                </a:extLst>
              </p:cNvPr>
              <p:cNvSpPr>
                <a:spLocks/>
              </p:cNvSpPr>
              <p:nvPr/>
            </p:nvSpPr>
            <p:spPr bwMode="gray">
              <a:xfrm>
                <a:off x="3594447" y="3407564"/>
                <a:ext cx="36508" cy="73540"/>
              </a:xfrm>
              <a:custGeom>
                <a:avLst/>
                <a:gdLst>
                  <a:gd name="T0" fmla="*/ 0 w 26"/>
                  <a:gd name="T1" fmla="*/ 0 h 51"/>
                  <a:gd name="T2" fmla="*/ 0 w 26"/>
                  <a:gd name="T3" fmla="*/ 18 h 51"/>
                  <a:gd name="T4" fmla="*/ 8 w 26"/>
                  <a:gd name="T5" fmla="*/ 41 h 51"/>
                  <a:gd name="T6" fmla="*/ 25 w 26"/>
                  <a:gd name="T7" fmla="*/ 50 h 51"/>
                  <a:gd name="T8" fmla="*/ 8 w 26"/>
                  <a:gd name="T9" fmla="*/ 34 h 51"/>
                  <a:gd name="T10" fmla="*/ 16 w 26"/>
                  <a:gd name="T11" fmla="*/ 25 h 51"/>
                  <a:gd name="T12" fmla="*/ 8 w 26"/>
                  <a:gd name="T13" fmla="*/ 18 h 51"/>
                  <a:gd name="T14" fmla="*/ 16 w 26"/>
                  <a:gd name="T15" fmla="*/ 0 h 51"/>
                  <a:gd name="T16" fmla="*/ 0 w 26"/>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87" name="Freeform 234">
                <a:extLst>
                  <a:ext uri="{FF2B5EF4-FFF2-40B4-BE49-F238E27FC236}">
                    <a16:creationId xmlns:a16="http://schemas.microsoft.com/office/drawing/2014/main" id="{FA0DDB7A-C06B-7E14-4E89-6366530CA4DB}"/>
                  </a:ext>
                </a:extLst>
              </p:cNvPr>
              <p:cNvSpPr>
                <a:spLocks/>
              </p:cNvSpPr>
              <p:nvPr/>
            </p:nvSpPr>
            <p:spPr bwMode="gray">
              <a:xfrm>
                <a:off x="3673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88" name="Freeform 235">
                <a:extLst>
                  <a:ext uri="{FF2B5EF4-FFF2-40B4-BE49-F238E27FC236}">
                    <a16:creationId xmlns:a16="http://schemas.microsoft.com/office/drawing/2014/main" id="{9E9E7674-AF7E-68FF-19A2-BD79D7F2BFD8}"/>
                  </a:ext>
                </a:extLst>
              </p:cNvPr>
              <p:cNvSpPr>
                <a:spLocks/>
              </p:cNvSpPr>
              <p:nvPr/>
            </p:nvSpPr>
            <p:spPr bwMode="gray">
              <a:xfrm>
                <a:off x="3673352" y="3515423"/>
                <a:ext cx="94214" cy="72314"/>
              </a:xfrm>
              <a:custGeom>
                <a:avLst/>
                <a:gdLst>
                  <a:gd name="T0" fmla="*/ 0 w 67"/>
                  <a:gd name="T1" fmla="*/ 0 h 49"/>
                  <a:gd name="T2" fmla="*/ 9 w 67"/>
                  <a:gd name="T3" fmla="*/ 16 h 49"/>
                  <a:gd name="T4" fmla="*/ 25 w 67"/>
                  <a:gd name="T5" fmla="*/ 25 h 49"/>
                  <a:gd name="T6" fmla="*/ 41 w 67"/>
                  <a:gd name="T7" fmla="*/ 33 h 49"/>
                  <a:gd name="T8" fmla="*/ 41 w 67"/>
                  <a:gd name="T9" fmla="*/ 41 h 49"/>
                  <a:gd name="T10" fmla="*/ 57 w 67"/>
                  <a:gd name="T11" fmla="*/ 48 h 49"/>
                  <a:gd name="T12" fmla="*/ 66 w 67"/>
                  <a:gd name="T13" fmla="*/ 48 h 49"/>
                  <a:gd name="T14" fmla="*/ 34 w 67"/>
                  <a:gd name="T15" fmla="*/ 8 h 49"/>
                  <a:gd name="T16" fmla="*/ 9 w 67"/>
                  <a:gd name="T17" fmla="*/ 0 h 49"/>
                  <a:gd name="T18" fmla="*/ 0 w 67"/>
                  <a:gd name="T19"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D0D0D0"/>
              </a:solidFill>
              <a:ln w="3175" cap="rnd" cmpd="sng">
                <a:solidFill>
                  <a:schemeClr val="bg1"/>
                </a:solidFill>
                <a:prstDash val="solid"/>
                <a:round/>
                <a:headEnd type="none" w="sm" len="sm"/>
                <a:tailEnd type="none" w="sm" len="sm"/>
              </a:ln>
              <a:effectLst/>
            </p:spPr>
            <p:txBody>
              <a:bodyPr/>
              <a:lstStyle/>
              <a:p>
                <a:endParaRPr lang="en-US"/>
              </a:p>
            </p:txBody>
          </p:sp>
          <p:sp>
            <p:nvSpPr>
              <p:cNvPr id="1689" name="Freeform 309">
                <a:extLst>
                  <a:ext uri="{FF2B5EF4-FFF2-40B4-BE49-F238E27FC236}">
                    <a16:creationId xmlns:a16="http://schemas.microsoft.com/office/drawing/2014/main" id="{1D764A78-96F8-1CCC-1304-E053C1B31FCF}"/>
                  </a:ext>
                </a:extLst>
              </p:cNvPr>
              <p:cNvSpPr>
                <a:spLocks/>
              </p:cNvSpPr>
              <p:nvPr/>
            </p:nvSpPr>
            <p:spPr bwMode="gray">
              <a:xfrm>
                <a:off x="3104534" y="4190763"/>
                <a:ext cx="24732" cy="24513"/>
              </a:xfrm>
              <a:custGeom>
                <a:avLst/>
                <a:gdLst>
                  <a:gd name="T0" fmla="*/ 0 w 17"/>
                  <a:gd name="T1" fmla="*/ 0 h 17"/>
                  <a:gd name="T2" fmla="*/ 16 w 17"/>
                  <a:gd name="T3" fmla="*/ 16 h 17"/>
                  <a:gd name="T4" fmla="*/ 16 w 17"/>
                  <a:gd name="T5" fmla="*/ 0 h 17"/>
                  <a:gd name="T6" fmla="*/ 0 w 17"/>
                  <a:gd name="T7" fmla="*/ 0 h 17"/>
                </a:gdLst>
                <a:ahLst/>
                <a:cxnLst>
                  <a:cxn ang="0">
                    <a:pos x="T0" y="T1"/>
                  </a:cxn>
                  <a:cxn ang="0">
                    <a:pos x="T2" y="T3"/>
                  </a:cxn>
                  <a:cxn ang="0">
                    <a:pos x="T4" y="T5"/>
                  </a:cxn>
                  <a:cxn ang="0">
                    <a:pos x="T6" y="T7"/>
                  </a:cxn>
                </a:cxnLst>
                <a:rect l="0" t="0" r="r" b="b"/>
                <a:pathLst>
                  <a:path w="17" h="17">
                    <a:moveTo>
                      <a:pt x="0" y="0"/>
                    </a:moveTo>
                    <a:lnTo>
                      <a:pt x="16" y="16"/>
                    </a:lnTo>
                    <a:lnTo>
                      <a:pt x="16" y="0"/>
                    </a:lnTo>
                    <a:lnTo>
                      <a:pt x="0"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90" name="Line 310">
                <a:extLst>
                  <a:ext uri="{FF2B5EF4-FFF2-40B4-BE49-F238E27FC236}">
                    <a16:creationId xmlns:a16="http://schemas.microsoft.com/office/drawing/2014/main" id="{8CF1EF83-A979-7B22-9D0B-C0E3F2D46D82}"/>
                  </a:ext>
                </a:extLst>
              </p:cNvPr>
              <p:cNvSpPr>
                <a:spLocks noChangeShapeType="1"/>
              </p:cNvSpPr>
              <p:nvPr/>
            </p:nvSpPr>
            <p:spPr bwMode="gray">
              <a:xfrm>
                <a:off x="3137511" y="4204246"/>
                <a:ext cx="12955" cy="9805"/>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691" name="Line 311">
                <a:extLst>
                  <a:ext uri="{FF2B5EF4-FFF2-40B4-BE49-F238E27FC236}">
                    <a16:creationId xmlns:a16="http://schemas.microsoft.com/office/drawing/2014/main" id="{DA2C1419-61B9-D3DB-5537-8122E29D669A}"/>
                  </a:ext>
                </a:extLst>
              </p:cNvPr>
              <p:cNvSpPr>
                <a:spLocks noChangeShapeType="1"/>
              </p:cNvSpPr>
              <p:nvPr/>
            </p:nvSpPr>
            <p:spPr bwMode="gray">
              <a:xfrm>
                <a:off x="3161064" y="4214051"/>
                <a:ext cx="11777" cy="13483"/>
              </a:xfrm>
              <a:prstGeom prst="line">
                <a:avLst/>
              </a:prstGeom>
              <a:solidFill>
                <a:srgbClr val="D0D0D0"/>
              </a:solidFill>
              <a:ln w="3175">
                <a:solidFill>
                  <a:schemeClr val="bg1"/>
                </a:solidFill>
                <a:round/>
                <a:headEnd type="none" w="sm" len="sm"/>
                <a:tailEnd type="none" w="sm" len="sm"/>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1692" name="Freeform 312">
                <a:extLst>
                  <a:ext uri="{FF2B5EF4-FFF2-40B4-BE49-F238E27FC236}">
                    <a16:creationId xmlns:a16="http://schemas.microsoft.com/office/drawing/2014/main" id="{495F5283-7869-EA8B-AEAA-15F43DCF4714}"/>
                  </a:ext>
                </a:extLst>
              </p:cNvPr>
              <p:cNvSpPr>
                <a:spLocks/>
              </p:cNvSpPr>
              <p:nvPr/>
            </p:nvSpPr>
            <p:spPr bwMode="gray">
              <a:xfrm>
                <a:off x="3172841" y="4227533"/>
                <a:ext cx="23553" cy="37996"/>
              </a:xfrm>
              <a:custGeom>
                <a:avLst/>
                <a:gdLst>
                  <a:gd name="T0" fmla="*/ 8 w 17"/>
                  <a:gd name="T1" fmla="*/ 0 h 26"/>
                  <a:gd name="T2" fmla="*/ 0 w 17"/>
                  <a:gd name="T3" fmla="*/ 9 h 26"/>
                  <a:gd name="T4" fmla="*/ 8 w 17"/>
                  <a:gd name="T5" fmla="*/ 25 h 26"/>
                  <a:gd name="T6" fmla="*/ 16 w 17"/>
                  <a:gd name="T7" fmla="*/ 15 h 26"/>
                  <a:gd name="T8" fmla="*/ 8 w 17"/>
                  <a:gd name="T9" fmla="*/ 0 h 26"/>
                </a:gdLst>
                <a:ahLst/>
                <a:cxnLst>
                  <a:cxn ang="0">
                    <a:pos x="T0" y="T1"/>
                  </a:cxn>
                  <a:cxn ang="0">
                    <a:pos x="T2" y="T3"/>
                  </a:cxn>
                  <a:cxn ang="0">
                    <a:pos x="T4" y="T5"/>
                  </a:cxn>
                  <a:cxn ang="0">
                    <a:pos x="T6" y="T7"/>
                  </a:cxn>
                  <a:cxn ang="0">
                    <a:pos x="T8" y="T9"/>
                  </a:cxn>
                </a:cxnLst>
                <a:rect l="0" t="0" r="r" b="b"/>
                <a:pathLst>
                  <a:path w="17" h="26">
                    <a:moveTo>
                      <a:pt x="8" y="0"/>
                    </a:moveTo>
                    <a:lnTo>
                      <a:pt x="0" y="9"/>
                    </a:lnTo>
                    <a:lnTo>
                      <a:pt x="8" y="25"/>
                    </a:lnTo>
                    <a:lnTo>
                      <a:pt x="16" y="15"/>
                    </a:lnTo>
                    <a:lnTo>
                      <a:pt x="8" y="0"/>
                    </a:lnTo>
                  </a:path>
                </a:pathLst>
              </a:custGeom>
              <a:solidFill>
                <a:srgbClr val="D0D0D0"/>
              </a:solidFill>
              <a:ln w="3175" cap="rnd" cmpd="sng">
                <a:solidFill>
                  <a:schemeClr val="bg1"/>
                </a:solidFill>
                <a:prstDash val="solid"/>
                <a:round/>
                <a:headEnd/>
                <a:tailEnd/>
              </a:ln>
              <a:effectLst/>
            </p:spPr>
            <p:txBody>
              <a:bodyPr/>
              <a:lstStyle/>
              <a:p>
                <a:endParaRPr lang="en-US"/>
              </a:p>
            </p:txBody>
          </p:sp>
          <p:sp>
            <p:nvSpPr>
              <p:cNvPr id="1693" name="Freeform 237">
                <a:extLst>
                  <a:ext uri="{FF2B5EF4-FFF2-40B4-BE49-F238E27FC236}">
                    <a16:creationId xmlns:a16="http://schemas.microsoft.com/office/drawing/2014/main" id="{4B19C15C-697C-3C35-D4C7-E4AF32C9E926}"/>
                  </a:ext>
                </a:extLst>
              </p:cNvPr>
              <p:cNvSpPr>
                <a:spLocks/>
              </p:cNvSpPr>
              <p:nvPr/>
            </p:nvSpPr>
            <p:spPr bwMode="gray">
              <a:xfrm>
                <a:off x="5555527" y="1633680"/>
                <a:ext cx="23553" cy="26964"/>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accent2"/>
              </a:solidFill>
              <a:ln w="3175" cap="rnd" cmpd="sng">
                <a:solidFill>
                  <a:schemeClr val="bg1"/>
                </a:solidFill>
                <a:prstDash val="solid"/>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694" name="Freeform 238">
                <a:extLst>
                  <a:ext uri="{FF2B5EF4-FFF2-40B4-BE49-F238E27FC236}">
                    <a16:creationId xmlns:a16="http://schemas.microsoft.com/office/drawing/2014/main" id="{36435C75-CF8F-68E0-444F-E24355F9B242}"/>
                  </a:ext>
                </a:extLst>
              </p:cNvPr>
              <p:cNvSpPr>
                <a:spLocks/>
              </p:cNvSpPr>
              <p:nvPr/>
            </p:nvSpPr>
            <p:spPr bwMode="gray">
              <a:xfrm>
                <a:off x="5707927" y="1786080"/>
                <a:ext cx="23553" cy="26964"/>
              </a:xfrm>
              <a:custGeom>
                <a:avLst/>
                <a:gdLst>
                  <a:gd name="T0" fmla="*/ 0 w 17"/>
                  <a:gd name="T1" fmla="*/ 0 h 18"/>
                  <a:gd name="T2" fmla="*/ 0 w 17"/>
                  <a:gd name="T3" fmla="*/ 17 h 18"/>
                  <a:gd name="T4" fmla="*/ 16 w 17"/>
                  <a:gd name="T5" fmla="*/ 17 h 18"/>
                  <a:gd name="T6" fmla="*/ 0 w 17"/>
                  <a:gd name="T7" fmla="*/ 0 h 18"/>
                </a:gdLst>
                <a:ahLst/>
                <a:cxnLst>
                  <a:cxn ang="0">
                    <a:pos x="T0" y="T1"/>
                  </a:cxn>
                  <a:cxn ang="0">
                    <a:pos x="T2" y="T3"/>
                  </a:cxn>
                  <a:cxn ang="0">
                    <a:pos x="T4" y="T5"/>
                  </a:cxn>
                  <a:cxn ang="0">
                    <a:pos x="T6" y="T7"/>
                  </a:cxn>
                </a:cxnLst>
                <a:rect l="0" t="0" r="r" b="b"/>
                <a:pathLst>
                  <a:path w="17" h="18">
                    <a:moveTo>
                      <a:pt x="0" y="0"/>
                    </a:moveTo>
                    <a:lnTo>
                      <a:pt x="0" y="17"/>
                    </a:lnTo>
                    <a:lnTo>
                      <a:pt x="16" y="17"/>
                    </a:lnTo>
                    <a:lnTo>
                      <a:pt x="0" y="0"/>
                    </a:lnTo>
                  </a:path>
                </a:pathLst>
              </a:custGeom>
              <a:solidFill>
                <a:schemeClr val="accent2"/>
              </a:solidFill>
              <a:ln w="3175" cap="rnd" cmpd="sng">
                <a:solidFill>
                  <a:schemeClr val="bg1"/>
                </a:solidFill>
                <a:prstDash val="solid"/>
                <a:round/>
                <a:headEnd type="none" w="sm" len="sm"/>
                <a:tailEnd type="none" w="sm" len="sm"/>
              </a:ln>
              <a:effectLst/>
            </p:spPr>
            <p:txBody>
              <a:bodyPr/>
              <a:lstStyle/>
              <a:p>
                <a:endParaRPr lang="en-US"/>
              </a:p>
            </p:txBody>
          </p:sp>
          <p:sp>
            <p:nvSpPr>
              <p:cNvPr id="1695" name="Rechteck 1694">
                <a:extLst>
                  <a:ext uri="{FF2B5EF4-FFF2-40B4-BE49-F238E27FC236}">
                    <a16:creationId xmlns:a16="http://schemas.microsoft.com/office/drawing/2014/main" id="{F4177843-B9D5-CDC6-DFF5-16B291506D8A}"/>
                  </a:ext>
                </a:extLst>
              </p:cNvPr>
              <p:cNvSpPr/>
              <p:nvPr/>
            </p:nvSpPr>
            <p:spPr>
              <a:xfrm>
                <a:off x="4546937" y="3611220"/>
                <a:ext cx="45719" cy="45719"/>
              </a:xfrm>
              <a:prstGeom prst="rect">
                <a:avLst/>
              </a:prstGeom>
              <a:solidFill>
                <a:schemeClr val="accent2"/>
              </a:solidFill>
              <a:ln w="3175" cap="flat" cmpd="sng" algn="ctr">
                <a:solidFill>
                  <a:schemeClr val="bg1"/>
                </a:solidFill>
                <a:prstDash val="solid"/>
              </a:ln>
              <a:effectLst/>
            </p:spPr>
            <p:txBody>
              <a:bodyPr rtlCol="0" anchor="ctr"/>
              <a:lstStyle/>
              <a:p>
                <a:pPr algn="ctr" defTabSz="914400">
                  <a:defRPr/>
                </a:pPr>
                <a:endParaRPr lang="en-US" kern="0">
                  <a:solidFill>
                    <a:srgbClr val="FFFFFF"/>
                  </a:solidFill>
                  <a:latin typeface="Arial"/>
                </a:endParaRPr>
              </a:p>
            </p:txBody>
          </p:sp>
        </p:grpSp>
        <p:grpSp>
          <p:nvGrpSpPr>
            <p:cNvPr id="1577" name="Gruppieren 1576">
              <a:extLst>
                <a:ext uri="{FF2B5EF4-FFF2-40B4-BE49-F238E27FC236}">
                  <a16:creationId xmlns:a16="http://schemas.microsoft.com/office/drawing/2014/main" id="{E31F66BC-353E-5AE8-9FC0-1394C28D940B}"/>
                </a:ext>
              </a:extLst>
            </p:cNvPr>
            <p:cNvGrpSpPr/>
            <p:nvPr/>
          </p:nvGrpSpPr>
          <p:grpSpPr>
            <a:xfrm>
              <a:off x="3752188" y="3611428"/>
              <a:ext cx="4784162" cy="1517813"/>
              <a:chOff x="3752188" y="3611428"/>
              <a:chExt cx="4784162" cy="1517813"/>
            </a:xfrm>
          </p:grpSpPr>
          <p:grpSp>
            <p:nvGrpSpPr>
              <p:cNvPr id="1578" name="Gruppieren 1577">
                <a:extLst>
                  <a:ext uri="{FF2B5EF4-FFF2-40B4-BE49-F238E27FC236}">
                    <a16:creationId xmlns:a16="http://schemas.microsoft.com/office/drawing/2014/main" id="{D2301396-6DCF-26D8-2DD6-1BA05F7C74C0}"/>
                  </a:ext>
                </a:extLst>
              </p:cNvPr>
              <p:cNvGrpSpPr/>
              <p:nvPr/>
            </p:nvGrpSpPr>
            <p:grpSpPr>
              <a:xfrm>
                <a:off x="3752188" y="3611428"/>
                <a:ext cx="4784162" cy="1517813"/>
                <a:chOff x="3752188" y="3611428"/>
                <a:chExt cx="4784162" cy="1517813"/>
              </a:xfrm>
            </p:grpSpPr>
            <p:sp>
              <p:nvSpPr>
                <p:cNvPr id="1585" name="Rechteck 1584">
                  <a:extLst>
                    <a:ext uri="{FF2B5EF4-FFF2-40B4-BE49-F238E27FC236}">
                      <a16:creationId xmlns:a16="http://schemas.microsoft.com/office/drawing/2014/main" id="{137184E3-AA7F-DC75-C7B6-879A7B85BA98}"/>
                    </a:ext>
                  </a:extLst>
                </p:cNvPr>
                <p:cNvSpPr/>
                <p:nvPr/>
              </p:nvSpPr>
              <p:spPr>
                <a:xfrm>
                  <a:off x="5130926" y="5073510"/>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en-US" kern="0">
                    <a:solidFill>
                      <a:srgbClr val="FFFFFF"/>
                    </a:solidFill>
                    <a:latin typeface="Arial"/>
                  </a:endParaRPr>
                </a:p>
              </p:txBody>
            </p:sp>
            <p:sp>
              <p:nvSpPr>
                <p:cNvPr id="1586" name="Rechteck 1585">
                  <a:extLst>
                    <a:ext uri="{FF2B5EF4-FFF2-40B4-BE49-F238E27FC236}">
                      <a16:creationId xmlns:a16="http://schemas.microsoft.com/office/drawing/2014/main" id="{BBFAABA5-5ED4-3C77-E590-2B68AA6C64EB}"/>
                    </a:ext>
                  </a:extLst>
                </p:cNvPr>
                <p:cNvSpPr/>
                <p:nvPr/>
              </p:nvSpPr>
              <p:spPr>
                <a:xfrm>
                  <a:off x="3752188" y="3844679"/>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en-US" kern="0">
                    <a:solidFill>
                      <a:srgbClr val="FFFFFF"/>
                    </a:solidFill>
                    <a:latin typeface="Arial"/>
                  </a:endParaRPr>
                </a:p>
              </p:txBody>
            </p:sp>
            <p:sp>
              <p:nvSpPr>
                <p:cNvPr id="1587" name="Rechteck 1586">
                  <a:extLst>
                    <a:ext uri="{FF2B5EF4-FFF2-40B4-BE49-F238E27FC236}">
                      <a16:creationId xmlns:a16="http://schemas.microsoft.com/office/drawing/2014/main" id="{16BF7D98-BB6A-1228-BF74-C33D381501AE}"/>
                    </a:ext>
                  </a:extLst>
                </p:cNvPr>
                <p:cNvSpPr/>
                <p:nvPr/>
              </p:nvSpPr>
              <p:spPr>
                <a:xfrm>
                  <a:off x="4625333" y="3611428"/>
                  <a:ext cx="52700" cy="55731"/>
                </a:xfrm>
                <a:prstGeom prst="rect">
                  <a:avLst/>
                </a:prstGeom>
                <a:solidFill>
                  <a:schemeClr val="accent6"/>
                </a:solidFill>
                <a:ln w="9525" cap="flat" cmpd="sng" algn="ctr">
                  <a:noFill/>
                  <a:prstDash val="solid"/>
                </a:ln>
                <a:effectLst/>
              </p:spPr>
              <p:txBody>
                <a:bodyPr rtlCol="0" anchor="ctr"/>
                <a:lstStyle/>
                <a:p>
                  <a:pPr algn="ctr" defTabSz="914400">
                    <a:defRPr/>
                  </a:pPr>
                  <a:endParaRPr lang="en-US" kern="0">
                    <a:solidFill>
                      <a:srgbClr val="FFFFFF"/>
                    </a:solidFill>
                    <a:latin typeface="Arial"/>
                  </a:endParaRPr>
                </a:p>
              </p:txBody>
            </p:sp>
            <p:sp>
              <p:nvSpPr>
                <p:cNvPr id="1588" name="Rechteck 1587">
                  <a:extLst>
                    <a:ext uri="{FF2B5EF4-FFF2-40B4-BE49-F238E27FC236}">
                      <a16:creationId xmlns:a16="http://schemas.microsoft.com/office/drawing/2014/main" id="{79D18B28-DD39-0D02-2E65-B73E9C99B2C5}"/>
                    </a:ext>
                  </a:extLst>
                </p:cNvPr>
                <p:cNvSpPr/>
                <p:nvPr/>
              </p:nvSpPr>
              <p:spPr>
                <a:xfrm>
                  <a:off x="7879321" y="4034507"/>
                  <a:ext cx="52700" cy="55731"/>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9" name="Rechteck 1588">
                  <a:extLst>
                    <a:ext uri="{FF2B5EF4-FFF2-40B4-BE49-F238E27FC236}">
                      <a16:creationId xmlns:a16="http://schemas.microsoft.com/office/drawing/2014/main" id="{3694FBF6-FEAD-3499-21DD-0F202AA99EEA}"/>
                    </a:ext>
                  </a:extLst>
                </p:cNvPr>
                <p:cNvSpPr/>
                <p:nvPr/>
              </p:nvSpPr>
              <p:spPr>
                <a:xfrm>
                  <a:off x="7945204" y="413834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0" name="Rechteck 1589">
                  <a:extLst>
                    <a:ext uri="{FF2B5EF4-FFF2-40B4-BE49-F238E27FC236}">
                      <a16:creationId xmlns:a16="http://schemas.microsoft.com/office/drawing/2014/main" id="{D42E7A3C-BF36-DA98-D569-737350BFA4AC}"/>
                    </a:ext>
                  </a:extLst>
                </p:cNvPr>
                <p:cNvSpPr/>
                <p:nvPr/>
              </p:nvSpPr>
              <p:spPr>
                <a:xfrm>
                  <a:off x="8260283" y="382808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1" name="Rechteck 1590">
                  <a:extLst>
                    <a:ext uri="{FF2B5EF4-FFF2-40B4-BE49-F238E27FC236}">
                      <a16:creationId xmlns:a16="http://schemas.microsoft.com/office/drawing/2014/main" id="{F077E2E7-C303-24B5-59ED-AEA9CA8BDB08}"/>
                    </a:ext>
                  </a:extLst>
                </p:cNvPr>
                <p:cNvSpPr/>
                <p:nvPr/>
              </p:nvSpPr>
              <p:spPr>
                <a:xfrm>
                  <a:off x="8157217" y="414908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2" name="Rechteck 1591">
                  <a:extLst>
                    <a:ext uri="{FF2B5EF4-FFF2-40B4-BE49-F238E27FC236}">
                      <a16:creationId xmlns:a16="http://schemas.microsoft.com/office/drawing/2014/main" id="{54929226-F151-1994-C988-C882A43883A7}"/>
                    </a:ext>
                  </a:extLst>
                </p:cNvPr>
                <p:cNvSpPr/>
                <p:nvPr/>
              </p:nvSpPr>
              <p:spPr>
                <a:xfrm>
                  <a:off x="7895341" y="471165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3" name="Rechteck 1592">
                  <a:extLst>
                    <a:ext uri="{FF2B5EF4-FFF2-40B4-BE49-F238E27FC236}">
                      <a16:creationId xmlns:a16="http://schemas.microsoft.com/office/drawing/2014/main" id="{08A90D0F-6626-D082-7EB6-8972AA93FFF3}"/>
                    </a:ext>
                  </a:extLst>
                </p:cNvPr>
                <p:cNvSpPr/>
                <p:nvPr/>
              </p:nvSpPr>
              <p:spPr>
                <a:xfrm>
                  <a:off x="7770594" y="4454672"/>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4" name="Rechteck 1593">
                  <a:extLst>
                    <a:ext uri="{FF2B5EF4-FFF2-40B4-BE49-F238E27FC236}">
                      <a16:creationId xmlns:a16="http://schemas.microsoft.com/office/drawing/2014/main" id="{D6D92B26-7CCE-5175-6BEA-2982E621A746}"/>
                    </a:ext>
                  </a:extLst>
                </p:cNvPr>
                <p:cNvSpPr/>
                <p:nvPr/>
              </p:nvSpPr>
              <p:spPr>
                <a:xfrm>
                  <a:off x="8483650" y="3809130"/>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5" name="Rechteck 1594">
                  <a:extLst>
                    <a:ext uri="{FF2B5EF4-FFF2-40B4-BE49-F238E27FC236}">
                      <a16:creationId xmlns:a16="http://schemas.microsoft.com/office/drawing/2014/main" id="{01B21218-0D98-D8BF-F3A5-7269B8244300}"/>
                    </a:ext>
                  </a:extLst>
                </p:cNvPr>
                <p:cNvSpPr/>
                <p:nvPr/>
              </p:nvSpPr>
              <p:spPr>
                <a:xfrm>
                  <a:off x="8096998" y="4045996"/>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6" name="Rechteck 1595">
                  <a:extLst>
                    <a:ext uri="{FF2B5EF4-FFF2-40B4-BE49-F238E27FC236}">
                      <a16:creationId xmlns:a16="http://schemas.microsoft.com/office/drawing/2014/main" id="{3837E044-D27A-6316-386C-25345DDC1488}"/>
                    </a:ext>
                  </a:extLst>
                </p:cNvPr>
                <p:cNvSpPr/>
                <p:nvPr/>
              </p:nvSpPr>
              <p:spPr>
                <a:xfrm>
                  <a:off x="7315460" y="4257267"/>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7" name="Rechteck 1596">
                  <a:extLst>
                    <a:ext uri="{FF2B5EF4-FFF2-40B4-BE49-F238E27FC236}">
                      <a16:creationId xmlns:a16="http://schemas.microsoft.com/office/drawing/2014/main" id="{CD4C5125-AF6D-B16D-4032-0198188BD0FE}"/>
                    </a:ext>
                  </a:extLst>
                </p:cNvPr>
                <p:cNvSpPr/>
                <p:nvPr/>
              </p:nvSpPr>
              <p:spPr>
                <a:xfrm>
                  <a:off x="7821783" y="4518584"/>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8" name="Rechteck 1597">
                  <a:extLst>
                    <a:ext uri="{FF2B5EF4-FFF2-40B4-BE49-F238E27FC236}">
                      <a16:creationId xmlns:a16="http://schemas.microsoft.com/office/drawing/2014/main" id="{1F8EB3A4-A831-A431-611C-2873228B6F9E}"/>
                    </a:ext>
                  </a:extLst>
                </p:cNvPr>
                <p:cNvSpPr/>
                <p:nvPr/>
              </p:nvSpPr>
              <p:spPr>
                <a:xfrm>
                  <a:off x="7390493" y="4349106"/>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99" name="Rechteck 1598">
                  <a:extLst>
                    <a:ext uri="{FF2B5EF4-FFF2-40B4-BE49-F238E27FC236}">
                      <a16:creationId xmlns:a16="http://schemas.microsoft.com/office/drawing/2014/main" id="{E4E64840-A9F0-8650-858D-D4D71BA8699B}"/>
                    </a:ext>
                  </a:extLst>
                </p:cNvPr>
                <p:cNvSpPr/>
                <p:nvPr/>
              </p:nvSpPr>
              <p:spPr>
                <a:xfrm>
                  <a:off x="3768056" y="3719255"/>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0" name="Rechteck 1599">
                  <a:extLst>
                    <a:ext uri="{FF2B5EF4-FFF2-40B4-BE49-F238E27FC236}">
                      <a16:creationId xmlns:a16="http://schemas.microsoft.com/office/drawing/2014/main" id="{EA956628-0E65-AE7A-63AC-713C13313A5D}"/>
                    </a:ext>
                  </a:extLst>
                </p:cNvPr>
                <p:cNvSpPr/>
                <p:nvPr/>
              </p:nvSpPr>
              <p:spPr>
                <a:xfrm>
                  <a:off x="7773720" y="4309792"/>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1" name="Rechteck 1600">
                  <a:extLst>
                    <a:ext uri="{FF2B5EF4-FFF2-40B4-BE49-F238E27FC236}">
                      <a16:creationId xmlns:a16="http://schemas.microsoft.com/office/drawing/2014/main" id="{12C95EBA-624C-0F7A-9FCB-795A73567FD6}"/>
                    </a:ext>
                  </a:extLst>
                </p:cNvPr>
                <p:cNvSpPr/>
                <p:nvPr/>
              </p:nvSpPr>
              <p:spPr>
                <a:xfrm>
                  <a:off x="7869196" y="4352927"/>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02" name="Rechteck 1601">
                  <a:extLst>
                    <a:ext uri="{FF2B5EF4-FFF2-40B4-BE49-F238E27FC236}">
                      <a16:creationId xmlns:a16="http://schemas.microsoft.com/office/drawing/2014/main" id="{0559D734-5CF1-3103-3131-B70B449C244F}"/>
                    </a:ext>
                  </a:extLst>
                </p:cNvPr>
                <p:cNvSpPr/>
                <p:nvPr/>
              </p:nvSpPr>
              <p:spPr>
                <a:xfrm>
                  <a:off x="8150128" y="4310101"/>
                  <a:ext cx="52700" cy="55731"/>
                </a:xfrm>
                <a:prstGeom prst="rect">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79" name="Gruppieren 1578">
                <a:extLst>
                  <a:ext uri="{FF2B5EF4-FFF2-40B4-BE49-F238E27FC236}">
                    <a16:creationId xmlns:a16="http://schemas.microsoft.com/office/drawing/2014/main" id="{4D11EC62-E020-A046-7C9B-5EE43D125A24}"/>
                  </a:ext>
                </a:extLst>
              </p:cNvPr>
              <p:cNvGrpSpPr/>
              <p:nvPr/>
            </p:nvGrpSpPr>
            <p:grpSpPr>
              <a:xfrm>
                <a:off x="4130823" y="3704824"/>
                <a:ext cx="4026394" cy="442924"/>
                <a:chOff x="4130823" y="3704824"/>
                <a:chExt cx="4026394" cy="442924"/>
              </a:xfrm>
            </p:grpSpPr>
            <p:sp>
              <p:nvSpPr>
                <p:cNvPr id="1580" name="Rechteck 1579">
                  <a:extLst>
                    <a:ext uri="{FF2B5EF4-FFF2-40B4-BE49-F238E27FC236}">
                      <a16:creationId xmlns:a16="http://schemas.microsoft.com/office/drawing/2014/main" id="{70229A9F-5226-F54A-5599-188FBA95A41B}"/>
                    </a:ext>
                  </a:extLst>
                </p:cNvPr>
                <p:cNvSpPr/>
                <p:nvPr/>
              </p:nvSpPr>
              <p:spPr>
                <a:xfrm>
                  <a:off x="4647337" y="3704824"/>
                  <a:ext cx="49406" cy="52248"/>
                </a:xfrm>
                <a:prstGeom prst="rect">
                  <a:avLst/>
                </a:prstGeom>
                <a:solidFill>
                  <a:schemeClr val="hlink"/>
                </a:solidFill>
                <a:ln w="9525" cap="flat" cmpd="sng" algn="ctr">
                  <a:solidFill>
                    <a:schemeClr val="hlink"/>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581" name="Rechteck 1580">
                  <a:extLst>
                    <a:ext uri="{FF2B5EF4-FFF2-40B4-BE49-F238E27FC236}">
                      <a16:creationId xmlns:a16="http://schemas.microsoft.com/office/drawing/2014/main" id="{0F0EE587-E95A-7B65-8AD3-11DAE6423163}"/>
                    </a:ext>
                  </a:extLst>
                </p:cNvPr>
                <p:cNvSpPr/>
                <p:nvPr/>
              </p:nvSpPr>
              <p:spPr>
                <a:xfrm>
                  <a:off x="4624673" y="3759040"/>
                  <a:ext cx="52700" cy="55731"/>
                </a:xfrm>
                <a:prstGeom prst="rect">
                  <a:avLst/>
                </a:prstGeom>
                <a:solidFill>
                  <a:schemeClr val="hlink"/>
                </a:solidFill>
                <a:ln w="9525" cap="flat" cmpd="sng" algn="ctr">
                  <a:noFill/>
                  <a:prstDash val="solid"/>
                </a:ln>
                <a:effectLst/>
              </p:spPr>
              <p:txBody>
                <a:bodyPr rtlCol="0" anchor="ctr"/>
                <a:lstStyle/>
                <a:p>
                  <a:pPr algn="ctr" defTabSz="914400">
                    <a:defRPr/>
                  </a:pPr>
                  <a:endParaRPr lang="en-US" kern="0">
                    <a:solidFill>
                      <a:srgbClr val="FFFFFF"/>
                    </a:solidFill>
                    <a:latin typeface="Arial"/>
                  </a:endParaRPr>
                </a:p>
              </p:txBody>
            </p:sp>
            <p:sp>
              <p:nvSpPr>
                <p:cNvPr id="1582" name="Rechteck 1581">
                  <a:extLst>
                    <a:ext uri="{FF2B5EF4-FFF2-40B4-BE49-F238E27FC236}">
                      <a16:creationId xmlns:a16="http://schemas.microsoft.com/office/drawing/2014/main" id="{0CAD0F0F-1F87-0E9F-B948-7C6B8208095E}"/>
                    </a:ext>
                  </a:extLst>
                </p:cNvPr>
                <p:cNvSpPr/>
                <p:nvPr/>
              </p:nvSpPr>
              <p:spPr>
                <a:xfrm>
                  <a:off x="4130823" y="4095500"/>
                  <a:ext cx="49406" cy="52248"/>
                </a:xfrm>
                <a:prstGeom prst="rect">
                  <a:avLst/>
                </a:prstGeom>
                <a:solidFill>
                  <a:schemeClr val="hlink"/>
                </a:solidFill>
                <a:ln w="9525" cap="flat" cmpd="sng" algn="ctr">
                  <a:solidFill>
                    <a:schemeClr val="hlink"/>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583" name="Rechteck 1582">
                  <a:extLst>
                    <a:ext uri="{FF2B5EF4-FFF2-40B4-BE49-F238E27FC236}">
                      <a16:creationId xmlns:a16="http://schemas.microsoft.com/office/drawing/2014/main" id="{4034E9AD-513E-B161-8F02-EDED3479416F}"/>
                    </a:ext>
                  </a:extLst>
                </p:cNvPr>
                <p:cNvSpPr/>
                <p:nvPr/>
              </p:nvSpPr>
              <p:spPr>
                <a:xfrm>
                  <a:off x="8104517" y="3964807"/>
                  <a:ext cx="52700" cy="55731"/>
                </a:xfrm>
                <a:prstGeom prst="rect">
                  <a:avLst/>
                </a:prstGeom>
                <a:solidFill>
                  <a:schemeClr val="hlink"/>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84" name="Rechteck 1583">
                  <a:extLst>
                    <a:ext uri="{FF2B5EF4-FFF2-40B4-BE49-F238E27FC236}">
                      <a16:creationId xmlns:a16="http://schemas.microsoft.com/office/drawing/2014/main" id="{4960BD95-2970-BFD2-4FB5-96FE39ACD4A5}"/>
                    </a:ext>
                  </a:extLst>
                </p:cNvPr>
                <p:cNvSpPr/>
                <p:nvPr/>
              </p:nvSpPr>
              <p:spPr>
                <a:xfrm>
                  <a:off x="8032509" y="3933057"/>
                  <a:ext cx="52700" cy="55731"/>
                </a:xfrm>
                <a:prstGeom prst="rect">
                  <a:avLst/>
                </a:prstGeom>
                <a:solidFill>
                  <a:schemeClr val="hlink"/>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sp>
        <p:nvSpPr>
          <p:cNvPr id="1932" name="Rechteck 1931">
            <a:extLst>
              <a:ext uri="{FF2B5EF4-FFF2-40B4-BE49-F238E27FC236}">
                <a16:creationId xmlns:a16="http://schemas.microsoft.com/office/drawing/2014/main" id="{5729180D-23B8-361E-2E85-C473316037CF}"/>
              </a:ext>
            </a:extLst>
          </p:cNvPr>
          <p:cNvSpPr/>
          <p:nvPr/>
        </p:nvSpPr>
        <p:spPr>
          <a:xfrm>
            <a:off x="385481" y="869931"/>
            <a:ext cx="6448983" cy="5181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grpSp>
        <p:nvGrpSpPr>
          <p:cNvPr id="1933" name="Gruppieren 1932">
            <a:extLst>
              <a:ext uri="{FF2B5EF4-FFF2-40B4-BE49-F238E27FC236}">
                <a16:creationId xmlns:a16="http://schemas.microsoft.com/office/drawing/2014/main" id="{086AD412-1869-6EED-4A4D-97D780B46D19}"/>
              </a:ext>
            </a:extLst>
          </p:cNvPr>
          <p:cNvGrpSpPr/>
          <p:nvPr/>
        </p:nvGrpSpPr>
        <p:grpSpPr>
          <a:xfrm>
            <a:off x="2422025" y="1340864"/>
            <a:ext cx="2679346" cy="2412812"/>
            <a:chOff x="4928153" y="1389898"/>
            <a:chExt cx="2679346" cy="2412812"/>
          </a:xfrm>
        </p:grpSpPr>
        <p:sp>
          <p:nvSpPr>
            <p:cNvPr id="1934" name="Rechteck 1933">
              <a:extLst>
                <a:ext uri="{FF2B5EF4-FFF2-40B4-BE49-F238E27FC236}">
                  <a16:creationId xmlns:a16="http://schemas.microsoft.com/office/drawing/2014/main" id="{7A7DDD10-1E34-B0E6-5947-3F2473088809}"/>
                </a:ext>
              </a:extLst>
            </p:cNvPr>
            <p:cNvSpPr/>
            <p:nvPr/>
          </p:nvSpPr>
          <p:spPr>
            <a:xfrm>
              <a:off x="4928153" y="1389898"/>
              <a:ext cx="2679346" cy="2412812"/>
            </a:xfrm>
            <a:prstGeom prst="rect">
              <a:avLst/>
            </a:prstGeom>
            <a:solidFill>
              <a:srgbClr val="FFFFFF"/>
            </a:solidFill>
            <a:ln w="9525" cap="flat" cmpd="sng" algn="ctr">
              <a:solidFill>
                <a:schemeClr val="bg1"/>
              </a:solidFill>
              <a:prstDash val="solid"/>
            </a:ln>
            <a:effectLst>
              <a:outerShdw blurRad="254000" dist="254000" dir="5400000" algn="ctr" rotWithShape="0">
                <a:schemeClr val="accent2">
                  <a:alpha val="50000"/>
                </a:schemeClr>
              </a:outerShdw>
            </a:effectLst>
          </p:spPr>
          <p:txBody>
            <a:bodyPr rtlCol="0" anchor="ctr"/>
            <a:lstStyle/>
            <a:p>
              <a:pPr algn="ctr" defTabSz="914400">
                <a:defRPr/>
              </a:pPr>
              <a:endParaRPr lang="en-US" kern="0">
                <a:solidFill>
                  <a:srgbClr val="FFFFFF"/>
                </a:solidFill>
                <a:latin typeface="Arial"/>
              </a:endParaRPr>
            </a:p>
          </p:txBody>
        </p:sp>
        <p:grpSp>
          <p:nvGrpSpPr>
            <p:cNvPr id="1935" name="Gruppieren 749">
              <a:extLst>
                <a:ext uri="{FF2B5EF4-FFF2-40B4-BE49-F238E27FC236}">
                  <a16:creationId xmlns:a16="http://schemas.microsoft.com/office/drawing/2014/main" id="{E76A45CD-4161-66D9-435E-B6F1F88FB54F}"/>
                </a:ext>
              </a:extLst>
            </p:cNvPr>
            <p:cNvGrpSpPr/>
            <p:nvPr/>
          </p:nvGrpSpPr>
          <p:grpSpPr>
            <a:xfrm>
              <a:off x="4944214" y="1399114"/>
              <a:ext cx="2654571" cy="2379469"/>
              <a:chOff x="3420214" y="1399114"/>
              <a:chExt cx="2654571" cy="2379469"/>
            </a:xfrm>
            <a:solidFill>
              <a:schemeClr val="accent2"/>
            </a:solidFill>
          </p:grpSpPr>
          <p:sp>
            <p:nvSpPr>
              <p:cNvPr id="1970" name="Freeform 3">
                <a:extLst>
                  <a:ext uri="{FF2B5EF4-FFF2-40B4-BE49-F238E27FC236}">
                    <a16:creationId xmlns:a16="http://schemas.microsoft.com/office/drawing/2014/main" id="{76F91341-FFFA-EAB6-8172-7C8BF90A457A}"/>
                  </a:ext>
                </a:extLst>
              </p:cNvPr>
              <p:cNvSpPr>
                <a:spLocks/>
              </p:cNvSpPr>
              <p:nvPr/>
            </p:nvSpPr>
            <p:spPr bwMode="auto">
              <a:xfrm>
                <a:off x="4859197" y="1399114"/>
                <a:ext cx="1215588" cy="1715431"/>
              </a:xfrm>
              <a:custGeom>
                <a:avLst/>
                <a:gdLst>
                  <a:gd name="T0" fmla="*/ 1059 w 1897"/>
                  <a:gd name="T1" fmla="*/ 2203 h 2531"/>
                  <a:gd name="T2" fmla="*/ 1047 w 1897"/>
                  <a:gd name="T3" fmla="*/ 2291 h 2531"/>
                  <a:gd name="T4" fmla="*/ 989 w 1897"/>
                  <a:gd name="T5" fmla="*/ 2387 h 2531"/>
                  <a:gd name="T6" fmla="*/ 1037 w 1897"/>
                  <a:gd name="T7" fmla="*/ 2455 h 2531"/>
                  <a:gd name="T8" fmla="*/ 1179 w 1897"/>
                  <a:gd name="T9" fmla="*/ 2487 h 2531"/>
                  <a:gd name="T10" fmla="*/ 1429 w 1897"/>
                  <a:gd name="T11" fmla="*/ 2469 h 2531"/>
                  <a:gd name="T12" fmla="*/ 1647 w 1897"/>
                  <a:gd name="T13" fmla="*/ 2493 h 2531"/>
                  <a:gd name="T14" fmla="*/ 1821 w 1897"/>
                  <a:gd name="T15" fmla="*/ 2479 h 2531"/>
                  <a:gd name="T16" fmla="*/ 1697 w 1897"/>
                  <a:gd name="T17" fmla="*/ 2309 h 2531"/>
                  <a:gd name="T18" fmla="*/ 1621 w 1897"/>
                  <a:gd name="T19" fmla="*/ 2085 h 2531"/>
                  <a:gd name="T20" fmla="*/ 1651 w 1897"/>
                  <a:gd name="T21" fmla="*/ 2015 h 2531"/>
                  <a:gd name="T22" fmla="*/ 1573 w 1897"/>
                  <a:gd name="T23" fmla="*/ 1895 h 2531"/>
                  <a:gd name="T24" fmla="*/ 1451 w 1897"/>
                  <a:gd name="T25" fmla="*/ 1829 h 2531"/>
                  <a:gd name="T26" fmla="*/ 1457 w 1897"/>
                  <a:gd name="T27" fmla="*/ 1681 h 2531"/>
                  <a:gd name="T28" fmla="*/ 1507 w 1897"/>
                  <a:gd name="T29" fmla="*/ 1555 h 2531"/>
                  <a:gd name="T30" fmla="*/ 1607 w 1897"/>
                  <a:gd name="T31" fmla="*/ 1461 h 2531"/>
                  <a:gd name="T32" fmla="*/ 1759 w 1897"/>
                  <a:gd name="T33" fmla="*/ 1413 h 2531"/>
                  <a:gd name="T34" fmla="*/ 1863 w 1897"/>
                  <a:gd name="T35" fmla="*/ 1401 h 2531"/>
                  <a:gd name="T36" fmla="*/ 757 w 1897"/>
                  <a:gd name="T37" fmla="*/ 37 h 2531"/>
                  <a:gd name="T38" fmla="*/ 685 w 1897"/>
                  <a:gd name="T39" fmla="*/ 242 h 2531"/>
                  <a:gd name="T40" fmla="*/ 618 w 1897"/>
                  <a:gd name="T41" fmla="*/ 192 h 2531"/>
                  <a:gd name="T42" fmla="*/ 538 w 1897"/>
                  <a:gd name="T43" fmla="*/ 228 h 2531"/>
                  <a:gd name="T44" fmla="*/ 590 w 1897"/>
                  <a:gd name="T45" fmla="*/ 401 h 2531"/>
                  <a:gd name="T46" fmla="*/ 480 w 1897"/>
                  <a:gd name="T47" fmla="*/ 496 h 2531"/>
                  <a:gd name="T48" fmla="*/ 454 w 1897"/>
                  <a:gd name="T49" fmla="*/ 593 h 2531"/>
                  <a:gd name="T50" fmla="*/ 428 w 1897"/>
                  <a:gd name="T51" fmla="*/ 649 h 2531"/>
                  <a:gd name="T52" fmla="*/ 368 w 1897"/>
                  <a:gd name="T53" fmla="*/ 668 h 2531"/>
                  <a:gd name="T54" fmla="*/ 294 w 1897"/>
                  <a:gd name="T55" fmla="*/ 552 h 2531"/>
                  <a:gd name="T56" fmla="*/ 175 w 1897"/>
                  <a:gd name="T57" fmla="*/ 454 h 2531"/>
                  <a:gd name="T58" fmla="*/ 292 w 1897"/>
                  <a:gd name="T59" fmla="*/ 478 h 2531"/>
                  <a:gd name="T60" fmla="*/ 448 w 1897"/>
                  <a:gd name="T61" fmla="*/ 304 h 2531"/>
                  <a:gd name="T62" fmla="*/ 206 w 1897"/>
                  <a:gd name="T63" fmla="*/ 238 h 2531"/>
                  <a:gd name="T64" fmla="*/ 118 w 1897"/>
                  <a:gd name="T65" fmla="*/ 209 h 2531"/>
                  <a:gd name="T66" fmla="*/ 38 w 1897"/>
                  <a:gd name="T67" fmla="*/ 252 h 2531"/>
                  <a:gd name="T68" fmla="*/ 47 w 1897"/>
                  <a:gd name="T69" fmla="*/ 400 h 2531"/>
                  <a:gd name="T70" fmla="*/ 112 w 1897"/>
                  <a:gd name="T71" fmla="*/ 640 h 2531"/>
                  <a:gd name="T72" fmla="*/ 170 w 1897"/>
                  <a:gd name="T73" fmla="*/ 792 h 2531"/>
                  <a:gd name="T74" fmla="*/ 130 w 1897"/>
                  <a:gd name="T75" fmla="*/ 1098 h 2531"/>
                  <a:gd name="T76" fmla="*/ 227 w 1897"/>
                  <a:gd name="T77" fmla="*/ 1126 h 2531"/>
                  <a:gd name="T78" fmla="*/ 168 w 1897"/>
                  <a:gd name="T79" fmla="*/ 1185 h 2531"/>
                  <a:gd name="T80" fmla="*/ 160 w 1897"/>
                  <a:gd name="T81" fmla="*/ 1284 h 2531"/>
                  <a:gd name="T82" fmla="*/ 188 w 1897"/>
                  <a:gd name="T83" fmla="*/ 1356 h 2531"/>
                  <a:gd name="T84" fmla="*/ 235 w 1897"/>
                  <a:gd name="T85" fmla="*/ 1493 h 2531"/>
                  <a:gd name="T86" fmla="*/ 338 w 1897"/>
                  <a:gd name="T87" fmla="*/ 1517 h 2531"/>
                  <a:gd name="T88" fmla="*/ 407 w 1897"/>
                  <a:gd name="T89" fmla="*/ 1610 h 2531"/>
                  <a:gd name="T90" fmla="*/ 522 w 1897"/>
                  <a:gd name="T91" fmla="*/ 1694 h 2531"/>
                  <a:gd name="T92" fmla="*/ 508 w 1897"/>
                  <a:gd name="T93" fmla="*/ 1847 h 2531"/>
                  <a:gd name="T94" fmla="*/ 656 w 1897"/>
                  <a:gd name="T95" fmla="*/ 1832 h 2531"/>
                  <a:gd name="T96" fmla="*/ 738 w 1897"/>
                  <a:gd name="T97" fmla="*/ 1905 h 2531"/>
                  <a:gd name="T98" fmla="*/ 823 w 1897"/>
                  <a:gd name="T99" fmla="*/ 1932 h 2531"/>
                  <a:gd name="T100" fmla="*/ 938 w 1897"/>
                  <a:gd name="T101" fmla="*/ 1932 h 2531"/>
                  <a:gd name="T102" fmla="*/ 1042 w 1897"/>
                  <a:gd name="T103" fmla="*/ 1992 h 2531"/>
                  <a:gd name="T104" fmla="*/ 1050 w 1897"/>
                  <a:gd name="T105" fmla="*/ 2118 h 2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97" h="2531">
                    <a:moveTo>
                      <a:pt x="1009" y="2201"/>
                    </a:moveTo>
                    <a:lnTo>
                      <a:pt x="1023" y="2189"/>
                    </a:lnTo>
                    <a:lnTo>
                      <a:pt x="1039" y="2189"/>
                    </a:lnTo>
                    <a:lnTo>
                      <a:pt x="1055" y="2175"/>
                    </a:lnTo>
                    <a:lnTo>
                      <a:pt x="1073" y="2179"/>
                    </a:lnTo>
                    <a:lnTo>
                      <a:pt x="1059" y="2203"/>
                    </a:lnTo>
                    <a:lnTo>
                      <a:pt x="1035" y="2227"/>
                    </a:lnTo>
                    <a:lnTo>
                      <a:pt x="1031" y="2243"/>
                    </a:lnTo>
                    <a:lnTo>
                      <a:pt x="997" y="2249"/>
                    </a:lnTo>
                    <a:lnTo>
                      <a:pt x="1005" y="2269"/>
                    </a:lnTo>
                    <a:lnTo>
                      <a:pt x="1029" y="2277"/>
                    </a:lnTo>
                    <a:lnTo>
                      <a:pt x="1047" y="2291"/>
                    </a:lnTo>
                    <a:lnTo>
                      <a:pt x="1043" y="2303"/>
                    </a:lnTo>
                    <a:lnTo>
                      <a:pt x="1027" y="2323"/>
                    </a:lnTo>
                    <a:lnTo>
                      <a:pt x="1023" y="2343"/>
                    </a:lnTo>
                    <a:lnTo>
                      <a:pt x="1013" y="2371"/>
                    </a:lnTo>
                    <a:lnTo>
                      <a:pt x="1007" y="2381"/>
                    </a:lnTo>
                    <a:lnTo>
                      <a:pt x="989" y="2387"/>
                    </a:lnTo>
                    <a:lnTo>
                      <a:pt x="973" y="2395"/>
                    </a:lnTo>
                    <a:lnTo>
                      <a:pt x="967" y="2417"/>
                    </a:lnTo>
                    <a:lnTo>
                      <a:pt x="993" y="2425"/>
                    </a:lnTo>
                    <a:lnTo>
                      <a:pt x="1005" y="2437"/>
                    </a:lnTo>
                    <a:lnTo>
                      <a:pt x="1015" y="2449"/>
                    </a:lnTo>
                    <a:lnTo>
                      <a:pt x="1037" y="2455"/>
                    </a:lnTo>
                    <a:lnTo>
                      <a:pt x="1055" y="2451"/>
                    </a:lnTo>
                    <a:lnTo>
                      <a:pt x="1075" y="2459"/>
                    </a:lnTo>
                    <a:lnTo>
                      <a:pt x="1095" y="2465"/>
                    </a:lnTo>
                    <a:lnTo>
                      <a:pt x="1131" y="2463"/>
                    </a:lnTo>
                    <a:lnTo>
                      <a:pt x="1161" y="2473"/>
                    </a:lnTo>
                    <a:lnTo>
                      <a:pt x="1179" y="2487"/>
                    </a:lnTo>
                    <a:lnTo>
                      <a:pt x="1213" y="2509"/>
                    </a:lnTo>
                    <a:lnTo>
                      <a:pt x="1253" y="2495"/>
                    </a:lnTo>
                    <a:lnTo>
                      <a:pt x="1307" y="2487"/>
                    </a:lnTo>
                    <a:lnTo>
                      <a:pt x="1357" y="2493"/>
                    </a:lnTo>
                    <a:lnTo>
                      <a:pt x="1405" y="2473"/>
                    </a:lnTo>
                    <a:lnTo>
                      <a:pt x="1429" y="2469"/>
                    </a:lnTo>
                    <a:lnTo>
                      <a:pt x="1471" y="2481"/>
                    </a:lnTo>
                    <a:lnTo>
                      <a:pt x="1513" y="2495"/>
                    </a:lnTo>
                    <a:lnTo>
                      <a:pt x="1553" y="2463"/>
                    </a:lnTo>
                    <a:lnTo>
                      <a:pt x="1593" y="2457"/>
                    </a:lnTo>
                    <a:lnTo>
                      <a:pt x="1627" y="2457"/>
                    </a:lnTo>
                    <a:lnTo>
                      <a:pt x="1647" y="2493"/>
                    </a:lnTo>
                    <a:lnTo>
                      <a:pt x="1699" y="2493"/>
                    </a:lnTo>
                    <a:lnTo>
                      <a:pt x="1727" y="2495"/>
                    </a:lnTo>
                    <a:lnTo>
                      <a:pt x="1757" y="2509"/>
                    </a:lnTo>
                    <a:lnTo>
                      <a:pt x="1781" y="2531"/>
                    </a:lnTo>
                    <a:lnTo>
                      <a:pt x="1819" y="2519"/>
                    </a:lnTo>
                    <a:lnTo>
                      <a:pt x="1821" y="2479"/>
                    </a:lnTo>
                    <a:lnTo>
                      <a:pt x="1831" y="2437"/>
                    </a:lnTo>
                    <a:lnTo>
                      <a:pt x="1781" y="2395"/>
                    </a:lnTo>
                    <a:lnTo>
                      <a:pt x="1725" y="2347"/>
                    </a:lnTo>
                    <a:lnTo>
                      <a:pt x="1711" y="2277"/>
                    </a:lnTo>
                    <a:lnTo>
                      <a:pt x="1697" y="2271"/>
                    </a:lnTo>
                    <a:lnTo>
                      <a:pt x="1697" y="2309"/>
                    </a:lnTo>
                    <a:lnTo>
                      <a:pt x="1659" y="2249"/>
                    </a:lnTo>
                    <a:lnTo>
                      <a:pt x="1631" y="2251"/>
                    </a:lnTo>
                    <a:lnTo>
                      <a:pt x="1617" y="2215"/>
                    </a:lnTo>
                    <a:lnTo>
                      <a:pt x="1619" y="2177"/>
                    </a:lnTo>
                    <a:lnTo>
                      <a:pt x="1623" y="2117"/>
                    </a:lnTo>
                    <a:lnTo>
                      <a:pt x="1621" y="2085"/>
                    </a:lnTo>
                    <a:lnTo>
                      <a:pt x="1593" y="2061"/>
                    </a:lnTo>
                    <a:lnTo>
                      <a:pt x="1627" y="2043"/>
                    </a:lnTo>
                    <a:lnTo>
                      <a:pt x="1655" y="2083"/>
                    </a:lnTo>
                    <a:lnTo>
                      <a:pt x="1671" y="2063"/>
                    </a:lnTo>
                    <a:lnTo>
                      <a:pt x="1669" y="2025"/>
                    </a:lnTo>
                    <a:lnTo>
                      <a:pt x="1651" y="2015"/>
                    </a:lnTo>
                    <a:lnTo>
                      <a:pt x="1629" y="2011"/>
                    </a:lnTo>
                    <a:lnTo>
                      <a:pt x="1623" y="1987"/>
                    </a:lnTo>
                    <a:lnTo>
                      <a:pt x="1655" y="1975"/>
                    </a:lnTo>
                    <a:lnTo>
                      <a:pt x="1619" y="1919"/>
                    </a:lnTo>
                    <a:lnTo>
                      <a:pt x="1601" y="1923"/>
                    </a:lnTo>
                    <a:lnTo>
                      <a:pt x="1573" y="1895"/>
                    </a:lnTo>
                    <a:lnTo>
                      <a:pt x="1551" y="1911"/>
                    </a:lnTo>
                    <a:lnTo>
                      <a:pt x="1539" y="1927"/>
                    </a:lnTo>
                    <a:lnTo>
                      <a:pt x="1523" y="1919"/>
                    </a:lnTo>
                    <a:lnTo>
                      <a:pt x="1497" y="1881"/>
                    </a:lnTo>
                    <a:lnTo>
                      <a:pt x="1451" y="1885"/>
                    </a:lnTo>
                    <a:lnTo>
                      <a:pt x="1451" y="1829"/>
                    </a:lnTo>
                    <a:lnTo>
                      <a:pt x="1461" y="1803"/>
                    </a:lnTo>
                    <a:lnTo>
                      <a:pt x="1439" y="1791"/>
                    </a:lnTo>
                    <a:lnTo>
                      <a:pt x="1433" y="1755"/>
                    </a:lnTo>
                    <a:lnTo>
                      <a:pt x="1435" y="1715"/>
                    </a:lnTo>
                    <a:lnTo>
                      <a:pt x="1423" y="1671"/>
                    </a:lnTo>
                    <a:lnTo>
                      <a:pt x="1457" y="1681"/>
                    </a:lnTo>
                    <a:lnTo>
                      <a:pt x="1487" y="1697"/>
                    </a:lnTo>
                    <a:lnTo>
                      <a:pt x="1515" y="1715"/>
                    </a:lnTo>
                    <a:lnTo>
                      <a:pt x="1531" y="1677"/>
                    </a:lnTo>
                    <a:lnTo>
                      <a:pt x="1483" y="1633"/>
                    </a:lnTo>
                    <a:lnTo>
                      <a:pt x="1515" y="1577"/>
                    </a:lnTo>
                    <a:lnTo>
                      <a:pt x="1507" y="1555"/>
                    </a:lnTo>
                    <a:lnTo>
                      <a:pt x="1531" y="1539"/>
                    </a:lnTo>
                    <a:lnTo>
                      <a:pt x="1541" y="1507"/>
                    </a:lnTo>
                    <a:lnTo>
                      <a:pt x="1543" y="1479"/>
                    </a:lnTo>
                    <a:lnTo>
                      <a:pt x="1571" y="1453"/>
                    </a:lnTo>
                    <a:lnTo>
                      <a:pt x="1585" y="1461"/>
                    </a:lnTo>
                    <a:lnTo>
                      <a:pt x="1607" y="1461"/>
                    </a:lnTo>
                    <a:lnTo>
                      <a:pt x="1601" y="1429"/>
                    </a:lnTo>
                    <a:lnTo>
                      <a:pt x="1623" y="1413"/>
                    </a:lnTo>
                    <a:lnTo>
                      <a:pt x="1647" y="1423"/>
                    </a:lnTo>
                    <a:lnTo>
                      <a:pt x="1689" y="1397"/>
                    </a:lnTo>
                    <a:lnTo>
                      <a:pt x="1717" y="1411"/>
                    </a:lnTo>
                    <a:lnTo>
                      <a:pt x="1759" y="1413"/>
                    </a:lnTo>
                    <a:lnTo>
                      <a:pt x="1779" y="1429"/>
                    </a:lnTo>
                    <a:lnTo>
                      <a:pt x="1803" y="1443"/>
                    </a:lnTo>
                    <a:lnTo>
                      <a:pt x="1791" y="1409"/>
                    </a:lnTo>
                    <a:lnTo>
                      <a:pt x="1793" y="1395"/>
                    </a:lnTo>
                    <a:lnTo>
                      <a:pt x="1833" y="1411"/>
                    </a:lnTo>
                    <a:lnTo>
                      <a:pt x="1863" y="1401"/>
                    </a:lnTo>
                    <a:lnTo>
                      <a:pt x="1871" y="1365"/>
                    </a:lnTo>
                    <a:lnTo>
                      <a:pt x="1875" y="1337"/>
                    </a:lnTo>
                    <a:lnTo>
                      <a:pt x="1897" y="1311"/>
                    </a:lnTo>
                    <a:lnTo>
                      <a:pt x="1891" y="0"/>
                    </a:lnTo>
                    <a:lnTo>
                      <a:pt x="752" y="2"/>
                    </a:lnTo>
                    <a:lnTo>
                      <a:pt x="757" y="37"/>
                    </a:lnTo>
                    <a:lnTo>
                      <a:pt x="720" y="64"/>
                    </a:lnTo>
                    <a:lnTo>
                      <a:pt x="709" y="93"/>
                    </a:lnTo>
                    <a:lnTo>
                      <a:pt x="683" y="157"/>
                    </a:lnTo>
                    <a:lnTo>
                      <a:pt x="696" y="168"/>
                    </a:lnTo>
                    <a:lnTo>
                      <a:pt x="667" y="192"/>
                    </a:lnTo>
                    <a:lnTo>
                      <a:pt x="685" y="242"/>
                    </a:lnTo>
                    <a:lnTo>
                      <a:pt x="683" y="266"/>
                    </a:lnTo>
                    <a:lnTo>
                      <a:pt x="667" y="285"/>
                    </a:lnTo>
                    <a:lnTo>
                      <a:pt x="635" y="280"/>
                    </a:lnTo>
                    <a:lnTo>
                      <a:pt x="587" y="253"/>
                    </a:lnTo>
                    <a:lnTo>
                      <a:pt x="584" y="228"/>
                    </a:lnTo>
                    <a:lnTo>
                      <a:pt x="618" y="192"/>
                    </a:lnTo>
                    <a:lnTo>
                      <a:pt x="582" y="166"/>
                    </a:lnTo>
                    <a:lnTo>
                      <a:pt x="544" y="150"/>
                    </a:lnTo>
                    <a:lnTo>
                      <a:pt x="495" y="178"/>
                    </a:lnTo>
                    <a:lnTo>
                      <a:pt x="475" y="180"/>
                    </a:lnTo>
                    <a:lnTo>
                      <a:pt x="518" y="194"/>
                    </a:lnTo>
                    <a:lnTo>
                      <a:pt x="538" y="228"/>
                    </a:lnTo>
                    <a:lnTo>
                      <a:pt x="555" y="297"/>
                    </a:lnTo>
                    <a:lnTo>
                      <a:pt x="592" y="301"/>
                    </a:lnTo>
                    <a:lnTo>
                      <a:pt x="603" y="350"/>
                    </a:lnTo>
                    <a:lnTo>
                      <a:pt x="622" y="397"/>
                    </a:lnTo>
                    <a:lnTo>
                      <a:pt x="603" y="392"/>
                    </a:lnTo>
                    <a:lnTo>
                      <a:pt x="590" y="401"/>
                    </a:lnTo>
                    <a:lnTo>
                      <a:pt x="575" y="377"/>
                    </a:lnTo>
                    <a:lnTo>
                      <a:pt x="559" y="382"/>
                    </a:lnTo>
                    <a:lnTo>
                      <a:pt x="530" y="377"/>
                    </a:lnTo>
                    <a:lnTo>
                      <a:pt x="523" y="416"/>
                    </a:lnTo>
                    <a:lnTo>
                      <a:pt x="504" y="448"/>
                    </a:lnTo>
                    <a:lnTo>
                      <a:pt x="480" y="496"/>
                    </a:lnTo>
                    <a:lnTo>
                      <a:pt x="514" y="544"/>
                    </a:lnTo>
                    <a:lnTo>
                      <a:pt x="567" y="586"/>
                    </a:lnTo>
                    <a:lnTo>
                      <a:pt x="526" y="585"/>
                    </a:lnTo>
                    <a:lnTo>
                      <a:pt x="516" y="597"/>
                    </a:lnTo>
                    <a:lnTo>
                      <a:pt x="478" y="589"/>
                    </a:lnTo>
                    <a:lnTo>
                      <a:pt x="454" y="593"/>
                    </a:lnTo>
                    <a:lnTo>
                      <a:pt x="458" y="614"/>
                    </a:lnTo>
                    <a:lnTo>
                      <a:pt x="419" y="581"/>
                    </a:lnTo>
                    <a:lnTo>
                      <a:pt x="390" y="578"/>
                    </a:lnTo>
                    <a:lnTo>
                      <a:pt x="387" y="608"/>
                    </a:lnTo>
                    <a:lnTo>
                      <a:pt x="406" y="633"/>
                    </a:lnTo>
                    <a:lnTo>
                      <a:pt x="428" y="649"/>
                    </a:lnTo>
                    <a:lnTo>
                      <a:pt x="455" y="634"/>
                    </a:lnTo>
                    <a:lnTo>
                      <a:pt x="482" y="678"/>
                    </a:lnTo>
                    <a:lnTo>
                      <a:pt x="464" y="684"/>
                    </a:lnTo>
                    <a:lnTo>
                      <a:pt x="462" y="701"/>
                    </a:lnTo>
                    <a:lnTo>
                      <a:pt x="398" y="693"/>
                    </a:lnTo>
                    <a:lnTo>
                      <a:pt x="368" y="668"/>
                    </a:lnTo>
                    <a:lnTo>
                      <a:pt x="355" y="680"/>
                    </a:lnTo>
                    <a:lnTo>
                      <a:pt x="331" y="672"/>
                    </a:lnTo>
                    <a:lnTo>
                      <a:pt x="326" y="636"/>
                    </a:lnTo>
                    <a:lnTo>
                      <a:pt x="290" y="602"/>
                    </a:lnTo>
                    <a:lnTo>
                      <a:pt x="303" y="577"/>
                    </a:lnTo>
                    <a:lnTo>
                      <a:pt x="294" y="552"/>
                    </a:lnTo>
                    <a:lnTo>
                      <a:pt x="272" y="529"/>
                    </a:lnTo>
                    <a:lnTo>
                      <a:pt x="231" y="518"/>
                    </a:lnTo>
                    <a:lnTo>
                      <a:pt x="227" y="502"/>
                    </a:lnTo>
                    <a:lnTo>
                      <a:pt x="211" y="505"/>
                    </a:lnTo>
                    <a:lnTo>
                      <a:pt x="162" y="465"/>
                    </a:lnTo>
                    <a:lnTo>
                      <a:pt x="175" y="454"/>
                    </a:lnTo>
                    <a:lnTo>
                      <a:pt x="198" y="472"/>
                    </a:lnTo>
                    <a:lnTo>
                      <a:pt x="219" y="476"/>
                    </a:lnTo>
                    <a:lnTo>
                      <a:pt x="236" y="478"/>
                    </a:lnTo>
                    <a:lnTo>
                      <a:pt x="252" y="476"/>
                    </a:lnTo>
                    <a:lnTo>
                      <a:pt x="263" y="490"/>
                    </a:lnTo>
                    <a:lnTo>
                      <a:pt x="292" y="478"/>
                    </a:lnTo>
                    <a:lnTo>
                      <a:pt x="339" y="489"/>
                    </a:lnTo>
                    <a:lnTo>
                      <a:pt x="384" y="484"/>
                    </a:lnTo>
                    <a:lnTo>
                      <a:pt x="438" y="470"/>
                    </a:lnTo>
                    <a:lnTo>
                      <a:pt x="478" y="421"/>
                    </a:lnTo>
                    <a:lnTo>
                      <a:pt x="487" y="350"/>
                    </a:lnTo>
                    <a:lnTo>
                      <a:pt x="448" y="304"/>
                    </a:lnTo>
                    <a:lnTo>
                      <a:pt x="426" y="300"/>
                    </a:lnTo>
                    <a:lnTo>
                      <a:pt x="390" y="277"/>
                    </a:lnTo>
                    <a:lnTo>
                      <a:pt x="364" y="282"/>
                    </a:lnTo>
                    <a:lnTo>
                      <a:pt x="332" y="274"/>
                    </a:lnTo>
                    <a:lnTo>
                      <a:pt x="275" y="246"/>
                    </a:lnTo>
                    <a:lnTo>
                      <a:pt x="206" y="238"/>
                    </a:lnTo>
                    <a:lnTo>
                      <a:pt x="186" y="244"/>
                    </a:lnTo>
                    <a:lnTo>
                      <a:pt x="147" y="253"/>
                    </a:lnTo>
                    <a:lnTo>
                      <a:pt x="122" y="249"/>
                    </a:lnTo>
                    <a:lnTo>
                      <a:pt x="106" y="236"/>
                    </a:lnTo>
                    <a:lnTo>
                      <a:pt x="123" y="228"/>
                    </a:lnTo>
                    <a:lnTo>
                      <a:pt x="118" y="209"/>
                    </a:lnTo>
                    <a:lnTo>
                      <a:pt x="99" y="206"/>
                    </a:lnTo>
                    <a:lnTo>
                      <a:pt x="71" y="205"/>
                    </a:lnTo>
                    <a:lnTo>
                      <a:pt x="78" y="224"/>
                    </a:lnTo>
                    <a:lnTo>
                      <a:pt x="66" y="237"/>
                    </a:lnTo>
                    <a:lnTo>
                      <a:pt x="43" y="252"/>
                    </a:lnTo>
                    <a:lnTo>
                      <a:pt x="38" y="252"/>
                    </a:lnTo>
                    <a:lnTo>
                      <a:pt x="29" y="276"/>
                    </a:lnTo>
                    <a:lnTo>
                      <a:pt x="18" y="290"/>
                    </a:lnTo>
                    <a:lnTo>
                      <a:pt x="7" y="319"/>
                    </a:lnTo>
                    <a:lnTo>
                      <a:pt x="0" y="349"/>
                    </a:lnTo>
                    <a:lnTo>
                      <a:pt x="12" y="394"/>
                    </a:lnTo>
                    <a:lnTo>
                      <a:pt x="47" y="400"/>
                    </a:lnTo>
                    <a:lnTo>
                      <a:pt x="67" y="420"/>
                    </a:lnTo>
                    <a:lnTo>
                      <a:pt x="71" y="446"/>
                    </a:lnTo>
                    <a:lnTo>
                      <a:pt x="62" y="518"/>
                    </a:lnTo>
                    <a:lnTo>
                      <a:pt x="127" y="609"/>
                    </a:lnTo>
                    <a:lnTo>
                      <a:pt x="116" y="620"/>
                    </a:lnTo>
                    <a:lnTo>
                      <a:pt x="112" y="640"/>
                    </a:lnTo>
                    <a:lnTo>
                      <a:pt x="123" y="665"/>
                    </a:lnTo>
                    <a:lnTo>
                      <a:pt x="123" y="694"/>
                    </a:lnTo>
                    <a:lnTo>
                      <a:pt x="143" y="696"/>
                    </a:lnTo>
                    <a:lnTo>
                      <a:pt x="151" y="725"/>
                    </a:lnTo>
                    <a:lnTo>
                      <a:pt x="175" y="741"/>
                    </a:lnTo>
                    <a:lnTo>
                      <a:pt x="170" y="792"/>
                    </a:lnTo>
                    <a:lnTo>
                      <a:pt x="186" y="813"/>
                    </a:lnTo>
                    <a:lnTo>
                      <a:pt x="208" y="818"/>
                    </a:lnTo>
                    <a:lnTo>
                      <a:pt x="240" y="869"/>
                    </a:lnTo>
                    <a:lnTo>
                      <a:pt x="210" y="969"/>
                    </a:lnTo>
                    <a:lnTo>
                      <a:pt x="163" y="1052"/>
                    </a:lnTo>
                    <a:lnTo>
                      <a:pt x="130" y="1098"/>
                    </a:lnTo>
                    <a:lnTo>
                      <a:pt x="111" y="1118"/>
                    </a:lnTo>
                    <a:lnTo>
                      <a:pt x="138" y="1109"/>
                    </a:lnTo>
                    <a:lnTo>
                      <a:pt x="159" y="1086"/>
                    </a:lnTo>
                    <a:lnTo>
                      <a:pt x="162" y="1118"/>
                    </a:lnTo>
                    <a:lnTo>
                      <a:pt x="190" y="1130"/>
                    </a:lnTo>
                    <a:lnTo>
                      <a:pt x="227" y="1126"/>
                    </a:lnTo>
                    <a:lnTo>
                      <a:pt x="244" y="1140"/>
                    </a:lnTo>
                    <a:lnTo>
                      <a:pt x="243" y="1153"/>
                    </a:lnTo>
                    <a:lnTo>
                      <a:pt x="202" y="1145"/>
                    </a:lnTo>
                    <a:lnTo>
                      <a:pt x="192" y="1166"/>
                    </a:lnTo>
                    <a:lnTo>
                      <a:pt x="174" y="1168"/>
                    </a:lnTo>
                    <a:lnTo>
                      <a:pt x="168" y="1185"/>
                    </a:lnTo>
                    <a:lnTo>
                      <a:pt x="151" y="1178"/>
                    </a:lnTo>
                    <a:lnTo>
                      <a:pt x="168" y="1206"/>
                    </a:lnTo>
                    <a:lnTo>
                      <a:pt x="166" y="1230"/>
                    </a:lnTo>
                    <a:lnTo>
                      <a:pt x="151" y="1253"/>
                    </a:lnTo>
                    <a:lnTo>
                      <a:pt x="163" y="1266"/>
                    </a:lnTo>
                    <a:lnTo>
                      <a:pt x="160" y="1284"/>
                    </a:lnTo>
                    <a:lnTo>
                      <a:pt x="170" y="1296"/>
                    </a:lnTo>
                    <a:lnTo>
                      <a:pt x="160" y="1312"/>
                    </a:lnTo>
                    <a:lnTo>
                      <a:pt x="154" y="1326"/>
                    </a:lnTo>
                    <a:lnTo>
                      <a:pt x="178" y="1328"/>
                    </a:lnTo>
                    <a:lnTo>
                      <a:pt x="195" y="1340"/>
                    </a:lnTo>
                    <a:lnTo>
                      <a:pt x="188" y="1356"/>
                    </a:lnTo>
                    <a:lnTo>
                      <a:pt x="168" y="1350"/>
                    </a:lnTo>
                    <a:lnTo>
                      <a:pt x="164" y="1389"/>
                    </a:lnTo>
                    <a:lnTo>
                      <a:pt x="187" y="1406"/>
                    </a:lnTo>
                    <a:lnTo>
                      <a:pt x="186" y="1441"/>
                    </a:lnTo>
                    <a:lnTo>
                      <a:pt x="215" y="1465"/>
                    </a:lnTo>
                    <a:lnTo>
                      <a:pt x="235" y="1493"/>
                    </a:lnTo>
                    <a:lnTo>
                      <a:pt x="236" y="1514"/>
                    </a:lnTo>
                    <a:lnTo>
                      <a:pt x="267" y="1518"/>
                    </a:lnTo>
                    <a:lnTo>
                      <a:pt x="283" y="1512"/>
                    </a:lnTo>
                    <a:lnTo>
                      <a:pt x="304" y="1538"/>
                    </a:lnTo>
                    <a:lnTo>
                      <a:pt x="320" y="1521"/>
                    </a:lnTo>
                    <a:lnTo>
                      <a:pt x="338" y="1517"/>
                    </a:lnTo>
                    <a:lnTo>
                      <a:pt x="359" y="1526"/>
                    </a:lnTo>
                    <a:lnTo>
                      <a:pt x="382" y="1533"/>
                    </a:lnTo>
                    <a:lnTo>
                      <a:pt x="387" y="1556"/>
                    </a:lnTo>
                    <a:lnTo>
                      <a:pt x="403" y="1572"/>
                    </a:lnTo>
                    <a:lnTo>
                      <a:pt x="388" y="1601"/>
                    </a:lnTo>
                    <a:lnTo>
                      <a:pt x="407" y="1610"/>
                    </a:lnTo>
                    <a:lnTo>
                      <a:pt x="428" y="1650"/>
                    </a:lnTo>
                    <a:lnTo>
                      <a:pt x="462" y="1662"/>
                    </a:lnTo>
                    <a:lnTo>
                      <a:pt x="468" y="1682"/>
                    </a:lnTo>
                    <a:lnTo>
                      <a:pt x="500" y="1677"/>
                    </a:lnTo>
                    <a:lnTo>
                      <a:pt x="510" y="1692"/>
                    </a:lnTo>
                    <a:lnTo>
                      <a:pt x="522" y="1694"/>
                    </a:lnTo>
                    <a:lnTo>
                      <a:pt x="534" y="1704"/>
                    </a:lnTo>
                    <a:lnTo>
                      <a:pt x="508" y="1741"/>
                    </a:lnTo>
                    <a:lnTo>
                      <a:pt x="464" y="1738"/>
                    </a:lnTo>
                    <a:lnTo>
                      <a:pt x="452" y="1750"/>
                    </a:lnTo>
                    <a:lnTo>
                      <a:pt x="491" y="1805"/>
                    </a:lnTo>
                    <a:lnTo>
                      <a:pt x="508" y="1847"/>
                    </a:lnTo>
                    <a:lnTo>
                      <a:pt x="533" y="1838"/>
                    </a:lnTo>
                    <a:lnTo>
                      <a:pt x="542" y="1821"/>
                    </a:lnTo>
                    <a:lnTo>
                      <a:pt x="583" y="1801"/>
                    </a:lnTo>
                    <a:lnTo>
                      <a:pt x="623" y="1796"/>
                    </a:lnTo>
                    <a:lnTo>
                      <a:pt x="640" y="1817"/>
                    </a:lnTo>
                    <a:lnTo>
                      <a:pt x="656" y="1832"/>
                    </a:lnTo>
                    <a:lnTo>
                      <a:pt x="651" y="1852"/>
                    </a:lnTo>
                    <a:lnTo>
                      <a:pt x="670" y="1881"/>
                    </a:lnTo>
                    <a:lnTo>
                      <a:pt x="692" y="1885"/>
                    </a:lnTo>
                    <a:lnTo>
                      <a:pt x="718" y="1877"/>
                    </a:lnTo>
                    <a:lnTo>
                      <a:pt x="723" y="1890"/>
                    </a:lnTo>
                    <a:lnTo>
                      <a:pt x="738" y="1905"/>
                    </a:lnTo>
                    <a:lnTo>
                      <a:pt x="747" y="1922"/>
                    </a:lnTo>
                    <a:lnTo>
                      <a:pt x="754" y="1933"/>
                    </a:lnTo>
                    <a:lnTo>
                      <a:pt x="770" y="1941"/>
                    </a:lnTo>
                    <a:lnTo>
                      <a:pt x="783" y="1925"/>
                    </a:lnTo>
                    <a:lnTo>
                      <a:pt x="799" y="1937"/>
                    </a:lnTo>
                    <a:lnTo>
                      <a:pt x="823" y="1932"/>
                    </a:lnTo>
                    <a:lnTo>
                      <a:pt x="831" y="1932"/>
                    </a:lnTo>
                    <a:lnTo>
                      <a:pt x="847" y="1924"/>
                    </a:lnTo>
                    <a:lnTo>
                      <a:pt x="867" y="1904"/>
                    </a:lnTo>
                    <a:lnTo>
                      <a:pt x="886" y="1925"/>
                    </a:lnTo>
                    <a:lnTo>
                      <a:pt x="912" y="1941"/>
                    </a:lnTo>
                    <a:lnTo>
                      <a:pt x="938" y="1932"/>
                    </a:lnTo>
                    <a:lnTo>
                      <a:pt x="1010" y="1937"/>
                    </a:lnTo>
                    <a:lnTo>
                      <a:pt x="1031" y="1936"/>
                    </a:lnTo>
                    <a:lnTo>
                      <a:pt x="1047" y="1933"/>
                    </a:lnTo>
                    <a:lnTo>
                      <a:pt x="1059" y="1945"/>
                    </a:lnTo>
                    <a:lnTo>
                      <a:pt x="1060" y="1978"/>
                    </a:lnTo>
                    <a:lnTo>
                      <a:pt x="1042" y="1992"/>
                    </a:lnTo>
                    <a:lnTo>
                      <a:pt x="1060" y="2000"/>
                    </a:lnTo>
                    <a:lnTo>
                      <a:pt x="1054" y="2028"/>
                    </a:lnTo>
                    <a:lnTo>
                      <a:pt x="1064" y="2052"/>
                    </a:lnTo>
                    <a:lnTo>
                      <a:pt x="1084" y="2058"/>
                    </a:lnTo>
                    <a:lnTo>
                      <a:pt x="1084" y="2108"/>
                    </a:lnTo>
                    <a:lnTo>
                      <a:pt x="1050" y="2118"/>
                    </a:lnTo>
                    <a:lnTo>
                      <a:pt x="1031" y="2116"/>
                    </a:lnTo>
                    <a:lnTo>
                      <a:pt x="1024" y="2142"/>
                    </a:lnTo>
                    <a:lnTo>
                      <a:pt x="1004" y="2156"/>
                    </a:lnTo>
                    <a:lnTo>
                      <a:pt x="1007" y="2178"/>
                    </a:lnTo>
                    <a:lnTo>
                      <a:pt x="1011" y="220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1" name="Freeform 4">
                <a:extLst>
                  <a:ext uri="{FF2B5EF4-FFF2-40B4-BE49-F238E27FC236}">
                    <a16:creationId xmlns:a16="http://schemas.microsoft.com/office/drawing/2014/main" id="{E41246C7-ECE6-E8E3-6D56-F0546C122E17}"/>
                  </a:ext>
                </a:extLst>
              </p:cNvPr>
              <p:cNvSpPr>
                <a:spLocks/>
              </p:cNvSpPr>
              <p:nvPr/>
            </p:nvSpPr>
            <p:spPr bwMode="auto">
              <a:xfrm>
                <a:off x="4131320" y="2625739"/>
                <a:ext cx="144234" cy="172394"/>
              </a:xfrm>
              <a:custGeom>
                <a:avLst/>
                <a:gdLst>
                  <a:gd name="T0" fmla="*/ 136 w 225"/>
                  <a:gd name="T1" fmla="*/ 222 h 254"/>
                  <a:gd name="T2" fmla="*/ 142 w 225"/>
                  <a:gd name="T3" fmla="*/ 184 h 254"/>
                  <a:gd name="T4" fmla="*/ 161 w 225"/>
                  <a:gd name="T5" fmla="*/ 145 h 254"/>
                  <a:gd name="T6" fmla="*/ 187 w 225"/>
                  <a:gd name="T7" fmla="*/ 132 h 254"/>
                  <a:gd name="T8" fmla="*/ 210 w 225"/>
                  <a:gd name="T9" fmla="*/ 102 h 254"/>
                  <a:gd name="T10" fmla="*/ 208 w 225"/>
                  <a:gd name="T11" fmla="*/ 69 h 254"/>
                  <a:gd name="T12" fmla="*/ 211 w 225"/>
                  <a:gd name="T13" fmla="*/ 8 h 254"/>
                  <a:gd name="T14" fmla="*/ 188 w 225"/>
                  <a:gd name="T15" fmla="*/ 2 h 254"/>
                  <a:gd name="T16" fmla="*/ 173 w 225"/>
                  <a:gd name="T17" fmla="*/ 11 h 254"/>
                  <a:gd name="T18" fmla="*/ 160 w 225"/>
                  <a:gd name="T19" fmla="*/ 3 h 254"/>
                  <a:gd name="T20" fmla="*/ 150 w 225"/>
                  <a:gd name="T21" fmla="*/ 8 h 254"/>
                  <a:gd name="T22" fmla="*/ 135 w 225"/>
                  <a:gd name="T23" fmla="*/ 9 h 254"/>
                  <a:gd name="T24" fmla="*/ 128 w 225"/>
                  <a:gd name="T25" fmla="*/ 30 h 254"/>
                  <a:gd name="T26" fmla="*/ 127 w 225"/>
                  <a:gd name="T27" fmla="*/ 45 h 254"/>
                  <a:gd name="T28" fmla="*/ 134 w 225"/>
                  <a:gd name="T29" fmla="*/ 57 h 254"/>
                  <a:gd name="T30" fmla="*/ 134 w 225"/>
                  <a:gd name="T31" fmla="*/ 77 h 254"/>
                  <a:gd name="T32" fmla="*/ 118 w 225"/>
                  <a:gd name="T33" fmla="*/ 82 h 254"/>
                  <a:gd name="T34" fmla="*/ 122 w 225"/>
                  <a:gd name="T35" fmla="*/ 101 h 254"/>
                  <a:gd name="T36" fmla="*/ 100 w 225"/>
                  <a:gd name="T37" fmla="*/ 85 h 254"/>
                  <a:gd name="T38" fmla="*/ 113 w 225"/>
                  <a:gd name="T39" fmla="*/ 66 h 254"/>
                  <a:gd name="T40" fmla="*/ 106 w 225"/>
                  <a:gd name="T41" fmla="*/ 37 h 254"/>
                  <a:gd name="T42" fmla="*/ 97 w 225"/>
                  <a:gd name="T43" fmla="*/ 29 h 254"/>
                  <a:gd name="T44" fmla="*/ 87 w 225"/>
                  <a:gd name="T45" fmla="*/ 52 h 254"/>
                  <a:gd name="T46" fmla="*/ 77 w 225"/>
                  <a:gd name="T47" fmla="*/ 72 h 254"/>
                  <a:gd name="T48" fmla="*/ 64 w 225"/>
                  <a:gd name="T49" fmla="*/ 109 h 254"/>
                  <a:gd name="T50" fmla="*/ 41 w 225"/>
                  <a:gd name="T51" fmla="*/ 129 h 254"/>
                  <a:gd name="T52" fmla="*/ 75 w 225"/>
                  <a:gd name="T53" fmla="*/ 146 h 254"/>
                  <a:gd name="T54" fmla="*/ 69 w 225"/>
                  <a:gd name="T55" fmla="*/ 159 h 254"/>
                  <a:gd name="T56" fmla="*/ 35 w 225"/>
                  <a:gd name="T57" fmla="*/ 161 h 254"/>
                  <a:gd name="T58" fmla="*/ 10 w 225"/>
                  <a:gd name="T59" fmla="*/ 161 h 254"/>
                  <a:gd name="T60" fmla="*/ 0 w 225"/>
                  <a:gd name="T61" fmla="*/ 183 h 254"/>
                  <a:gd name="T62" fmla="*/ 42 w 225"/>
                  <a:gd name="T63" fmla="*/ 179 h 254"/>
                  <a:gd name="T64" fmla="*/ 86 w 225"/>
                  <a:gd name="T65" fmla="*/ 180 h 254"/>
                  <a:gd name="T66" fmla="*/ 115 w 225"/>
                  <a:gd name="T67" fmla="*/ 210 h 254"/>
                  <a:gd name="T68" fmla="*/ 111 w 225"/>
                  <a:gd name="T69" fmla="*/ 244 h 254"/>
                  <a:gd name="T70" fmla="*/ 141 w 225"/>
                  <a:gd name="T7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5" h="254">
                    <a:moveTo>
                      <a:pt x="139" y="252"/>
                    </a:moveTo>
                    <a:lnTo>
                      <a:pt x="136" y="222"/>
                    </a:lnTo>
                    <a:lnTo>
                      <a:pt x="144" y="206"/>
                    </a:lnTo>
                    <a:lnTo>
                      <a:pt x="142" y="184"/>
                    </a:lnTo>
                    <a:lnTo>
                      <a:pt x="145" y="148"/>
                    </a:lnTo>
                    <a:lnTo>
                      <a:pt x="161" y="145"/>
                    </a:lnTo>
                    <a:lnTo>
                      <a:pt x="171" y="151"/>
                    </a:lnTo>
                    <a:lnTo>
                      <a:pt x="187" y="132"/>
                    </a:lnTo>
                    <a:lnTo>
                      <a:pt x="204" y="122"/>
                    </a:lnTo>
                    <a:lnTo>
                      <a:pt x="210" y="102"/>
                    </a:lnTo>
                    <a:lnTo>
                      <a:pt x="192" y="75"/>
                    </a:lnTo>
                    <a:lnTo>
                      <a:pt x="208" y="69"/>
                    </a:lnTo>
                    <a:lnTo>
                      <a:pt x="225" y="23"/>
                    </a:lnTo>
                    <a:lnTo>
                      <a:pt x="211" y="8"/>
                    </a:lnTo>
                    <a:lnTo>
                      <a:pt x="204" y="0"/>
                    </a:lnTo>
                    <a:lnTo>
                      <a:pt x="188" y="2"/>
                    </a:lnTo>
                    <a:lnTo>
                      <a:pt x="185" y="9"/>
                    </a:lnTo>
                    <a:lnTo>
                      <a:pt x="173" y="11"/>
                    </a:lnTo>
                    <a:lnTo>
                      <a:pt x="167" y="4"/>
                    </a:lnTo>
                    <a:lnTo>
                      <a:pt x="160" y="3"/>
                    </a:lnTo>
                    <a:lnTo>
                      <a:pt x="150" y="1"/>
                    </a:lnTo>
                    <a:lnTo>
                      <a:pt x="150" y="8"/>
                    </a:lnTo>
                    <a:lnTo>
                      <a:pt x="144" y="10"/>
                    </a:lnTo>
                    <a:lnTo>
                      <a:pt x="135" y="9"/>
                    </a:lnTo>
                    <a:lnTo>
                      <a:pt x="129" y="22"/>
                    </a:lnTo>
                    <a:lnTo>
                      <a:pt x="128" y="30"/>
                    </a:lnTo>
                    <a:lnTo>
                      <a:pt x="125" y="38"/>
                    </a:lnTo>
                    <a:lnTo>
                      <a:pt x="127" y="45"/>
                    </a:lnTo>
                    <a:lnTo>
                      <a:pt x="134" y="51"/>
                    </a:lnTo>
                    <a:lnTo>
                      <a:pt x="134" y="57"/>
                    </a:lnTo>
                    <a:lnTo>
                      <a:pt x="131" y="67"/>
                    </a:lnTo>
                    <a:lnTo>
                      <a:pt x="134" y="77"/>
                    </a:lnTo>
                    <a:lnTo>
                      <a:pt x="124" y="77"/>
                    </a:lnTo>
                    <a:lnTo>
                      <a:pt x="118" y="82"/>
                    </a:lnTo>
                    <a:lnTo>
                      <a:pt x="120" y="89"/>
                    </a:lnTo>
                    <a:lnTo>
                      <a:pt x="122" y="101"/>
                    </a:lnTo>
                    <a:lnTo>
                      <a:pt x="107" y="97"/>
                    </a:lnTo>
                    <a:lnTo>
                      <a:pt x="100" y="85"/>
                    </a:lnTo>
                    <a:lnTo>
                      <a:pt x="99" y="65"/>
                    </a:lnTo>
                    <a:lnTo>
                      <a:pt x="113" y="66"/>
                    </a:lnTo>
                    <a:lnTo>
                      <a:pt x="112" y="51"/>
                    </a:lnTo>
                    <a:lnTo>
                      <a:pt x="106" y="37"/>
                    </a:lnTo>
                    <a:lnTo>
                      <a:pt x="111" y="12"/>
                    </a:lnTo>
                    <a:lnTo>
                      <a:pt x="97" y="29"/>
                    </a:lnTo>
                    <a:lnTo>
                      <a:pt x="97" y="44"/>
                    </a:lnTo>
                    <a:lnTo>
                      <a:pt x="87" y="52"/>
                    </a:lnTo>
                    <a:lnTo>
                      <a:pt x="86" y="65"/>
                    </a:lnTo>
                    <a:lnTo>
                      <a:pt x="77" y="72"/>
                    </a:lnTo>
                    <a:lnTo>
                      <a:pt x="79" y="95"/>
                    </a:lnTo>
                    <a:lnTo>
                      <a:pt x="64" y="109"/>
                    </a:lnTo>
                    <a:lnTo>
                      <a:pt x="49" y="118"/>
                    </a:lnTo>
                    <a:lnTo>
                      <a:pt x="41" y="129"/>
                    </a:lnTo>
                    <a:lnTo>
                      <a:pt x="52" y="145"/>
                    </a:lnTo>
                    <a:lnTo>
                      <a:pt x="75" y="146"/>
                    </a:lnTo>
                    <a:lnTo>
                      <a:pt x="83" y="155"/>
                    </a:lnTo>
                    <a:lnTo>
                      <a:pt x="69" y="159"/>
                    </a:lnTo>
                    <a:lnTo>
                      <a:pt x="47" y="158"/>
                    </a:lnTo>
                    <a:lnTo>
                      <a:pt x="35" y="161"/>
                    </a:lnTo>
                    <a:lnTo>
                      <a:pt x="20" y="166"/>
                    </a:lnTo>
                    <a:lnTo>
                      <a:pt x="10" y="161"/>
                    </a:lnTo>
                    <a:lnTo>
                      <a:pt x="3" y="167"/>
                    </a:lnTo>
                    <a:lnTo>
                      <a:pt x="0" y="183"/>
                    </a:lnTo>
                    <a:lnTo>
                      <a:pt x="25" y="187"/>
                    </a:lnTo>
                    <a:lnTo>
                      <a:pt x="42" y="179"/>
                    </a:lnTo>
                    <a:lnTo>
                      <a:pt x="63" y="176"/>
                    </a:lnTo>
                    <a:lnTo>
                      <a:pt x="86" y="180"/>
                    </a:lnTo>
                    <a:lnTo>
                      <a:pt x="101" y="192"/>
                    </a:lnTo>
                    <a:lnTo>
                      <a:pt x="115" y="210"/>
                    </a:lnTo>
                    <a:lnTo>
                      <a:pt x="120" y="220"/>
                    </a:lnTo>
                    <a:lnTo>
                      <a:pt x="111" y="244"/>
                    </a:lnTo>
                    <a:lnTo>
                      <a:pt x="125" y="248"/>
                    </a:lnTo>
                    <a:lnTo>
                      <a:pt x="141" y="25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2" name="Freeform 5">
                <a:extLst>
                  <a:ext uri="{FF2B5EF4-FFF2-40B4-BE49-F238E27FC236}">
                    <a16:creationId xmlns:a16="http://schemas.microsoft.com/office/drawing/2014/main" id="{5B29EF7B-0F8E-6498-1089-1C3D878CB894}"/>
                  </a:ext>
                </a:extLst>
              </p:cNvPr>
              <p:cNvSpPr>
                <a:spLocks/>
              </p:cNvSpPr>
              <p:nvPr/>
            </p:nvSpPr>
            <p:spPr bwMode="auto">
              <a:xfrm>
                <a:off x="4436558" y="1636068"/>
                <a:ext cx="348844" cy="907376"/>
              </a:xfrm>
              <a:custGeom>
                <a:avLst/>
                <a:gdLst>
                  <a:gd name="T0" fmla="*/ 13 w 544"/>
                  <a:gd name="T1" fmla="*/ 973 h 1339"/>
                  <a:gd name="T2" fmla="*/ 26 w 544"/>
                  <a:gd name="T3" fmla="*/ 920 h 1339"/>
                  <a:gd name="T4" fmla="*/ 42 w 544"/>
                  <a:gd name="T5" fmla="*/ 875 h 1339"/>
                  <a:gd name="T6" fmla="*/ 71 w 544"/>
                  <a:gd name="T7" fmla="*/ 833 h 1339"/>
                  <a:gd name="T8" fmla="*/ 62 w 544"/>
                  <a:gd name="T9" fmla="*/ 771 h 1339"/>
                  <a:gd name="T10" fmla="*/ 79 w 544"/>
                  <a:gd name="T11" fmla="*/ 717 h 1339"/>
                  <a:gd name="T12" fmla="*/ 64 w 544"/>
                  <a:gd name="T13" fmla="*/ 650 h 1339"/>
                  <a:gd name="T14" fmla="*/ 68 w 544"/>
                  <a:gd name="T15" fmla="*/ 590 h 1339"/>
                  <a:gd name="T16" fmla="*/ 73 w 544"/>
                  <a:gd name="T17" fmla="*/ 520 h 1339"/>
                  <a:gd name="T18" fmla="*/ 115 w 544"/>
                  <a:gd name="T19" fmla="*/ 486 h 1339"/>
                  <a:gd name="T20" fmla="*/ 157 w 544"/>
                  <a:gd name="T21" fmla="*/ 484 h 1339"/>
                  <a:gd name="T22" fmla="*/ 155 w 544"/>
                  <a:gd name="T23" fmla="*/ 446 h 1339"/>
                  <a:gd name="T24" fmla="*/ 160 w 544"/>
                  <a:gd name="T25" fmla="*/ 399 h 1339"/>
                  <a:gd name="T26" fmla="*/ 177 w 544"/>
                  <a:gd name="T27" fmla="*/ 322 h 1339"/>
                  <a:gd name="T28" fmla="*/ 208 w 544"/>
                  <a:gd name="T29" fmla="*/ 273 h 1339"/>
                  <a:gd name="T30" fmla="*/ 237 w 544"/>
                  <a:gd name="T31" fmla="*/ 215 h 1339"/>
                  <a:gd name="T32" fmla="*/ 231 w 544"/>
                  <a:gd name="T33" fmla="*/ 170 h 1339"/>
                  <a:gd name="T34" fmla="*/ 253 w 544"/>
                  <a:gd name="T35" fmla="*/ 119 h 1339"/>
                  <a:gd name="T36" fmla="*/ 295 w 544"/>
                  <a:gd name="T37" fmla="*/ 108 h 1339"/>
                  <a:gd name="T38" fmla="*/ 310 w 544"/>
                  <a:gd name="T39" fmla="*/ 60 h 1339"/>
                  <a:gd name="T40" fmla="*/ 353 w 544"/>
                  <a:gd name="T41" fmla="*/ 64 h 1339"/>
                  <a:gd name="T42" fmla="*/ 371 w 544"/>
                  <a:gd name="T43" fmla="*/ 28 h 1339"/>
                  <a:gd name="T44" fmla="*/ 379 w 544"/>
                  <a:gd name="T45" fmla="*/ 0 h 1339"/>
                  <a:gd name="T46" fmla="*/ 473 w 544"/>
                  <a:gd name="T47" fmla="*/ 62 h 1339"/>
                  <a:gd name="T48" fmla="*/ 504 w 544"/>
                  <a:gd name="T49" fmla="*/ 150 h 1339"/>
                  <a:gd name="T50" fmla="*/ 524 w 544"/>
                  <a:gd name="T51" fmla="*/ 255 h 1339"/>
                  <a:gd name="T52" fmla="*/ 526 w 544"/>
                  <a:gd name="T53" fmla="*/ 290 h 1339"/>
                  <a:gd name="T54" fmla="*/ 491 w 544"/>
                  <a:gd name="T55" fmla="*/ 297 h 1339"/>
                  <a:gd name="T56" fmla="*/ 480 w 544"/>
                  <a:gd name="T57" fmla="*/ 322 h 1339"/>
                  <a:gd name="T58" fmla="*/ 446 w 544"/>
                  <a:gd name="T59" fmla="*/ 359 h 1339"/>
                  <a:gd name="T60" fmla="*/ 444 w 544"/>
                  <a:gd name="T61" fmla="*/ 397 h 1339"/>
                  <a:gd name="T62" fmla="*/ 453 w 544"/>
                  <a:gd name="T63" fmla="*/ 430 h 1339"/>
                  <a:gd name="T64" fmla="*/ 446 w 544"/>
                  <a:gd name="T65" fmla="*/ 468 h 1339"/>
                  <a:gd name="T66" fmla="*/ 424 w 544"/>
                  <a:gd name="T67" fmla="*/ 502 h 1339"/>
                  <a:gd name="T68" fmla="*/ 393 w 544"/>
                  <a:gd name="T69" fmla="*/ 535 h 1339"/>
                  <a:gd name="T70" fmla="*/ 359 w 544"/>
                  <a:gd name="T71" fmla="*/ 551 h 1339"/>
                  <a:gd name="T72" fmla="*/ 333 w 544"/>
                  <a:gd name="T73" fmla="*/ 599 h 1339"/>
                  <a:gd name="T74" fmla="*/ 310 w 544"/>
                  <a:gd name="T75" fmla="*/ 639 h 1339"/>
                  <a:gd name="T76" fmla="*/ 300 w 544"/>
                  <a:gd name="T77" fmla="*/ 679 h 1339"/>
                  <a:gd name="T78" fmla="*/ 282 w 544"/>
                  <a:gd name="T79" fmla="*/ 757 h 1339"/>
                  <a:gd name="T80" fmla="*/ 330 w 544"/>
                  <a:gd name="T81" fmla="*/ 815 h 1339"/>
                  <a:gd name="T82" fmla="*/ 366 w 544"/>
                  <a:gd name="T83" fmla="*/ 895 h 1339"/>
                  <a:gd name="T84" fmla="*/ 300 w 544"/>
                  <a:gd name="T85" fmla="*/ 913 h 1339"/>
                  <a:gd name="T86" fmla="*/ 279 w 544"/>
                  <a:gd name="T87" fmla="*/ 930 h 1339"/>
                  <a:gd name="T88" fmla="*/ 360 w 544"/>
                  <a:gd name="T89" fmla="*/ 924 h 1339"/>
                  <a:gd name="T90" fmla="*/ 330 w 544"/>
                  <a:gd name="T91" fmla="*/ 973 h 1339"/>
                  <a:gd name="T92" fmla="*/ 284 w 544"/>
                  <a:gd name="T93" fmla="*/ 982 h 1339"/>
                  <a:gd name="T94" fmla="*/ 268 w 544"/>
                  <a:gd name="T95" fmla="*/ 1022 h 1339"/>
                  <a:gd name="T96" fmla="*/ 275 w 544"/>
                  <a:gd name="T97" fmla="*/ 1086 h 1339"/>
                  <a:gd name="T98" fmla="*/ 260 w 544"/>
                  <a:gd name="T99" fmla="*/ 1173 h 1339"/>
                  <a:gd name="T100" fmla="*/ 233 w 544"/>
                  <a:gd name="T101" fmla="*/ 1242 h 1339"/>
                  <a:gd name="T102" fmla="*/ 170 w 544"/>
                  <a:gd name="T103" fmla="*/ 1237 h 1339"/>
                  <a:gd name="T104" fmla="*/ 150 w 544"/>
                  <a:gd name="T105" fmla="*/ 1290 h 1339"/>
                  <a:gd name="T106" fmla="*/ 199 w 544"/>
                  <a:gd name="T107" fmla="*/ 1330 h 1339"/>
                  <a:gd name="T108" fmla="*/ 159 w 544"/>
                  <a:gd name="T109" fmla="*/ 1317 h 1339"/>
                  <a:gd name="T110" fmla="*/ 68 w 544"/>
                  <a:gd name="T111" fmla="*/ 1304 h 1339"/>
                  <a:gd name="T112" fmla="*/ 53 w 544"/>
                  <a:gd name="T113" fmla="*/ 1231 h 1339"/>
                  <a:gd name="T114" fmla="*/ 82 w 544"/>
                  <a:gd name="T115" fmla="*/ 1199 h 1339"/>
                  <a:gd name="T116" fmla="*/ 28 w 544"/>
                  <a:gd name="T117" fmla="*/ 1115 h 1339"/>
                  <a:gd name="T118" fmla="*/ 22 w 544"/>
                  <a:gd name="T119" fmla="*/ 1048 h 1339"/>
                  <a:gd name="T120" fmla="*/ 0 w 544"/>
                  <a:gd name="T121" fmla="*/ 1002 h 1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4" h="1339">
                    <a:moveTo>
                      <a:pt x="2" y="957"/>
                    </a:moveTo>
                    <a:lnTo>
                      <a:pt x="0" y="971"/>
                    </a:lnTo>
                    <a:lnTo>
                      <a:pt x="13" y="973"/>
                    </a:lnTo>
                    <a:lnTo>
                      <a:pt x="22" y="962"/>
                    </a:lnTo>
                    <a:lnTo>
                      <a:pt x="24" y="942"/>
                    </a:lnTo>
                    <a:lnTo>
                      <a:pt x="26" y="920"/>
                    </a:lnTo>
                    <a:lnTo>
                      <a:pt x="28" y="906"/>
                    </a:lnTo>
                    <a:lnTo>
                      <a:pt x="39" y="886"/>
                    </a:lnTo>
                    <a:lnTo>
                      <a:pt x="42" y="875"/>
                    </a:lnTo>
                    <a:lnTo>
                      <a:pt x="51" y="870"/>
                    </a:lnTo>
                    <a:lnTo>
                      <a:pt x="64" y="866"/>
                    </a:lnTo>
                    <a:lnTo>
                      <a:pt x="71" y="833"/>
                    </a:lnTo>
                    <a:lnTo>
                      <a:pt x="75" y="806"/>
                    </a:lnTo>
                    <a:lnTo>
                      <a:pt x="73" y="788"/>
                    </a:lnTo>
                    <a:lnTo>
                      <a:pt x="62" y="771"/>
                    </a:lnTo>
                    <a:lnTo>
                      <a:pt x="82" y="751"/>
                    </a:lnTo>
                    <a:lnTo>
                      <a:pt x="84" y="730"/>
                    </a:lnTo>
                    <a:lnTo>
                      <a:pt x="79" y="717"/>
                    </a:lnTo>
                    <a:lnTo>
                      <a:pt x="70" y="700"/>
                    </a:lnTo>
                    <a:lnTo>
                      <a:pt x="68" y="680"/>
                    </a:lnTo>
                    <a:lnTo>
                      <a:pt x="64" y="650"/>
                    </a:lnTo>
                    <a:lnTo>
                      <a:pt x="62" y="626"/>
                    </a:lnTo>
                    <a:lnTo>
                      <a:pt x="62" y="606"/>
                    </a:lnTo>
                    <a:lnTo>
                      <a:pt x="68" y="590"/>
                    </a:lnTo>
                    <a:lnTo>
                      <a:pt x="73" y="575"/>
                    </a:lnTo>
                    <a:lnTo>
                      <a:pt x="66" y="551"/>
                    </a:lnTo>
                    <a:lnTo>
                      <a:pt x="73" y="520"/>
                    </a:lnTo>
                    <a:lnTo>
                      <a:pt x="86" y="508"/>
                    </a:lnTo>
                    <a:lnTo>
                      <a:pt x="97" y="493"/>
                    </a:lnTo>
                    <a:lnTo>
                      <a:pt x="115" y="486"/>
                    </a:lnTo>
                    <a:lnTo>
                      <a:pt x="130" y="486"/>
                    </a:lnTo>
                    <a:lnTo>
                      <a:pt x="148" y="488"/>
                    </a:lnTo>
                    <a:lnTo>
                      <a:pt x="157" y="484"/>
                    </a:lnTo>
                    <a:lnTo>
                      <a:pt x="162" y="471"/>
                    </a:lnTo>
                    <a:lnTo>
                      <a:pt x="162" y="459"/>
                    </a:lnTo>
                    <a:lnTo>
                      <a:pt x="155" y="446"/>
                    </a:lnTo>
                    <a:lnTo>
                      <a:pt x="144" y="430"/>
                    </a:lnTo>
                    <a:lnTo>
                      <a:pt x="150" y="417"/>
                    </a:lnTo>
                    <a:lnTo>
                      <a:pt x="160" y="399"/>
                    </a:lnTo>
                    <a:lnTo>
                      <a:pt x="170" y="377"/>
                    </a:lnTo>
                    <a:lnTo>
                      <a:pt x="173" y="357"/>
                    </a:lnTo>
                    <a:lnTo>
                      <a:pt x="177" y="322"/>
                    </a:lnTo>
                    <a:lnTo>
                      <a:pt x="177" y="300"/>
                    </a:lnTo>
                    <a:lnTo>
                      <a:pt x="191" y="288"/>
                    </a:lnTo>
                    <a:lnTo>
                      <a:pt x="208" y="273"/>
                    </a:lnTo>
                    <a:lnTo>
                      <a:pt x="208" y="255"/>
                    </a:lnTo>
                    <a:lnTo>
                      <a:pt x="220" y="237"/>
                    </a:lnTo>
                    <a:lnTo>
                      <a:pt x="237" y="215"/>
                    </a:lnTo>
                    <a:lnTo>
                      <a:pt x="244" y="197"/>
                    </a:lnTo>
                    <a:lnTo>
                      <a:pt x="244" y="180"/>
                    </a:lnTo>
                    <a:lnTo>
                      <a:pt x="231" y="170"/>
                    </a:lnTo>
                    <a:lnTo>
                      <a:pt x="239" y="157"/>
                    </a:lnTo>
                    <a:lnTo>
                      <a:pt x="250" y="144"/>
                    </a:lnTo>
                    <a:lnTo>
                      <a:pt x="253" y="119"/>
                    </a:lnTo>
                    <a:lnTo>
                      <a:pt x="264" y="110"/>
                    </a:lnTo>
                    <a:lnTo>
                      <a:pt x="277" y="100"/>
                    </a:lnTo>
                    <a:lnTo>
                      <a:pt x="295" y="108"/>
                    </a:lnTo>
                    <a:lnTo>
                      <a:pt x="302" y="95"/>
                    </a:lnTo>
                    <a:lnTo>
                      <a:pt x="306" y="73"/>
                    </a:lnTo>
                    <a:lnTo>
                      <a:pt x="310" y="60"/>
                    </a:lnTo>
                    <a:lnTo>
                      <a:pt x="326" y="62"/>
                    </a:lnTo>
                    <a:lnTo>
                      <a:pt x="339" y="64"/>
                    </a:lnTo>
                    <a:lnTo>
                      <a:pt x="353" y="64"/>
                    </a:lnTo>
                    <a:lnTo>
                      <a:pt x="370" y="60"/>
                    </a:lnTo>
                    <a:lnTo>
                      <a:pt x="364" y="42"/>
                    </a:lnTo>
                    <a:lnTo>
                      <a:pt x="371" y="28"/>
                    </a:lnTo>
                    <a:lnTo>
                      <a:pt x="371" y="15"/>
                    </a:lnTo>
                    <a:lnTo>
                      <a:pt x="366" y="6"/>
                    </a:lnTo>
                    <a:lnTo>
                      <a:pt x="379" y="0"/>
                    </a:lnTo>
                    <a:lnTo>
                      <a:pt x="400" y="22"/>
                    </a:lnTo>
                    <a:lnTo>
                      <a:pt x="437" y="53"/>
                    </a:lnTo>
                    <a:lnTo>
                      <a:pt x="473" y="62"/>
                    </a:lnTo>
                    <a:lnTo>
                      <a:pt x="500" y="100"/>
                    </a:lnTo>
                    <a:lnTo>
                      <a:pt x="495" y="131"/>
                    </a:lnTo>
                    <a:lnTo>
                      <a:pt x="504" y="150"/>
                    </a:lnTo>
                    <a:lnTo>
                      <a:pt x="508" y="175"/>
                    </a:lnTo>
                    <a:lnTo>
                      <a:pt x="535" y="219"/>
                    </a:lnTo>
                    <a:lnTo>
                      <a:pt x="524" y="255"/>
                    </a:lnTo>
                    <a:lnTo>
                      <a:pt x="544" y="284"/>
                    </a:lnTo>
                    <a:lnTo>
                      <a:pt x="542" y="300"/>
                    </a:lnTo>
                    <a:lnTo>
                      <a:pt x="526" y="290"/>
                    </a:lnTo>
                    <a:lnTo>
                      <a:pt x="515" y="297"/>
                    </a:lnTo>
                    <a:lnTo>
                      <a:pt x="508" y="306"/>
                    </a:lnTo>
                    <a:lnTo>
                      <a:pt x="491" y="297"/>
                    </a:lnTo>
                    <a:lnTo>
                      <a:pt x="486" y="306"/>
                    </a:lnTo>
                    <a:lnTo>
                      <a:pt x="473" y="308"/>
                    </a:lnTo>
                    <a:lnTo>
                      <a:pt x="480" y="322"/>
                    </a:lnTo>
                    <a:lnTo>
                      <a:pt x="470" y="337"/>
                    </a:lnTo>
                    <a:lnTo>
                      <a:pt x="455" y="348"/>
                    </a:lnTo>
                    <a:lnTo>
                      <a:pt x="446" y="359"/>
                    </a:lnTo>
                    <a:lnTo>
                      <a:pt x="453" y="379"/>
                    </a:lnTo>
                    <a:lnTo>
                      <a:pt x="453" y="390"/>
                    </a:lnTo>
                    <a:lnTo>
                      <a:pt x="444" y="397"/>
                    </a:lnTo>
                    <a:lnTo>
                      <a:pt x="442" y="408"/>
                    </a:lnTo>
                    <a:lnTo>
                      <a:pt x="446" y="417"/>
                    </a:lnTo>
                    <a:lnTo>
                      <a:pt x="453" y="430"/>
                    </a:lnTo>
                    <a:lnTo>
                      <a:pt x="464" y="440"/>
                    </a:lnTo>
                    <a:lnTo>
                      <a:pt x="451" y="459"/>
                    </a:lnTo>
                    <a:lnTo>
                      <a:pt x="446" y="468"/>
                    </a:lnTo>
                    <a:lnTo>
                      <a:pt x="437" y="479"/>
                    </a:lnTo>
                    <a:lnTo>
                      <a:pt x="433" y="488"/>
                    </a:lnTo>
                    <a:lnTo>
                      <a:pt x="424" y="502"/>
                    </a:lnTo>
                    <a:lnTo>
                      <a:pt x="415" y="511"/>
                    </a:lnTo>
                    <a:lnTo>
                      <a:pt x="404" y="515"/>
                    </a:lnTo>
                    <a:lnTo>
                      <a:pt x="393" y="535"/>
                    </a:lnTo>
                    <a:lnTo>
                      <a:pt x="380" y="531"/>
                    </a:lnTo>
                    <a:lnTo>
                      <a:pt x="371" y="544"/>
                    </a:lnTo>
                    <a:lnTo>
                      <a:pt x="359" y="551"/>
                    </a:lnTo>
                    <a:lnTo>
                      <a:pt x="346" y="560"/>
                    </a:lnTo>
                    <a:lnTo>
                      <a:pt x="340" y="580"/>
                    </a:lnTo>
                    <a:lnTo>
                      <a:pt x="333" y="599"/>
                    </a:lnTo>
                    <a:lnTo>
                      <a:pt x="311" y="590"/>
                    </a:lnTo>
                    <a:lnTo>
                      <a:pt x="315" y="620"/>
                    </a:lnTo>
                    <a:lnTo>
                      <a:pt x="310" y="639"/>
                    </a:lnTo>
                    <a:lnTo>
                      <a:pt x="295" y="630"/>
                    </a:lnTo>
                    <a:lnTo>
                      <a:pt x="299" y="657"/>
                    </a:lnTo>
                    <a:lnTo>
                      <a:pt x="300" y="679"/>
                    </a:lnTo>
                    <a:lnTo>
                      <a:pt x="290" y="704"/>
                    </a:lnTo>
                    <a:lnTo>
                      <a:pt x="282" y="726"/>
                    </a:lnTo>
                    <a:lnTo>
                      <a:pt x="282" y="757"/>
                    </a:lnTo>
                    <a:lnTo>
                      <a:pt x="290" y="786"/>
                    </a:lnTo>
                    <a:lnTo>
                      <a:pt x="308" y="811"/>
                    </a:lnTo>
                    <a:lnTo>
                      <a:pt x="330" y="815"/>
                    </a:lnTo>
                    <a:lnTo>
                      <a:pt x="353" y="839"/>
                    </a:lnTo>
                    <a:lnTo>
                      <a:pt x="371" y="860"/>
                    </a:lnTo>
                    <a:lnTo>
                      <a:pt x="366" y="895"/>
                    </a:lnTo>
                    <a:lnTo>
                      <a:pt x="357" y="910"/>
                    </a:lnTo>
                    <a:lnTo>
                      <a:pt x="337" y="917"/>
                    </a:lnTo>
                    <a:lnTo>
                      <a:pt x="300" y="913"/>
                    </a:lnTo>
                    <a:lnTo>
                      <a:pt x="273" y="904"/>
                    </a:lnTo>
                    <a:lnTo>
                      <a:pt x="259" y="917"/>
                    </a:lnTo>
                    <a:lnTo>
                      <a:pt x="279" y="930"/>
                    </a:lnTo>
                    <a:lnTo>
                      <a:pt x="306" y="933"/>
                    </a:lnTo>
                    <a:lnTo>
                      <a:pt x="330" y="930"/>
                    </a:lnTo>
                    <a:lnTo>
                      <a:pt x="360" y="924"/>
                    </a:lnTo>
                    <a:lnTo>
                      <a:pt x="353" y="944"/>
                    </a:lnTo>
                    <a:lnTo>
                      <a:pt x="342" y="964"/>
                    </a:lnTo>
                    <a:lnTo>
                      <a:pt x="330" y="973"/>
                    </a:lnTo>
                    <a:lnTo>
                      <a:pt x="315" y="960"/>
                    </a:lnTo>
                    <a:lnTo>
                      <a:pt x="306" y="980"/>
                    </a:lnTo>
                    <a:lnTo>
                      <a:pt x="284" y="982"/>
                    </a:lnTo>
                    <a:lnTo>
                      <a:pt x="246" y="993"/>
                    </a:lnTo>
                    <a:lnTo>
                      <a:pt x="273" y="1004"/>
                    </a:lnTo>
                    <a:lnTo>
                      <a:pt x="268" y="1022"/>
                    </a:lnTo>
                    <a:lnTo>
                      <a:pt x="270" y="1059"/>
                    </a:lnTo>
                    <a:lnTo>
                      <a:pt x="262" y="1071"/>
                    </a:lnTo>
                    <a:lnTo>
                      <a:pt x="275" y="1086"/>
                    </a:lnTo>
                    <a:lnTo>
                      <a:pt x="266" y="1102"/>
                    </a:lnTo>
                    <a:lnTo>
                      <a:pt x="262" y="1124"/>
                    </a:lnTo>
                    <a:lnTo>
                      <a:pt x="260" y="1173"/>
                    </a:lnTo>
                    <a:lnTo>
                      <a:pt x="248" y="1195"/>
                    </a:lnTo>
                    <a:lnTo>
                      <a:pt x="242" y="1219"/>
                    </a:lnTo>
                    <a:lnTo>
                      <a:pt x="233" y="1242"/>
                    </a:lnTo>
                    <a:lnTo>
                      <a:pt x="213" y="1231"/>
                    </a:lnTo>
                    <a:lnTo>
                      <a:pt x="186" y="1231"/>
                    </a:lnTo>
                    <a:lnTo>
                      <a:pt x="170" y="1237"/>
                    </a:lnTo>
                    <a:lnTo>
                      <a:pt x="157" y="1250"/>
                    </a:lnTo>
                    <a:lnTo>
                      <a:pt x="144" y="1270"/>
                    </a:lnTo>
                    <a:lnTo>
                      <a:pt x="150" y="1290"/>
                    </a:lnTo>
                    <a:lnTo>
                      <a:pt x="148" y="1306"/>
                    </a:lnTo>
                    <a:lnTo>
                      <a:pt x="179" y="1310"/>
                    </a:lnTo>
                    <a:lnTo>
                      <a:pt x="199" y="1330"/>
                    </a:lnTo>
                    <a:lnTo>
                      <a:pt x="180" y="1339"/>
                    </a:lnTo>
                    <a:lnTo>
                      <a:pt x="171" y="1330"/>
                    </a:lnTo>
                    <a:lnTo>
                      <a:pt x="159" y="1317"/>
                    </a:lnTo>
                    <a:lnTo>
                      <a:pt x="128" y="1300"/>
                    </a:lnTo>
                    <a:lnTo>
                      <a:pt x="110" y="1304"/>
                    </a:lnTo>
                    <a:lnTo>
                      <a:pt x="68" y="1304"/>
                    </a:lnTo>
                    <a:lnTo>
                      <a:pt x="82" y="1280"/>
                    </a:lnTo>
                    <a:lnTo>
                      <a:pt x="79" y="1262"/>
                    </a:lnTo>
                    <a:lnTo>
                      <a:pt x="53" y="1231"/>
                    </a:lnTo>
                    <a:lnTo>
                      <a:pt x="68" y="1220"/>
                    </a:lnTo>
                    <a:lnTo>
                      <a:pt x="66" y="1199"/>
                    </a:lnTo>
                    <a:lnTo>
                      <a:pt x="82" y="1199"/>
                    </a:lnTo>
                    <a:lnTo>
                      <a:pt x="57" y="1170"/>
                    </a:lnTo>
                    <a:lnTo>
                      <a:pt x="40" y="1126"/>
                    </a:lnTo>
                    <a:lnTo>
                      <a:pt x="28" y="1115"/>
                    </a:lnTo>
                    <a:lnTo>
                      <a:pt x="31" y="1088"/>
                    </a:lnTo>
                    <a:lnTo>
                      <a:pt x="26" y="1070"/>
                    </a:lnTo>
                    <a:lnTo>
                      <a:pt x="22" y="1048"/>
                    </a:lnTo>
                    <a:lnTo>
                      <a:pt x="11" y="1037"/>
                    </a:lnTo>
                    <a:lnTo>
                      <a:pt x="17" y="1017"/>
                    </a:lnTo>
                    <a:lnTo>
                      <a:pt x="0" y="1002"/>
                    </a:lnTo>
                    <a:lnTo>
                      <a:pt x="2" y="979"/>
                    </a:lnTo>
                    <a:lnTo>
                      <a:pt x="0" y="97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3" name="Freeform 6">
                <a:extLst>
                  <a:ext uri="{FF2B5EF4-FFF2-40B4-BE49-F238E27FC236}">
                    <a16:creationId xmlns:a16="http://schemas.microsoft.com/office/drawing/2014/main" id="{53A49FB3-A268-0575-4384-F1CF4EAE242F}"/>
                  </a:ext>
                </a:extLst>
              </p:cNvPr>
              <p:cNvSpPr>
                <a:spLocks/>
              </p:cNvSpPr>
              <p:nvPr/>
            </p:nvSpPr>
            <p:spPr bwMode="auto">
              <a:xfrm>
                <a:off x="4260124" y="1488504"/>
                <a:ext cx="633287" cy="857715"/>
              </a:xfrm>
              <a:custGeom>
                <a:avLst/>
                <a:gdLst>
                  <a:gd name="T0" fmla="*/ 702 w 988"/>
                  <a:gd name="T1" fmla="*/ 204 h 1266"/>
                  <a:gd name="T2" fmla="*/ 784 w 988"/>
                  <a:gd name="T3" fmla="*/ 228 h 1266"/>
                  <a:gd name="T4" fmla="*/ 830 w 988"/>
                  <a:gd name="T5" fmla="*/ 129 h 1266"/>
                  <a:gd name="T6" fmla="*/ 913 w 988"/>
                  <a:gd name="T7" fmla="*/ 106 h 1266"/>
                  <a:gd name="T8" fmla="*/ 955 w 988"/>
                  <a:gd name="T9" fmla="*/ 157 h 1266"/>
                  <a:gd name="T10" fmla="*/ 975 w 988"/>
                  <a:gd name="T11" fmla="*/ 100 h 1266"/>
                  <a:gd name="T12" fmla="*/ 917 w 988"/>
                  <a:gd name="T13" fmla="*/ 82 h 1266"/>
                  <a:gd name="T14" fmla="*/ 980 w 988"/>
                  <a:gd name="T15" fmla="*/ 42 h 1266"/>
                  <a:gd name="T16" fmla="*/ 895 w 988"/>
                  <a:gd name="T17" fmla="*/ 24 h 1266"/>
                  <a:gd name="T18" fmla="*/ 882 w 988"/>
                  <a:gd name="T19" fmla="*/ 18 h 1266"/>
                  <a:gd name="T20" fmla="*/ 857 w 988"/>
                  <a:gd name="T21" fmla="*/ 46 h 1266"/>
                  <a:gd name="T22" fmla="*/ 815 w 988"/>
                  <a:gd name="T23" fmla="*/ 66 h 1266"/>
                  <a:gd name="T24" fmla="*/ 799 w 988"/>
                  <a:gd name="T25" fmla="*/ 60 h 1266"/>
                  <a:gd name="T26" fmla="*/ 768 w 988"/>
                  <a:gd name="T27" fmla="*/ 53 h 1266"/>
                  <a:gd name="T28" fmla="*/ 737 w 988"/>
                  <a:gd name="T29" fmla="*/ 128 h 1266"/>
                  <a:gd name="T30" fmla="*/ 702 w 988"/>
                  <a:gd name="T31" fmla="*/ 157 h 1266"/>
                  <a:gd name="T32" fmla="*/ 646 w 988"/>
                  <a:gd name="T33" fmla="*/ 198 h 1266"/>
                  <a:gd name="T34" fmla="*/ 620 w 988"/>
                  <a:gd name="T35" fmla="*/ 160 h 1266"/>
                  <a:gd name="T36" fmla="*/ 602 w 988"/>
                  <a:gd name="T37" fmla="*/ 175 h 1266"/>
                  <a:gd name="T38" fmla="*/ 564 w 988"/>
                  <a:gd name="T39" fmla="*/ 178 h 1266"/>
                  <a:gd name="T40" fmla="*/ 562 w 988"/>
                  <a:gd name="T41" fmla="*/ 244 h 1266"/>
                  <a:gd name="T42" fmla="*/ 555 w 988"/>
                  <a:gd name="T43" fmla="*/ 300 h 1266"/>
                  <a:gd name="T44" fmla="*/ 490 w 988"/>
                  <a:gd name="T45" fmla="*/ 344 h 1266"/>
                  <a:gd name="T46" fmla="*/ 450 w 988"/>
                  <a:gd name="T47" fmla="*/ 428 h 1266"/>
                  <a:gd name="T48" fmla="*/ 393 w 988"/>
                  <a:gd name="T49" fmla="*/ 500 h 1266"/>
                  <a:gd name="T50" fmla="*/ 357 w 988"/>
                  <a:gd name="T51" fmla="*/ 598 h 1266"/>
                  <a:gd name="T52" fmla="*/ 275 w 988"/>
                  <a:gd name="T53" fmla="*/ 686 h 1266"/>
                  <a:gd name="T54" fmla="*/ 302 w 988"/>
                  <a:gd name="T55" fmla="*/ 718 h 1266"/>
                  <a:gd name="T56" fmla="*/ 259 w 988"/>
                  <a:gd name="T57" fmla="*/ 766 h 1266"/>
                  <a:gd name="T58" fmla="*/ 175 w 988"/>
                  <a:gd name="T59" fmla="*/ 764 h 1266"/>
                  <a:gd name="T60" fmla="*/ 144 w 988"/>
                  <a:gd name="T61" fmla="*/ 811 h 1266"/>
                  <a:gd name="T62" fmla="*/ 75 w 988"/>
                  <a:gd name="T63" fmla="*/ 840 h 1266"/>
                  <a:gd name="T64" fmla="*/ 24 w 988"/>
                  <a:gd name="T65" fmla="*/ 938 h 1266"/>
                  <a:gd name="T66" fmla="*/ 144 w 988"/>
                  <a:gd name="T67" fmla="*/ 926 h 1266"/>
                  <a:gd name="T68" fmla="*/ 55 w 988"/>
                  <a:gd name="T69" fmla="*/ 969 h 1266"/>
                  <a:gd name="T70" fmla="*/ 26 w 988"/>
                  <a:gd name="T71" fmla="*/ 1040 h 1266"/>
                  <a:gd name="T72" fmla="*/ 86 w 988"/>
                  <a:gd name="T73" fmla="*/ 1040 h 1266"/>
                  <a:gd name="T74" fmla="*/ 0 w 988"/>
                  <a:gd name="T75" fmla="*/ 1135 h 1266"/>
                  <a:gd name="T76" fmla="*/ 15 w 988"/>
                  <a:gd name="T77" fmla="*/ 1157 h 1266"/>
                  <a:gd name="T78" fmla="*/ 91 w 988"/>
                  <a:gd name="T79" fmla="*/ 1242 h 1266"/>
                  <a:gd name="T80" fmla="*/ 208 w 988"/>
                  <a:gd name="T81" fmla="*/ 1184 h 1266"/>
                  <a:gd name="T82" fmla="*/ 273 w 988"/>
                  <a:gd name="T83" fmla="*/ 1158 h 1266"/>
                  <a:gd name="T84" fmla="*/ 319 w 988"/>
                  <a:gd name="T85" fmla="*/ 1104 h 1266"/>
                  <a:gd name="T86" fmla="*/ 354 w 988"/>
                  <a:gd name="T87" fmla="*/ 1013 h 1266"/>
                  <a:gd name="T88" fmla="*/ 353 w 988"/>
                  <a:gd name="T89" fmla="*/ 926 h 1266"/>
                  <a:gd name="T90" fmla="*/ 353 w 988"/>
                  <a:gd name="T91" fmla="*/ 742 h 1266"/>
                  <a:gd name="T92" fmla="*/ 444 w 988"/>
                  <a:gd name="T93" fmla="*/ 683 h 1266"/>
                  <a:gd name="T94" fmla="*/ 456 w 988"/>
                  <a:gd name="T95" fmla="*/ 541 h 1266"/>
                  <a:gd name="T96" fmla="*/ 526 w 988"/>
                  <a:gd name="T97" fmla="*/ 398 h 1266"/>
                  <a:gd name="T98" fmla="*/ 562 w 988"/>
                  <a:gd name="T99" fmla="*/ 321 h 1266"/>
                  <a:gd name="T100" fmla="*/ 649 w 988"/>
                  <a:gd name="T101" fmla="*/ 281 h 1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8" h="1266">
                    <a:moveTo>
                      <a:pt x="657" y="218"/>
                    </a:moveTo>
                    <a:lnTo>
                      <a:pt x="678" y="216"/>
                    </a:lnTo>
                    <a:lnTo>
                      <a:pt x="679" y="197"/>
                    </a:lnTo>
                    <a:lnTo>
                      <a:pt x="691" y="193"/>
                    </a:lnTo>
                    <a:lnTo>
                      <a:pt x="702" y="204"/>
                    </a:lnTo>
                    <a:lnTo>
                      <a:pt x="715" y="220"/>
                    </a:lnTo>
                    <a:lnTo>
                      <a:pt x="731" y="244"/>
                    </a:lnTo>
                    <a:lnTo>
                      <a:pt x="750" y="246"/>
                    </a:lnTo>
                    <a:lnTo>
                      <a:pt x="768" y="253"/>
                    </a:lnTo>
                    <a:lnTo>
                      <a:pt x="784" y="228"/>
                    </a:lnTo>
                    <a:lnTo>
                      <a:pt x="800" y="242"/>
                    </a:lnTo>
                    <a:lnTo>
                      <a:pt x="822" y="226"/>
                    </a:lnTo>
                    <a:lnTo>
                      <a:pt x="830" y="211"/>
                    </a:lnTo>
                    <a:lnTo>
                      <a:pt x="833" y="171"/>
                    </a:lnTo>
                    <a:lnTo>
                      <a:pt x="830" y="129"/>
                    </a:lnTo>
                    <a:lnTo>
                      <a:pt x="844" y="115"/>
                    </a:lnTo>
                    <a:lnTo>
                      <a:pt x="866" y="109"/>
                    </a:lnTo>
                    <a:lnTo>
                      <a:pt x="880" y="95"/>
                    </a:lnTo>
                    <a:lnTo>
                      <a:pt x="895" y="91"/>
                    </a:lnTo>
                    <a:lnTo>
                      <a:pt x="913" y="106"/>
                    </a:lnTo>
                    <a:lnTo>
                      <a:pt x="939" y="117"/>
                    </a:lnTo>
                    <a:lnTo>
                      <a:pt x="948" y="128"/>
                    </a:lnTo>
                    <a:lnTo>
                      <a:pt x="948" y="149"/>
                    </a:lnTo>
                    <a:lnTo>
                      <a:pt x="940" y="169"/>
                    </a:lnTo>
                    <a:lnTo>
                      <a:pt x="955" y="157"/>
                    </a:lnTo>
                    <a:lnTo>
                      <a:pt x="970" y="137"/>
                    </a:lnTo>
                    <a:lnTo>
                      <a:pt x="971" y="113"/>
                    </a:lnTo>
                    <a:lnTo>
                      <a:pt x="986" y="113"/>
                    </a:lnTo>
                    <a:lnTo>
                      <a:pt x="988" y="93"/>
                    </a:lnTo>
                    <a:lnTo>
                      <a:pt x="975" y="100"/>
                    </a:lnTo>
                    <a:lnTo>
                      <a:pt x="966" y="111"/>
                    </a:lnTo>
                    <a:lnTo>
                      <a:pt x="951" y="108"/>
                    </a:lnTo>
                    <a:lnTo>
                      <a:pt x="950" y="95"/>
                    </a:lnTo>
                    <a:lnTo>
                      <a:pt x="933" y="89"/>
                    </a:lnTo>
                    <a:lnTo>
                      <a:pt x="917" y="82"/>
                    </a:lnTo>
                    <a:lnTo>
                      <a:pt x="942" y="75"/>
                    </a:lnTo>
                    <a:lnTo>
                      <a:pt x="953" y="75"/>
                    </a:lnTo>
                    <a:lnTo>
                      <a:pt x="964" y="64"/>
                    </a:lnTo>
                    <a:lnTo>
                      <a:pt x="977" y="53"/>
                    </a:lnTo>
                    <a:lnTo>
                      <a:pt x="980" y="42"/>
                    </a:lnTo>
                    <a:lnTo>
                      <a:pt x="951" y="33"/>
                    </a:lnTo>
                    <a:lnTo>
                      <a:pt x="939" y="24"/>
                    </a:lnTo>
                    <a:lnTo>
                      <a:pt x="919" y="26"/>
                    </a:lnTo>
                    <a:lnTo>
                      <a:pt x="900" y="11"/>
                    </a:lnTo>
                    <a:lnTo>
                      <a:pt x="895" y="24"/>
                    </a:lnTo>
                    <a:lnTo>
                      <a:pt x="899" y="35"/>
                    </a:lnTo>
                    <a:lnTo>
                      <a:pt x="900" y="51"/>
                    </a:lnTo>
                    <a:lnTo>
                      <a:pt x="886" y="53"/>
                    </a:lnTo>
                    <a:lnTo>
                      <a:pt x="873" y="31"/>
                    </a:lnTo>
                    <a:lnTo>
                      <a:pt x="882" y="18"/>
                    </a:lnTo>
                    <a:lnTo>
                      <a:pt x="882" y="2"/>
                    </a:lnTo>
                    <a:lnTo>
                      <a:pt x="868" y="0"/>
                    </a:lnTo>
                    <a:lnTo>
                      <a:pt x="862" y="9"/>
                    </a:lnTo>
                    <a:lnTo>
                      <a:pt x="860" y="29"/>
                    </a:lnTo>
                    <a:lnTo>
                      <a:pt x="857" y="46"/>
                    </a:lnTo>
                    <a:lnTo>
                      <a:pt x="848" y="66"/>
                    </a:lnTo>
                    <a:lnTo>
                      <a:pt x="837" y="46"/>
                    </a:lnTo>
                    <a:lnTo>
                      <a:pt x="831" y="29"/>
                    </a:lnTo>
                    <a:lnTo>
                      <a:pt x="815" y="44"/>
                    </a:lnTo>
                    <a:lnTo>
                      <a:pt x="815" y="66"/>
                    </a:lnTo>
                    <a:lnTo>
                      <a:pt x="810" y="82"/>
                    </a:lnTo>
                    <a:lnTo>
                      <a:pt x="802" y="95"/>
                    </a:lnTo>
                    <a:lnTo>
                      <a:pt x="791" y="104"/>
                    </a:lnTo>
                    <a:lnTo>
                      <a:pt x="791" y="80"/>
                    </a:lnTo>
                    <a:lnTo>
                      <a:pt x="799" y="60"/>
                    </a:lnTo>
                    <a:lnTo>
                      <a:pt x="810" y="37"/>
                    </a:lnTo>
                    <a:lnTo>
                      <a:pt x="790" y="42"/>
                    </a:lnTo>
                    <a:lnTo>
                      <a:pt x="780" y="33"/>
                    </a:lnTo>
                    <a:lnTo>
                      <a:pt x="768" y="38"/>
                    </a:lnTo>
                    <a:lnTo>
                      <a:pt x="768" y="53"/>
                    </a:lnTo>
                    <a:lnTo>
                      <a:pt x="771" y="71"/>
                    </a:lnTo>
                    <a:lnTo>
                      <a:pt x="757" y="80"/>
                    </a:lnTo>
                    <a:lnTo>
                      <a:pt x="739" y="93"/>
                    </a:lnTo>
                    <a:lnTo>
                      <a:pt x="737" y="115"/>
                    </a:lnTo>
                    <a:lnTo>
                      <a:pt x="737" y="128"/>
                    </a:lnTo>
                    <a:lnTo>
                      <a:pt x="728" y="117"/>
                    </a:lnTo>
                    <a:lnTo>
                      <a:pt x="710" y="115"/>
                    </a:lnTo>
                    <a:lnTo>
                      <a:pt x="700" y="109"/>
                    </a:lnTo>
                    <a:lnTo>
                      <a:pt x="700" y="138"/>
                    </a:lnTo>
                    <a:lnTo>
                      <a:pt x="702" y="157"/>
                    </a:lnTo>
                    <a:lnTo>
                      <a:pt x="688" y="140"/>
                    </a:lnTo>
                    <a:lnTo>
                      <a:pt x="675" y="131"/>
                    </a:lnTo>
                    <a:lnTo>
                      <a:pt x="671" y="149"/>
                    </a:lnTo>
                    <a:lnTo>
                      <a:pt x="662" y="175"/>
                    </a:lnTo>
                    <a:lnTo>
                      <a:pt x="646" y="198"/>
                    </a:lnTo>
                    <a:lnTo>
                      <a:pt x="648" y="169"/>
                    </a:lnTo>
                    <a:lnTo>
                      <a:pt x="648" y="148"/>
                    </a:lnTo>
                    <a:lnTo>
                      <a:pt x="633" y="155"/>
                    </a:lnTo>
                    <a:lnTo>
                      <a:pt x="630" y="177"/>
                    </a:lnTo>
                    <a:lnTo>
                      <a:pt x="620" y="160"/>
                    </a:lnTo>
                    <a:lnTo>
                      <a:pt x="608" y="186"/>
                    </a:lnTo>
                    <a:lnTo>
                      <a:pt x="628" y="208"/>
                    </a:lnTo>
                    <a:lnTo>
                      <a:pt x="606" y="208"/>
                    </a:lnTo>
                    <a:lnTo>
                      <a:pt x="597" y="200"/>
                    </a:lnTo>
                    <a:lnTo>
                      <a:pt x="602" y="175"/>
                    </a:lnTo>
                    <a:lnTo>
                      <a:pt x="620" y="142"/>
                    </a:lnTo>
                    <a:lnTo>
                      <a:pt x="599" y="128"/>
                    </a:lnTo>
                    <a:lnTo>
                      <a:pt x="586" y="168"/>
                    </a:lnTo>
                    <a:lnTo>
                      <a:pt x="579" y="189"/>
                    </a:lnTo>
                    <a:lnTo>
                      <a:pt x="564" y="178"/>
                    </a:lnTo>
                    <a:lnTo>
                      <a:pt x="548" y="191"/>
                    </a:lnTo>
                    <a:lnTo>
                      <a:pt x="539" y="211"/>
                    </a:lnTo>
                    <a:lnTo>
                      <a:pt x="551" y="220"/>
                    </a:lnTo>
                    <a:lnTo>
                      <a:pt x="571" y="224"/>
                    </a:lnTo>
                    <a:lnTo>
                      <a:pt x="562" y="244"/>
                    </a:lnTo>
                    <a:lnTo>
                      <a:pt x="553" y="260"/>
                    </a:lnTo>
                    <a:lnTo>
                      <a:pt x="533" y="273"/>
                    </a:lnTo>
                    <a:lnTo>
                      <a:pt x="522" y="293"/>
                    </a:lnTo>
                    <a:lnTo>
                      <a:pt x="548" y="280"/>
                    </a:lnTo>
                    <a:lnTo>
                      <a:pt x="555" y="300"/>
                    </a:lnTo>
                    <a:lnTo>
                      <a:pt x="537" y="304"/>
                    </a:lnTo>
                    <a:lnTo>
                      <a:pt x="517" y="317"/>
                    </a:lnTo>
                    <a:lnTo>
                      <a:pt x="522" y="337"/>
                    </a:lnTo>
                    <a:lnTo>
                      <a:pt x="502" y="320"/>
                    </a:lnTo>
                    <a:lnTo>
                      <a:pt x="490" y="344"/>
                    </a:lnTo>
                    <a:lnTo>
                      <a:pt x="491" y="386"/>
                    </a:lnTo>
                    <a:lnTo>
                      <a:pt x="468" y="377"/>
                    </a:lnTo>
                    <a:lnTo>
                      <a:pt x="455" y="380"/>
                    </a:lnTo>
                    <a:lnTo>
                      <a:pt x="453" y="402"/>
                    </a:lnTo>
                    <a:lnTo>
                      <a:pt x="450" y="428"/>
                    </a:lnTo>
                    <a:lnTo>
                      <a:pt x="426" y="437"/>
                    </a:lnTo>
                    <a:lnTo>
                      <a:pt x="417" y="455"/>
                    </a:lnTo>
                    <a:lnTo>
                      <a:pt x="408" y="475"/>
                    </a:lnTo>
                    <a:lnTo>
                      <a:pt x="415" y="498"/>
                    </a:lnTo>
                    <a:lnTo>
                      <a:pt x="393" y="500"/>
                    </a:lnTo>
                    <a:lnTo>
                      <a:pt x="402" y="531"/>
                    </a:lnTo>
                    <a:lnTo>
                      <a:pt x="386" y="546"/>
                    </a:lnTo>
                    <a:lnTo>
                      <a:pt x="382" y="578"/>
                    </a:lnTo>
                    <a:lnTo>
                      <a:pt x="362" y="578"/>
                    </a:lnTo>
                    <a:lnTo>
                      <a:pt x="357" y="598"/>
                    </a:lnTo>
                    <a:lnTo>
                      <a:pt x="335" y="609"/>
                    </a:lnTo>
                    <a:lnTo>
                      <a:pt x="328" y="628"/>
                    </a:lnTo>
                    <a:lnTo>
                      <a:pt x="330" y="655"/>
                    </a:lnTo>
                    <a:lnTo>
                      <a:pt x="299" y="653"/>
                    </a:lnTo>
                    <a:lnTo>
                      <a:pt x="275" y="686"/>
                    </a:lnTo>
                    <a:lnTo>
                      <a:pt x="273" y="708"/>
                    </a:lnTo>
                    <a:lnTo>
                      <a:pt x="246" y="713"/>
                    </a:lnTo>
                    <a:lnTo>
                      <a:pt x="262" y="738"/>
                    </a:lnTo>
                    <a:lnTo>
                      <a:pt x="284" y="737"/>
                    </a:lnTo>
                    <a:lnTo>
                      <a:pt x="302" y="718"/>
                    </a:lnTo>
                    <a:lnTo>
                      <a:pt x="328" y="715"/>
                    </a:lnTo>
                    <a:lnTo>
                      <a:pt x="319" y="740"/>
                    </a:lnTo>
                    <a:lnTo>
                      <a:pt x="304" y="742"/>
                    </a:lnTo>
                    <a:lnTo>
                      <a:pt x="284" y="760"/>
                    </a:lnTo>
                    <a:lnTo>
                      <a:pt x="259" y="766"/>
                    </a:lnTo>
                    <a:lnTo>
                      <a:pt x="244" y="749"/>
                    </a:lnTo>
                    <a:lnTo>
                      <a:pt x="235" y="766"/>
                    </a:lnTo>
                    <a:lnTo>
                      <a:pt x="217" y="760"/>
                    </a:lnTo>
                    <a:lnTo>
                      <a:pt x="195" y="757"/>
                    </a:lnTo>
                    <a:lnTo>
                      <a:pt x="175" y="764"/>
                    </a:lnTo>
                    <a:lnTo>
                      <a:pt x="157" y="773"/>
                    </a:lnTo>
                    <a:lnTo>
                      <a:pt x="157" y="797"/>
                    </a:lnTo>
                    <a:lnTo>
                      <a:pt x="130" y="786"/>
                    </a:lnTo>
                    <a:lnTo>
                      <a:pt x="122" y="800"/>
                    </a:lnTo>
                    <a:lnTo>
                      <a:pt x="144" y="811"/>
                    </a:lnTo>
                    <a:lnTo>
                      <a:pt x="131" y="828"/>
                    </a:lnTo>
                    <a:lnTo>
                      <a:pt x="108" y="820"/>
                    </a:lnTo>
                    <a:lnTo>
                      <a:pt x="95" y="828"/>
                    </a:lnTo>
                    <a:lnTo>
                      <a:pt x="100" y="858"/>
                    </a:lnTo>
                    <a:lnTo>
                      <a:pt x="75" y="840"/>
                    </a:lnTo>
                    <a:lnTo>
                      <a:pt x="55" y="858"/>
                    </a:lnTo>
                    <a:lnTo>
                      <a:pt x="53" y="878"/>
                    </a:lnTo>
                    <a:lnTo>
                      <a:pt x="26" y="891"/>
                    </a:lnTo>
                    <a:lnTo>
                      <a:pt x="30" y="913"/>
                    </a:lnTo>
                    <a:lnTo>
                      <a:pt x="24" y="938"/>
                    </a:lnTo>
                    <a:lnTo>
                      <a:pt x="42" y="951"/>
                    </a:lnTo>
                    <a:lnTo>
                      <a:pt x="93" y="935"/>
                    </a:lnTo>
                    <a:lnTo>
                      <a:pt x="100" y="948"/>
                    </a:lnTo>
                    <a:lnTo>
                      <a:pt x="130" y="931"/>
                    </a:lnTo>
                    <a:lnTo>
                      <a:pt x="144" y="926"/>
                    </a:lnTo>
                    <a:lnTo>
                      <a:pt x="135" y="949"/>
                    </a:lnTo>
                    <a:lnTo>
                      <a:pt x="117" y="968"/>
                    </a:lnTo>
                    <a:lnTo>
                      <a:pt x="100" y="989"/>
                    </a:lnTo>
                    <a:lnTo>
                      <a:pt x="91" y="968"/>
                    </a:lnTo>
                    <a:lnTo>
                      <a:pt x="55" y="969"/>
                    </a:lnTo>
                    <a:lnTo>
                      <a:pt x="24" y="969"/>
                    </a:lnTo>
                    <a:lnTo>
                      <a:pt x="15" y="986"/>
                    </a:lnTo>
                    <a:lnTo>
                      <a:pt x="42" y="1002"/>
                    </a:lnTo>
                    <a:lnTo>
                      <a:pt x="17" y="1020"/>
                    </a:lnTo>
                    <a:lnTo>
                      <a:pt x="26" y="1040"/>
                    </a:lnTo>
                    <a:lnTo>
                      <a:pt x="17" y="1077"/>
                    </a:lnTo>
                    <a:lnTo>
                      <a:pt x="53" y="1035"/>
                    </a:lnTo>
                    <a:lnTo>
                      <a:pt x="82" y="1008"/>
                    </a:lnTo>
                    <a:lnTo>
                      <a:pt x="108" y="1022"/>
                    </a:lnTo>
                    <a:lnTo>
                      <a:pt x="86" y="1040"/>
                    </a:lnTo>
                    <a:lnTo>
                      <a:pt x="60" y="1055"/>
                    </a:lnTo>
                    <a:lnTo>
                      <a:pt x="40" y="1073"/>
                    </a:lnTo>
                    <a:lnTo>
                      <a:pt x="71" y="1082"/>
                    </a:lnTo>
                    <a:lnTo>
                      <a:pt x="11" y="1100"/>
                    </a:lnTo>
                    <a:lnTo>
                      <a:pt x="0" y="1135"/>
                    </a:lnTo>
                    <a:lnTo>
                      <a:pt x="31" y="1117"/>
                    </a:lnTo>
                    <a:lnTo>
                      <a:pt x="55" y="1111"/>
                    </a:lnTo>
                    <a:lnTo>
                      <a:pt x="39" y="1137"/>
                    </a:lnTo>
                    <a:lnTo>
                      <a:pt x="35" y="1158"/>
                    </a:lnTo>
                    <a:lnTo>
                      <a:pt x="15" y="1157"/>
                    </a:lnTo>
                    <a:lnTo>
                      <a:pt x="6" y="1186"/>
                    </a:lnTo>
                    <a:lnTo>
                      <a:pt x="44" y="1231"/>
                    </a:lnTo>
                    <a:lnTo>
                      <a:pt x="62" y="1217"/>
                    </a:lnTo>
                    <a:lnTo>
                      <a:pt x="70" y="1248"/>
                    </a:lnTo>
                    <a:lnTo>
                      <a:pt x="91" y="1242"/>
                    </a:lnTo>
                    <a:lnTo>
                      <a:pt x="104" y="1266"/>
                    </a:lnTo>
                    <a:lnTo>
                      <a:pt x="128" y="1238"/>
                    </a:lnTo>
                    <a:lnTo>
                      <a:pt x="155" y="1235"/>
                    </a:lnTo>
                    <a:lnTo>
                      <a:pt x="175" y="1215"/>
                    </a:lnTo>
                    <a:lnTo>
                      <a:pt x="208" y="1184"/>
                    </a:lnTo>
                    <a:lnTo>
                      <a:pt x="226" y="1175"/>
                    </a:lnTo>
                    <a:lnTo>
                      <a:pt x="240" y="1160"/>
                    </a:lnTo>
                    <a:lnTo>
                      <a:pt x="246" y="1129"/>
                    </a:lnTo>
                    <a:lnTo>
                      <a:pt x="257" y="1097"/>
                    </a:lnTo>
                    <a:lnTo>
                      <a:pt x="273" y="1158"/>
                    </a:lnTo>
                    <a:lnTo>
                      <a:pt x="293" y="1180"/>
                    </a:lnTo>
                    <a:lnTo>
                      <a:pt x="302" y="1183"/>
                    </a:lnTo>
                    <a:lnTo>
                      <a:pt x="306" y="1139"/>
                    </a:lnTo>
                    <a:lnTo>
                      <a:pt x="308" y="1121"/>
                    </a:lnTo>
                    <a:lnTo>
                      <a:pt x="319" y="1104"/>
                    </a:lnTo>
                    <a:lnTo>
                      <a:pt x="324" y="1091"/>
                    </a:lnTo>
                    <a:lnTo>
                      <a:pt x="345" y="1080"/>
                    </a:lnTo>
                    <a:lnTo>
                      <a:pt x="351" y="1052"/>
                    </a:lnTo>
                    <a:lnTo>
                      <a:pt x="352" y="1027"/>
                    </a:lnTo>
                    <a:lnTo>
                      <a:pt x="354" y="1013"/>
                    </a:lnTo>
                    <a:lnTo>
                      <a:pt x="344" y="991"/>
                    </a:lnTo>
                    <a:lnTo>
                      <a:pt x="368" y="962"/>
                    </a:lnTo>
                    <a:lnTo>
                      <a:pt x="364" y="957"/>
                    </a:lnTo>
                    <a:lnTo>
                      <a:pt x="365" y="945"/>
                    </a:lnTo>
                    <a:lnTo>
                      <a:pt x="353" y="926"/>
                    </a:lnTo>
                    <a:lnTo>
                      <a:pt x="344" y="873"/>
                    </a:lnTo>
                    <a:lnTo>
                      <a:pt x="342" y="829"/>
                    </a:lnTo>
                    <a:lnTo>
                      <a:pt x="351" y="798"/>
                    </a:lnTo>
                    <a:lnTo>
                      <a:pt x="348" y="771"/>
                    </a:lnTo>
                    <a:lnTo>
                      <a:pt x="353" y="742"/>
                    </a:lnTo>
                    <a:lnTo>
                      <a:pt x="367" y="721"/>
                    </a:lnTo>
                    <a:lnTo>
                      <a:pt x="384" y="708"/>
                    </a:lnTo>
                    <a:lnTo>
                      <a:pt x="407" y="704"/>
                    </a:lnTo>
                    <a:lnTo>
                      <a:pt x="434" y="704"/>
                    </a:lnTo>
                    <a:lnTo>
                      <a:pt x="444" y="683"/>
                    </a:lnTo>
                    <a:lnTo>
                      <a:pt x="426" y="646"/>
                    </a:lnTo>
                    <a:lnTo>
                      <a:pt x="438" y="619"/>
                    </a:lnTo>
                    <a:lnTo>
                      <a:pt x="448" y="602"/>
                    </a:lnTo>
                    <a:lnTo>
                      <a:pt x="452" y="583"/>
                    </a:lnTo>
                    <a:lnTo>
                      <a:pt x="456" y="541"/>
                    </a:lnTo>
                    <a:lnTo>
                      <a:pt x="457" y="516"/>
                    </a:lnTo>
                    <a:lnTo>
                      <a:pt x="485" y="494"/>
                    </a:lnTo>
                    <a:lnTo>
                      <a:pt x="491" y="472"/>
                    </a:lnTo>
                    <a:lnTo>
                      <a:pt x="524" y="418"/>
                    </a:lnTo>
                    <a:lnTo>
                      <a:pt x="526" y="398"/>
                    </a:lnTo>
                    <a:lnTo>
                      <a:pt x="513" y="388"/>
                    </a:lnTo>
                    <a:lnTo>
                      <a:pt x="527" y="363"/>
                    </a:lnTo>
                    <a:lnTo>
                      <a:pt x="534" y="336"/>
                    </a:lnTo>
                    <a:lnTo>
                      <a:pt x="551" y="323"/>
                    </a:lnTo>
                    <a:lnTo>
                      <a:pt x="562" y="321"/>
                    </a:lnTo>
                    <a:lnTo>
                      <a:pt x="577" y="322"/>
                    </a:lnTo>
                    <a:lnTo>
                      <a:pt x="585" y="300"/>
                    </a:lnTo>
                    <a:lnTo>
                      <a:pt x="587" y="278"/>
                    </a:lnTo>
                    <a:lnTo>
                      <a:pt x="611" y="280"/>
                    </a:lnTo>
                    <a:lnTo>
                      <a:pt x="649" y="281"/>
                    </a:lnTo>
                    <a:lnTo>
                      <a:pt x="646" y="269"/>
                    </a:lnTo>
                    <a:lnTo>
                      <a:pt x="649" y="246"/>
                    </a:lnTo>
                    <a:lnTo>
                      <a:pt x="651" y="229"/>
                    </a:lnTo>
                    <a:lnTo>
                      <a:pt x="659" y="217"/>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4" name="Freeform 7">
                <a:extLst>
                  <a:ext uri="{FF2B5EF4-FFF2-40B4-BE49-F238E27FC236}">
                    <a16:creationId xmlns:a16="http://schemas.microsoft.com/office/drawing/2014/main" id="{5E1FD228-7610-F123-264F-809A0BEDFB1C}"/>
                  </a:ext>
                </a:extLst>
              </p:cNvPr>
              <p:cNvSpPr>
                <a:spLocks/>
              </p:cNvSpPr>
              <p:nvPr/>
            </p:nvSpPr>
            <p:spPr bwMode="auto">
              <a:xfrm>
                <a:off x="3771742" y="2219229"/>
                <a:ext cx="307922" cy="539176"/>
              </a:xfrm>
              <a:custGeom>
                <a:avLst/>
                <a:gdLst>
                  <a:gd name="T0" fmla="*/ 319 w 480"/>
                  <a:gd name="T1" fmla="*/ 240 h 796"/>
                  <a:gd name="T2" fmla="*/ 339 w 480"/>
                  <a:gd name="T3" fmla="*/ 215 h 796"/>
                  <a:gd name="T4" fmla="*/ 381 w 480"/>
                  <a:gd name="T5" fmla="*/ 160 h 796"/>
                  <a:gd name="T6" fmla="*/ 369 w 480"/>
                  <a:gd name="T7" fmla="*/ 118 h 796"/>
                  <a:gd name="T8" fmla="*/ 285 w 480"/>
                  <a:gd name="T9" fmla="*/ 107 h 796"/>
                  <a:gd name="T10" fmla="*/ 300 w 480"/>
                  <a:gd name="T11" fmla="*/ 67 h 796"/>
                  <a:gd name="T12" fmla="*/ 337 w 480"/>
                  <a:gd name="T13" fmla="*/ 47 h 796"/>
                  <a:gd name="T14" fmla="*/ 327 w 480"/>
                  <a:gd name="T15" fmla="*/ 15 h 796"/>
                  <a:gd name="T16" fmla="*/ 257 w 480"/>
                  <a:gd name="T17" fmla="*/ 16 h 796"/>
                  <a:gd name="T18" fmla="*/ 235 w 480"/>
                  <a:gd name="T19" fmla="*/ 56 h 796"/>
                  <a:gd name="T20" fmla="*/ 208 w 480"/>
                  <a:gd name="T21" fmla="*/ 83 h 796"/>
                  <a:gd name="T22" fmla="*/ 195 w 480"/>
                  <a:gd name="T23" fmla="*/ 128 h 796"/>
                  <a:gd name="T24" fmla="*/ 169 w 480"/>
                  <a:gd name="T25" fmla="*/ 175 h 796"/>
                  <a:gd name="T26" fmla="*/ 187 w 480"/>
                  <a:gd name="T27" fmla="*/ 191 h 796"/>
                  <a:gd name="T28" fmla="*/ 168 w 480"/>
                  <a:gd name="T29" fmla="*/ 248 h 796"/>
                  <a:gd name="T30" fmla="*/ 183 w 480"/>
                  <a:gd name="T31" fmla="*/ 240 h 796"/>
                  <a:gd name="T32" fmla="*/ 204 w 480"/>
                  <a:gd name="T33" fmla="*/ 255 h 796"/>
                  <a:gd name="T34" fmla="*/ 171 w 480"/>
                  <a:gd name="T35" fmla="*/ 324 h 796"/>
                  <a:gd name="T36" fmla="*/ 175 w 480"/>
                  <a:gd name="T37" fmla="*/ 354 h 796"/>
                  <a:gd name="T38" fmla="*/ 229 w 480"/>
                  <a:gd name="T39" fmla="*/ 368 h 796"/>
                  <a:gd name="T40" fmla="*/ 228 w 480"/>
                  <a:gd name="T41" fmla="*/ 398 h 796"/>
                  <a:gd name="T42" fmla="*/ 248 w 480"/>
                  <a:gd name="T43" fmla="*/ 463 h 796"/>
                  <a:gd name="T44" fmla="*/ 221 w 480"/>
                  <a:gd name="T45" fmla="*/ 518 h 796"/>
                  <a:gd name="T46" fmla="*/ 137 w 480"/>
                  <a:gd name="T47" fmla="*/ 542 h 796"/>
                  <a:gd name="T48" fmla="*/ 156 w 480"/>
                  <a:gd name="T49" fmla="*/ 580 h 796"/>
                  <a:gd name="T50" fmla="*/ 72 w 480"/>
                  <a:gd name="T51" fmla="*/ 622 h 796"/>
                  <a:gd name="T52" fmla="*/ 107 w 480"/>
                  <a:gd name="T53" fmla="*/ 638 h 796"/>
                  <a:gd name="T54" fmla="*/ 143 w 480"/>
                  <a:gd name="T55" fmla="*/ 659 h 796"/>
                  <a:gd name="T56" fmla="*/ 180 w 480"/>
                  <a:gd name="T57" fmla="*/ 687 h 796"/>
                  <a:gd name="T58" fmla="*/ 173 w 480"/>
                  <a:gd name="T59" fmla="*/ 712 h 796"/>
                  <a:gd name="T60" fmla="*/ 53 w 480"/>
                  <a:gd name="T61" fmla="*/ 751 h 796"/>
                  <a:gd name="T62" fmla="*/ 39 w 480"/>
                  <a:gd name="T63" fmla="*/ 791 h 796"/>
                  <a:gd name="T64" fmla="*/ 83 w 480"/>
                  <a:gd name="T65" fmla="*/ 771 h 796"/>
                  <a:gd name="T66" fmla="*/ 141 w 480"/>
                  <a:gd name="T67" fmla="*/ 768 h 796"/>
                  <a:gd name="T68" fmla="*/ 200 w 480"/>
                  <a:gd name="T69" fmla="*/ 788 h 796"/>
                  <a:gd name="T70" fmla="*/ 245 w 480"/>
                  <a:gd name="T71" fmla="*/ 776 h 796"/>
                  <a:gd name="T72" fmla="*/ 271 w 480"/>
                  <a:gd name="T73" fmla="*/ 782 h 796"/>
                  <a:gd name="T74" fmla="*/ 349 w 480"/>
                  <a:gd name="T75" fmla="*/ 791 h 796"/>
                  <a:gd name="T76" fmla="*/ 428 w 480"/>
                  <a:gd name="T77" fmla="*/ 779 h 796"/>
                  <a:gd name="T78" fmla="*/ 392 w 480"/>
                  <a:gd name="T79" fmla="*/ 746 h 796"/>
                  <a:gd name="T80" fmla="*/ 420 w 480"/>
                  <a:gd name="T81" fmla="*/ 712 h 796"/>
                  <a:gd name="T82" fmla="*/ 452 w 480"/>
                  <a:gd name="T83" fmla="*/ 690 h 796"/>
                  <a:gd name="T84" fmla="*/ 480 w 480"/>
                  <a:gd name="T85" fmla="*/ 638 h 796"/>
                  <a:gd name="T86" fmla="*/ 415 w 480"/>
                  <a:gd name="T87" fmla="*/ 603 h 796"/>
                  <a:gd name="T88" fmla="*/ 408 w 480"/>
                  <a:gd name="T89" fmla="*/ 580 h 796"/>
                  <a:gd name="T90" fmla="*/ 393 w 480"/>
                  <a:gd name="T91" fmla="*/ 516 h 796"/>
                  <a:gd name="T92" fmla="*/ 407 w 480"/>
                  <a:gd name="T93" fmla="*/ 496 h 796"/>
                  <a:gd name="T94" fmla="*/ 387 w 480"/>
                  <a:gd name="T95" fmla="*/ 434 h 796"/>
                  <a:gd name="T96" fmla="*/ 355 w 480"/>
                  <a:gd name="T97" fmla="*/ 366 h 796"/>
                  <a:gd name="T98" fmla="*/ 348 w 480"/>
                  <a:gd name="T99" fmla="*/ 303 h 796"/>
                  <a:gd name="T100" fmla="*/ 295 w 480"/>
                  <a:gd name="T101" fmla="*/ 26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0" h="796">
                    <a:moveTo>
                      <a:pt x="284" y="262"/>
                    </a:moveTo>
                    <a:lnTo>
                      <a:pt x="292" y="251"/>
                    </a:lnTo>
                    <a:lnTo>
                      <a:pt x="323" y="252"/>
                    </a:lnTo>
                    <a:lnTo>
                      <a:pt x="319" y="240"/>
                    </a:lnTo>
                    <a:lnTo>
                      <a:pt x="307" y="230"/>
                    </a:lnTo>
                    <a:lnTo>
                      <a:pt x="323" y="228"/>
                    </a:lnTo>
                    <a:lnTo>
                      <a:pt x="331" y="228"/>
                    </a:lnTo>
                    <a:lnTo>
                      <a:pt x="339" y="215"/>
                    </a:lnTo>
                    <a:lnTo>
                      <a:pt x="347" y="204"/>
                    </a:lnTo>
                    <a:lnTo>
                      <a:pt x="359" y="192"/>
                    </a:lnTo>
                    <a:lnTo>
                      <a:pt x="369" y="174"/>
                    </a:lnTo>
                    <a:lnTo>
                      <a:pt x="381" y="160"/>
                    </a:lnTo>
                    <a:lnTo>
                      <a:pt x="388" y="154"/>
                    </a:lnTo>
                    <a:lnTo>
                      <a:pt x="395" y="130"/>
                    </a:lnTo>
                    <a:lnTo>
                      <a:pt x="384" y="118"/>
                    </a:lnTo>
                    <a:lnTo>
                      <a:pt x="369" y="118"/>
                    </a:lnTo>
                    <a:lnTo>
                      <a:pt x="341" y="111"/>
                    </a:lnTo>
                    <a:lnTo>
                      <a:pt x="332" y="107"/>
                    </a:lnTo>
                    <a:lnTo>
                      <a:pt x="316" y="104"/>
                    </a:lnTo>
                    <a:lnTo>
                      <a:pt x="285" y="107"/>
                    </a:lnTo>
                    <a:lnTo>
                      <a:pt x="280" y="95"/>
                    </a:lnTo>
                    <a:lnTo>
                      <a:pt x="299" y="88"/>
                    </a:lnTo>
                    <a:lnTo>
                      <a:pt x="292" y="75"/>
                    </a:lnTo>
                    <a:lnTo>
                      <a:pt x="300" y="67"/>
                    </a:lnTo>
                    <a:lnTo>
                      <a:pt x="312" y="63"/>
                    </a:lnTo>
                    <a:lnTo>
                      <a:pt x="323" y="63"/>
                    </a:lnTo>
                    <a:lnTo>
                      <a:pt x="331" y="54"/>
                    </a:lnTo>
                    <a:lnTo>
                      <a:pt x="337" y="47"/>
                    </a:lnTo>
                    <a:lnTo>
                      <a:pt x="351" y="40"/>
                    </a:lnTo>
                    <a:lnTo>
                      <a:pt x="353" y="31"/>
                    </a:lnTo>
                    <a:lnTo>
                      <a:pt x="348" y="12"/>
                    </a:lnTo>
                    <a:lnTo>
                      <a:pt x="327" y="15"/>
                    </a:lnTo>
                    <a:lnTo>
                      <a:pt x="301" y="14"/>
                    </a:lnTo>
                    <a:lnTo>
                      <a:pt x="285" y="8"/>
                    </a:lnTo>
                    <a:lnTo>
                      <a:pt x="265" y="0"/>
                    </a:lnTo>
                    <a:lnTo>
                      <a:pt x="257" y="16"/>
                    </a:lnTo>
                    <a:lnTo>
                      <a:pt x="252" y="28"/>
                    </a:lnTo>
                    <a:lnTo>
                      <a:pt x="236" y="28"/>
                    </a:lnTo>
                    <a:lnTo>
                      <a:pt x="235" y="38"/>
                    </a:lnTo>
                    <a:lnTo>
                      <a:pt x="235" y="56"/>
                    </a:lnTo>
                    <a:lnTo>
                      <a:pt x="225" y="59"/>
                    </a:lnTo>
                    <a:lnTo>
                      <a:pt x="211" y="59"/>
                    </a:lnTo>
                    <a:lnTo>
                      <a:pt x="204" y="72"/>
                    </a:lnTo>
                    <a:lnTo>
                      <a:pt x="208" y="83"/>
                    </a:lnTo>
                    <a:lnTo>
                      <a:pt x="197" y="91"/>
                    </a:lnTo>
                    <a:lnTo>
                      <a:pt x="207" y="104"/>
                    </a:lnTo>
                    <a:lnTo>
                      <a:pt x="205" y="116"/>
                    </a:lnTo>
                    <a:lnTo>
                      <a:pt x="195" y="128"/>
                    </a:lnTo>
                    <a:lnTo>
                      <a:pt x="180" y="139"/>
                    </a:lnTo>
                    <a:lnTo>
                      <a:pt x="177" y="150"/>
                    </a:lnTo>
                    <a:lnTo>
                      <a:pt x="168" y="154"/>
                    </a:lnTo>
                    <a:lnTo>
                      <a:pt x="169" y="175"/>
                    </a:lnTo>
                    <a:lnTo>
                      <a:pt x="173" y="186"/>
                    </a:lnTo>
                    <a:lnTo>
                      <a:pt x="184" y="179"/>
                    </a:lnTo>
                    <a:lnTo>
                      <a:pt x="196" y="175"/>
                    </a:lnTo>
                    <a:lnTo>
                      <a:pt x="187" y="191"/>
                    </a:lnTo>
                    <a:lnTo>
                      <a:pt x="179" y="211"/>
                    </a:lnTo>
                    <a:lnTo>
                      <a:pt x="169" y="224"/>
                    </a:lnTo>
                    <a:lnTo>
                      <a:pt x="165" y="238"/>
                    </a:lnTo>
                    <a:lnTo>
                      <a:pt x="168" y="248"/>
                    </a:lnTo>
                    <a:lnTo>
                      <a:pt x="172" y="238"/>
                    </a:lnTo>
                    <a:lnTo>
                      <a:pt x="177" y="226"/>
                    </a:lnTo>
                    <a:lnTo>
                      <a:pt x="188" y="222"/>
                    </a:lnTo>
                    <a:lnTo>
                      <a:pt x="183" y="240"/>
                    </a:lnTo>
                    <a:lnTo>
                      <a:pt x="189" y="248"/>
                    </a:lnTo>
                    <a:lnTo>
                      <a:pt x="195" y="240"/>
                    </a:lnTo>
                    <a:lnTo>
                      <a:pt x="208" y="240"/>
                    </a:lnTo>
                    <a:lnTo>
                      <a:pt x="204" y="255"/>
                    </a:lnTo>
                    <a:lnTo>
                      <a:pt x="193" y="268"/>
                    </a:lnTo>
                    <a:lnTo>
                      <a:pt x="195" y="276"/>
                    </a:lnTo>
                    <a:lnTo>
                      <a:pt x="193" y="288"/>
                    </a:lnTo>
                    <a:lnTo>
                      <a:pt x="171" y="324"/>
                    </a:lnTo>
                    <a:lnTo>
                      <a:pt x="153" y="336"/>
                    </a:lnTo>
                    <a:lnTo>
                      <a:pt x="157" y="366"/>
                    </a:lnTo>
                    <a:lnTo>
                      <a:pt x="167" y="359"/>
                    </a:lnTo>
                    <a:lnTo>
                      <a:pt x="175" y="354"/>
                    </a:lnTo>
                    <a:lnTo>
                      <a:pt x="188" y="367"/>
                    </a:lnTo>
                    <a:lnTo>
                      <a:pt x="203" y="360"/>
                    </a:lnTo>
                    <a:lnTo>
                      <a:pt x="213" y="363"/>
                    </a:lnTo>
                    <a:lnTo>
                      <a:pt x="229" y="368"/>
                    </a:lnTo>
                    <a:lnTo>
                      <a:pt x="249" y="360"/>
                    </a:lnTo>
                    <a:lnTo>
                      <a:pt x="267" y="367"/>
                    </a:lnTo>
                    <a:lnTo>
                      <a:pt x="239" y="380"/>
                    </a:lnTo>
                    <a:lnTo>
                      <a:pt x="228" y="398"/>
                    </a:lnTo>
                    <a:lnTo>
                      <a:pt x="241" y="442"/>
                    </a:lnTo>
                    <a:lnTo>
                      <a:pt x="265" y="432"/>
                    </a:lnTo>
                    <a:lnTo>
                      <a:pt x="257" y="452"/>
                    </a:lnTo>
                    <a:lnTo>
                      <a:pt x="248" y="463"/>
                    </a:lnTo>
                    <a:lnTo>
                      <a:pt x="240" y="468"/>
                    </a:lnTo>
                    <a:lnTo>
                      <a:pt x="249" y="482"/>
                    </a:lnTo>
                    <a:lnTo>
                      <a:pt x="236" y="507"/>
                    </a:lnTo>
                    <a:lnTo>
                      <a:pt x="221" y="518"/>
                    </a:lnTo>
                    <a:lnTo>
                      <a:pt x="207" y="512"/>
                    </a:lnTo>
                    <a:lnTo>
                      <a:pt x="185" y="503"/>
                    </a:lnTo>
                    <a:lnTo>
                      <a:pt x="129" y="535"/>
                    </a:lnTo>
                    <a:lnTo>
                      <a:pt x="137" y="542"/>
                    </a:lnTo>
                    <a:lnTo>
                      <a:pt x="163" y="542"/>
                    </a:lnTo>
                    <a:lnTo>
                      <a:pt x="156" y="556"/>
                    </a:lnTo>
                    <a:lnTo>
                      <a:pt x="155" y="570"/>
                    </a:lnTo>
                    <a:lnTo>
                      <a:pt x="156" y="580"/>
                    </a:lnTo>
                    <a:lnTo>
                      <a:pt x="139" y="598"/>
                    </a:lnTo>
                    <a:lnTo>
                      <a:pt x="107" y="608"/>
                    </a:lnTo>
                    <a:lnTo>
                      <a:pt x="77" y="615"/>
                    </a:lnTo>
                    <a:lnTo>
                      <a:pt x="72" y="622"/>
                    </a:lnTo>
                    <a:lnTo>
                      <a:pt x="79" y="639"/>
                    </a:lnTo>
                    <a:lnTo>
                      <a:pt x="84" y="647"/>
                    </a:lnTo>
                    <a:lnTo>
                      <a:pt x="93" y="646"/>
                    </a:lnTo>
                    <a:lnTo>
                      <a:pt x="107" y="638"/>
                    </a:lnTo>
                    <a:lnTo>
                      <a:pt x="117" y="644"/>
                    </a:lnTo>
                    <a:lnTo>
                      <a:pt x="117" y="655"/>
                    </a:lnTo>
                    <a:lnTo>
                      <a:pt x="135" y="663"/>
                    </a:lnTo>
                    <a:lnTo>
                      <a:pt x="143" y="659"/>
                    </a:lnTo>
                    <a:lnTo>
                      <a:pt x="152" y="674"/>
                    </a:lnTo>
                    <a:lnTo>
                      <a:pt x="159" y="690"/>
                    </a:lnTo>
                    <a:lnTo>
                      <a:pt x="168" y="692"/>
                    </a:lnTo>
                    <a:lnTo>
                      <a:pt x="180" y="687"/>
                    </a:lnTo>
                    <a:lnTo>
                      <a:pt x="219" y="668"/>
                    </a:lnTo>
                    <a:lnTo>
                      <a:pt x="209" y="690"/>
                    </a:lnTo>
                    <a:lnTo>
                      <a:pt x="187" y="703"/>
                    </a:lnTo>
                    <a:lnTo>
                      <a:pt x="173" y="712"/>
                    </a:lnTo>
                    <a:lnTo>
                      <a:pt x="140" y="704"/>
                    </a:lnTo>
                    <a:lnTo>
                      <a:pt x="119" y="700"/>
                    </a:lnTo>
                    <a:lnTo>
                      <a:pt x="97" y="718"/>
                    </a:lnTo>
                    <a:lnTo>
                      <a:pt x="53" y="751"/>
                    </a:lnTo>
                    <a:lnTo>
                      <a:pt x="13" y="770"/>
                    </a:lnTo>
                    <a:lnTo>
                      <a:pt x="0" y="786"/>
                    </a:lnTo>
                    <a:lnTo>
                      <a:pt x="23" y="786"/>
                    </a:lnTo>
                    <a:lnTo>
                      <a:pt x="39" y="791"/>
                    </a:lnTo>
                    <a:lnTo>
                      <a:pt x="48" y="775"/>
                    </a:lnTo>
                    <a:lnTo>
                      <a:pt x="63" y="778"/>
                    </a:lnTo>
                    <a:lnTo>
                      <a:pt x="67" y="768"/>
                    </a:lnTo>
                    <a:lnTo>
                      <a:pt x="83" y="771"/>
                    </a:lnTo>
                    <a:lnTo>
                      <a:pt x="101" y="784"/>
                    </a:lnTo>
                    <a:lnTo>
                      <a:pt x="121" y="794"/>
                    </a:lnTo>
                    <a:lnTo>
                      <a:pt x="136" y="786"/>
                    </a:lnTo>
                    <a:lnTo>
                      <a:pt x="141" y="768"/>
                    </a:lnTo>
                    <a:lnTo>
                      <a:pt x="151" y="759"/>
                    </a:lnTo>
                    <a:lnTo>
                      <a:pt x="179" y="758"/>
                    </a:lnTo>
                    <a:lnTo>
                      <a:pt x="192" y="767"/>
                    </a:lnTo>
                    <a:lnTo>
                      <a:pt x="200" y="788"/>
                    </a:lnTo>
                    <a:lnTo>
                      <a:pt x="212" y="780"/>
                    </a:lnTo>
                    <a:lnTo>
                      <a:pt x="224" y="790"/>
                    </a:lnTo>
                    <a:lnTo>
                      <a:pt x="233" y="780"/>
                    </a:lnTo>
                    <a:lnTo>
                      <a:pt x="245" y="776"/>
                    </a:lnTo>
                    <a:lnTo>
                      <a:pt x="259" y="776"/>
                    </a:lnTo>
                    <a:lnTo>
                      <a:pt x="267" y="794"/>
                    </a:lnTo>
                    <a:lnTo>
                      <a:pt x="284" y="794"/>
                    </a:lnTo>
                    <a:lnTo>
                      <a:pt x="271" y="782"/>
                    </a:lnTo>
                    <a:lnTo>
                      <a:pt x="265" y="772"/>
                    </a:lnTo>
                    <a:lnTo>
                      <a:pt x="295" y="778"/>
                    </a:lnTo>
                    <a:lnTo>
                      <a:pt x="305" y="788"/>
                    </a:lnTo>
                    <a:lnTo>
                      <a:pt x="349" y="791"/>
                    </a:lnTo>
                    <a:lnTo>
                      <a:pt x="364" y="796"/>
                    </a:lnTo>
                    <a:lnTo>
                      <a:pt x="392" y="790"/>
                    </a:lnTo>
                    <a:lnTo>
                      <a:pt x="416" y="784"/>
                    </a:lnTo>
                    <a:lnTo>
                      <a:pt x="428" y="779"/>
                    </a:lnTo>
                    <a:lnTo>
                      <a:pt x="439" y="768"/>
                    </a:lnTo>
                    <a:lnTo>
                      <a:pt x="441" y="759"/>
                    </a:lnTo>
                    <a:lnTo>
                      <a:pt x="420" y="750"/>
                    </a:lnTo>
                    <a:lnTo>
                      <a:pt x="392" y="746"/>
                    </a:lnTo>
                    <a:lnTo>
                      <a:pt x="400" y="736"/>
                    </a:lnTo>
                    <a:lnTo>
                      <a:pt x="407" y="731"/>
                    </a:lnTo>
                    <a:lnTo>
                      <a:pt x="417" y="723"/>
                    </a:lnTo>
                    <a:lnTo>
                      <a:pt x="420" y="712"/>
                    </a:lnTo>
                    <a:lnTo>
                      <a:pt x="435" y="715"/>
                    </a:lnTo>
                    <a:lnTo>
                      <a:pt x="443" y="710"/>
                    </a:lnTo>
                    <a:lnTo>
                      <a:pt x="444" y="695"/>
                    </a:lnTo>
                    <a:lnTo>
                      <a:pt x="452" y="690"/>
                    </a:lnTo>
                    <a:lnTo>
                      <a:pt x="463" y="686"/>
                    </a:lnTo>
                    <a:lnTo>
                      <a:pt x="467" y="676"/>
                    </a:lnTo>
                    <a:lnTo>
                      <a:pt x="477" y="659"/>
                    </a:lnTo>
                    <a:lnTo>
                      <a:pt x="480" y="638"/>
                    </a:lnTo>
                    <a:lnTo>
                      <a:pt x="476" y="612"/>
                    </a:lnTo>
                    <a:lnTo>
                      <a:pt x="459" y="599"/>
                    </a:lnTo>
                    <a:lnTo>
                      <a:pt x="436" y="596"/>
                    </a:lnTo>
                    <a:lnTo>
                      <a:pt x="415" y="603"/>
                    </a:lnTo>
                    <a:lnTo>
                      <a:pt x="407" y="612"/>
                    </a:lnTo>
                    <a:lnTo>
                      <a:pt x="393" y="603"/>
                    </a:lnTo>
                    <a:lnTo>
                      <a:pt x="391" y="595"/>
                    </a:lnTo>
                    <a:lnTo>
                      <a:pt x="408" y="580"/>
                    </a:lnTo>
                    <a:lnTo>
                      <a:pt x="417" y="566"/>
                    </a:lnTo>
                    <a:lnTo>
                      <a:pt x="407" y="550"/>
                    </a:lnTo>
                    <a:lnTo>
                      <a:pt x="395" y="528"/>
                    </a:lnTo>
                    <a:lnTo>
                      <a:pt x="393" y="516"/>
                    </a:lnTo>
                    <a:lnTo>
                      <a:pt x="403" y="519"/>
                    </a:lnTo>
                    <a:lnTo>
                      <a:pt x="411" y="532"/>
                    </a:lnTo>
                    <a:lnTo>
                      <a:pt x="415" y="520"/>
                    </a:lnTo>
                    <a:lnTo>
                      <a:pt x="407" y="496"/>
                    </a:lnTo>
                    <a:lnTo>
                      <a:pt x="400" y="483"/>
                    </a:lnTo>
                    <a:lnTo>
                      <a:pt x="403" y="463"/>
                    </a:lnTo>
                    <a:lnTo>
                      <a:pt x="396" y="452"/>
                    </a:lnTo>
                    <a:lnTo>
                      <a:pt x="387" y="434"/>
                    </a:lnTo>
                    <a:lnTo>
                      <a:pt x="368" y="420"/>
                    </a:lnTo>
                    <a:lnTo>
                      <a:pt x="361" y="404"/>
                    </a:lnTo>
                    <a:lnTo>
                      <a:pt x="356" y="383"/>
                    </a:lnTo>
                    <a:lnTo>
                      <a:pt x="355" y="366"/>
                    </a:lnTo>
                    <a:lnTo>
                      <a:pt x="359" y="342"/>
                    </a:lnTo>
                    <a:lnTo>
                      <a:pt x="361" y="328"/>
                    </a:lnTo>
                    <a:lnTo>
                      <a:pt x="353" y="320"/>
                    </a:lnTo>
                    <a:lnTo>
                      <a:pt x="348" y="303"/>
                    </a:lnTo>
                    <a:lnTo>
                      <a:pt x="333" y="280"/>
                    </a:lnTo>
                    <a:lnTo>
                      <a:pt x="323" y="271"/>
                    </a:lnTo>
                    <a:lnTo>
                      <a:pt x="308" y="264"/>
                    </a:lnTo>
                    <a:lnTo>
                      <a:pt x="295" y="266"/>
                    </a:lnTo>
                    <a:lnTo>
                      <a:pt x="284" y="26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5" name="Freeform 8">
                <a:extLst>
                  <a:ext uri="{FF2B5EF4-FFF2-40B4-BE49-F238E27FC236}">
                    <a16:creationId xmlns:a16="http://schemas.microsoft.com/office/drawing/2014/main" id="{A451E946-15D0-2154-FB06-8F9FDEFE6458}"/>
                  </a:ext>
                </a:extLst>
              </p:cNvPr>
              <p:cNvSpPr>
                <a:spLocks/>
              </p:cNvSpPr>
              <p:nvPr/>
            </p:nvSpPr>
            <p:spPr bwMode="auto">
              <a:xfrm>
                <a:off x="3636229" y="2395880"/>
                <a:ext cx="189181" cy="216380"/>
              </a:xfrm>
              <a:custGeom>
                <a:avLst/>
                <a:gdLst>
                  <a:gd name="T0" fmla="*/ 216 w 295"/>
                  <a:gd name="T1" fmla="*/ 80 h 319"/>
                  <a:gd name="T2" fmla="*/ 225 w 295"/>
                  <a:gd name="T3" fmla="*/ 111 h 319"/>
                  <a:gd name="T4" fmla="*/ 260 w 295"/>
                  <a:gd name="T5" fmla="*/ 97 h 319"/>
                  <a:gd name="T6" fmla="*/ 295 w 295"/>
                  <a:gd name="T7" fmla="*/ 108 h 319"/>
                  <a:gd name="T8" fmla="*/ 276 w 295"/>
                  <a:gd name="T9" fmla="*/ 155 h 319"/>
                  <a:gd name="T10" fmla="*/ 277 w 295"/>
                  <a:gd name="T11" fmla="*/ 202 h 319"/>
                  <a:gd name="T12" fmla="*/ 269 w 295"/>
                  <a:gd name="T13" fmla="*/ 233 h 319"/>
                  <a:gd name="T14" fmla="*/ 242 w 295"/>
                  <a:gd name="T15" fmla="*/ 274 h 319"/>
                  <a:gd name="T16" fmla="*/ 228 w 295"/>
                  <a:gd name="T17" fmla="*/ 313 h 319"/>
                  <a:gd name="T18" fmla="*/ 172 w 295"/>
                  <a:gd name="T19" fmla="*/ 296 h 319"/>
                  <a:gd name="T20" fmla="*/ 150 w 295"/>
                  <a:gd name="T21" fmla="*/ 311 h 319"/>
                  <a:gd name="T22" fmla="*/ 121 w 295"/>
                  <a:gd name="T23" fmla="*/ 312 h 319"/>
                  <a:gd name="T24" fmla="*/ 108 w 295"/>
                  <a:gd name="T25" fmla="*/ 295 h 319"/>
                  <a:gd name="T26" fmla="*/ 85 w 295"/>
                  <a:gd name="T27" fmla="*/ 319 h 319"/>
                  <a:gd name="T28" fmla="*/ 32 w 295"/>
                  <a:gd name="T29" fmla="*/ 307 h 319"/>
                  <a:gd name="T30" fmla="*/ 10 w 295"/>
                  <a:gd name="T31" fmla="*/ 294 h 319"/>
                  <a:gd name="T32" fmla="*/ 15 w 295"/>
                  <a:gd name="T33" fmla="*/ 281 h 319"/>
                  <a:gd name="T34" fmla="*/ 0 w 295"/>
                  <a:gd name="T35" fmla="*/ 264 h 319"/>
                  <a:gd name="T36" fmla="*/ 25 w 295"/>
                  <a:gd name="T37" fmla="*/ 251 h 319"/>
                  <a:gd name="T38" fmla="*/ 9 w 295"/>
                  <a:gd name="T39" fmla="*/ 236 h 319"/>
                  <a:gd name="T40" fmla="*/ 37 w 295"/>
                  <a:gd name="T41" fmla="*/ 232 h 319"/>
                  <a:gd name="T42" fmla="*/ 49 w 295"/>
                  <a:gd name="T43" fmla="*/ 221 h 319"/>
                  <a:gd name="T44" fmla="*/ 75 w 295"/>
                  <a:gd name="T45" fmla="*/ 216 h 319"/>
                  <a:gd name="T46" fmla="*/ 110 w 295"/>
                  <a:gd name="T47" fmla="*/ 221 h 319"/>
                  <a:gd name="T48" fmla="*/ 109 w 295"/>
                  <a:gd name="T49" fmla="*/ 212 h 319"/>
                  <a:gd name="T50" fmla="*/ 95 w 295"/>
                  <a:gd name="T51" fmla="*/ 207 h 319"/>
                  <a:gd name="T52" fmla="*/ 66 w 295"/>
                  <a:gd name="T53" fmla="*/ 201 h 319"/>
                  <a:gd name="T54" fmla="*/ 89 w 295"/>
                  <a:gd name="T55" fmla="*/ 182 h 319"/>
                  <a:gd name="T56" fmla="*/ 113 w 295"/>
                  <a:gd name="T57" fmla="*/ 168 h 319"/>
                  <a:gd name="T58" fmla="*/ 101 w 295"/>
                  <a:gd name="T59" fmla="*/ 156 h 319"/>
                  <a:gd name="T60" fmla="*/ 86 w 295"/>
                  <a:gd name="T61" fmla="*/ 147 h 319"/>
                  <a:gd name="T62" fmla="*/ 74 w 295"/>
                  <a:gd name="T63" fmla="*/ 137 h 319"/>
                  <a:gd name="T64" fmla="*/ 80 w 295"/>
                  <a:gd name="T65" fmla="*/ 110 h 319"/>
                  <a:gd name="T66" fmla="*/ 91 w 295"/>
                  <a:gd name="T67" fmla="*/ 103 h 319"/>
                  <a:gd name="T68" fmla="*/ 101 w 295"/>
                  <a:gd name="T69" fmla="*/ 93 h 319"/>
                  <a:gd name="T70" fmla="*/ 83 w 295"/>
                  <a:gd name="T71" fmla="*/ 72 h 319"/>
                  <a:gd name="T72" fmla="*/ 100 w 295"/>
                  <a:gd name="T73" fmla="*/ 56 h 319"/>
                  <a:gd name="T74" fmla="*/ 124 w 295"/>
                  <a:gd name="T75" fmla="*/ 50 h 319"/>
                  <a:gd name="T76" fmla="*/ 143 w 295"/>
                  <a:gd name="T77" fmla="*/ 69 h 319"/>
                  <a:gd name="T78" fmla="*/ 173 w 295"/>
                  <a:gd name="T79" fmla="*/ 75 h 319"/>
                  <a:gd name="T80" fmla="*/ 188 w 295"/>
                  <a:gd name="T81" fmla="*/ 63 h 319"/>
                  <a:gd name="T82" fmla="*/ 192 w 295"/>
                  <a:gd name="T83" fmla="*/ 48 h 319"/>
                  <a:gd name="T84" fmla="*/ 175 w 295"/>
                  <a:gd name="T85" fmla="*/ 42 h 319"/>
                  <a:gd name="T86" fmla="*/ 187 w 295"/>
                  <a:gd name="T87" fmla="*/ 30 h 319"/>
                  <a:gd name="T88" fmla="*/ 200 w 295"/>
                  <a:gd name="T89" fmla="*/ 23 h 319"/>
                  <a:gd name="T90" fmla="*/ 208 w 295"/>
                  <a:gd name="T91" fmla="*/ 12 h 319"/>
                  <a:gd name="T92" fmla="*/ 220 w 295"/>
                  <a:gd name="T93" fmla="*/ 4 h 319"/>
                  <a:gd name="T94" fmla="*/ 252 w 295"/>
                  <a:gd name="T95" fmla="*/ 0 h 319"/>
                  <a:gd name="T96" fmla="*/ 252 w 295"/>
                  <a:gd name="T97" fmla="*/ 23 h 319"/>
                  <a:gd name="T98" fmla="*/ 241 w 295"/>
                  <a:gd name="T99" fmla="*/ 34 h 319"/>
                  <a:gd name="T100" fmla="*/ 230 w 295"/>
                  <a:gd name="T101" fmla="*/ 47 h 319"/>
                  <a:gd name="T102" fmla="*/ 215 w 295"/>
                  <a:gd name="T103" fmla="*/ 5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5" h="319">
                    <a:moveTo>
                      <a:pt x="201" y="59"/>
                    </a:moveTo>
                    <a:lnTo>
                      <a:pt x="216" y="80"/>
                    </a:lnTo>
                    <a:lnTo>
                      <a:pt x="218" y="99"/>
                    </a:lnTo>
                    <a:lnTo>
                      <a:pt x="225" y="111"/>
                    </a:lnTo>
                    <a:lnTo>
                      <a:pt x="239" y="105"/>
                    </a:lnTo>
                    <a:lnTo>
                      <a:pt x="260" y="97"/>
                    </a:lnTo>
                    <a:lnTo>
                      <a:pt x="281" y="94"/>
                    </a:lnTo>
                    <a:lnTo>
                      <a:pt x="295" y="108"/>
                    </a:lnTo>
                    <a:lnTo>
                      <a:pt x="282" y="138"/>
                    </a:lnTo>
                    <a:lnTo>
                      <a:pt x="276" y="155"/>
                    </a:lnTo>
                    <a:lnTo>
                      <a:pt x="283" y="183"/>
                    </a:lnTo>
                    <a:lnTo>
                      <a:pt x="277" y="202"/>
                    </a:lnTo>
                    <a:lnTo>
                      <a:pt x="269" y="211"/>
                    </a:lnTo>
                    <a:lnTo>
                      <a:pt x="269" y="233"/>
                    </a:lnTo>
                    <a:lnTo>
                      <a:pt x="265" y="249"/>
                    </a:lnTo>
                    <a:lnTo>
                      <a:pt x="242" y="274"/>
                    </a:lnTo>
                    <a:lnTo>
                      <a:pt x="232" y="294"/>
                    </a:lnTo>
                    <a:lnTo>
                      <a:pt x="228" y="313"/>
                    </a:lnTo>
                    <a:lnTo>
                      <a:pt x="195" y="297"/>
                    </a:lnTo>
                    <a:lnTo>
                      <a:pt x="172" y="296"/>
                    </a:lnTo>
                    <a:lnTo>
                      <a:pt x="157" y="300"/>
                    </a:lnTo>
                    <a:lnTo>
                      <a:pt x="150" y="311"/>
                    </a:lnTo>
                    <a:lnTo>
                      <a:pt x="133" y="303"/>
                    </a:lnTo>
                    <a:lnTo>
                      <a:pt x="121" y="312"/>
                    </a:lnTo>
                    <a:lnTo>
                      <a:pt x="115" y="308"/>
                    </a:lnTo>
                    <a:lnTo>
                      <a:pt x="108" y="295"/>
                    </a:lnTo>
                    <a:lnTo>
                      <a:pt x="100" y="315"/>
                    </a:lnTo>
                    <a:lnTo>
                      <a:pt x="85" y="319"/>
                    </a:lnTo>
                    <a:lnTo>
                      <a:pt x="43" y="317"/>
                    </a:lnTo>
                    <a:lnTo>
                      <a:pt x="32" y="307"/>
                    </a:lnTo>
                    <a:lnTo>
                      <a:pt x="21" y="303"/>
                    </a:lnTo>
                    <a:lnTo>
                      <a:pt x="10" y="294"/>
                    </a:lnTo>
                    <a:lnTo>
                      <a:pt x="2" y="289"/>
                    </a:lnTo>
                    <a:lnTo>
                      <a:pt x="15" y="281"/>
                    </a:lnTo>
                    <a:lnTo>
                      <a:pt x="5" y="274"/>
                    </a:lnTo>
                    <a:lnTo>
                      <a:pt x="0" y="264"/>
                    </a:lnTo>
                    <a:lnTo>
                      <a:pt x="9" y="255"/>
                    </a:lnTo>
                    <a:lnTo>
                      <a:pt x="25" y="251"/>
                    </a:lnTo>
                    <a:lnTo>
                      <a:pt x="28" y="244"/>
                    </a:lnTo>
                    <a:lnTo>
                      <a:pt x="9" y="236"/>
                    </a:lnTo>
                    <a:lnTo>
                      <a:pt x="19" y="227"/>
                    </a:lnTo>
                    <a:lnTo>
                      <a:pt x="37" y="232"/>
                    </a:lnTo>
                    <a:lnTo>
                      <a:pt x="43" y="234"/>
                    </a:lnTo>
                    <a:lnTo>
                      <a:pt x="49" y="221"/>
                    </a:lnTo>
                    <a:lnTo>
                      <a:pt x="60" y="216"/>
                    </a:lnTo>
                    <a:lnTo>
                      <a:pt x="75" y="216"/>
                    </a:lnTo>
                    <a:lnTo>
                      <a:pt x="97" y="222"/>
                    </a:lnTo>
                    <a:lnTo>
                      <a:pt x="110" y="221"/>
                    </a:lnTo>
                    <a:lnTo>
                      <a:pt x="116" y="219"/>
                    </a:lnTo>
                    <a:lnTo>
                      <a:pt x="109" y="212"/>
                    </a:lnTo>
                    <a:lnTo>
                      <a:pt x="108" y="202"/>
                    </a:lnTo>
                    <a:lnTo>
                      <a:pt x="95" y="207"/>
                    </a:lnTo>
                    <a:lnTo>
                      <a:pt x="77" y="212"/>
                    </a:lnTo>
                    <a:lnTo>
                      <a:pt x="66" y="201"/>
                    </a:lnTo>
                    <a:lnTo>
                      <a:pt x="82" y="195"/>
                    </a:lnTo>
                    <a:lnTo>
                      <a:pt x="89" y="182"/>
                    </a:lnTo>
                    <a:lnTo>
                      <a:pt x="99" y="173"/>
                    </a:lnTo>
                    <a:lnTo>
                      <a:pt x="113" y="168"/>
                    </a:lnTo>
                    <a:lnTo>
                      <a:pt x="120" y="159"/>
                    </a:lnTo>
                    <a:lnTo>
                      <a:pt x="101" y="156"/>
                    </a:lnTo>
                    <a:lnTo>
                      <a:pt x="99" y="149"/>
                    </a:lnTo>
                    <a:lnTo>
                      <a:pt x="86" y="147"/>
                    </a:lnTo>
                    <a:lnTo>
                      <a:pt x="84" y="135"/>
                    </a:lnTo>
                    <a:lnTo>
                      <a:pt x="74" y="137"/>
                    </a:lnTo>
                    <a:lnTo>
                      <a:pt x="73" y="124"/>
                    </a:lnTo>
                    <a:lnTo>
                      <a:pt x="80" y="110"/>
                    </a:lnTo>
                    <a:lnTo>
                      <a:pt x="89" y="109"/>
                    </a:lnTo>
                    <a:lnTo>
                      <a:pt x="91" y="103"/>
                    </a:lnTo>
                    <a:lnTo>
                      <a:pt x="107" y="101"/>
                    </a:lnTo>
                    <a:lnTo>
                      <a:pt x="101" y="93"/>
                    </a:lnTo>
                    <a:lnTo>
                      <a:pt x="90" y="87"/>
                    </a:lnTo>
                    <a:lnTo>
                      <a:pt x="83" y="72"/>
                    </a:lnTo>
                    <a:lnTo>
                      <a:pt x="99" y="71"/>
                    </a:lnTo>
                    <a:lnTo>
                      <a:pt x="100" y="56"/>
                    </a:lnTo>
                    <a:lnTo>
                      <a:pt x="113" y="55"/>
                    </a:lnTo>
                    <a:lnTo>
                      <a:pt x="124" y="50"/>
                    </a:lnTo>
                    <a:lnTo>
                      <a:pt x="137" y="60"/>
                    </a:lnTo>
                    <a:lnTo>
                      <a:pt x="143" y="69"/>
                    </a:lnTo>
                    <a:lnTo>
                      <a:pt x="155" y="73"/>
                    </a:lnTo>
                    <a:lnTo>
                      <a:pt x="173" y="75"/>
                    </a:lnTo>
                    <a:lnTo>
                      <a:pt x="180" y="71"/>
                    </a:lnTo>
                    <a:lnTo>
                      <a:pt x="188" y="63"/>
                    </a:lnTo>
                    <a:lnTo>
                      <a:pt x="195" y="55"/>
                    </a:lnTo>
                    <a:lnTo>
                      <a:pt x="192" y="48"/>
                    </a:lnTo>
                    <a:lnTo>
                      <a:pt x="183" y="43"/>
                    </a:lnTo>
                    <a:lnTo>
                      <a:pt x="175" y="42"/>
                    </a:lnTo>
                    <a:lnTo>
                      <a:pt x="175" y="33"/>
                    </a:lnTo>
                    <a:lnTo>
                      <a:pt x="187" y="30"/>
                    </a:lnTo>
                    <a:lnTo>
                      <a:pt x="194" y="23"/>
                    </a:lnTo>
                    <a:lnTo>
                      <a:pt x="200" y="23"/>
                    </a:lnTo>
                    <a:lnTo>
                      <a:pt x="201" y="16"/>
                    </a:lnTo>
                    <a:lnTo>
                      <a:pt x="208" y="12"/>
                    </a:lnTo>
                    <a:lnTo>
                      <a:pt x="209" y="4"/>
                    </a:lnTo>
                    <a:lnTo>
                      <a:pt x="220" y="4"/>
                    </a:lnTo>
                    <a:lnTo>
                      <a:pt x="241" y="0"/>
                    </a:lnTo>
                    <a:lnTo>
                      <a:pt x="252" y="0"/>
                    </a:lnTo>
                    <a:lnTo>
                      <a:pt x="257" y="13"/>
                    </a:lnTo>
                    <a:lnTo>
                      <a:pt x="252" y="23"/>
                    </a:lnTo>
                    <a:lnTo>
                      <a:pt x="247" y="32"/>
                    </a:lnTo>
                    <a:lnTo>
                      <a:pt x="241" y="34"/>
                    </a:lnTo>
                    <a:lnTo>
                      <a:pt x="239" y="46"/>
                    </a:lnTo>
                    <a:lnTo>
                      <a:pt x="230" y="47"/>
                    </a:lnTo>
                    <a:lnTo>
                      <a:pt x="222" y="47"/>
                    </a:lnTo>
                    <a:lnTo>
                      <a:pt x="215" y="56"/>
                    </a:lnTo>
                    <a:lnTo>
                      <a:pt x="201" y="5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6" name="Freeform 9">
                <a:extLst>
                  <a:ext uri="{FF2B5EF4-FFF2-40B4-BE49-F238E27FC236}">
                    <a16:creationId xmlns:a16="http://schemas.microsoft.com/office/drawing/2014/main" id="{7554D4E8-2C6F-29D8-CAA1-822B429602D7}"/>
                  </a:ext>
                </a:extLst>
              </p:cNvPr>
              <p:cNvSpPr>
                <a:spLocks/>
              </p:cNvSpPr>
              <p:nvPr/>
            </p:nvSpPr>
            <p:spPr bwMode="auto">
              <a:xfrm>
                <a:off x="3497362" y="3118092"/>
                <a:ext cx="546076" cy="527115"/>
              </a:xfrm>
              <a:custGeom>
                <a:avLst/>
                <a:gdLst>
                  <a:gd name="T0" fmla="*/ 19 w 852"/>
                  <a:gd name="T1" fmla="*/ 132 h 777"/>
                  <a:gd name="T2" fmla="*/ 21 w 852"/>
                  <a:gd name="T3" fmla="*/ 103 h 777"/>
                  <a:gd name="T4" fmla="*/ 25 w 852"/>
                  <a:gd name="T5" fmla="*/ 81 h 777"/>
                  <a:gd name="T6" fmla="*/ 17 w 852"/>
                  <a:gd name="T7" fmla="*/ 53 h 777"/>
                  <a:gd name="T8" fmla="*/ 35 w 852"/>
                  <a:gd name="T9" fmla="*/ 24 h 777"/>
                  <a:gd name="T10" fmla="*/ 84 w 852"/>
                  <a:gd name="T11" fmla="*/ 31 h 777"/>
                  <a:gd name="T12" fmla="*/ 123 w 852"/>
                  <a:gd name="T13" fmla="*/ 0 h 777"/>
                  <a:gd name="T14" fmla="*/ 165 w 852"/>
                  <a:gd name="T15" fmla="*/ 27 h 777"/>
                  <a:gd name="T16" fmla="*/ 216 w 852"/>
                  <a:gd name="T17" fmla="*/ 48 h 777"/>
                  <a:gd name="T18" fmla="*/ 267 w 852"/>
                  <a:gd name="T19" fmla="*/ 59 h 777"/>
                  <a:gd name="T20" fmla="*/ 319 w 852"/>
                  <a:gd name="T21" fmla="*/ 85 h 777"/>
                  <a:gd name="T22" fmla="*/ 373 w 852"/>
                  <a:gd name="T23" fmla="*/ 97 h 777"/>
                  <a:gd name="T24" fmla="*/ 404 w 852"/>
                  <a:gd name="T25" fmla="*/ 105 h 777"/>
                  <a:gd name="T26" fmla="*/ 439 w 852"/>
                  <a:gd name="T27" fmla="*/ 117 h 777"/>
                  <a:gd name="T28" fmla="*/ 479 w 852"/>
                  <a:gd name="T29" fmla="*/ 133 h 777"/>
                  <a:gd name="T30" fmla="*/ 519 w 852"/>
                  <a:gd name="T31" fmla="*/ 144 h 777"/>
                  <a:gd name="T32" fmla="*/ 551 w 852"/>
                  <a:gd name="T33" fmla="*/ 185 h 777"/>
                  <a:gd name="T34" fmla="*/ 580 w 852"/>
                  <a:gd name="T35" fmla="*/ 215 h 777"/>
                  <a:gd name="T36" fmla="*/ 707 w 852"/>
                  <a:gd name="T37" fmla="*/ 248 h 777"/>
                  <a:gd name="T38" fmla="*/ 759 w 852"/>
                  <a:gd name="T39" fmla="*/ 284 h 777"/>
                  <a:gd name="T40" fmla="*/ 851 w 852"/>
                  <a:gd name="T41" fmla="*/ 312 h 777"/>
                  <a:gd name="T42" fmla="*/ 844 w 852"/>
                  <a:gd name="T43" fmla="*/ 333 h 777"/>
                  <a:gd name="T44" fmla="*/ 749 w 852"/>
                  <a:gd name="T45" fmla="*/ 384 h 777"/>
                  <a:gd name="T46" fmla="*/ 671 w 852"/>
                  <a:gd name="T47" fmla="*/ 400 h 777"/>
                  <a:gd name="T48" fmla="*/ 591 w 852"/>
                  <a:gd name="T49" fmla="*/ 495 h 777"/>
                  <a:gd name="T50" fmla="*/ 552 w 852"/>
                  <a:gd name="T51" fmla="*/ 551 h 777"/>
                  <a:gd name="T52" fmla="*/ 579 w 852"/>
                  <a:gd name="T53" fmla="*/ 595 h 777"/>
                  <a:gd name="T54" fmla="*/ 545 w 852"/>
                  <a:gd name="T55" fmla="*/ 627 h 777"/>
                  <a:gd name="T56" fmla="*/ 505 w 852"/>
                  <a:gd name="T57" fmla="*/ 667 h 777"/>
                  <a:gd name="T58" fmla="*/ 499 w 852"/>
                  <a:gd name="T59" fmla="*/ 703 h 777"/>
                  <a:gd name="T60" fmla="*/ 453 w 852"/>
                  <a:gd name="T61" fmla="*/ 704 h 777"/>
                  <a:gd name="T62" fmla="*/ 408 w 852"/>
                  <a:gd name="T63" fmla="*/ 733 h 777"/>
                  <a:gd name="T64" fmla="*/ 373 w 852"/>
                  <a:gd name="T65" fmla="*/ 764 h 777"/>
                  <a:gd name="T66" fmla="*/ 324 w 852"/>
                  <a:gd name="T67" fmla="*/ 757 h 777"/>
                  <a:gd name="T68" fmla="*/ 276 w 852"/>
                  <a:gd name="T69" fmla="*/ 744 h 777"/>
                  <a:gd name="T70" fmla="*/ 209 w 852"/>
                  <a:gd name="T71" fmla="*/ 736 h 777"/>
                  <a:gd name="T72" fmla="*/ 129 w 852"/>
                  <a:gd name="T73" fmla="*/ 771 h 777"/>
                  <a:gd name="T74" fmla="*/ 92 w 852"/>
                  <a:gd name="T75" fmla="*/ 768 h 777"/>
                  <a:gd name="T76" fmla="*/ 69 w 852"/>
                  <a:gd name="T77" fmla="*/ 711 h 777"/>
                  <a:gd name="T78" fmla="*/ 61 w 852"/>
                  <a:gd name="T79" fmla="*/ 673 h 777"/>
                  <a:gd name="T80" fmla="*/ 9 w 852"/>
                  <a:gd name="T81" fmla="*/ 632 h 777"/>
                  <a:gd name="T82" fmla="*/ 43 w 852"/>
                  <a:gd name="T83" fmla="*/ 569 h 777"/>
                  <a:gd name="T84" fmla="*/ 41 w 852"/>
                  <a:gd name="T85" fmla="*/ 513 h 777"/>
                  <a:gd name="T86" fmla="*/ 59 w 852"/>
                  <a:gd name="T87" fmla="*/ 413 h 777"/>
                  <a:gd name="T88" fmla="*/ 109 w 852"/>
                  <a:gd name="T89" fmla="*/ 377 h 777"/>
                  <a:gd name="T90" fmla="*/ 125 w 852"/>
                  <a:gd name="T91" fmla="*/ 303 h 777"/>
                  <a:gd name="T92" fmla="*/ 183 w 852"/>
                  <a:gd name="T93" fmla="*/ 249 h 777"/>
                  <a:gd name="T94" fmla="*/ 160 w 852"/>
                  <a:gd name="T95" fmla="*/ 192 h 777"/>
                  <a:gd name="T96" fmla="*/ 119 w 852"/>
                  <a:gd name="T97" fmla="*/ 187 h 777"/>
                  <a:gd name="T98" fmla="*/ 76 w 852"/>
                  <a:gd name="T99" fmla="*/ 175 h 777"/>
                  <a:gd name="T100" fmla="*/ 63 w 852"/>
                  <a:gd name="T101" fmla="*/ 149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52" h="777">
                    <a:moveTo>
                      <a:pt x="13" y="157"/>
                    </a:moveTo>
                    <a:lnTo>
                      <a:pt x="11" y="143"/>
                    </a:lnTo>
                    <a:lnTo>
                      <a:pt x="19" y="132"/>
                    </a:lnTo>
                    <a:lnTo>
                      <a:pt x="29" y="124"/>
                    </a:lnTo>
                    <a:lnTo>
                      <a:pt x="31" y="113"/>
                    </a:lnTo>
                    <a:lnTo>
                      <a:pt x="21" y="103"/>
                    </a:lnTo>
                    <a:lnTo>
                      <a:pt x="23" y="92"/>
                    </a:lnTo>
                    <a:lnTo>
                      <a:pt x="33" y="91"/>
                    </a:lnTo>
                    <a:lnTo>
                      <a:pt x="25" y="81"/>
                    </a:lnTo>
                    <a:lnTo>
                      <a:pt x="17" y="73"/>
                    </a:lnTo>
                    <a:lnTo>
                      <a:pt x="24" y="67"/>
                    </a:lnTo>
                    <a:lnTo>
                      <a:pt x="17" y="53"/>
                    </a:lnTo>
                    <a:lnTo>
                      <a:pt x="15" y="39"/>
                    </a:lnTo>
                    <a:lnTo>
                      <a:pt x="23" y="29"/>
                    </a:lnTo>
                    <a:lnTo>
                      <a:pt x="35" y="24"/>
                    </a:lnTo>
                    <a:lnTo>
                      <a:pt x="55" y="23"/>
                    </a:lnTo>
                    <a:lnTo>
                      <a:pt x="71" y="28"/>
                    </a:lnTo>
                    <a:lnTo>
                      <a:pt x="84" y="31"/>
                    </a:lnTo>
                    <a:lnTo>
                      <a:pt x="93" y="17"/>
                    </a:lnTo>
                    <a:lnTo>
                      <a:pt x="108" y="3"/>
                    </a:lnTo>
                    <a:lnTo>
                      <a:pt x="123" y="0"/>
                    </a:lnTo>
                    <a:lnTo>
                      <a:pt x="139" y="9"/>
                    </a:lnTo>
                    <a:lnTo>
                      <a:pt x="152" y="17"/>
                    </a:lnTo>
                    <a:lnTo>
                      <a:pt x="165" y="27"/>
                    </a:lnTo>
                    <a:lnTo>
                      <a:pt x="185" y="37"/>
                    </a:lnTo>
                    <a:lnTo>
                      <a:pt x="201" y="44"/>
                    </a:lnTo>
                    <a:lnTo>
                      <a:pt x="216" y="48"/>
                    </a:lnTo>
                    <a:lnTo>
                      <a:pt x="233" y="49"/>
                    </a:lnTo>
                    <a:lnTo>
                      <a:pt x="251" y="49"/>
                    </a:lnTo>
                    <a:lnTo>
                      <a:pt x="267" y="59"/>
                    </a:lnTo>
                    <a:lnTo>
                      <a:pt x="280" y="65"/>
                    </a:lnTo>
                    <a:lnTo>
                      <a:pt x="293" y="73"/>
                    </a:lnTo>
                    <a:lnTo>
                      <a:pt x="319" y="85"/>
                    </a:lnTo>
                    <a:lnTo>
                      <a:pt x="340" y="92"/>
                    </a:lnTo>
                    <a:lnTo>
                      <a:pt x="356" y="97"/>
                    </a:lnTo>
                    <a:lnTo>
                      <a:pt x="373" y="97"/>
                    </a:lnTo>
                    <a:lnTo>
                      <a:pt x="387" y="99"/>
                    </a:lnTo>
                    <a:lnTo>
                      <a:pt x="396" y="99"/>
                    </a:lnTo>
                    <a:lnTo>
                      <a:pt x="404" y="105"/>
                    </a:lnTo>
                    <a:lnTo>
                      <a:pt x="411" y="112"/>
                    </a:lnTo>
                    <a:lnTo>
                      <a:pt x="425" y="116"/>
                    </a:lnTo>
                    <a:lnTo>
                      <a:pt x="439" y="117"/>
                    </a:lnTo>
                    <a:lnTo>
                      <a:pt x="451" y="120"/>
                    </a:lnTo>
                    <a:lnTo>
                      <a:pt x="465" y="123"/>
                    </a:lnTo>
                    <a:lnTo>
                      <a:pt x="479" y="133"/>
                    </a:lnTo>
                    <a:lnTo>
                      <a:pt x="491" y="139"/>
                    </a:lnTo>
                    <a:lnTo>
                      <a:pt x="504" y="141"/>
                    </a:lnTo>
                    <a:lnTo>
                      <a:pt x="519" y="144"/>
                    </a:lnTo>
                    <a:lnTo>
                      <a:pt x="523" y="157"/>
                    </a:lnTo>
                    <a:lnTo>
                      <a:pt x="533" y="171"/>
                    </a:lnTo>
                    <a:lnTo>
                      <a:pt x="551" y="185"/>
                    </a:lnTo>
                    <a:lnTo>
                      <a:pt x="563" y="192"/>
                    </a:lnTo>
                    <a:lnTo>
                      <a:pt x="575" y="199"/>
                    </a:lnTo>
                    <a:lnTo>
                      <a:pt x="580" y="215"/>
                    </a:lnTo>
                    <a:lnTo>
                      <a:pt x="665" y="241"/>
                    </a:lnTo>
                    <a:lnTo>
                      <a:pt x="689" y="232"/>
                    </a:lnTo>
                    <a:lnTo>
                      <a:pt x="707" y="248"/>
                    </a:lnTo>
                    <a:lnTo>
                      <a:pt x="717" y="263"/>
                    </a:lnTo>
                    <a:lnTo>
                      <a:pt x="733" y="261"/>
                    </a:lnTo>
                    <a:lnTo>
                      <a:pt x="759" y="284"/>
                    </a:lnTo>
                    <a:lnTo>
                      <a:pt x="843" y="284"/>
                    </a:lnTo>
                    <a:lnTo>
                      <a:pt x="852" y="296"/>
                    </a:lnTo>
                    <a:lnTo>
                      <a:pt x="851" y="312"/>
                    </a:lnTo>
                    <a:lnTo>
                      <a:pt x="836" y="311"/>
                    </a:lnTo>
                    <a:lnTo>
                      <a:pt x="835" y="328"/>
                    </a:lnTo>
                    <a:lnTo>
                      <a:pt x="844" y="333"/>
                    </a:lnTo>
                    <a:lnTo>
                      <a:pt x="808" y="359"/>
                    </a:lnTo>
                    <a:lnTo>
                      <a:pt x="772" y="373"/>
                    </a:lnTo>
                    <a:lnTo>
                      <a:pt x="749" y="384"/>
                    </a:lnTo>
                    <a:lnTo>
                      <a:pt x="716" y="392"/>
                    </a:lnTo>
                    <a:lnTo>
                      <a:pt x="697" y="396"/>
                    </a:lnTo>
                    <a:lnTo>
                      <a:pt x="671" y="400"/>
                    </a:lnTo>
                    <a:lnTo>
                      <a:pt x="649" y="423"/>
                    </a:lnTo>
                    <a:lnTo>
                      <a:pt x="636" y="440"/>
                    </a:lnTo>
                    <a:lnTo>
                      <a:pt x="591" y="495"/>
                    </a:lnTo>
                    <a:lnTo>
                      <a:pt x="569" y="512"/>
                    </a:lnTo>
                    <a:lnTo>
                      <a:pt x="556" y="535"/>
                    </a:lnTo>
                    <a:lnTo>
                      <a:pt x="552" y="551"/>
                    </a:lnTo>
                    <a:lnTo>
                      <a:pt x="557" y="560"/>
                    </a:lnTo>
                    <a:lnTo>
                      <a:pt x="560" y="583"/>
                    </a:lnTo>
                    <a:lnTo>
                      <a:pt x="579" y="595"/>
                    </a:lnTo>
                    <a:lnTo>
                      <a:pt x="585" y="605"/>
                    </a:lnTo>
                    <a:lnTo>
                      <a:pt x="572" y="616"/>
                    </a:lnTo>
                    <a:lnTo>
                      <a:pt x="545" y="627"/>
                    </a:lnTo>
                    <a:lnTo>
                      <a:pt x="528" y="641"/>
                    </a:lnTo>
                    <a:lnTo>
                      <a:pt x="516" y="653"/>
                    </a:lnTo>
                    <a:lnTo>
                      <a:pt x="505" y="667"/>
                    </a:lnTo>
                    <a:lnTo>
                      <a:pt x="504" y="679"/>
                    </a:lnTo>
                    <a:lnTo>
                      <a:pt x="493" y="688"/>
                    </a:lnTo>
                    <a:lnTo>
                      <a:pt x="499" y="703"/>
                    </a:lnTo>
                    <a:lnTo>
                      <a:pt x="489" y="708"/>
                    </a:lnTo>
                    <a:lnTo>
                      <a:pt x="464" y="704"/>
                    </a:lnTo>
                    <a:lnTo>
                      <a:pt x="453" y="704"/>
                    </a:lnTo>
                    <a:lnTo>
                      <a:pt x="433" y="709"/>
                    </a:lnTo>
                    <a:lnTo>
                      <a:pt x="421" y="717"/>
                    </a:lnTo>
                    <a:lnTo>
                      <a:pt x="408" y="733"/>
                    </a:lnTo>
                    <a:lnTo>
                      <a:pt x="403" y="752"/>
                    </a:lnTo>
                    <a:lnTo>
                      <a:pt x="387" y="763"/>
                    </a:lnTo>
                    <a:lnTo>
                      <a:pt x="373" y="764"/>
                    </a:lnTo>
                    <a:lnTo>
                      <a:pt x="351" y="757"/>
                    </a:lnTo>
                    <a:lnTo>
                      <a:pt x="339" y="757"/>
                    </a:lnTo>
                    <a:lnTo>
                      <a:pt x="324" y="757"/>
                    </a:lnTo>
                    <a:lnTo>
                      <a:pt x="307" y="753"/>
                    </a:lnTo>
                    <a:lnTo>
                      <a:pt x="295" y="745"/>
                    </a:lnTo>
                    <a:lnTo>
                      <a:pt x="276" y="744"/>
                    </a:lnTo>
                    <a:lnTo>
                      <a:pt x="265" y="743"/>
                    </a:lnTo>
                    <a:lnTo>
                      <a:pt x="243" y="737"/>
                    </a:lnTo>
                    <a:lnTo>
                      <a:pt x="209" y="736"/>
                    </a:lnTo>
                    <a:lnTo>
                      <a:pt x="183" y="752"/>
                    </a:lnTo>
                    <a:lnTo>
                      <a:pt x="153" y="748"/>
                    </a:lnTo>
                    <a:lnTo>
                      <a:pt x="129" y="771"/>
                    </a:lnTo>
                    <a:lnTo>
                      <a:pt x="108" y="777"/>
                    </a:lnTo>
                    <a:lnTo>
                      <a:pt x="100" y="775"/>
                    </a:lnTo>
                    <a:lnTo>
                      <a:pt x="92" y="768"/>
                    </a:lnTo>
                    <a:lnTo>
                      <a:pt x="79" y="756"/>
                    </a:lnTo>
                    <a:lnTo>
                      <a:pt x="69" y="736"/>
                    </a:lnTo>
                    <a:lnTo>
                      <a:pt x="69" y="711"/>
                    </a:lnTo>
                    <a:lnTo>
                      <a:pt x="65" y="696"/>
                    </a:lnTo>
                    <a:lnTo>
                      <a:pt x="64" y="685"/>
                    </a:lnTo>
                    <a:lnTo>
                      <a:pt x="61" y="673"/>
                    </a:lnTo>
                    <a:lnTo>
                      <a:pt x="48" y="651"/>
                    </a:lnTo>
                    <a:lnTo>
                      <a:pt x="29" y="639"/>
                    </a:lnTo>
                    <a:lnTo>
                      <a:pt x="9" y="632"/>
                    </a:lnTo>
                    <a:lnTo>
                      <a:pt x="0" y="629"/>
                    </a:lnTo>
                    <a:lnTo>
                      <a:pt x="0" y="583"/>
                    </a:lnTo>
                    <a:lnTo>
                      <a:pt x="43" y="569"/>
                    </a:lnTo>
                    <a:lnTo>
                      <a:pt x="47" y="551"/>
                    </a:lnTo>
                    <a:lnTo>
                      <a:pt x="37" y="525"/>
                    </a:lnTo>
                    <a:lnTo>
                      <a:pt x="41" y="513"/>
                    </a:lnTo>
                    <a:lnTo>
                      <a:pt x="41" y="496"/>
                    </a:lnTo>
                    <a:lnTo>
                      <a:pt x="68" y="461"/>
                    </a:lnTo>
                    <a:lnTo>
                      <a:pt x="59" y="413"/>
                    </a:lnTo>
                    <a:lnTo>
                      <a:pt x="71" y="403"/>
                    </a:lnTo>
                    <a:lnTo>
                      <a:pt x="92" y="401"/>
                    </a:lnTo>
                    <a:lnTo>
                      <a:pt x="109" y="377"/>
                    </a:lnTo>
                    <a:lnTo>
                      <a:pt x="107" y="357"/>
                    </a:lnTo>
                    <a:lnTo>
                      <a:pt x="122" y="320"/>
                    </a:lnTo>
                    <a:lnTo>
                      <a:pt x="125" y="303"/>
                    </a:lnTo>
                    <a:lnTo>
                      <a:pt x="129" y="283"/>
                    </a:lnTo>
                    <a:lnTo>
                      <a:pt x="167" y="268"/>
                    </a:lnTo>
                    <a:lnTo>
                      <a:pt x="183" y="249"/>
                    </a:lnTo>
                    <a:lnTo>
                      <a:pt x="180" y="221"/>
                    </a:lnTo>
                    <a:lnTo>
                      <a:pt x="175" y="201"/>
                    </a:lnTo>
                    <a:lnTo>
                      <a:pt x="160" y="192"/>
                    </a:lnTo>
                    <a:lnTo>
                      <a:pt x="141" y="187"/>
                    </a:lnTo>
                    <a:lnTo>
                      <a:pt x="128" y="191"/>
                    </a:lnTo>
                    <a:lnTo>
                      <a:pt x="119" y="187"/>
                    </a:lnTo>
                    <a:lnTo>
                      <a:pt x="103" y="181"/>
                    </a:lnTo>
                    <a:lnTo>
                      <a:pt x="92" y="179"/>
                    </a:lnTo>
                    <a:lnTo>
                      <a:pt x="76" y="175"/>
                    </a:lnTo>
                    <a:lnTo>
                      <a:pt x="68" y="172"/>
                    </a:lnTo>
                    <a:lnTo>
                      <a:pt x="61" y="165"/>
                    </a:lnTo>
                    <a:lnTo>
                      <a:pt x="63" y="149"/>
                    </a:lnTo>
                    <a:lnTo>
                      <a:pt x="28" y="148"/>
                    </a:lnTo>
                    <a:lnTo>
                      <a:pt x="13" y="15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7" name="Freeform 10">
                <a:extLst>
                  <a:ext uri="{FF2B5EF4-FFF2-40B4-BE49-F238E27FC236}">
                    <a16:creationId xmlns:a16="http://schemas.microsoft.com/office/drawing/2014/main" id="{F07156AC-4DCC-3192-C256-C9199DBC8C18}"/>
                  </a:ext>
                </a:extLst>
              </p:cNvPr>
              <p:cNvSpPr>
                <a:spLocks/>
              </p:cNvSpPr>
              <p:nvPr/>
            </p:nvSpPr>
            <p:spPr bwMode="auto">
              <a:xfrm>
                <a:off x="4214506" y="2539187"/>
                <a:ext cx="343477" cy="487387"/>
              </a:xfrm>
              <a:custGeom>
                <a:avLst/>
                <a:gdLst>
                  <a:gd name="T0" fmla="*/ 533 w 536"/>
                  <a:gd name="T1" fmla="*/ 343 h 720"/>
                  <a:gd name="T2" fmla="*/ 508 w 536"/>
                  <a:gd name="T3" fmla="*/ 310 h 720"/>
                  <a:gd name="T4" fmla="*/ 498 w 536"/>
                  <a:gd name="T5" fmla="*/ 230 h 720"/>
                  <a:gd name="T6" fmla="*/ 497 w 536"/>
                  <a:gd name="T7" fmla="*/ 188 h 720"/>
                  <a:gd name="T8" fmla="*/ 504 w 536"/>
                  <a:gd name="T9" fmla="*/ 134 h 720"/>
                  <a:gd name="T10" fmla="*/ 474 w 536"/>
                  <a:gd name="T11" fmla="*/ 122 h 720"/>
                  <a:gd name="T12" fmla="*/ 460 w 536"/>
                  <a:gd name="T13" fmla="*/ 90 h 720"/>
                  <a:gd name="T14" fmla="*/ 458 w 536"/>
                  <a:gd name="T15" fmla="*/ 70 h 720"/>
                  <a:gd name="T16" fmla="*/ 442 w 536"/>
                  <a:gd name="T17" fmla="*/ 40 h 720"/>
                  <a:gd name="T18" fmla="*/ 432 w 536"/>
                  <a:gd name="T19" fmla="*/ 72 h 720"/>
                  <a:gd name="T20" fmla="*/ 397 w 536"/>
                  <a:gd name="T21" fmla="*/ 62 h 720"/>
                  <a:gd name="T22" fmla="*/ 376 w 536"/>
                  <a:gd name="T23" fmla="*/ 88 h 720"/>
                  <a:gd name="T24" fmla="*/ 344 w 536"/>
                  <a:gd name="T25" fmla="*/ 95 h 720"/>
                  <a:gd name="T26" fmla="*/ 309 w 536"/>
                  <a:gd name="T27" fmla="*/ 99 h 720"/>
                  <a:gd name="T28" fmla="*/ 316 w 536"/>
                  <a:gd name="T29" fmla="*/ 70 h 720"/>
                  <a:gd name="T30" fmla="*/ 288 w 536"/>
                  <a:gd name="T31" fmla="*/ 63 h 720"/>
                  <a:gd name="T32" fmla="*/ 258 w 536"/>
                  <a:gd name="T33" fmla="*/ 38 h 720"/>
                  <a:gd name="T34" fmla="*/ 217 w 536"/>
                  <a:gd name="T35" fmla="*/ 7 h 720"/>
                  <a:gd name="T36" fmla="*/ 204 w 536"/>
                  <a:gd name="T37" fmla="*/ 28 h 720"/>
                  <a:gd name="T38" fmla="*/ 196 w 536"/>
                  <a:gd name="T39" fmla="*/ 52 h 720"/>
                  <a:gd name="T40" fmla="*/ 201 w 536"/>
                  <a:gd name="T41" fmla="*/ 94 h 720"/>
                  <a:gd name="T42" fmla="*/ 178 w 536"/>
                  <a:gd name="T43" fmla="*/ 120 h 720"/>
                  <a:gd name="T44" fmla="*/ 174 w 536"/>
                  <a:gd name="T45" fmla="*/ 143 h 720"/>
                  <a:gd name="T46" fmla="*/ 128 w 536"/>
                  <a:gd name="T47" fmla="*/ 110 h 720"/>
                  <a:gd name="T48" fmla="*/ 100 w 536"/>
                  <a:gd name="T49" fmla="*/ 135 h 720"/>
                  <a:gd name="T50" fmla="*/ 102 w 536"/>
                  <a:gd name="T51" fmla="*/ 154 h 720"/>
                  <a:gd name="T52" fmla="*/ 77 w 536"/>
                  <a:gd name="T53" fmla="*/ 200 h 720"/>
                  <a:gd name="T54" fmla="*/ 80 w 536"/>
                  <a:gd name="T55" fmla="*/ 232 h 720"/>
                  <a:gd name="T56" fmla="*/ 44 w 536"/>
                  <a:gd name="T57" fmla="*/ 280 h 720"/>
                  <a:gd name="T58" fmla="*/ 16 w 536"/>
                  <a:gd name="T59" fmla="*/ 292 h 720"/>
                  <a:gd name="T60" fmla="*/ 8 w 536"/>
                  <a:gd name="T61" fmla="*/ 351 h 720"/>
                  <a:gd name="T62" fmla="*/ 13 w 536"/>
                  <a:gd name="T63" fmla="*/ 400 h 720"/>
                  <a:gd name="T64" fmla="*/ 8 w 536"/>
                  <a:gd name="T65" fmla="*/ 439 h 720"/>
                  <a:gd name="T66" fmla="*/ 10 w 536"/>
                  <a:gd name="T67" fmla="*/ 499 h 720"/>
                  <a:gd name="T68" fmla="*/ 106 w 536"/>
                  <a:gd name="T69" fmla="*/ 564 h 720"/>
                  <a:gd name="T70" fmla="*/ 65 w 536"/>
                  <a:gd name="T71" fmla="*/ 627 h 720"/>
                  <a:gd name="T72" fmla="*/ 74 w 536"/>
                  <a:gd name="T73" fmla="*/ 695 h 720"/>
                  <a:gd name="T74" fmla="*/ 212 w 536"/>
                  <a:gd name="T75" fmla="*/ 702 h 720"/>
                  <a:gd name="T76" fmla="*/ 258 w 536"/>
                  <a:gd name="T77" fmla="*/ 706 h 720"/>
                  <a:gd name="T78" fmla="*/ 301 w 536"/>
                  <a:gd name="T79" fmla="*/ 718 h 720"/>
                  <a:gd name="T80" fmla="*/ 360 w 536"/>
                  <a:gd name="T81" fmla="*/ 699 h 720"/>
                  <a:gd name="T82" fmla="*/ 401 w 536"/>
                  <a:gd name="T83" fmla="*/ 710 h 720"/>
                  <a:gd name="T84" fmla="*/ 402 w 536"/>
                  <a:gd name="T85" fmla="*/ 662 h 720"/>
                  <a:gd name="T86" fmla="*/ 433 w 536"/>
                  <a:gd name="T87" fmla="*/ 636 h 720"/>
                  <a:gd name="T88" fmla="*/ 460 w 536"/>
                  <a:gd name="T89" fmla="*/ 603 h 720"/>
                  <a:gd name="T90" fmla="*/ 429 w 536"/>
                  <a:gd name="T91" fmla="*/ 564 h 720"/>
                  <a:gd name="T92" fmla="*/ 381 w 536"/>
                  <a:gd name="T93" fmla="*/ 516 h 720"/>
                  <a:gd name="T94" fmla="*/ 357 w 536"/>
                  <a:gd name="T95" fmla="*/ 462 h 720"/>
                  <a:gd name="T96" fmla="*/ 373 w 536"/>
                  <a:gd name="T97" fmla="*/ 459 h 720"/>
                  <a:gd name="T98" fmla="*/ 430 w 536"/>
                  <a:gd name="T99" fmla="*/ 435 h 720"/>
                  <a:gd name="T100" fmla="*/ 489 w 536"/>
                  <a:gd name="T101" fmla="*/ 402 h 720"/>
                  <a:gd name="T102" fmla="*/ 510 w 536"/>
                  <a:gd name="T103" fmla="*/ 39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36" h="720">
                    <a:moveTo>
                      <a:pt x="529" y="402"/>
                    </a:moveTo>
                    <a:lnTo>
                      <a:pt x="536" y="366"/>
                    </a:lnTo>
                    <a:lnTo>
                      <a:pt x="533" y="343"/>
                    </a:lnTo>
                    <a:lnTo>
                      <a:pt x="521" y="331"/>
                    </a:lnTo>
                    <a:lnTo>
                      <a:pt x="521" y="323"/>
                    </a:lnTo>
                    <a:lnTo>
                      <a:pt x="508" y="310"/>
                    </a:lnTo>
                    <a:lnTo>
                      <a:pt x="513" y="292"/>
                    </a:lnTo>
                    <a:lnTo>
                      <a:pt x="509" y="267"/>
                    </a:lnTo>
                    <a:lnTo>
                      <a:pt x="498" y="230"/>
                    </a:lnTo>
                    <a:lnTo>
                      <a:pt x="485" y="214"/>
                    </a:lnTo>
                    <a:lnTo>
                      <a:pt x="489" y="200"/>
                    </a:lnTo>
                    <a:lnTo>
                      <a:pt x="497" y="188"/>
                    </a:lnTo>
                    <a:lnTo>
                      <a:pt x="494" y="167"/>
                    </a:lnTo>
                    <a:lnTo>
                      <a:pt x="496" y="142"/>
                    </a:lnTo>
                    <a:lnTo>
                      <a:pt x="504" y="134"/>
                    </a:lnTo>
                    <a:lnTo>
                      <a:pt x="493" y="130"/>
                    </a:lnTo>
                    <a:lnTo>
                      <a:pt x="482" y="118"/>
                    </a:lnTo>
                    <a:lnTo>
                      <a:pt x="474" y="122"/>
                    </a:lnTo>
                    <a:lnTo>
                      <a:pt x="468" y="115"/>
                    </a:lnTo>
                    <a:lnTo>
                      <a:pt x="468" y="106"/>
                    </a:lnTo>
                    <a:lnTo>
                      <a:pt x="460" y="90"/>
                    </a:lnTo>
                    <a:lnTo>
                      <a:pt x="442" y="90"/>
                    </a:lnTo>
                    <a:lnTo>
                      <a:pt x="444" y="82"/>
                    </a:lnTo>
                    <a:lnTo>
                      <a:pt x="458" y="70"/>
                    </a:lnTo>
                    <a:lnTo>
                      <a:pt x="462" y="56"/>
                    </a:lnTo>
                    <a:lnTo>
                      <a:pt x="454" y="42"/>
                    </a:lnTo>
                    <a:lnTo>
                      <a:pt x="442" y="40"/>
                    </a:lnTo>
                    <a:lnTo>
                      <a:pt x="437" y="51"/>
                    </a:lnTo>
                    <a:lnTo>
                      <a:pt x="432" y="64"/>
                    </a:lnTo>
                    <a:lnTo>
                      <a:pt x="432" y="72"/>
                    </a:lnTo>
                    <a:lnTo>
                      <a:pt x="414" y="64"/>
                    </a:lnTo>
                    <a:lnTo>
                      <a:pt x="404" y="70"/>
                    </a:lnTo>
                    <a:lnTo>
                      <a:pt x="397" y="62"/>
                    </a:lnTo>
                    <a:lnTo>
                      <a:pt x="390" y="74"/>
                    </a:lnTo>
                    <a:lnTo>
                      <a:pt x="382" y="75"/>
                    </a:lnTo>
                    <a:lnTo>
                      <a:pt x="376" y="88"/>
                    </a:lnTo>
                    <a:lnTo>
                      <a:pt x="362" y="82"/>
                    </a:lnTo>
                    <a:lnTo>
                      <a:pt x="350" y="87"/>
                    </a:lnTo>
                    <a:lnTo>
                      <a:pt x="344" y="95"/>
                    </a:lnTo>
                    <a:lnTo>
                      <a:pt x="334" y="107"/>
                    </a:lnTo>
                    <a:lnTo>
                      <a:pt x="322" y="99"/>
                    </a:lnTo>
                    <a:lnTo>
                      <a:pt x="309" y="99"/>
                    </a:lnTo>
                    <a:lnTo>
                      <a:pt x="298" y="99"/>
                    </a:lnTo>
                    <a:lnTo>
                      <a:pt x="302" y="84"/>
                    </a:lnTo>
                    <a:lnTo>
                      <a:pt x="316" y="70"/>
                    </a:lnTo>
                    <a:lnTo>
                      <a:pt x="312" y="62"/>
                    </a:lnTo>
                    <a:lnTo>
                      <a:pt x="294" y="71"/>
                    </a:lnTo>
                    <a:lnTo>
                      <a:pt x="288" y="63"/>
                    </a:lnTo>
                    <a:lnTo>
                      <a:pt x="280" y="56"/>
                    </a:lnTo>
                    <a:lnTo>
                      <a:pt x="264" y="54"/>
                    </a:lnTo>
                    <a:lnTo>
                      <a:pt x="258" y="38"/>
                    </a:lnTo>
                    <a:lnTo>
                      <a:pt x="257" y="19"/>
                    </a:lnTo>
                    <a:lnTo>
                      <a:pt x="237" y="14"/>
                    </a:lnTo>
                    <a:lnTo>
                      <a:pt x="217" y="7"/>
                    </a:lnTo>
                    <a:lnTo>
                      <a:pt x="202" y="0"/>
                    </a:lnTo>
                    <a:lnTo>
                      <a:pt x="193" y="10"/>
                    </a:lnTo>
                    <a:lnTo>
                      <a:pt x="204" y="28"/>
                    </a:lnTo>
                    <a:lnTo>
                      <a:pt x="209" y="40"/>
                    </a:lnTo>
                    <a:lnTo>
                      <a:pt x="205" y="48"/>
                    </a:lnTo>
                    <a:lnTo>
                      <a:pt x="196" y="52"/>
                    </a:lnTo>
                    <a:lnTo>
                      <a:pt x="196" y="62"/>
                    </a:lnTo>
                    <a:lnTo>
                      <a:pt x="201" y="74"/>
                    </a:lnTo>
                    <a:lnTo>
                      <a:pt x="201" y="94"/>
                    </a:lnTo>
                    <a:lnTo>
                      <a:pt x="201" y="103"/>
                    </a:lnTo>
                    <a:lnTo>
                      <a:pt x="186" y="106"/>
                    </a:lnTo>
                    <a:lnTo>
                      <a:pt x="178" y="120"/>
                    </a:lnTo>
                    <a:lnTo>
                      <a:pt x="178" y="138"/>
                    </a:lnTo>
                    <a:lnTo>
                      <a:pt x="181" y="152"/>
                    </a:lnTo>
                    <a:lnTo>
                      <a:pt x="174" y="143"/>
                    </a:lnTo>
                    <a:lnTo>
                      <a:pt x="158" y="135"/>
                    </a:lnTo>
                    <a:lnTo>
                      <a:pt x="145" y="114"/>
                    </a:lnTo>
                    <a:lnTo>
                      <a:pt x="128" y="110"/>
                    </a:lnTo>
                    <a:lnTo>
                      <a:pt x="110" y="114"/>
                    </a:lnTo>
                    <a:lnTo>
                      <a:pt x="98" y="124"/>
                    </a:lnTo>
                    <a:lnTo>
                      <a:pt x="100" y="135"/>
                    </a:lnTo>
                    <a:lnTo>
                      <a:pt x="112" y="146"/>
                    </a:lnTo>
                    <a:lnTo>
                      <a:pt x="117" y="158"/>
                    </a:lnTo>
                    <a:lnTo>
                      <a:pt x="102" y="154"/>
                    </a:lnTo>
                    <a:lnTo>
                      <a:pt x="94" y="152"/>
                    </a:lnTo>
                    <a:lnTo>
                      <a:pt x="86" y="178"/>
                    </a:lnTo>
                    <a:lnTo>
                      <a:pt x="77" y="200"/>
                    </a:lnTo>
                    <a:lnTo>
                      <a:pt x="62" y="206"/>
                    </a:lnTo>
                    <a:lnTo>
                      <a:pt x="72" y="222"/>
                    </a:lnTo>
                    <a:lnTo>
                      <a:pt x="80" y="232"/>
                    </a:lnTo>
                    <a:lnTo>
                      <a:pt x="72" y="250"/>
                    </a:lnTo>
                    <a:lnTo>
                      <a:pt x="54" y="262"/>
                    </a:lnTo>
                    <a:lnTo>
                      <a:pt x="44" y="280"/>
                    </a:lnTo>
                    <a:lnTo>
                      <a:pt x="26" y="274"/>
                    </a:lnTo>
                    <a:lnTo>
                      <a:pt x="16" y="276"/>
                    </a:lnTo>
                    <a:lnTo>
                      <a:pt x="16" y="292"/>
                    </a:lnTo>
                    <a:lnTo>
                      <a:pt x="13" y="318"/>
                    </a:lnTo>
                    <a:lnTo>
                      <a:pt x="13" y="340"/>
                    </a:lnTo>
                    <a:lnTo>
                      <a:pt x="8" y="351"/>
                    </a:lnTo>
                    <a:lnTo>
                      <a:pt x="8" y="371"/>
                    </a:lnTo>
                    <a:lnTo>
                      <a:pt x="8" y="387"/>
                    </a:lnTo>
                    <a:lnTo>
                      <a:pt x="13" y="400"/>
                    </a:lnTo>
                    <a:lnTo>
                      <a:pt x="8" y="420"/>
                    </a:lnTo>
                    <a:lnTo>
                      <a:pt x="0" y="434"/>
                    </a:lnTo>
                    <a:lnTo>
                      <a:pt x="8" y="439"/>
                    </a:lnTo>
                    <a:lnTo>
                      <a:pt x="0" y="455"/>
                    </a:lnTo>
                    <a:lnTo>
                      <a:pt x="12" y="466"/>
                    </a:lnTo>
                    <a:lnTo>
                      <a:pt x="10" y="499"/>
                    </a:lnTo>
                    <a:lnTo>
                      <a:pt x="28" y="528"/>
                    </a:lnTo>
                    <a:lnTo>
                      <a:pt x="93" y="546"/>
                    </a:lnTo>
                    <a:lnTo>
                      <a:pt x="106" y="564"/>
                    </a:lnTo>
                    <a:lnTo>
                      <a:pt x="94" y="596"/>
                    </a:lnTo>
                    <a:lnTo>
                      <a:pt x="77" y="606"/>
                    </a:lnTo>
                    <a:lnTo>
                      <a:pt x="65" y="627"/>
                    </a:lnTo>
                    <a:lnTo>
                      <a:pt x="65" y="651"/>
                    </a:lnTo>
                    <a:lnTo>
                      <a:pt x="64" y="684"/>
                    </a:lnTo>
                    <a:lnTo>
                      <a:pt x="74" y="695"/>
                    </a:lnTo>
                    <a:lnTo>
                      <a:pt x="152" y="687"/>
                    </a:lnTo>
                    <a:lnTo>
                      <a:pt x="194" y="707"/>
                    </a:lnTo>
                    <a:lnTo>
                      <a:pt x="212" y="702"/>
                    </a:lnTo>
                    <a:lnTo>
                      <a:pt x="229" y="720"/>
                    </a:lnTo>
                    <a:lnTo>
                      <a:pt x="244" y="720"/>
                    </a:lnTo>
                    <a:lnTo>
                      <a:pt x="258" y="706"/>
                    </a:lnTo>
                    <a:lnTo>
                      <a:pt x="268" y="706"/>
                    </a:lnTo>
                    <a:lnTo>
                      <a:pt x="288" y="719"/>
                    </a:lnTo>
                    <a:lnTo>
                      <a:pt x="301" y="718"/>
                    </a:lnTo>
                    <a:lnTo>
                      <a:pt x="314" y="710"/>
                    </a:lnTo>
                    <a:lnTo>
                      <a:pt x="328" y="702"/>
                    </a:lnTo>
                    <a:lnTo>
                      <a:pt x="360" y="699"/>
                    </a:lnTo>
                    <a:lnTo>
                      <a:pt x="382" y="699"/>
                    </a:lnTo>
                    <a:lnTo>
                      <a:pt x="396" y="702"/>
                    </a:lnTo>
                    <a:lnTo>
                      <a:pt x="401" y="710"/>
                    </a:lnTo>
                    <a:lnTo>
                      <a:pt x="410" y="700"/>
                    </a:lnTo>
                    <a:lnTo>
                      <a:pt x="405" y="686"/>
                    </a:lnTo>
                    <a:lnTo>
                      <a:pt x="402" y="662"/>
                    </a:lnTo>
                    <a:lnTo>
                      <a:pt x="408" y="644"/>
                    </a:lnTo>
                    <a:lnTo>
                      <a:pt x="425" y="638"/>
                    </a:lnTo>
                    <a:lnTo>
                      <a:pt x="433" y="636"/>
                    </a:lnTo>
                    <a:lnTo>
                      <a:pt x="437" y="622"/>
                    </a:lnTo>
                    <a:lnTo>
                      <a:pt x="448" y="616"/>
                    </a:lnTo>
                    <a:lnTo>
                      <a:pt x="460" y="603"/>
                    </a:lnTo>
                    <a:lnTo>
                      <a:pt x="460" y="591"/>
                    </a:lnTo>
                    <a:lnTo>
                      <a:pt x="448" y="586"/>
                    </a:lnTo>
                    <a:lnTo>
                      <a:pt x="429" y="564"/>
                    </a:lnTo>
                    <a:lnTo>
                      <a:pt x="406" y="544"/>
                    </a:lnTo>
                    <a:lnTo>
                      <a:pt x="390" y="531"/>
                    </a:lnTo>
                    <a:lnTo>
                      <a:pt x="381" y="516"/>
                    </a:lnTo>
                    <a:lnTo>
                      <a:pt x="372" y="494"/>
                    </a:lnTo>
                    <a:lnTo>
                      <a:pt x="369" y="471"/>
                    </a:lnTo>
                    <a:lnTo>
                      <a:pt x="357" y="462"/>
                    </a:lnTo>
                    <a:lnTo>
                      <a:pt x="353" y="454"/>
                    </a:lnTo>
                    <a:lnTo>
                      <a:pt x="362" y="447"/>
                    </a:lnTo>
                    <a:lnTo>
                      <a:pt x="373" y="459"/>
                    </a:lnTo>
                    <a:lnTo>
                      <a:pt x="387" y="450"/>
                    </a:lnTo>
                    <a:lnTo>
                      <a:pt x="404" y="439"/>
                    </a:lnTo>
                    <a:lnTo>
                      <a:pt x="430" y="435"/>
                    </a:lnTo>
                    <a:lnTo>
                      <a:pt x="448" y="411"/>
                    </a:lnTo>
                    <a:lnTo>
                      <a:pt x="462" y="410"/>
                    </a:lnTo>
                    <a:lnTo>
                      <a:pt x="489" y="402"/>
                    </a:lnTo>
                    <a:lnTo>
                      <a:pt x="490" y="383"/>
                    </a:lnTo>
                    <a:lnTo>
                      <a:pt x="500" y="382"/>
                    </a:lnTo>
                    <a:lnTo>
                      <a:pt x="510" y="391"/>
                    </a:lnTo>
                    <a:lnTo>
                      <a:pt x="518" y="398"/>
                    </a:lnTo>
                    <a:lnTo>
                      <a:pt x="529" y="40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8" name="Freeform 11">
                <a:extLst>
                  <a:ext uri="{FF2B5EF4-FFF2-40B4-BE49-F238E27FC236}">
                    <a16:creationId xmlns:a16="http://schemas.microsoft.com/office/drawing/2014/main" id="{F0374C6D-9D44-0F97-9F1F-3E2783EC4C0C}"/>
                  </a:ext>
                </a:extLst>
              </p:cNvPr>
              <p:cNvSpPr>
                <a:spLocks/>
              </p:cNvSpPr>
              <p:nvPr/>
            </p:nvSpPr>
            <p:spPr bwMode="auto">
              <a:xfrm>
                <a:off x="4095094" y="2744216"/>
                <a:ext cx="126791" cy="122733"/>
              </a:xfrm>
              <a:custGeom>
                <a:avLst/>
                <a:gdLst>
                  <a:gd name="T0" fmla="*/ 148 w 198"/>
                  <a:gd name="T1" fmla="*/ 181 h 181"/>
                  <a:gd name="T2" fmla="*/ 155 w 198"/>
                  <a:gd name="T3" fmla="*/ 152 h 181"/>
                  <a:gd name="T4" fmla="*/ 159 w 198"/>
                  <a:gd name="T5" fmla="*/ 136 h 181"/>
                  <a:gd name="T6" fmla="*/ 175 w 198"/>
                  <a:gd name="T7" fmla="*/ 128 h 181"/>
                  <a:gd name="T8" fmla="*/ 190 w 198"/>
                  <a:gd name="T9" fmla="*/ 127 h 181"/>
                  <a:gd name="T10" fmla="*/ 198 w 198"/>
                  <a:gd name="T11" fmla="*/ 109 h 181"/>
                  <a:gd name="T12" fmla="*/ 196 w 198"/>
                  <a:gd name="T13" fmla="*/ 88 h 181"/>
                  <a:gd name="T14" fmla="*/ 186 w 198"/>
                  <a:gd name="T15" fmla="*/ 73 h 181"/>
                  <a:gd name="T16" fmla="*/ 167 w 198"/>
                  <a:gd name="T17" fmla="*/ 69 h 181"/>
                  <a:gd name="T18" fmla="*/ 174 w 198"/>
                  <a:gd name="T19" fmla="*/ 44 h 181"/>
                  <a:gd name="T20" fmla="*/ 162 w 198"/>
                  <a:gd name="T21" fmla="*/ 23 h 181"/>
                  <a:gd name="T22" fmla="*/ 146 w 198"/>
                  <a:gd name="T23" fmla="*/ 7 h 181"/>
                  <a:gd name="T24" fmla="*/ 131 w 198"/>
                  <a:gd name="T25" fmla="*/ 0 h 181"/>
                  <a:gd name="T26" fmla="*/ 106 w 198"/>
                  <a:gd name="T27" fmla="*/ 1 h 181"/>
                  <a:gd name="T28" fmla="*/ 80 w 198"/>
                  <a:gd name="T29" fmla="*/ 11 h 181"/>
                  <a:gd name="T30" fmla="*/ 64 w 198"/>
                  <a:gd name="T31" fmla="*/ 12 h 181"/>
                  <a:gd name="T32" fmla="*/ 52 w 198"/>
                  <a:gd name="T33" fmla="*/ 0 h 181"/>
                  <a:gd name="T34" fmla="*/ 34 w 198"/>
                  <a:gd name="T35" fmla="*/ 1 h 181"/>
                  <a:gd name="T36" fmla="*/ 18 w 198"/>
                  <a:gd name="T37" fmla="*/ 7 h 181"/>
                  <a:gd name="T38" fmla="*/ 0 w 198"/>
                  <a:gd name="T39" fmla="*/ 12 h 181"/>
                  <a:gd name="T40" fmla="*/ 7 w 198"/>
                  <a:gd name="T41" fmla="*/ 43 h 181"/>
                  <a:gd name="T42" fmla="*/ 24 w 198"/>
                  <a:gd name="T43" fmla="*/ 56 h 181"/>
                  <a:gd name="T44" fmla="*/ 38 w 198"/>
                  <a:gd name="T45" fmla="*/ 77 h 181"/>
                  <a:gd name="T46" fmla="*/ 76 w 198"/>
                  <a:gd name="T47" fmla="*/ 103 h 181"/>
                  <a:gd name="T48" fmla="*/ 75 w 198"/>
                  <a:gd name="T49" fmla="*/ 133 h 181"/>
                  <a:gd name="T50" fmla="*/ 94 w 198"/>
                  <a:gd name="T51" fmla="*/ 141 h 181"/>
                  <a:gd name="T52" fmla="*/ 118 w 198"/>
                  <a:gd name="T53" fmla="*/ 120 h 181"/>
                  <a:gd name="T54" fmla="*/ 118 w 198"/>
                  <a:gd name="T55" fmla="*/ 157 h 181"/>
                  <a:gd name="T56" fmla="*/ 148 w 198"/>
                  <a:gd name="T57"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8" h="181">
                    <a:moveTo>
                      <a:pt x="148" y="181"/>
                    </a:moveTo>
                    <a:lnTo>
                      <a:pt x="155" y="152"/>
                    </a:lnTo>
                    <a:lnTo>
                      <a:pt x="159" y="136"/>
                    </a:lnTo>
                    <a:lnTo>
                      <a:pt x="175" y="128"/>
                    </a:lnTo>
                    <a:lnTo>
                      <a:pt x="190" y="127"/>
                    </a:lnTo>
                    <a:lnTo>
                      <a:pt x="198" y="109"/>
                    </a:lnTo>
                    <a:lnTo>
                      <a:pt x="196" y="88"/>
                    </a:lnTo>
                    <a:lnTo>
                      <a:pt x="186" y="73"/>
                    </a:lnTo>
                    <a:lnTo>
                      <a:pt x="167" y="69"/>
                    </a:lnTo>
                    <a:lnTo>
                      <a:pt x="174" y="44"/>
                    </a:lnTo>
                    <a:lnTo>
                      <a:pt x="162" y="23"/>
                    </a:lnTo>
                    <a:lnTo>
                      <a:pt x="146" y="7"/>
                    </a:lnTo>
                    <a:lnTo>
                      <a:pt x="131" y="0"/>
                    </a:lnTo>
                    <a:lnTo>
                      <a:pt x="106" y="1"/>
                    </a:lnTo>
                    <a:lnTo>
                      <a:pt x="80" y="11"/>
                    </a:lnTo>
                    <a:lnTo>
                      <a:pt x="64" y="12"/>
                    </a:lnTo>
                    <a:lnTo>
                      <a:pt x="52" y="0"/>
                    </a:lnTo>
                    <a:lnTo>
                      <a:pt x="34" y="1"/>
                    </a:lnTo>
                    <a:lnTo>
                      <a:pt x="18" y="7"/>
                    </a:lnTo>
                    <a:lnTo>
                      <a:pt x="0" y="12"/>
                    </a:lnTo>
                    <a:lnTo>
                      <a:pt x="7" y="43"/>
                    </a:lnTo>
                    <a:lnTo>
                      <a:pt x="24" y="56"/>
                    </a:lnTo>
                    <a:lnTo>
                      <a:pt x="38" y="77"/>
                    </a:lnTo>
                    <a:lnTo>
                      <a:pt x="76" y="103"/>
                    </a:lnTo>
                    <a:lnTo>
                      <a:pt x="75" y="133"/>
                    </a:lnTo>
                    <a:lnTo>
                      <a:pt x="94" y="141"/>
                    </a:lnTo>
                    <a:lnTo>
                      <a:pt x="118" y="120"/>
                    </a:lnTo>
                    <a:lnTo>
                      <a:pt x="118" y="157"/>
                    </a:lnTo>
                    <a:lnTo>
                      <a:pt x="148" y="18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79" name="Freeform 12">
                <a:extLst>
                  <a:ext uri="{FF2B5EF4-FFF2-40B4-BE49-F238E27FC236}">
                    <a16:creationId xmlns:a16="http://schemas.microsoft.com/office/drawing/2014/main" id="{B891E984-E0DA-0430-0084-6C5DD58196F1}"/>
                  </a:ext>
                </a:extLst>
              </p:cNvPr>
              <p:cNvSpPr>
                <a:spLocks/>
              </p:cNvSpPr>
              <p:nvPr/>
            </p:nvSpPr>
            <p:spPr bwMode="auto">
              <a:xfrm>
                <a:off x="3779121" y="2755567"/>
                <a:ext cx="504483" cy="555493"/>
              </a:xfrm>
              <a:custGeom>
                <a:avLst/>
                <a:gdLst>
                  <a:gd name="T0" fmla="*/ 744 w 787"/>
                  <a:gd name="T1" fmla="*/ 332 h 819"/>
                  <a:gd name="T2" fmla="*/ 772 w 787"/>
                  <a:gd name="T3" fmla="*/ 279 h 819"/>
                  <a:gd name="T4" fmla="*/ 780 w 787"/>
                  <a:gd name="T5" fmla="*/ 232 h 819"/>
                  <a:gd name="T6" fmla="*/ 689 w 787"/>
                  <a:gd name="T7" fmla="*/ 182 h 819"/>
                  <a:gd name="T8" fmla="*/ 612 w 787"/>
                  <a:gd name="T9" fmla="*/ 140 h 819"/>
                  <a:gd name="T10" fmla="*/ 583 w 787"/>
                  <a:gd name="T11" fmla="*/ 123 h 819"/>
                  <a:gd name="T12" fmla="*/ 531 w 787"/>
                  <a:gd name="T13" fmla="*/ 55 h 819"/>
                  <a:gd name="T14" fmla="*/ 497 w 787"/>
                  <a:gd name="T15" fmla="*/ 26 h 819"/>
                  <a:gd name="T16" fmla="*/ 436 w 787"/>
                  <a:gd name="T17" fmla="*/ 12 h 819"/>
                  <a:gd name="T18" fmla="*/ 419 w 787"/>
                  <a:gd name="T19" fmla="*/ 66 h 819"/>
                  <a:gd name="T20" fmla="*/ 372 w 787"/>
                  <a:gd name="T21" fmla="*/ 96 h 819"/>
                  <a:gd name="T22" fmla="*/ 323 w 787"/>
                  <a:gd name="T23" fmla="*/ 116 h 819"/>
                  <a:gd name="T24" fmla="*/ 316 w 787"/>
                  <a:gd name="T25" fmla="*/ 132 h 819"/>
                  <a:gd name="T26" fmla="*/ 248 w 787"/>
                  <a:gd name="T27" fmla="*/ 119 h 819"/>
                  <a:gd name="T28" fmla="*/ 227 w 787"/>
                  <a:gd name="T29" fmla="*/ 86 h 819"/>
                  <a:gd name="T30" fmla="*/ 204 w 787"/>
                  <a:gd name="T31" fmla="*/ 114 h 819"/>
                  <a:gd name="T32" fmla="*/ 215 w 787"/>
                  <a:gd name="T33" fmla="*/ 175 h 819"/>
                  <a:gd name="T34" fmla="*/ 129 w 787"/>
                  <a:gd name="T35" fmla="*/ 170 h 819"/>
                  <a:gd name="T36" fmla="*/ 67 w 787"/>
                  <a:gd name="T37" fmla="*/ 147 h 819"/>
                  <a:gd name="T38" fmla="*/ 13 w 787"/>
                  <a:gd name="T39" fmla="*/ 166 h 819"/>
                  <a:gd name="T40" fmla="*/ 7 w 787"/>
                  <a:gd name="T41" fmla="*/ 195 h 819"/>
                  <a:gd name="T42" fmla="*/ 49 w 787"/>
                  <a:gd name="T43" fmla="*/ 226 h 819"/>
                  <a:gd name="T44" fmla="*/ 85 w 787"/>
                  <a:gd name="T45" fmla="*/ 263 h 819"/>
                  <a:gd name="T46" fmla="*/ 123 w 787"/>
                  <a:gd name="T47" fmla="*/ 280 h 819"/>
                  <a:gd name="T48" fmla="*/ 139 w 787"/>
                  <a:gd name="T49" fmla="*/ 327 h 819"/>
                  <a:gd name="T50" fmla="*/ 144 w 787"/>
                  <a:gd name="T51" fmla="*/ 374 h 819"/>
                  <a:gd name="T52" fmla="*/ 181 w 787"/>
                  <a:gd name="T53" fmla="*/ 443 h 819"/>
                  <a:gd name="T54" fmla="*/ 189 w 787"/>
                  <a:gd name="T55" fmla="*/ 504 h 819"/>
                  <a:gd name="T56" fmla="*/ 160 w 787"/>
                  <a:gd name="T57" fmla="*/ 511 h 819"/>
                  <a:gd name="T58" fmla="*/ 147 w 787"/>
                  <a:gd name="T59" fmla="*/ 568 h 819"/>
                  <a:gd name="T60" fmla="*/ 120 w 787"/>
                  <a:gd name="T61" fmla="*/ 642 h 819"/>
                  <a:gd name="T62" fmla="*/ 80 w 787"/>
                  <a:gd name="T63" fmla="*/ 682 h 819"/>
                  <a:gd name="T64" fmla="*/ 112 w 787"/>
                  <a:gd name="T65" fmla="*/ 718 h 819"/>
                  <a:gd name="T66" fmla="*/ 160 w 787"/>
                  <a:gd name="T67" fmla="*/ 755 h 819"/>
                  <a:gd name="T68" fmla="*/ 248 w 787"/>
                  <a:gd name="T69" fmla="*/ 766 h 819"/>
                  <a:gd name="T70" fmla="*/ 291 w 787"/>
                  <a:gd name="T71" fmla="*/ 792 h 819"/>
                  <a:gd name="T72" fmla="*/ 351 w 787"/>
                  <a:gd name="T73" fmla="*/ 819 h 819"/>
                  <a:gd name="T74" fmla="*/ 404 w 787"/>
                  <a:gd name="T75" fmla="*/ 763 h 819"/>
                  <a:gd name="T76" fmla="*/ 451 w 787"/>
                  <a:gd name="T77" fmla="*/ 736 h 819"/>
                  <a:gd name="T78" fmla="*/ 505 w 787"/>
                  <a:gd name="T79" fmla="*/ 746 h 819"/>
                  <a:gd name="T80" fmla="*/ 583 w 787"/>
                  <a:gd name="T81" fmla="*/ 776 h 819"/>
                  <a:gd name="T82" fmla="*/ 639 w 787"/>
                  <a:gd name="T83" fmla="*/ 779 h 819"/>
                  <a:gd name="T84" fmla="*/ 687 w 787"/>
                  <a:gd name="T85" fmla="*/ 742 h 819"/>
                  <a:gd name="T86" fmla="*/ 713 w 787"/>
                  <a:gd name="T87" fmla="*/ 700 h 819"/>
                  <a:gd name="T88" fmla="*/ 668 w 787"/>
                  <a:gd name="T89" fmla="*/ 648 h 819"/>
                  <a:gd name="T90" fmla="*/ 687 w 787"/>
                  <a:gd name="T91" fmla="*/ 580 h 819"/>
                  <a:gd name="T92" fmla="*/ 683 w 787"/>
                  <a:gd name="T93" fmla="*/ 519 h 819"/>
                  <a:gd name="T94" fmla="*/ 680 w 787"/>
                  <a:gd name="T95" fmla="*/ 486 h 819"/>
                  <a:gd name="T96" fmla="*/ 641 w 787"/>
                  <a:gd name="T97" fmla="*/ 496 h 819"/>
                  <a:gd name="T98" fmla="*/ 668 w 787"/>
                  <a:gd name="T99" fmla="*/ 430 h 819"/>
                  <a:gd name="T100" fmla="*/ 704 w 787"/>
                  <a:gd name="T101" fmla="*/ 372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7" h="819">
                    <a:moveTo>
                      <a:pt x="743" y="366"/>
                    </a:moveTo>
                    <a:lnTo>
                      <a:pt x="741" y="342"/>
                    </a:lnTo>
                    <a:lnTo>
                      <a:pt x="744" y="332"/>
                    </a:lnTo>
                    <a:lnTo>
                      <a:pt x="743" y="306"/>
                    </a:lnTo>
                    <a:lnTo>
                      <a:pt x="761" y="279"/>
                    </a:lnTo>
                    <a:lnTo>
                      <a:pt x="772" y="279"/>
                    </a:lnTo>
                    <a:lnTo>
                      <a:pt x="776" y="260"/>
                    </a:lnTo>
                    <a:lnTo>
                      <a:pt x="787" y="247"/>
                    </a:lnTo>
                    <a:lnTo>
                      <a:pt x="780" y="232"/>
                    </a:lnTo>
                    <a:lnTo>
                      <a:pt x="731" y="214"/>
                    </a:lnTo>
                    <a:lnTo>
                      <a:pt x="705" y="211"/>
                    </a:lnTo>
                    <a:lnTo>
                      <a:pt x="689" y="182"/>
                    </a:lnTo>
                    <a:lnTo>
                      <a:pt x="671" y="166"/>
                    </a:lnTo>
                    <a:lnTo>
                      <a:pt x="645" y="167"/>
                    </a:lnTo>
                    <a:lnTo>
                      <a:pt x="612" y="140"/>
                    </a:lnTo>
                    <a:lnTo>
                      <a:pt x="611" y="104"/>
                    </a:lnTo>
                    <a:lnTo>
                      <a:pt x="596" y="116"/>
                    </a:lnTo>
                    <a:lnTo>
                      <a:pt x="583" y="123"/>
                    </a:lnTo>
                    <a:lnTo>
                      <a:pt x="565" y="114"/>
                    </a:lnTo>
                    <a:lnTo>
                      <a:pt x="571" y="83"/>
                    </a:lnTo>
                    <a:lnTo>
                      <a:pt x="531" y="55"/>
                    </a:lnTo>
                    <a:lnTo>
                      <a:pt x="524" y="46"/>
                    </a:lnTo>
                    <a:lnTo>
                      <a:pt x="512" y="31"/>
                    </a:lnTo>
                    <a:lnTo>
                      <a:pt x="497" y="26"/>
                    </a:lnTo>
                    <a:lnTo>
                      <a:pt x="495" y="0"/>
                    </a:lnTo>
                    <a:lnTo>
                      <a:pt x="447" y="2"/>
                    </a:lnTo>
                    <a:lnTo>
                      <a:pt x="436" y="12"/>
                    </a:lnTo>
                    <a:lnTo>
                      <a:pt x="425" y="31"/>
                    </a:lnTo>
                    <a:lnTo>
                      <a:pt x="424" y="46"/>
                    </a:lnTo>
                    <a:lnTo>
                      <a:pt x="419" y="66"/>
                    </a:lnTo>
                    <a:lnTo>
                      <a:pt x="420" y="78"/>
                    </a:lnTo>
                    <a:lnTo>
                      <a:pt x="396" y="87"/>
                    </a:lnTo>
                    <a:lnTo>
                      <a:pt x="372" y="96"/>
                    </a:lnTo>
                    <a:lnTo>
                      <a:pt x="352" y="96"/>
                    </a:lnTo>
                    <a:lnTo>
                      <a:pt x="329" y="107"/>
                    </a:lnTo>
                    <a:lnTo>
                      <a:pt x="323" y="116"/>
                    </a:lnTo>
                    <a:lnTo>
                      <a:pt x="343" y="128"/>
                    </a:lnTo>
                    <a:lnTo>
                      <a:pt x="335" y="139"/>
                    </a:lnTo>
                    <a:lnTo>
                      <a:pt x="316" y="132"/>
                    </a:lnTo>
                    <a:lnTo>
                      <a:pt x="293" y="136"/>
                    </a:lnTo>
                    <a:lnTo>
                      <a:pt x="273" y="132"/>
                    </a:lnTo>
                    <a:lnTo>
                      <a:pt x="248" y="119"/>
                    </a:lnTo>
                    <a:lnTo>
                      <a:pt x="233" y="104"/>
                    </a:lnTo>
                    <a:lnTo>
                      <a:pt x="236" y="90"/>
                    </a:lnTo>
                    <a:lnTo>
                      <a:pt x="227" y="86"/>
                    </a:lnTo>
                    <a:lnTo>
                      <a:pt x="201" y="76"/>
                    </a:lnTo>
                    <a:lnTo>
                      <a:pt x="199" y="92"/>
                    </a:lnTo>
                    <a:lnTo>
                      <a:pt x="204" y="114"/>
                    </a:lnTo>
                    <a:lnTo>
                      <a:pt x="208" y="136"/>
                    </a:lnTo>
                    <a:lnTo>
                      <a:pt x="201" y="158"/>
                    </a:lnTo>
                    <a:lnTo>
                      <a:pt x="215" y="175"/>
                    </a:lnTo>
                    <a:lnTo>
                      <a:pt x="200" y="183"/>
                    </a:lnTo>
                    <a:lnTo>
                      <a:pt x="176" y="174"/>
                    </a:lnTo>
                    <a:lnTo>
                      <a:pt x="129" y="170"/>
                    </a:lnTo>
                    <a:lnTo>
                      <a:pt x="107" y="140"/>
                    </a:lnTo>
                    <a:lnTo>
                      <a:pt x="81" y="139"/>
                    </a:lnTo>
                    <a:lnTo>
                      <a:pt x="67" y="147"/>
                    </a:lnTo>
                    <a:lnTo>
                      <a:pt x="13" y="142"/>
                    </a:lnTo>
                    <a:lnTo>
                      <a:pt x="0" y="158"/>
                    </a:lnTo>
                    <a:lnTo>
                      <a:pt x="13" y="166"/>
                    </a:lnTo>
                    <a:lnTo>
                      <a:pt x="8" y="180"/>
                    </a:lnTo>
                    <a:lnTo>
                      <a:pt x="25" y="192"/>
                    </a:lnTo>
                    <a:lnTo>
                      <a:pt x="7" y="195"/>
                    </a:lnTo>
                    <a:lnTo>
                      <a:pt x="9" y="210"/>
                    </a:lnTo>
                    <a:lnTo>
                      <a:pt x="28" y="224"/>
                    </a:lnTo>
                    <a:lnTo>
                      <a:pt x="49" y="226"/>
                    </a:lnTo>
                    <a:lnTo>
                      <a:pt x="65" y="244"/>
                    </a:lnTo>
                    <a:lnTo>
                      <a:pt x="73" y="258"/>
                    </a:lnTo>
                    <a:lnTo>
                      <a:pt x="85" y="263"/>
                    </a:lnTo>
                    <a:lnTo>
                      <a:pt x="104" y="266"/>
                    </a:lnTo>
                    <a:lnTo>
                      <a:pt x="104" y="274"/>
                    </a:lnTo>
                    <a:lnTo>
                      <a:pt x="123" y="280"/>
                    </a:lnTo>
                    <a:lnTo>
                      <a:pt x="119" y="302"/>
                    </a:lnTo>
                    <a:lnTo>
                      <a:pt x="143" y="311"/>
                    </a:lnTo>
                    <a:lnTo>
                      <a:pt x="139" y="327"/>
                    </a:lnTo>
                    <a:lnTo>
                      <a:pt x="139" y="338"/>
                    </a:lnTo>
                    <a:lnTo>
                      <a:pt x="131" y="352"/>
                    </a:lnTo>
                    <a:lnTo>
                      <a:pt x="144" y="374"/>
                    </a:lnTo>
                    <a:lnTo>
                      <a:pt x="165" y="400"/>
                    </a:lnTo>
                    <a:lnTo>
                      <a:pt x="179" y="416"/>
                    </a:lnTo>
                    <a:lnTo>
                      <a:pt x="181" y="443"/>
                    </a:lnTo>
                    <a:lnTo>
                      <a:pt x="173" y="463"/>
                    </a:lnTo>
                    <a:lnTo>
                      <a:pt x="179" y="476"/>
                    </a:lnTo>
                    <a:lnTo>
                      <a:pt x="189" y="504"/>
                    </a:lnTo>
                    <a:lnTo>
                      <a:pt x="187" y="512"/>
                    </a:lnTo>
                    <a:lnTo>
                      <a:pt x="173" y="491"/>
                    </a:lnTo>
                    <a:lnTo>
                      <a:pt x="160" y="511"/>
                    </a:lnTo>
                    <a:lnTo>
                      <a:pt x="156" y="548"/>
                    </a:lnTo>
                    <a:lnTo>
                      <a:pt x="148" y="542"/>
                    </a:lnTo>
                    <a:lnTo>
                      <a:pt x="147" y="568"/>
                    </a:lnTo>
                    <a:lnTo>
                      <a:pt x="140" y="590"/>
                    </a:lnTo>
                    <a:lnTo>
                      <a:pt x="133" y="608"/>
                    </a:lnTo>
                    <a:lnTo>
                      <a:pt x="120" y="642"/>
                    </a:lnTo>
                    <a:lnTo>
                      <a:pt x="111" y="664"/>
                    </a:lnTo>
                    <a:lnTo>
                      <a:pt x="99" y="675"/>
                    </a:lnTo>
                    <a:lnTo>
                      <a:pt x="80" y="682"/>
                    </a:lnTo>
                    <a:lnTo>
                      <a:pt x="83" y="691"/>
                    </a:lnTo>
                    <a:lnTo>
                      <a:pt x="95" y="707"/>
                    </a:lnTo>
                    <a:lnTo>
                      <a:pt x="112" y="718"/>
                    </a:lnTo>
                    <a:lnTo>
                      <a:pt x="132" y="730"/>
                    </a:lnTo>
                    <a:lnTo>
                      <a:pt x="141" y="750"/>
                    </a:lnTo>
                    <a:lnTo>
                      <a:pt x="160" y="755"/>
                    </a:lnTo>
                    <a:lnTo>
                      <a:pt x="191" y="765"/>
                    </a:lnTo>
                    <a:lnTo>
                      <a:pt x="224" y="774"/>
                    </a:lnTo>
                    <a:lnTo>
                      <a:pt x="248" y="766"/>
                    </a:lnTo>
                    <a:lnTo>
                      <a:pt x="267" y="782"/>
                    </a:lnTo>
                    <a:lnTo>
                      <a:pt x="277" y="796"/>
                    </a:lnTo>
                    <a:lnTo>
                      <a:pt x="291" y="792"/>
                    </a:lnTo>
                    <a:lnTo>
                      <a:pt x="304" y="804"/>
                    </a:lnTo>
                    <a:lnTo>
                      <a:pt x="319" y="816"/>
                    </a:lnTo>
                    <a:lnTo>
                      <a:pt x="351" y="819"/>
                    </a:lnTo>
                    <a:lnTo>
                      <a:pt x="400" y="819"/>
                    </a:lnTo>
                    <a:lnTo>
                      <a:pt x="401" y="788"/>
                    </a:lnTo>
                    <a:lnTo>
                      <a:pt x="404" y="763"/>
                    </a:lnTo>
                    <a:lnTo>
                      <a:pt x="419" y="752"/>
                    </a:lnTo>
                    <a:lnTo>
                      <a:pt x="435" y="747"/>
                    </a:lnTo>
                    <a:lnTo>
                      <a:pt x="451" y="736"/>
                    </a:lnTo>
                    <a:lnTo>
                      <a:pt x="471" y="726"/>
                    </a:lnTo>
                    <a:lnTo>
                      <a:pt x="492" y="738"/>
                    </a:lnTo>
                    <a:lnTo>
                      <a:pt x="505" y="746"/>
                    </a:lnTo>
                    <a:lnTo>
                      <a:pt x="525" y="751"/>
                    </a:lnTo>
                    <a:lnTo>
                      <a:pt x="559" y="760"/>
                    </a:lnTo>
                    <a:lnTo>
                      <a:pt x="583" y="776"/>
                    </a:lnTo>
                    <a:lnTo>
                      <a:pt x="603" y="783"/>
                    </a:lnTo>
                    <a:lnTo>
                      <a:pt x="620" y="784"/>
                    </a:lnTo>
                    <a:lnTo>
                      <a:pt x="639" y="779"/>
                    </a:lnTo>
                    <a:lnTo>
                      <a:pt x="652" y="768"/>
                    </a:lnTo>
                    <a:lnTo>
                      <a:pt x="671" y="751"/>
                    </a:lnTo>
                    <a:lnTo>
                      <a:pt x="687" y="742"/>
                    </a:lnTo>
                    <a:lnTo>
                      <a:pt x="704" y="735"/>
                    </a:lnTo>
                    <a:lnTo>
                      <a:pt x="720" y="720"/>
                    </a:lnTo>
                    <a:lnTo>
                      <a:pt x="713" y="700"/>
                    </a:lnTo>
                    <a:lnTo>
                      <a:pt x="705" y="688"/>
                    </a:lnTo>
                    <a:lnTo>
                      <a:pt x="680" y="684"/>
                    </a:lnTo>
                    <a:lnTo>
                      <a:pt x="668" y="648"/>
                    </a:lnTo>
                    <a:lnTo>
                      <a:pt x="680" y="627"/>
                    </a:lnTo>
                    <a:lnTo>
                      <a:pt x="663" y="607"/>
                    </a:lnTo>
                    <a:lnTo>
                      <a:pt x="687" y="580"/>
                    </a:lnTo>
                    <a:lnTo>
                      <a:pt x="681" y="558"/>
                    </a:lnTo>
                    <a:lnTo>
                      <a:pt x="681" y="531"/>
                    </a:lnTo>
                    <a:lnTo>
                      <a:pt x="683" y="519"/>
                    </a:lnTo>
                    <a:lnTo>
                      <a:pt x="696" y="519"/>
                    </a:lnTo>
                    <a:lnTo>
                      <a:pt x="677" y="506"/>
                    </a:lnTo>
                    <a:lnTo>
                      <a:pt x="680" y="486"/>
                    </a:lnTo>
                    <a:lnTo>
                      <a:pt x="680" y="472"/>
                    </a:lnTo>
                    <a:lnTo>
                      <a:pt x="655" y="468"/>
                    </a:lnTo>
                    <a:lnTo>
                      <a:pt x="641" y="496"/>
                    </a:lnTo>
                    <a:lnTo>
                      <a:pt x="633" y="479"/>
                    </a:lnTo>
                    <a:lnTo>
                      <a:pt x="636" y="454"/>
                    </a:lnTo>
                    <a:lnTo>
                      <a:pt x="668" y="430"/>
                    </a:lnTo>
                    <a:lnTo>
                      <a:pt x="669" y="414"/>
                    </a:lnTo>
                    <a:lnTo>
                      <a:pt x="703" y="392"/>
                    </a:lnTo>
                    <a:lnTo>
                      <a:pt x="704" y="372"/>
                    </a:lnTo>
                    <a:lnTo>
                      <a:pt x="724" y="375"/>
                    </a:lnTo>
                    <a:lnTo>
                      <a:pt x="743" y="36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0" name="Freeform 13">
                <a:extLst>
                  <a:ext uri="{FF2B5EF4-FFF2-40B4-BE49-F238E27FC236}">
                    <a16:creationId xmlns:a16="http://schemas.microsoft.com/office/drawing/2014/main" id="{9BE4A37F-62AD-83C7-E49C-E1C8E71A91E7}"/>
                  </a:ext>
                </a:extLst>
              </p:cNvPr>
              <p:cNvSpPr>
                <a:spLocks/>
              </p:cNvSpPr>
              <p:nvPr/>
            </p:nvSpPr>
            <p:spPr bwMode="auto">
              <a:xfrm>
                <a:off x="3420214" y="3218833"/>
                <a:ext cx="194548" cy="332019"/>
              </a:xfrm>
              <a:custGeom>
                <a:avLst/>
                <a:gdLst>
                  <a:gd name="T0" fmla="*/ 132 w 303"/>
                  <a:gd name="T1" fmla="*/ 9 h 490"/>
                  <a:gd name="T2" fmla="*/ 145 w 303"/>
                  <a:gd name="T3" fmla="*/ 2 h 490"/>
                  <a:gd name="T4" fmla="*/ 156 w 303"/>
                  <a:gd name="T5" fmla="*/ 1 h 490"/>
                  <a:gd name="T6" fmla="*/ 182 w 303"/>
                  <a:gd name="T7" fmla="*/ 0 h 490"/>
                  <a:gd name="T8" fmla="*/ 180 w 303"/>
                  <a:gd name="T9" fmla="*/ 20 h 490"/>
                  <a:gd name="T10" fmla="*/ 194 w 303"/>
                  <a:gd name="T11" fmla="*/ 25 h 490"/>
                  <a:gd name="T12" fmla="*/ 217 w 303"/>
                  <a:gd name="T13" fmla="*/ 33 h 490"/>
                  <a:gd name="T14" fmla="*/ 228 w 303"/>
                  <a:gd name="T15" fmla="*/ 36 h 490"/>
                  <a:gd name="T16" fmla="*/ 237 w 303"/>
                  <a:gd name="T17" fmla="*/ 40 h 490"/>
                  <a:gd name="T18" fmla="*/ 249 w 303"/>
                  <a:gd name="T19" fmla="*/ 40 h 490"/>
                  <a:gd name="T20" fmla="*/ 244 w 303"/>
                  <a:gd name="T21" fmla="*/ 44 h 490"/>
                  <a:gd name="T22" fmla="*/ 261 w 303"/>
                  <a:gd name="T23" fmla="*/ 42 h 490"/>
                  <a:gd name="T24" fmla="*/ 263 w 303"/>
                  <a:gd name="T25" fmla="*/ 43 h 490"/>
                  <a:gd name="T26" fmla="*/ 280 w 303"/>
                  <a:gd name="T27" fmla="*/ 45 h 490"/>
                  <a:gd name="T28" fmla="*/ 294 w 303"/>
                  <a:gd name="T29" fmla="*/ 53 h 490"/>
                  <a:gd name="T30" fmla="*/ 299 w 303"/>
                  <a:gd name="T31" fmla="*/ 65 h 490"/>
                  <a:gd name="T32" fmla="*/ 303 w 303"/>
                  <a:gd name="T33" fmla="*/ 81 h 490"/>
                  <a:gd name="T34" fmla="*/ 301 w 303"/>
                  <a:gd name="T35" fmla="*/ 103 h 490"/>
                  <a:gd name="T36" fmla="*/ 291 w 303"/>
                  <a:gd name="T37" fmla="*/ 114 h 490"/>
                  <a:gd name="T38" fmla="*/ 281 w 303"/>
                  <a:gd name="T39" fmla="*/ 125 h 490"/>
                  <a:gd name="T40" fmla="*/ 269 w 303"/>
                  <a:gd name="T41" fmla="*/ 125 h 490"/>
                  <a:gd name="T42" fmla="*/ 262 w 303"/>
                  <a:gd name="T43" fmla="*/ 132 h 490"/>
                  <a:gd name="T44" fmla="*/ 245 w 303"/>
                  <a:gd name="T45" fmla="*/ 138 h 490"/>
                  <a:gd name="T46" fmla="*/ 248 w 303"/>
                  <a:gd name="T47" fmla="*/ 154 h 490"/>
                  <a:gd name="T48" fmla="*/ 244 w 303"/>
                  <a:gd name="T49" fmla="*/ 163 h 490"/>
                  <a:gd name="T50" fmla="*/ 239 w 303"/>
                  <a:gd name="T51" fmla="*/ 180 h 490"/>
                  <a:gd name="T52" fmla="*/ 235 w 303"/>
                  <a:gd name="T53" fmla="*/ 191 h 490"/>
                  <a:gd name="T54" fmla="*/ 225 w 303"/>
                  <a:gd name="T55" fmla="*/ 216 h 490"/>
                  <a:gd name="T56" fmla="*/ 228 w 303"/>
                  <a:gd name="T57" fmla="*/ 228 h 490"/>
                  <a:gd name="T58" fmla="*/ 216 w 303"/>
                  <a:gd name="T59" fmla="*/ 251 h 490"/>
                  <a:gd name="T60" fmla="*/ 188 w 303"/>
                  <a:gd name="T61" fmla="*/ 253 h 490"/>
                  <a:gd name="T62" fmla="*/ 178 w 303"/>
                  <a:gd name="T63" fmla="*/ 264 h 490"/>
                  <a:gd name="T64" fmla="*/ 181 w 303"/>
                  <a:gd name="T65" fmla="*/ 285 h 490"/>
                  <a:gd name="T66" fmla="*/ 187 w 303"/>
                  <a:gd name="T67" fmla="*/ 310 h 490"/>
                  <a:gd name="T68" fmla="*/ 159 w 303"/>
                  <a:gd name="T69" fmla="*/ 354 h 490"/>
                  <a:gd name="T70" fmla="*/ 158 w 303"/>
                  <a:gd name="T71" fmla="*/ 382 h 490"/>
                  <a:gd name="T72" fmla="*/ 168 w 303"/>
                  <a:gd name="T73" fmla="*/ 403 h 490"/>
                  <a:gd name="T74" fmla="*/ 159 w 303"/>
                  <a:gd name="T75" fmla="*/ 421 h 490"/>
                  <a:gd name="T76" fmla="*/ 120 w 303"/>
                  <a:gd name="T77" fmla="*/ 436 h 490"/>
                  <a:gd name="T78" fmla="*/ 119 w 303"/>
                  <a:gd name="T79" fmla="*/ 481 h 490"/>
                  <a:gd name="T80" fmla="*/ 107 w 303"/>
                  <a:gd name="T81" fmla="*/ 486 h 490"/>
                  <a:gd name="T82" fmla="*/ 72 w 303"/>
                  <a:gd name="T83" fmla="*/ 490 h 490"/>
                  <a:gd name="T84" fmla="*/ 54 w 303"/>
                  <a:gd name="T85" fmla="*/ 481 h 490"/>
                  <a:gd name="T86" fmla="*/ 35 w 303"/>
                  <a:gd name="T87" fmla="*/ 474 h 490"/>
                  <a:gd name="T88" fmla="*/ 5 w 303"/>
                  <a:gd name="T89" fmla="*/ 468 h 490"/>
                  <a:gd name="T90" fmla="*/ 0 w 303"/>
                  <a:gd name="T91" fmla="*/ 457 h 490"/>
                  <a:gd name="T92" fmla="*/ 12 w 303"/>
                  <a:gd name="T93" fmla="*/ 442 h 490"/>
                  <a:gd name="T94" fmla="*/ 24 w 303"/>
                  <a:gd name="T95" fmla="*/ 419 h 490"/>
                  <a:gd name="T96" fmla="*/ 34 w 303"/>
                  <a:gd name="T97" fmla="*/ 395 h 490"/>
                  <a:gd name="T98" fmla="*/ 39 w 303"/>
                  <a:gd name="T99" fmla="*/ 369 h 490"/>
                  <a:gd name="T100" fmla="*/ 48 w 303"/>
                  <a:gd name="T101" fmla="*/ 350 h 490"/>
                  <a:gd name="T102" fmla="*/ 47 w 303"/>
                  <a:gd name="T103" fmla="*/ 325 h 490"/>
                  <a:gd name="T104" fmla="*/ 26 w 303"/>
                  <a:gd name="T105" fmla="*/ 327 h 490"/>
                  <a:gd name="T106" fmla="*/ 23 w 303"/>
                  <a:gd name="T107" fmla="*/ 310 h 490"/>
                  <a:gd name="T108" fmla="*/ 9 w 303"/>
                  <a:gd name="T109" fmla="*/ 281 h 490"/>
                  <a:gd name="T110" fmla="*/ 20 w 303"/>
                  <a:gd name="T111" fmla="*/ 266 h 490"/>
                  <a:gd name="T112" fmla="*/ 37 w 303"/>
                  <a:gd name="T113" fmla="*/ 241 h 490"/>
                  <a:gd name="T114" fmla="*/ 57 w 303"/>
                  <a:gd name="T115" fmla="*/ 224 h 490"/>
                  <a:gd name="T116" fmla="*/ 70 w 303"/>
                  <a:gd name="T117" fmla="*/ 201 h 490"/>
                  <a:gd name="T118" fmla="*/ 93 w 303"/>
                  <a:gd name="T119" fmla="*/ 153 h 490"/>
                  <a:gd name="T120" fmla="*/ 117 w 303"/>
                  <a:gd name="T121" fmla="*/ 107 h 490"/>
                  <a:gd name="T122" fmla="*/ 135 w 303"/>
                  <a:gd name="T123" fmla="*/ 68 h 490"/>
                  <a:gd name="T124" fmla="*/ 132 w 303"/>
                  <a:gd name="T125" fmla="*/ 9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3" h="490">
                    <a:moveTo>
                      <a:pt x="132" y="9"/>
                    </a:moveTo>
                    <a:lnTo>
                      <a:pt x="145" y="2"/>
                    </a:lnTo>
                    <a:lnTo>
                      <a:pt x="156" y="1"/>
                    </a:lnTo>
                    <a:lnTo>
                      <a:pt x="182" y="0"/>
                    </a:lnTo>
                    <a:lnTo>
                      <a:pt x="180" y="20"/>
                    </a:lnTo>
                    <a:lnTo>
                      <a:pt x="194" y="25"/>
                    </a:lnTo>
                    <a:lnTo>
                      <a:pt x="217" y="33"/>
                    </a:lnTo>
                    <a:lnTo>
                      <a:pt x="228" y="36"/>
                    </a:lnTo>
                    <a:lnTo>
                      <a:pt x="237" y="40"/>
                    </a:lnTo>
                    <a:lnTo>
                      <a:pt x="249" y="40"/>
                    </a:lnTo>
                    <a:lnTo>
                      <a:pt x="244" y="44"/>
                    </a:lnTo>
                    <a:lnTo>
                      <a:pt x="261" y="42"/>
                    </a:lnTo>
                    <a:lnTo>
                      <a:pt x="263" y="43"/>
                    </a:lnTo>
                    <a:lnTo>
                      <a:pt x="280" y="45"/>
                    </a:lnTo>
                    <a:lnTo>
                      <a:pt x="294" y="53"/>
                    </a:lnTo>
                    <a:lnTo>
                      <a:pt x="299" y="65"/>
                    </a:lnTo>
                    <a:lnTo>
                      <a:pt x="303" y="81"/>
                    </a:lnTo>
                    <a:lnTo>
                      <a:pt x="301" y="103"/>
                    </a:lnTo>
                    <a:lnTo>
                      <a:pt x="291" y="114"/>
                    </a:lnTo>
                    <a:lnTo>
                      <a:pt x="281" y="125"/>
                    </a:lnTo>
                    <a:lnTo>
                      <a:pt x="269" y="125"/>
                    </a:lnTo>
                    <a:lnTo>
                      <a:pt x="262" y="132"/>
                    </a:lnTo>
                    <a:lnTo>
                      <a:pt x="245" y="138"/>
                    </a:lnTo>
                    <a:lnTo>
                      <a:pt x="248" y="154"/>
                    </a:lnTo>
                    <a:lnTo>
                      <a:pt x="244" y="163"/>
                    </a:lnTo>
                    <a:lnTo>
                      <a:pt x="239" y="180"/>
                    </a:lnTo>
                    <a:lnTo>
                      <a:pt x="235" y="191"/>
                    </a:lnTo>
                    <a:lnTo>
                      <a:pt x="225" y="216"/>
                    </a:lnTo>
                    <a:lnTo>
                      <a:pt x="228" y="228"/>
                    </a:lnTo>
                    <a:lnTo>
                      <a:pt x="216" y="251"/>
                    </a:lnTo>
                    <a:lnTo>
                      <a:pt x="188" y="253"/>
                    </a:lnTo>
                    <a:lnTo>
                      <a:pt x="178" y="264"/>
                    </a:lnTo>
                    <a:lnTo>
                      <a:pt x="181" y="285"/>
                    </a:lnTo>
                    <a:lnTo>
                      <a:pt x="187" y="310"/>
                    </a:lnTo>
                    <a:lnTo>
                      <a:pt x="159" y="354"/>
                    </a:lnTo>
                    <a:lnTo>
                      <a:pt x="158" y="382"/>
                    </a:lnTo>
                    <a:lnTo>
                      <a:pt x="168" y="403"/>
                    </a:lnTo>
                    <a:lnTo>
                      <a:pt x="159" y="421"/>
                    </a:lnTo>
                    <a:lnTo>
                      <a:pt x="120" y="436"/>
                    </a:lnTo>
                    <a:lnTo>
                      <a:pt x="119" y="481"/>
                    </a:lnTo>
                    <a:lnTo>
                      <a:pt x="107" y="486"/>
                    </a:lnTo>
                    <a:lnTo>
                      <a:pt x="72" y="490"/>
                    </a:lnTo>
                    <a:lnTo>
                      <a:pt x="54" y="481"/>
                    </a:lnTo>
                    <a:lnTo>
                      <a:pt x="35" y="474"/>
                    </a:lnTo>
                    <a:lnTo>
                      <a:pt x="5" y="468"/>
                    </a:lnTo>
                    <a:lnTo>
                      <a:pt x="0" y="457"/>
                    </a:lnTo>
                    <a:lnTo>
                      <a:pt x="12" y="442"/>
                    </a:lnTo>
                    <a:lnTo>
                      <a:pt x="24" y="419"/>
                    </a:lnTo>
                    <a:lnTo>
                      <a:pt x="34" y="395"/>
                    </a:lnTo>
                    <a:lnTo>
                      <a:pt x="39" y="369"/>
                    </a:lnTo>
                    <a:lnTo>
                      <a:pt x="48" y="350"/>
                    </a:lnTo>
                    <a:lnTo>
                      <a:pt x="47" y="325"/>
                    </a:lnTo>
                    <a:lnTo>
                      <a:pt x="26" y="327"/>
                    </a:lnTo>
                    <a:lnTo>
                      <a:pt x="23" y="310"/>
                    </a:lnTo>
                    <a:lnTo>
                      <a:pt x="9" y="281"/>
                    </a:lnTo>
                    <a:lnTo>
                      <a:pt x="20" y="266"/>
                    </a:lnTo>
                    <a:lnTo>
                      <a:pt x="37" y="241"/>
                    </a:lnTo>
                    <a:lnTo>
                      <a:pt x="57" y="224"/>
                    </a:lnTo>
                    <a:lnTo>
                      <a:pt x="70" y="201"/>
                    </a:lnTo>
                    <a:lnTo>
                      <a:pt x="93" y="153"/>
                    </a:lnTo>
                    <a:lnTo>
                      <a:pt x="117" y="107"/>
                    </a:lnTo>
                    <a:lnTo>
                      <a:pt x="135" y="68"/>
                    </a:lnTo>
                    <a:lnTo>
                      <a:pt x="132" y="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1" name="Freeform 14">
                <a:extLst>
                  <a:ext uri="{FF2B5EF4-FFF2-40B4-BE49-F238E27FC236}">
                    <a16:creationId xmlns:a16="http://schemas.microsoft.com/office/drawing/2014/main" id="{2D5DF4AF-503F-7077-D6A9-68D07771D3A0}"/>
                  </a:ext>
                </a:extLst>
              </p:cNvPr>
              <p:cNvSpPr>
                <a:spLocks/>
              </p:cNvSpPr>
              <p:nvPr/>
            </p:nvSpPr>
            <p:spPr bwMode="auto">
              <a:xfrm>
                <a:off x="4205785" y="3053533"/>
                <a:ext cx="515887" cy="663328"/>
              </a:xfrm>
              <a:custGeom>
                <a:avLst/>
                <a:gdLst>
                  <a:gd name="T0" fmla="*/ 567 w 806"/>
                  <a:gd name="T1" fmla="*/ 903 h 979"/>
                  <a:gd name="T2" fmla="*/ 572 w 806"/>
                  <a:gd name="T3" fmla="*/ 963 h 979"/>
                  <a:gd name="T4" fmla="*/ 536 w 806"/>
                  <a:gd name="T5" fmla="*/ 979 h 979"/>
                  <a:gd name="T6" fmla="*/ 472 w 806"/>
                  <a:gd name="T7" fmla="*/ 945 h 979"/>
                  <a:gd name="T8" fmla="*/ 386 w 806"/>
                  <a:gd name="T9" fmla="*/ 893 h 979"/>
                  <a:gd name="T10" fmla="*/ 380 w 806"/>
                  <a:gd name="T11" fmla="*/ 841 h 979"/>
                  <a:gd name="T12" fmla="*/ 443 w 806"/>
                  <a:gd name="T13" fmla="*/ 843 h 979"/>
                  <a:gd name="T14" fmla="*/ 480 w 806"/>
                  <a:gd name="T15" fmla="*/ 852 h 979"/>
                  <a:gd name="T16" fmla="*/ 540 w 806"/>
                  <a:gd name="T17" fmla="*/ 840 h 979"/>
                  <a:gd name="T18" fmla="*/ 594 w 806"/>
                  <a:gd name="T19" fmla="*/ 831 h 979"/>
                  <a:gd name="T20" fmla="*/ 611 w 806"/>
                  <a:gd name="T21" fmla="*/ 865 h 979"/>
                  <a:gd name="T22" fmla="*/ 647 w 806"/>
                  <a:gd name="T23" fmla="*/ 841 h 979"/>
                  <a:gd name="T24" fmla="*/ 672 w 806"/>
                  <a:gd name="T25" fmla="*/ 811 h 979"/>
                  <a:gd name="T26" fmla="*/ 699 w 806"/>
                  <a:gd name="T27" fmla="*/ 767 h 979"/>
                  <a:gd name="T28" fmla="*/ 708 w 806"/>
                  <a:gd name="T29" fmla="*/ 713 h 979"/>
                  <a:gd name="T30" fmla="*/ 663 w 806"/>
                  <a:gd name="T31" fmla="*/ 672 h 979"/>
                  <a:gd name="T32" fmla="*/ 672 w 806"/>
                  <a:gd name="T33" fmla="*/ 649 h 979"/>
                  <a:gd name="T34" fmla="*/ 726 w 806"/>
                  <a:gd name="T35" fmla="*/ 623 h 979"/>
                  <a:gd name="T36" fmla="*/ 766 w 806"/>
                  <a:gd name="T37" fmla="*/ 637 h 979"/>
                  <a:gd name="T38" fmla="*/ 792 w 806"/>
                  <a:gd name="T39" fmla="*/ 673 h 979"/>
                  <a:gd name="T40" fmla="*/ 798 w 806"/>
                  <a:gd name="T41" fmla="*/ 632 h 979"/>
                  <a:gd name="T42" fmla="*/ 752 w 806"/>
                  <a:gd name="T43" fmla="*/ 591 h 979"/>
                  <a:gd name="T44" fmla="*/ 706 w 806"/>
                  <a:gd name="T45" fmla="*/ 565 h 979"/>
                  <a:gd name="T46" fmla="*/ 619 w 806"/>
                  <a:gd name="T47" fmla="*/ 525 h 979"/>
                  <a:gd name="T48" fmla="*/ 636 w 806"/>
                  <a:gd name="T49" fmla="*/ 483 h 979"/>
                  <a:gd name="T50" fmla="*/ 566 w 806"/>
                  <a:gd name="T51" fmla="*/ 485 h 979"/>
                  <a:gd name="T52" fmla="*/ 530 w 806"/>
                  <a:gd name="T53" fmla="*/ 463 h 979"/>
                  <a:gd name="T54" fmla="*/ 470 w 806"/>
                  <a:gd name="T55" fmla="*/ 351 h 979"/>
                  <a:gd name="T56" fmla="*/ 398 w 806"/>
                  <a:gd name="T57" fmla="*/ 287 h 979"/>
                  <a:gd name="T58" fmla="*/ 386 w 806"/>
                  <a:gd name="T59" fmla="*/ 199 h 979"/>
                  <a:gd name="T60" fmla="*/ 368 w 806"/>
                  <a:gd name="T61" fmla="*/ 153 h 979"/>
                  <a:gd name="T62" fmla="*/ 430 w 806"/>
                  <a:gd name="T63" fmla="*/ 129 h 979"/>
                  <a:gd name="T64" fmla="*/ 458 w 806"/>
                  <a:gd name="T65" fmla="*/ 115 h 979"/>
                  <a:gd name="T66" fmla="*/ 458 w 806"/>
                  <a:gd name="T67" fmla="*/ 81 h 979"/>
                  <a:gd name="T68" fmla="*/ 427 w 806"/>
                  <a:gd name="T69" fmla="*/ 41 h 979"/>
                  <a:gd name="T70" fmla="*/ 367 w 806"/>
                  <a:gd name="T71" fmla="*/ 7 h 979"/>
                  <a:gd name="T72" fmla="*/ 302 w 806"/>
                  <a:gd name="T73" fmla="*/ 11 h 979"/>
                  <a:gd name="T74" fmla="*/ 252 w 806"/>
                  <a:gd name="T75" fmla="*/ 35 h 979"/>
                  <a:gd name="T76" fmla="*/ 230 w 806"/>
                  <a:gd name="T77" fmla="*/ 64 h 979"/>
                  <a:gd name="T78" fmla="*/ 187 w 806"/>
                  <a:gd name="T79" fmla="*/ 49 h 979"/>
                  <a:gd name="T80" fmla="*/ 154 w 806"/>
                  <a:gd name="T81" fmla="*/ 95 h 979"/>
                  <a:gd name="T82" fmla="*/ 106 w 806"/>
                  <a:gd name="T83" fmla="*/ 52 h 979"/>
                  <a:gd name="T84" fmla="*/ 66 w 806"/>
                  <a:gd name="T85" fmla="*/ 83 h 979"/>
                  <a:gd name="T86" fmla="*/ 15 w 806"/>
                  <a:gd name="T87" fmla="*/ 103 h 979"/>
                  <a:gd name="T88" fmla="*/ 12 w 806"/>
                  <a:gd name="T89" fmla="*/ 153 h 979"/>
                  <a:gd name="T90" fmla="*/ 14 w 806"/>
                  <a:gd name="T91" fmla="*/ 189 h 979"/>
                  <a:gd name="T92" fmla="*/ 16 w 806"/>
                  <a:gd name="T93" fmla="*/ 247 h 979"/>
                  <a:gd name="T94" fmla="*/ 54 w 806"/>
                  <a:gd name="T95" fmla="*/ 269 h 979"/>
                  <a:gd name="T96" fmla="*/ 91 w 806"/>
                  <a:gd name="T97" fmla="*/ 276 h 979"/>
                  <a:gd name="T98" fmla="*/ 124 w 806"/>
                  <a:gd name="T99" fmla="*/ 240 h 979"/>
                  <a:gd name="T100" fmla="*/ 179 w 806"/>
                  <a:gd name="T101" fmla="*/ 253 h 979"/>
                  <a:gd name="T102" fmla="*/ 234 w 806"/>
                  <a:gd name="T103" fmla="*/ 292 h 979"/>
                  <a:gd name="T104" fmla="*/ 246 w 806"/>
                  <a:gd name="T105" fmla="*/ 356 h 979"/>
                  <a:gd name="T106" fmla="*/ 286 w 806"/>
                  <a:gd name="T107" fmla="*/ 435 h 979"/>
                  <a:gd name="T108" fmla="*/ 368 w 806"/>
                  <a:gd name="T109" fmla="*/ 505 h 979"/>
                  <a:gd name="T110" fmla="*/ 491 w 806"/>
                  <a:gd name="T111" fmla="*/ 584 h 979"/>
                  <a:gd name="T112" fmla="*/ 543 w 806"/>
                  <a:gd name="T113" fmla="*/ 609 h 979"/>
                  <a:gd name="T114" fmla="*/ 590 w 806"/>
                  <a:gd name="T115" fmla="*/ 673 h 979"/>
                  <a:gd name="T116" fmla="*/ 630 w 806"/>
                  <a:gd name="T117" fmla="*/ 721 h 979"/>
                  <a:gd name="T118" fmla="*/ 624 w 806"/>
                  <a:gd name="T119" fmla="*/ 787 h 979"/>
                  <a:gd name="T120" fmla="*/ 604 w 806"/>
                  <a:gd name="T121" fmla="*/ 832 h 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6" h="979">
                    <a:moveTo>
                      <a:pt x="592" y="839"/>
                    </a:moveTo>
                    <a:lnTo>
                      <a:pt x="590" y="855"/>
                    </a:lnTo>
                    <a:lnTo>
                      <a:pt x="567" y="903"/>
                    </a:lnTo>
                    <a:lnTo>
                      <a:pt x="567" y="919"/>
                    </a:lnTo>
                    <a:lnTo>
                      <a:pt x="574" y="936"/>
                    </a:lnTo>
                    <a:lnTo>
                      <a:pt x="572" y="963"/>
                    </a:lnTo>
                    <a:lnTo>
                      <a:pt x="568" y="972"/>
                    </a:lnTo>
                    <a:lnTo>
                      <a:pt x="559" y="979"/>
                    </a:lnTo>
                    <a:lnTo>
                      <a:pt x="536" y="979"/>
                    </a:lnTo>
                    <a:lnTo>
                      <a:pt x="510" y="964"/>
                    </a:lnTo>
                    <a:lnTo>
                      <a:pt x="490" y="944"/>
                    </a:lnTo>
                    <a:lnTo>
                      <a:pt x="472" y="945"/>
                    </a:lnTo>
                    <a:lnTo>
                      <a:pt x="454" y="928"/>
                    </a:lnTo>
                    <a:lnTo>
                      <a:pt x="408" y="899"/>
                    </a:lnTo>
                    <a:lnTo>
                      <a:pt x="386" y="893"/>
                    </a:lnTo>
                    <a:lnTo>
                      <a:pt x="368" y="873"/>
                    </a:lnTo>
                    <a:lnTo>
                      <a:pt x="370" y="849"/>
                    </a:lnTo>
                    <a:lnTo>
                      <a:pt x="380" y="841"/>
                    </a:lnTo>
                    <a:lnTo>
                      <a:pt x="398" y="849"/>
                    </a:lnTo>
                    <a:lnTo>
                      <a:pt x="427" y="835"/>
                    </a:lnTo>
                    <a:lnTo>
                      <a:pt x="443" y="843"/>
                    </a:lnTo>
                    <a:lnTo>
                      <a:pt x="456" y="852"/>
                    </a:lnTo>
                    <a:lnTo>
                      <a:pt x="466" y="859"/>
                    </a:lnTo>
                    <a:lnTo>
                      <a:pt x="480" y="852"/>
                    </a:lnTo>
                    <a:lnTo>
                      <a:pt x="523" y="853"/>
                    </a:lnTo>
                    <a:lnTo>
                      <a:pt x="535" y="848"/>
                    </a:lnTo>
                    <a:lnTo>
                      <a:pt x="540" y="840"/>
                    </a:lnTo>
                    <a:lnTo>
                      <a:pt x="570" y="840"/>
                    </a:lnTo>
                    <a:lnTo>
                      <a:pt x="578" y="835"/>
                    </a:lnTo>
                    <a:lnTo>
                      <a:pt x="594" y="831"/>
                    </a:lnTo>
                    <a:lnTo>
                      <a:pt x="603" y="829"/>
                    </a:lnTo>
                    <a:lnTo>
                      <a:pt x="606" y="855"/>
                    </a:lnTo>
                    <a:lnTo>
                      <a:pt x="611" y="865"/>
                    </a:lnTo>
                    <a:lnTo>
                      <a:pt x="624" y="867"/>
                    </a:lnTo>
                    <a:lnTo>
                      <a:pt x="640" y="855"/>
                    </a:lnTo>
                    <a:lnTo>
                      <a:pt x="647" y="841"/>
                    </a:lnTo>
                    <a:lnTo>
                      <a:pt x="654" y="825"/>
                    </a:lnTo>
                    <a:lnTo>
                      <a:pt x="667" y="821"/>
                    </a:lnTo>
                    <a:lnTo>
                      <a:pt x="672" y="811"/>
                    </a:lnTo>
                    <a:lnTo>
                      <a:pt x="675" y="803"/>
                    </a:lnTo>
                    <a:lnTo>
                      <a:pt x="674" y="777"/>
                    </a:lnTo>
                    <a:lnTo>
                      <a:pt x="699" y="767"/>
                    </a:lnTo>
                    <a:lnTo>
                      <a:pt x="712" y="749"/>
                    </a:lnTo>
                    <a:lnTo>
                      <a:pt x="714" y="729"/>
                    </a:lnTo>
                    <a:lnTo>
                      <a:pt x="708" y="713"/>
                    </a:lnTo>
                    <a:lnTo>
                      <a:pt x="690" y="704"/>
                    </a:lnTo>
                    <a:lnTo>
                      <a:pt x="671" y="688"/>
                    </a:lnTo>
                    <a:lnTo>
                      <a:pt x="663" y="672"/>
                    </a:lnTo>
                    <a:lnTo>
                      <a:pt x="667" y="681"/>
                    </a:lnTo>
                    <a:lnTo>
                      <a:pt x="670" y="665"/>
                    </a:lnTo>
                    <a:lnTo>
                      <a:pt x="672" y="649"/>
                    </a:lnTo>
                    <a:lnTo>
                      <a:pt x="687" y="628"/>
                    </a:lnTo>
                    <a:lnTo>
                      <a:pt x="711" y="616"/>
                    </a:lnTo>
                    <a:lnTo>
                      <a:pt x="726" y="623"/>
                    </a:lnTo>
                    <a:lnTo>
                      <a:pt x="735" y="632"/>
                    </a:lnTo>
                    <a:lnTo>
                      <a:pt x="752" y="636"/>
                    </a:lnTo>
                    <a:lnTo>
                      <a:pt x="766" y="637"/>
                    </a:lnTo>
                    <a:lnTo>
                      <a:pt x="771" y="651"/>
                    </a:lnTo>
                    <a:lnTo>
                      <a:pt x="783" y="668"/>
                    </a:lnTo>
                    <a:lnTo>
                      <a:pt x="792" y="673"/>
                    </a:lnTo>
                    <a:lnTo>
                      <a:pt x="803" y="661"/>
                    </a:lnTo>
                    <a:lnTo>
                      <a:pt x="806" y="645"/>
                    </a:lnTo>
                    <a:lnTo>
                      <a:pt x="798" y="632"/>
                    </a:lnTo>
                    <a:lnTo>
                      <a:pt x="774" y="605"/>
                    </a:lnTo>
                    <a:lnTo>
                      <a:pt x="763" y="591"/>
                    </a:lnTo>
                    <a:lnTo>
                      <a:pt x="752" y="591"/>
                    </a:lnTo>
                    <a:lnTo>
                      <a:pt x="738" y="584"/>
                    </a:lnTo>
                    <a:lnTo>
                      <a:pt x="723" y="584"/>
                    </a:lnTo>
                    <a:lnTo>
                      <a:pt x="706" y="565"/>
                    </a:lnTo>
                    <a:lnTo>
                      <a:pt x="680" y="553"/>
                    </a:lnTo>
                    <a:lnTo>
                      <a:pt x="640" y="540"/>
                    </a:lnTo>
                    <a:lnTo>
                      <a:pt x="619" y="525"/>
                    </a:lnTo>
                    <a:lnTo>
                      <a:pt x="623" y="512"/>
                    </a:lnTo>
                    <a:lnTo>
                      <a:pt x="635" y="499"/>
                    </a:lnTo>
                    <a:lnTo>
                      <a:pt x="636" y="483"/>
                    </a:lnTo>
                    <a:lnTo>
                      <a:pt x="622" y="479"/>
                    </a:lnTo>
                    <a:lnTo>
                      <a:pt x="595" y="485"/>
                    </a:lnTo>
                    <a:lnTo>
                      <a:pt x="566" y="485"/>
                    </a:lnTo>
                    <a:lnTo>
                      <a:pt x="566" y="499"/>
                    </a:lnTo>
                    <a:lnTo>
                      <a:pt x="548" y="473"/>
                    </a:lnTo>
                    <a:lnTo>
                      <a:pt x="530" y="463"/>
                    </a:lnTo>
                    <a:lnTo>
                      <a:pt x="526" y="448"/>
                    </a:lnTo>
                    <a:lnTo>
                      <a:pt x="488" y="415"/>
                    </a:lnTo>
                    <a:lnTo>
                      <a:pt x="470" y="351"/>
                    </a:lnTo>
                    <a:lnTo>
                      <a:pt x="456" y="324"/>
                    </a:lnTo>
                    <a:lnTo>
                      <a:pt x="434" y="312"/>
                    </a:lnTo>
                    <a:lnTo>
                      <a:pt x="398" y="287"/>
                    </a:lnTo>
                    <a:lnTo>
                      <a:pt x="374" y="257"/>
                    </a:lnTo>
                    <a:lnTo>
                      <a:pt x="374" y="209"/>
                    </a:lnTo>
                    <a:lnTo>
                      <a:pt x="386" y="199"/>
                    </a:lnTo>
                    <a:lnTo>
                      <a:pt x="379" y="183"/>
                    </a:lnTo>
                    <a:lnTo>
                      <a:pt x="371" y="175"/>
                    </a:lnTo>
                    <a:lnTo>
                      <a:pt x="368" y="153"/>
                    </a:lnTo>
                    <a:lnTo>
                      <a:pt x="387" y="148"/>
                    </a:lnTo>
                    <a:lnTo>
                      <a:pt x="410" y="144"/>
                    </a:lnTo>
                    <a:lnTo>
                      <a:pt x="430" y="129"/>
                    </a:lnTo>
                    <a:lnTo>
                      <a:pt x="450" y="127"/>
                    </a:lnTo>
                    <a:lnTo>
                      <a:pt x="468" y="124"/>
                    </a:lnTo>
                    <a:lnTo>
                      <a:pt x="458" y="115"/>
                    </a:lnTo>
                    <a:lnTo>
                      <a:pt x="460" y="99"/>
                    </a:lnTo>
                    <a:lnTo>
                      <a:pt x="452" y="93"/>
                    </a:lnTo>
                    <a:lnTo>
                      <a:pt x="458" y="81"/>
                    </a:lnTo>
                    <a:lnTo>
                      <a:pt x="448" y="67"/>
                    </a:lnTo>
                    <a:lnTo>
                      <a:pt x="459" y="49"/>
                    </a:lnTo>
                    <a:lnTo>
                      <a:pt x="427" y="41"/>
                    </a:lnTo>
                    <a:lnTo>
                      <a:pt x="404" y="44"/>
                    </a:lnTo>
                    <a:lnTo>
                      <a:pt x="378" y="29"/>
                    </a:lnTo>
                    <a:lnTo>
                      <a:pt x="367" y="7"/>
                    </a:lnTo>
                    <a:lnTo>
                      <a:pt x="360" y="0"/>
                    </a:lnTo>
                    <a:lnTo>
                      <a:pt x="350" y="1"/>
                    </a:lnTo>
                    <a:lnTo>
                      <a:pt x="302" y="11"/>
                    </a:lnTo>
                    <a:lnTo>
                      <a:pt x="291" y="15"/>
                    </a:lnTo>
                    <a:lnTo>
                      <a:pt x="258" y="11"/>
                    </a:lnTo>
                    <a:lnTo>
                      <a:pt x="252" y="35"/>
                    </a:lnTo>
                    <a:lnTo>
                      <a:pt x="232" y="39"/>
                    </a:lnTo>
                    <a:lnTo>
                      <a:pt x="235" y="53"/>
                    </a:lnTo>
                    <a:lnTo>
                      <a:pt x="230" y="64"/>
                    </a:lnTo>
                    <a:lnTo>
                      <a:pt x="216" y="60"/>
                    </a:lnTo>
                    <a:lnTo>
                      <a:pt x="198" y="56"/>
                    </a:lnTo>
                    <a:lnTo>
                      <a:pt x="187" y="49"/>
                    </a:lnTo>
                    <a:lnTo>
                      <a:pt x="172" y="59"/>
                    </a:lnTo>
                    <a:lnTo>
                      <a:pt x="166" y="75"/>
                    </a:lnTo>
                    <a:lnTo>
                      <a:pt x="154" y="95"/>
                    </a:lnTo>
                    <a:lnTo>
                      <a:pt x="130" y="67"/>
                    </a:lnTo>
                    <a:lnTo>
                      <a:pt x="124" y="49"/>
                    </a:lnTo>
                    <a:lnTo>
                      <a:pt x="106" y="52"/>
                    </a:lnTo>
                    <a:lnTo>
                      <a:pt x="98" y="67"/>
                    </a:lnTo>
                    <a:lnTo>
                      <a:pt x="80" y="87"/>
                    </a:lnTo>
                    <a:lnTo>
                      <a:pt x="66" y="83"/>
                    </a:lnTo>
                    <a:lnTo>
                      <a:pt x="26" y="74"/>
                    </a:lnTo>
                    <a:lnTo>
                      <a:pt x="16" y="83"/>
                    </a:lnTo>
                    <a:lnTo>
                      <a:pt x="15" y="103"/>
                    </a:lnTo>
                    <a:lnTo>
                      <a:pt x="17" y="127"/>
                    </a:lnTo>
                    <a:lnTo>
                      <a:pt x="23" y="143"/>
                    </a:lnTo>
                    <a:lnTo>
                      <a:pt x="12" y="153"/>
                    </a:lnTo>
                    <a:lnTo>
                      <a:pt x="0" y="167"/>
                    </a:lnTo>
                    <a:lnTo>
                      <a:pt x="7" y="181"/>
                    </a:lnTo>
                    <a:lnTo>
                      <a:pt x="14" y="189"/>
                    </a:lnTo>
                    <a:lnTo>
                      <a:pt x="6" y="211"/>
                    </a:lnTo>
                    <a:lnTo>
                      <a:pt x="12" y="237"/>
                    </a:lnTo>
                    <a:lnTo>
                      <a:pt x="16" y="247"/>
                    </a:lnTo>
                    <a:lnTo>
                      <a:pt x="35" y="252"/>
                    </a:lnTo>
                    <a:lnTo>
                      <a:pt x="47" y="252"/>
                    </a:lnTo>
                    <a:lnTo>
                      <a:pt x="54" y="269"/>
                    </a:lnTo>
                    <a:lnTo>
                      <a:pt x="55" y="284"/>
                    </a:lnTo>
                    <a:lnTo>
                      <a:pt x="70" y="284"/>
                    </a:lnTo>
                    <a:lnTo>
                      <a:pt x="91" y="276"/>
                    </a:lnTo>
                    <a:lnTo>
                      <a:pt x="98" y="263"/>
                    </a:lnTo>
                    <a:lnTo>
                      <a:pt x="107" y="251"/>
                    </a:lnTo>
                    <a:lnTo>
                      <a:pt x="124" y="240"/>
                    </a:lnTo>
                    <a:lnTo>
                      <a:pt x="134" y="232"/>
                    </a:lnTo>
                    <a:lnTo>
                      <a:pt x="148" y="236"/>
                    </a:lnTo>
                    <a:lnTo>
                      <a:pt x="179" y="253"/>
                    </a:lnTo>
                    <a:lnTo>
                      <a:pt x="199" y="269"/>
                    </a:lnTo>
                    <a:lnTo>
                      <a:pt x="219" y="280"/>
                    </a:lnTo>
                    <a:lnTo>
                      <a:pt x="234" y="292"/>
                    </a:lnTo>
                    <a:lnTo>
                      <a:pt x="232" y="315"/>
                    </a:lnTo>
                    <a:lnTo>
                      <a:pt x="243" y="339"/>
                    </a:lnTo>
                    <a:lnTo>
                      <a:pt x="246" y="356"/>
                    </a:lnTo>
                    <a:lnTo>
                      <a:pt x="251" y="375"/>
                    </a:lnTo>
                    <a:lnTo>
                      <a:pt x="283" y="416"/>
                    </a:lnTo>
                    <a:lnTo>
                      <a:pt x="286" y="435"/>
                    </a:lnTo>
                    <a:lnTo>
                      <a:pt x="304" y="432"/>
                    </a:lnTo>
                    <a:lnTo>
                      <a:pt x="335" y="467"/>
                    </a:lnTo>
                    <a:lnTo>
                      <a:pt x="368" y="505"/>
                    </a:lnTo>
                    <a:lnTo>
                      <a:pt x="418" y="549"/>
                    </a:lnTo>
                    <a:lnTo>
                      <a:pt x="466" y="549"/>
                    </a:lnTo>
                    <a:lnTo>
                      <a:pt x="491" y="584"/>
                    </a:lnTo>
                    <a:lnTo>
                      <a:pt x="506" y="593"/>
                    </a:lnTo>
                    <a:lnTo>
                      <a:pt x="518" y="609"/>
                    </a:lnTo>
                    <a:lnTo>
                      <a:pt x="543" y="609"/>
                    </a:lnTo>
                    <a:lnTo>
                      <a:pt x="552" y="624"/>
                    </a:lnTo>
                    <a:lnTo>
                      <a:pt x="554" y="643"/>
                    </a:lnTo>
                    <a:lnTo>
                      <a:pt x="590" y="673"/>
                    </a:lnTo>
                    <a:lnTo>
                      <a:pt x="603" y="660"/>
                    </a:lnTo>
                    <a:lnTo>
                      <a:pt x="615" y="699"/>
                    </a:lnTo>
                    <a:lnTo>
                      <a:pt x="630" y="721"/>
                    </a:lnTo>
                    <a:lnTo>
                      <a:pt x="635" y="740"/>
                    </a:lnTo>
                    <a:lnTo>
                      <a:pt x="647" y="776"/>
                    </a:lnTo>
                    <a:lnTo>
                      <a:pt x="624" y="787"/>
                    </a:lnTo>
                    <a:lnTo>
                      <a:pt x="620" y="801"/>
                    </a:lnTo>
                    <a:lnTo>
                      <a:pt x="616" y="820"/>
                    </a:lnTo>
                    <a:lnTo>
                      <a:pt x="604" y="832"/>
                    </a:lnTo>
                    <a:lnTo>
                      <a:pt x="596" y="829"/>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2" name="Freeform 15">
                <a:extLst>
                  <a:ext uri="{FF2B5EF4-FFF2-40B4-BE49-F238E27FC236}">
                    <a16:creationId xmlns:a16="http://schemas.microsoft.com/office/drawing/2014/main" id="{1C86B110-5A72-0D76-0AD3-ED7948F2311E}"/>
                  </a:ext>
                </a:extLst>
              </p:cNvPr>
              <p:cNvSpPr>
                <a:spLocks/>
              </p:cNvSpPr>
              <p:nvPr/>
            </p:nvSpPr>
            <p:spPr bwMode="auto">
              <a:xfrm>
                <a:off x="4847792" y="2617935"/>
                <a:ext cx="705068" cy="506542"/>
              </a:xfrm>
              <a:custGeom>
                <a:avLst/>
                <a:gdLst>
                  <a:gd name="T0" fmla="*/ 533 w 1101"/>
                  <a:gd name="T1" fmla="*/ 677 h 747"/>
                  <a:gd name="T2" fmla="*/ 562 w 1101"/>
                  <a:gd name="T3" fmla="*/ 639 h 747"/>
                  <a:gd name="T4" fmla="*/ 573 w 1101"/>
                  <a:gd name="T5" fmla="*/ 617 h 747"/>
                  <a:gd name="T6" fmla="*/ 606 w 1101"/>
                  <a:gd name="T7" fmla="*/ 575 h 747"/>
                  <a:gd name="T8" fmla="*/ 649 w 1101"/>
                  <a:gd name="T9" fmla="*/ 547 h 747"/>
                  <a:gd name="T10" fmla="*/ 662 w 1101"/>
                  <a:gd name="T11" fmla="*/ 591 h 747"/>
                  <a:gd name="T12" fmla="*/ 733 w 1101"/>
                  <a:gd name="T13" fmla="*/ 592 h 747"/>
                  <a:gd name="T14" fmla="*/ 760 w 1101"/>
                  <a:gd name="T15" fmla="*/ 617 h 747"/>
                  <a:gd name="T16" fmla="*/ 718 w 1101"/>
                  <a:gd name="T17" fmla="*/ 675 h 747"/>
                  <a:gd name="T18" fmla="*/ 793 w 1101"/>
                  <a:gd name="T19" fmla="*/ 709 h 747"/>
                  <a:gd name="T20" fmla="*/ 846 w 1101"/>
                  <a:gd name="T21" fmla="*/ 731 h 747"/>
                  <a:gd name="T22" fmla="*/ 897 w 1101"/>
                  <a:gd name="T23" fmla="*/ 672 h 747"/>
                  <a:gd name="T24" fmla="*/ 976 w 1101"/>
                  <a:gd name="T25" fmla="*/ 637 h 747"/>
                  <a:gd name="T26" fmla="*/ 936 w 1101"/>
                  <a:gd name="T27" fmla="*/ 613 h 747"/>
                  <a:gd name="T28" fmla="*/ 881 w 1101"/>
                  <a:gd name="T29" fmla="*/ 633 h 747"/>
                  <a:gd name="T30" fmla="*/ 840 w 1101"/>
                  <a:gd name="T31" fmla="*/ 603 h 747"/>
                  <a:gd name="T32" fmla="*/ 802 w 1101"/>
                  <a:gd name="T33" fmla="*/ 593 h 747"/>
                  <a:gd name="T34" fmla="*/ 853 w 1101"/>
                  <a:gd name="T35" fmla="*/ 587 h 747"/>
                  <a:gd name="T36" fmla="*/ 870 w 1101"/>
                  <a:gd name="T37" fmla="*/ 549 h 747"/>
                  <a:gd name="T38" fmla="*/ 914 w 1101"/>
                  <a:gd name="T39" fmla="*/ 491 h 747"/>
                  <a:gd name="T40" fmla="*/ 969 w 1101"/>
                  <a:gd name="T41" fmla="*/ 449 h 747"/>
                  <a:gd name="T42" fmla="*/ 1032 w 1101"/>
                  <a:gd name="T43" fmla="*/ 405 h 747"/>
                  <a:gd name="T44" fmla="*/ 1048 w 1101"/>
                  <a:gd name="T45" fmla="*/ 320 h 747"/>
                  <a:gd name="T46" fmla="*/ 1101 w 1101"/>
                  <a:gd name="T47" fmla="*/ 261 h 747"/>
                  <a:gd name="T48" fmla="*/ 1080 w 1101"/>
                  <a:gd name="T49" fmla="*/ 201 h 747"/>
                  <a:gd name="T50" fmla="*/ 1065 w 1101"/>
                  <a:gd name="T51" fmla="*/ 133 h 747"/>
                  <a:gd name="T52" fmla="*/ 983 w 1101"/>
                  <a:gd name="T53" fmla="*/ 131 h 747"/>
                  <a:gd name="T54" fmla="*/ 902 w 1101"/>
                  <a:gd name="T55" fmla="*/ 124 h 747"/>
                  <a:gd name="T56" fmla="*/ 836 w 1101"/>
                  <a:gd name="T57" fmla="*/ 136 h 747"/>
                  <a:gd name="T58" fmla="*/ 768 w 1101"/>
                  <a:gd name="T59" fmla="*/ 136 h 747"/>
                  <a:gd name="T60" fmla="*/ 694 w 1101"/>
                  <a:gd name="T61" fmla="*/ 85 h 747"/>
                  <a:gd name="T62" fmla="*/ 658 w 1101"/>
                  <a:gd name="T63" fmla="*/ 23 h 747"/>
                  <a:gd name="T64" fmla="*/ 606 w 1101"/>
                  <a:gd name="T65" fmla="*/ 5 h 747"/>
                  <a:gd name="T66" fmla="*/ 557 w 1101"/>
                  <a:gd name="T67" fmla="*/ 23 h 747"/>
                  <a:gd name="T68" fmla="*/ 506 w 1101"/>
                  <a:gd name="T69" fmla="*/ 51 h 747"/>
                  <a:gd name="T70" fmla="*/ 472 w 1101"/>
                  <a:gd name="T71" fmla="*/ 133 h 747"/>
                  <a:gd name="T72" fmla="*/ 412 w 1101"/>
                  <a:gd name="T73" fmla="*/ 152 h 747"/>
                  <a:gd name="T74" fmla="*/ 353 w 1101"/>
                  <a:gd name="T75" fmla="*/ 148 h 747"/>
                  <a:gd name="T76" fmla="*/ 266 w 1101"/>
                  <a:gd name="T77" fmla="*/ 157 h 747"/>
                  <a:gd name="T78" fmla="*/ 201 w 1101"/>
                  <a:gd name="T79" fmla="*/ 139 h 747"/>
                  <a:gd name="T80" fmla="*/ 130 w 1101"/>
                  <a:gd name="T81" fmla="*/ 144 h 747"/>
                  <a:gd name="T82" fmla="*/ 54 w 1101"/>
                  <a:gd name="T83" fmla="*/ 179 h 747"/>
                  <a:gd name="T84" fmla="*/ 90 w 1101"/>
                  <a:gd name="T85" fmla="*/ 272 h 747"/>
                  <a:gd name="T86" fmla="*/ 28 w 1101"/>
                  <a:gd name="T87" fmla="*/ 379 h 747"/>
                  <a:gd name="T88" fmla="*/ 6 w 1101"/>
                  <a:gd name="T89" fmla="*/ 452 h 747"/>
                  <a:gd name="T90" fmla="*/ 130 w 1101"/>
                  <a:gd name="T91" fmla="*/ 527 h 747"/>
                  <a:gd name="T92" fmla="*/ 205 w 1101"/>
                  <a:gd name="T93" fmla="*/ 515 h 747"/>
                  <a:gd name="T94" fmla="*/ 290 w 1101"/>
                  <a:gd name="T95" fmla="*/ 455 h 747"/>
                  <a:gd name="T96" fmla="*/ 422 w 1101"/>
                  <a:gd name="T97" fmla="*/ 460 h 747"/>
                  <a:gd name="T98" fmla="*/ 482 w 1101"/>
                  <a:gd name="T99" fmla="*/ 541 h 747"/>
                  <a:gd name="T100" fmla="*/ 525 w 1101"/>
                  <a:gd name="T101" fmla="*/ 587 h 747"/>
                  <a:gd name="T102" fmla="*/ 467 w 1101"/>
                  <a:gd name="T103" fmla="*/ 611 h 747"/>
                  <a:gd name="T104" fmla="*/ 440 w 1101"/>
                  <a:gd name="T105" fmla="*/ 687 h 747"/>
                  <a:gd name="T106" fmla="*/ 520 w 1101"/>
                  <a:gd name="T107" fmla="*/ 704 h 7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1" h="747">
                    <a:moveTo>
                      <a:pt x="520" y="704"/>
                    </a:moveTo>
                    <a:lnTo>
                      <a:pt x="520" y="688"/>
                    </a:lnTo>
                    <a:lnTo>
                      <a:pt x="517" y="672"/>
                    </a:lnTo>
                    <a:lnTo>
                      <a:pt x="533" y="677"/>
                    </a:lnTo>
                    <a:lnTo>
                      <a:pt x="541" y="665"/>
                    </a:lnTo>
                    <a:lnTo>
                      <a:pt x="553" y="663"/>
                    </a:lnTo>
                    <a:lnTo>
                      <a:pt x="561" y="651"/>
                    </a:lnTo>
                    <a:lnTo>
                      <a:pt x="562" y="639"/>
                    </a:lnTo>
                    <a:lnTo>
                      <a:pt x="549" y="627"/>
                    </a:lnTo>
                    <a:lnTo>
                      <a:pt x="541" y="612"/>
                    </a:lnTo>
                    <a:lnTo>
                      <a:pt x="556" y="616"/>
                    </a:lnTo>
                    <a:lnTo>
                      <a:pt x="573" y="617"/>
                    </a:lnTo>
                    <a:lnTo>
                      <a:pt x="578" y="601"/>
                    </a:lnTo>
                    <a:lnTo>
                      <a:pt x="582" y="585"/>
                    </a:lnTo>
                    <a:lnTo>
                      <a:pt x="594" y="581"/>
                    </a:lnTo>
                    <a:lnTo>
                      <a:pt x="606" y="575"/>
                    </a:lnTo>
                    <a:lnTo>
                      <a:pt x="618" y="571"/>
                    </a:lnTo>
                    <a:lnTo>
                      <a:pt x="628" y="557"/>
                    </a:lnTo>
                    <a:lnTo>
                      <a:pt x="636" y="563"/>
                    </a:lnTo>
                    <a:lnTo>
                      <a:pt x="649" y="547"/>
                    </a:lnTo>
                    <a:lnTo>
                      <a:pt x="666" y="563"/>
                    </a:lnTo>
                    <a:lnTo>
                      <a:pt x="666" y="575"/>
                    </a:lnTo>
                    <a:lnTo>
                      <a:pt x="646" y="579"/>
                    </a:lnTo>
                    <a:lnTo>
                      <a:pt x="662" y="591"/>
                    </a:lnTo>
                    <a:lnTo>
                      <a:pt x="662" y="599"/>
                    </a:lnTo>
                    <a:lnTo>
                      <a:pt x="689" y="604"/>
                    </a:lnTo>
                    <a:lnTo>
                      <a:pt x="714" y="608"/>
                    </a:lnTo>
                    <a:lnTo>
                      <a:pt x="733" y="592"/>
                    </a:lnTo>
                    <a:lnTo>
                      <a:pt x="746" y="588"/>
                    </a:lnTo>
                    <a:lnTo>
                      <a:pt x="776" y="593"/>
                    </a:lnTo>
                    <a:lnTo>
                      <a:pt x="780" y="604"/>
                    </a:lnTo>
                    <a:lnTo>
                      <a:pt x="760" y="617"/>
                    </a:lnTo>
                    <a:lnTo>
                      <a:pt x="738" y="632"/>
                    </a:lnTo>
                    <a:lnTo>
                      <a:pt x="733" y="647"/>
                    </a:lnTo>
                    <a:lnTo>
                      <a:pt x="718" y="663"/>
                    </a:lnTo>
                    <a:lnTo>
                      <a:pt x="718" y="675"/>
                    </a:lnTo>
                    <a:lnTo>
                      <a:pt x="746" y="671"/>
                    </a:lnTo>
                    <a:lnTo>
                      <a:pt x="761" y="680"/>
                    </a:lnTo>
                    <a:lnTo>
                      <a:pt x="785" y="684"/>
                    </a:lnTo>
                    <a:lnTo>
                      <a:pt x="793" y="709"/>
                    </a:lnTo>
                    <a:lnTo>
                      <a:pt x="800" y="727"/>
                    </a:lnTo>
                    <a:lnTo>
                      <a:pt x="806" y="745"/>
                    </a:lnTo>
                    <a:lnTo>
                      <a:pt x="825" y="747"/>
                    </a:lnTo>
                    <a:lnTo>
                      <a:pt x="846" y="731"/>
                    </a:lnTo>
                    <a:lnTo>
                      <a:pt x="854" y="709"/>
                    </a:lnTo>
                    <a:lnTo>
                      <a:pt x="868" y="693"/>
                    </a:lnTo>
                    <a:lnTo>
                      <a:pt x="882" y="688"/>
                    </a:lnTo>
                    <a:lnTo>
                      <a:pt x="897" y="672"/>
                    </a:lnTo>
                    <a:lnTo>
                      <a:pt x="916" y="643"/>
                    </a:lnTo>
                    <a:lnTo>
                      <a:pt x="956" y="644"/>
                    </a:lnTo>
                    <a:lnTo>
                      <a:pt x="965" y="636"/>
                    </a:lnTo>
                    <a:lnTo>
                      <a:pt x="976" y="637"/>
                    </a:lnTo>
                    <a:lnTo>
                      <a:pt x="970" y="613"/>
                    </a:lnTo>
                    <a:lnTo>
                      <a:pt x="974" y="596"/>
                    </a:lnTo>
                    <a:lnTo>
                      <a:pt x="956" y="599"/>
                    </a:lnTo>
                    <a:lnTo>
                      <a:pt x="936" y="613"/>
                    </a:lnTo>
                    <a:lnTo>
                      <a:pt x="924" y="615"/>
                    </a:lnTo>
                    <a:lnTo>
                      <a:pt x="912" y="629"/>
                    </a:lnTo>
                    <a:lnTo>
                      <a:pt x="901" y="624"/>
                    </a:lnTo>
                    <a:lnTo>
                      <a:pt x="881" y="633"/>
                    </a:lnTo>
                    <a:lnTo>
                      <a:pt x="872" y="628"/>
                    </a:lnTo>
                    <a:lnTo>
                      <a:pt x="869" y="612"/>
                    </a:lnTo>
                    <a:lnTo>
                      <a:pt x="853" y="609"/>
                    </a:lnTo>
                    <a:lnTo>
                      <a:pt x="840" y="603"/>
                    </a:lnTo>
                    <a:lnTo>
                      <a:pt x="828" y="592"/>
                    </a:lnTo>
                    <a:lnTo>
                      <a:pt x="820" y="583"/>
                    </a:lnTo>
                    <a:lnTo>
                      <a:pt x="809" y="585"/>
                    </a:lnTo>
                    <a:lnTo>
                      <a:pt x="802" y="593"/>
                    </a:lnTo>
                    <a:lnTo>
                      <a:pt x="797" y="572"/>
                    </a:lnTo>
                    <a:lnTo>
                      <a:pt x="820" y="567"/>
                    </a:lnTo>
                    <a:lnTo>
                      <a:pt x="844" y="573"/>
                    </a:lnTo>
                    <a:lnTo>
                      <a:pt x="853" y="587"/>
                    </a:lnTo>
                    <a:lnTo>
                      <a:pt x="861" y="581"/>
                    </a:lnTo>
                    <a:lnTo>
                      <a:pt x="853" y="563"/>
                    </a:lnTo>
                    <a:lnTo>
                      <a:pt x="860" y="553"/>
                    </a:lnTo>
                    <a:lnTo>
                      <a:pt x="870" y="549"/>
                    </a:lnTo>
                    <a:lnTo>
                      <a:pt x="862" y="528"/>
                    </a:lnTo>
                    <a:lnTo>
                      <a:pt x="876" y="527"/>
                    </a:lnTo>
                    <a:lnTo>
                      <a:pt x="888" y="512"/>
                    </a:lnTo>
                    <a:lnTo>
                      <a:pt x="914" y="491"/>
                    </a:lnTo>
                    <a:lnTo>
                      <a:pt x="942" y="472"/>
                    </a:lnTo>
                    <a:lnTo>
                      <a:pt x="950" y="468"/>
                    </a:lnTo>
                    <a:lnTo>
                      <a:pt x="958" y="471"/>
                    </a:lnTo>
                    <a:lnTo>
                      <a:pt x="969" y="449"/>
                    </a:lnTo>
                    <a:lnTo>
                      <a:pt x="985" y="439"/>
                    </a:lnTo>
                    <a:lnTo>
                      <a:pt x="992" y="425"/>
                    </a:lnTo>
                    <a:lnTo>
                      <a:pt x="1014" y="411"/>
                    </a:lnTo>
                    <a:lnTo>
                      <a:pt x="1032" y="405"/>
                    </a:lnTo>
                    <a:lnTo>
                      <a:pt x="1025" y="384"/>
                    </a:lnTo>
                    <a:lnTo>
                      <a:pt x="1022" y="357"/>
                    </a:lnTo>
                    <a:lnTo>
                      <a:pt x="1045" y="341"/>
                    </a:lnTo>
                    <a:lnTo>
                      <a:pt x="1048" y="320"/>
                    </a:lnTo>
                    <a:lnTo>
                      <a:pt x="1069" y="320"/>
                    </a:lnTo>
                    <a:lnTo>
                      <a:pt x="1085" y="313"/>
                    </a:lnTo>
                    <a:lnTo>
                      <a:pt x="1101" y="305"/>
                    </a:lnTo>
                    <a:lnTo>
                      <a:pt x="1101" y="261"/>
                    </a:lnTo>
                    <a:lnTo>
                      <a:pt x="1086" y="255"/>
                    </a:lnTo>
                    <a:lnTo>
                      <a:pt x="1070" y="227"/>
                    </a:lnTo>
                    <a:lnTo>
                      <a:pt x="1077" y="209"/>
                    </a:lnTo>
                    <a:lnTo>
                      <a:pt x="1080" y="201"/>
                    </a:lnTo>
                    <a:lnTo>
                      <a:pt x="1062" y="196"/>
                    </a:lnTo>
                    <a:lnTo>
                      <a:pt x="1080" y="179"/>
                    </a:lnTo>
                    <a:lnTo>
                      <a:pt x="1077" y="155"/>
                    </a:lnTo>
                    <a:lnTo>
                      <a:pt x="1065" y="133"/>
                    </a:lnTo>
                    <a:lnTo>
                      <a:pt x="1044" y="139"/>
                    </a:lnTo>
                    <a:lnTo>
                      <a:pt x="1033" y="139"/>
                    </a:lnTo>
                    <a:lnTo>
                      <a:pt x="1001" y="132"/>
                    </a:lnTo>
                    <a:lnTo>
                      <a:pt x="983" y="131"/>
                    </a:lnTo>
                    <a:lnTo>
                      <a:pt x="954" y="136"/>
                    </a:lnTo>
                    <a:lnTo>
                      <a:pt x="936" y="144"/>
                    </a:lnTo>
                    <a:lnTo>
                      <a:pt x="918" y="137"/>
                    </a:lnTo>
                    <a:lnTo>
                      <a:pt x="902" y="124"/>
                    </a:lnTo>
                    <a:lnTo>
                      <a:pt x="884" y="109"/>
                    </a:lnTo>
                    <a:lnTo>
                      <a:pt x="864" y="128"/>
                    </a:lnTo>
                    <a:lnTo>
                      <a:pt x="844" y="140"/>
                    </a:lnTo>
                    <a:lnTo>
                      <a:pt x="836" y="136"/>
                    </a:lnTo>
                    <a:lnTo>
                      <a:pt x="821" y="141"/>
                    </a:lnTo>
                    <a:lnTo>
                      <a:pt x="801" y="132"/>
                    </a:lnTo>
                    <a:lnTo>
                      <a:pt x="788" y="144"/>
                    </a:lnTo>
                    <a:lnTo>
                      <a:pt x="768" y="136"/>
                    </a:lnTo>
                    <a:lnTo>
                      <a:pt x="758" y="107"/>
                    </a:lnTo>
                    <a:lnTo>
                      <a:pt x="729" y="80"/>
                    </a:lnTo>
                    <a:lnTo>
                      <a:pt x="712" y="87"/>
                    </a:lnTo>
                    <a:lnTo>
                      <a:pt x="694" y="85"/>
                    </a:lnTo>
                    <a:lnTo>
                      <a:pt x="686" y="84"/>
                    </a:lnTo>
                    <a:lnTo>
                      <a:pt x="669" y="53"/>
                    </a:lnTo>
                    <a:lnTo>
                      <a:pt x="678" y="37"/>
                    </a:lnTo>
                    <a:lnTo>
                      <a:pt x="658" y="23"/>
                    </a:lnTo>
                    <a:lnTo>
                      <a:pt x="654" y="13"/>
                    </a:lnTo>
                    <a:lnTo>
                      <a:pt x="640" y="0"/>
                    </a:lnTo>
                    <a:lnTo>
                      <a:pt x="626" y="1"/>
                    </a:lnTo>
                    <a:lnTo>
                      <a:pt x="606" y="5"/>
                    </a:lnTo>
                    <a:lnTo>
                      <a:pt x="594" y="7"/>
                    </a:lnTo>
                    <a:lnTo>
                      <a:pt x="581" y="16"/>
                    </a:lnTo>
                    <a:lnTo>
                      <a:pt x="566" y="20"/>
                    </a:lnTo>
                    <a:lnTo>
                      <a:pt x="557" y="23"/>
                    </a:lnTo>
                    <a:lnTo>
                      <a:pt x="545" y="45"/>
                    </a:lnTo>
                    <a:lnTo>
                      <a:pt x="537" y="45"/>
                    </a:lnTo>
                    <a:lnTo>
                      <a:pt x="524" y="44"/>
                    </a:lnTo>
                    <a:lnTo>
                      <a:pt x="506" y="51"/>
                    </a:lnTo>
                    <a:lnTo>
                      <a:pt x="477" y="71"/>
                    </a:lnTo>
                    <a:lnTo>
                      <a:pt x="468" y="89"/>
                    </a:lnTo>
                    <a:lnTo>
                      <a:pt x="461" y="104"/>
                    </a:lnTo>
                    <a:lnTo>
                      <a:pt x="472" y="133"/>
                    </a:lnTo>
                    <a:lnTo>
                      <a:pt x="462" y="148"/>
                    </a:lnTo>
                    <a:lnTo>
                      <a:pt x="441" y="139"/>
                    </a:lnTo>
                    <a:lnTo>
                      <a:pt x="430" y="147"/>
                    </a:lnTo>
                    <a:lnTo>
                      <a:pt x="412" y="152"/>
                    </a:lnTo>
                    <a:lnTo>
                      <a:pt x="404" y="157"/>
                    </a:lnTo>
                    <a:lnTo>
                      <a:pt x="380" y="133"/>
                    </a:lnTo>
                    <a:lnTo>
                      <a:pt x="365" y="157"/>
                    </a:lnTo>
                    <a:lnTo>
                      <a:pt x="353" y="148"/>
                    </a:lnTo>
                    <a:lnTo>
                      <a:pt x="328" y="148"/>
                    </a:lnTo>
                    <a:lnTo>
                      <a:pt x="293" y="167"/>
                    </a:lnTo>
                    <a:lnTo>
                      <a:pt x="278" y="156"/>
                    </a:lnTo>
                    <a:lnTo>
                      <a:pt x="266" y="157"/>
                    </a:lnTo>
                    <a:lnTo>
                      <a:pt x="249" y="140"/>
                    </a:lnTo>
                    <a:lnTo>
                      <a:pt x="237" y="136"/>
                    </a:lnTo>
                    <a:lnTo>
                      <a:pt x="216" y="144"/>
                    </a:lnTo>
                    <a:lnTo>
                      <a:pt x="201" y="139"/>
                    </a:lnTo>
                    <a:lnTo>
                      <a:pt x="182" y="129"/>
                    </a:lnTo>
                    <a:lnTo>
                      <a:pt x="174" y="136"/>
                    </a:lnTo>
                    <a:lnTo>
                      <a:pt x="133" y="135"/>
                    </a:lnTo>
                    <a:lnTo>
                      <a:pt x="130" y="144"/>
                    </a:lnTo>
                    <a:lnTo>
                      <a:pt x="112" y="144"/>
                    </a:lnTo>
                    <a:lnTo>
                      <a:pt x="94" y="163"/>
                    </a:lnTo>
                    <a:lnTo>
                      <a:pt x="76" y="179"/>
                    </a:lnTo>
                    <a:lnTo>
                      <a:pt x="54" y="179"/>
                    </a:lnTo>
                    <a:lnTo>
                      <a:pt x="57" y="212"/>
                    </a:lnTo>
                    <a:lnTo>
                      <a:pt x="66" y="229"/>
                    </a:lnTo>
                    <a:lnTo>
                      <a:pt x="89" y="244"/>
                    </a:lnTo>
                    <a:lnTo>
                      <a:pt x="90" y="272"/>
                    </a:lnTo>
                    <a:lnTo>
                      <a:pt x="94" y="285"/>
                    </a:lnTo>
                    <a:lnTo>
                      <a:pt x="56" y="327"/>
                    </a:lnTo>
                    <a:lnTo>
                      <a:pt x="40" y="351"/>
                    </a:lnTo>
                    <a:lnTo>
                      <a:pt x="28" y="379"/>
                    </a:lnTo>
                    <a:lnTo>
                      <a:pt x="28" y="404"/>
                    </a:lnTo>
                    <a:lnTo>
                      <a:pt x="25" y="429"/>
                    </a:lnTo>
                    <a:lnTo>
                      <a:pt x="12" y="431"/>
                    </a:lnTo>
                    <a:lnTo>
                      <a:pt x="6" y="452"/>
                    </a:lnTo>
                    <a:lnTo>
                      <a:pt x="0" y="489"/>
                    </a:lnTo>
                    <a:lnTo>
                      <a:pt x="30" y="511"/>
                    </a:lnTo>
                    <a:lnTo>
                      <a:pt x="45" y="527"/>
                    </a:lnTo>
                    <a:lnTo>
                      <a:pt x="130" y="527"/>
                    </a:lnTo>
                    <a:lnTo>
                      <a:pt x="157" y="519"/>
                    </a:lnTo>
                    <a:lnTo>
                      <a:pt x="169" y="525"/>
                    </a:lnTo>
                    <a:lnTo>
                      <a:pt x="189" y="531"/>
                    </a:lnTo>
                    <a:lnTo>
                      <a:pt x="205" y="515"/>
                    </a:lnTo>
                    <a:lnTo>
                      <a:pt x="217" y="511"/>
                    </a:lnTo>
                    <a:lnTo>
                      <a:pt x="233" y="507"/>
                    </a:lnTo>
                    <a:lnTo>
                      <a:pt x="280" y="467"/>
                    </a:lnTo>
                    <a:lnTo>
                      <a:pt x="290" y="455"/>
                    </a:lnTo>
                    <a:lnTo>
                      <a:pt x="309" y="453"/>
                    </a:lnTo>
                    <a:lnTo>
                      <a:pt x="329" y="441"/>
                    </a:lnTo>
                    <a:lnTo>
                      <a:pt x="370" y="465"/>
                    </a:lnTo>
                    <a:lnTo>
                      <a:pt x="422" y="460"/>
                    </a:lnTo>
                    <a:lnTo>
                      <a:pt x="446" y="475"/>
                    </a:lnTo>
                    <a:lnTo>
                      <a:pt x="453" y="481"/>
                    </a:lnTo>
                    <a:lnTo>
                      <a:pt x="458" y="505"/>
                    </a:lnTo>
                    <a:lnTo>
                      <a:pt x="482" y="541"/>
                    </a:lnTo>
                    <a:lnTo>
                      <a:pt x="492" y="559"/>
                    </a:lnTo>
                    <a:lnTo>
                      <a:pt x="510" y="559"/>
                    </a:lnTo>
                    <a:lnTo>
                      <a:pt x="518" y="573"/>
                    </a:lnTo>
                    <a:lnTo>
                      <a:pt x="525" y="587"/>
                    </a:lnTo>
                    <a:lnTo>
                      <a:pt x="522" y="615"/>
                    </a:lnTo>
                    <a:lnTo>
                      <a:pt x="508" y="615"/>
                    </a:lnTo>
                    <a:lnTo>
                      <a:pt x="477" y="621"/>
                    </a:lnTo>
                    <a:lnTo>
                      <a:pt x="467" y="611"/>
                    </a:lnTo>
                    <a:lnTo>
                      <a:pt x="465" y="637"/>
                    </a:lnTo>
                    <a:lnTo>
                      <a:pt x="466" y="652"/>
                    </a:lnTo>
                    <a:lnTo>
                      <a:pt x="456" y="679"/>
                    </a:lnTo>
                    <a:lnTo>
                      <a:pt x="440" y="687"/>
                    </a:lnTo>
                    <a:lnTo>
                      <a:pt x="441" y="721"/>
                    </a:lnTo>
                    <a:lnTo>
                      <a:pt x="468" y="729"/>
                    </a:lnTo>
                    <a:lnTo>
                      <a:pt x="492" y="720"/>
                    </a:lnTo>
                    <a:lnTo>
                      <a:pt x="520" y="70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3" name="Freeform 16">
                <a:extLst>
                  <a:ext uri="{FF2B5EF4-FFF2-40B4-BE49-F238E27FC236}">
                    <a16:creationId xmlns:a16="http://schemas.microsoft.com/office/drawing/2014/main" id="{75F9E10A-83B6-249D-C606-EFD79B3FDF84}"/>
                  </a:ext>
                </a:extLst>
              </p:cNvPr>
              <p:cNvSpPr>
                <a:spLocks/>
              </p:cNvSpPr>
              <p:nvPr/>
            </p:nvSpPr>
            <p:spPr bwMode="auto">
              <a:xfrm>
                <a:off x="4759239" y="2322807"/>
                <a:ext cx="250900" cy="142598"/>
              </a:xfrm>
              <a:custGeom>
                <a:avLst/>
                <a:gdLst>
                  <a:gd name="T0" fmla="*/ 8 w 392"/>
                  <a:gd name="T1" fmla="*/ 211 h 211"/>
                  <a:gd name="T2" fmla="*/ 23 w 392"/>
                  <a:gd name="T3" fmla="*/ 206 h 211"/>
                  <a:gd name="T4" fmla="*/ 35 w 392"/>
                  <a:gd name="T5" fmla="*/ 192 h 211"/>
                  <a:gd name="T6" fmla="*/ 67 w 392"/>
                  <a:gd name="T7" fmla="*/ 177 h 211"/>
                  <a:gd name="T8" fmla="*/ 87 w 392"/>
                  <a:gd name="T9" fmla="*/ 169 h 211"/>
                  <a:gd name="T10" fmla="*/ 94 w 392"/>
                  <a:gd name="T11" fmla="*/ 175 h 211"/>
                  <a:gd name="T12" fmla="*/ 110 w 392"/>
                  <a:gd name="T13" fmla="*/ 168 h 211"/>
                  <a:gd name="T14" fmla="*/ 142 w 392"/>
                  <a:gd name="T15" fmla="*/ 166 h 211"/>
                  <a:gd name="T16" fmla="*/ 178 w 392"/>
                  <a:gd name="T17" fmla="*/ 174 h 211"/>
                  <a:gd name="T18" fmla="*/ 202 w 392"/>
                  <a:gd name="T19" fmla="*/ 156 h 211"/>
                  <a:gd name="T20" fmla="*/ 211 w 392"/>
                  <a:gd name="T21" fmla="*/ 155 h 211"/>
                  <a:gd name="T22" fmla="*/ 226 w 392"/>
                  <a:gd name="T23" fmla="*/ 167 h 211"/>
                  <a:gd name="T24" fmla="*/ 248 w 392"/>
                  <a:gd name="T25" fmla="*/ 176 h 211"/>
                  <a:gd name="T26" fmla="*/ 276 w 392"/>
                  <a:gd name="T27" fmla="*/ 191 h 211"/>
                  <a:gd name="T28" fmla="*/ 298 w 392"/>
                  <a:gd name="T29" fmla="*/ 203 h 211"/>
                  <a:gd name="T30" fmla="*/ 311 w 392"/>
                  <a:gd name="T31" fmla="*/ 209 h 211"/>
                  <a:gd name="T32" fmla="*/ 319 w 392"/>
                  <a:gd name="T33" fmla="*/ 208 h 211"/>
                  <a:gd name="T34" fmla="*/ 331 w 392"/>
                  <a:gd name="T35" fmla="*/ 193 h 211"/>
                  <a:gd name="T36" fmla="*/ 356 w 392"/>
                  <a:gd name="T37" fmla="*/ 193 h 211"/>
                  <a:gd name="T38" fmla="*/ 363 w 392"/>
                  <a:gd name="T39" fmla="*/ 171 h 211"/>
                  <a:gd name="T40" fmla="*/ 367 w 392"/>
                  <a:gd name="T41" fmla="*/ 158 h 211"/>
                  <a:gd name="T42" fmla="*/ 383 w 392"/>
                  <a:gd name="T43" fmla="*/ 149 h 211"/>
                  <a:gd name="T44" fmla="*/ 392 w 392"/>
                  <a:gd name="T45" fmla="*/ 148 h 211"/>
                  <a:gd name="T46" fmla="*/ 390 w 392"/>
                  <a:gd name="T47" fmla="*/ 127 h 211"/>
                  <a:gd name="T48" fmla="*/ 374 w 392"/>
                  <a:gd name="T49" fmla="*/ 105 h 211"/>
                  <a:gd name="T50" fmla="*/ 355 w 392"/>
                  <a:gd name="T51" fmla="*/ 85 h 211"/>
                  <a:gd name="T52" fmla="*/ 342 w 392"/>
                  <a:gd name="T53" fmla="*/ 78 h 211"/>
                  <a:gd name="T54" fmla="*/ 344 w 392"/>
                  <a:gd name="T55" fmla="*/ 43 h 211"/>
                  <a:gd name="T56" fmla="*/ 327 w 392"/>
                  <a:gd name="T57" fmla="*/ 30 h 211"/>
                  <a:gd name="T58" fmla="*/ 313 w 392"/>
                  <a:gd name="T59" fmla="*/ 19 h 211"/>
                  <a:gd name="T60" fmla="*/ 291 w 392"/>
                  <a:gd name="T61" fmla="*/ 27 h 211"/>
                  <a:gd name="T62" fmla="*/ 275 w 392"/>
                  <a:gd name="T63" fmla="*/ 34 h 211"/>
                  <a:gd name="T64" fmla="*/ 257 w 392"/>
                  <a:gd name="T65" fmla="*/ 23 h 211"/>
                  <a:gd name="T66" fmla="*/ 244 w 392"/>
                  <a:gd name="T67" fmla="*/ 8 h 211"/>
                  <a:gd name="T68" fmla="*/ 227 w 392"/>
                  <a:gd name="T69" fmla="*/ 6 h 211"/>
                  <a:gd name="T70" fmla="*/ 217 w 392"/>
                  <a:gd name="T71" fmla="*/ 0 h 211"/>
                  <a:gd name="T72" fmla="*/ 191 w 392"/>
                  <a:gd name="T73" fmla="*/ 3 h 211"/>
                  <a:gd name="T74" fmla="*/ 169 w 392"/>
                  <a:gd name="T75" fmla="*/ 12 h 211"/>
                  <a:gd name="T76" fmla="*/ 161 w 392"/>
                  <a:gd name="T77" fmla="*/ 20 h 211"/>
                  <a:gd name="T78" fmla="*/ 160 w 392"/>
                  <a:gd name="T79" fmla="*/ 47 h 211"/>
                  <a:gd name="T80" fmla="*/ 168 w 392"/>
                  <a:gd name="T81" fmla="*/ 85 h 211"/>
                  <a:gd name="T82" fmla="*/ 162 w 392"/>
                  <a:gd name="T83" fmla="*/ 97 h 211"/>
                  <a:gd name="T84" fmla="*/ 151 w 392"/>
                  <a:gd name="T85" fmla="*/ 106 h 211"/>
                  <a:gd name="T86" fmla="*/ 135 w 392"/>
                  <a:gd name="T87" fmla="*/ 108 h 211"/>
                  <a:gd name="T88" fmla="*/ 117 w 392"/>
                  <a:gd name="T89" fmla="*/ 101 h 211"/>
                  <a:gd name="T90" fmla="*/ 107 w 392"/>
                  <a:gd name="T91" fmla="*/ 90 h 211"/>
                  <a:gd name="T92" fmla="*/ 95 w 392"/>
                  <a:gd name="T93" fmla="*/ 73 h 211"/>
                  <a:gd name="T94" fmla="*/ 77 w 392"/>
                  <a:gd name="T95" fmla="*/ 58 h 211"/>
                  <a:gd name="T96" fmla="*/ 69 w 392"/>
                  <a:gd name="T97" fmla="*/ 51 h 211"/>
                  <a:gd name="T98" fmla="*/ 60 w 392"/>
                  <a:gd name="T99" fmla="*/ 48 h 211"/>
                  <a:gd name="T100" fmla="*/ 43 w 392"/>
                  <a:gd name="T101" fmla="*/ 61 h 211"/>
                  <a:gd name="T102" fmla="*/ 26 w 392"/>
                  <a:gd name="T103" fmla="*/ 76 h 211"/>
                  <a:gd name="T104" fmla="*/ 20 w 392"/>
                  <a:gd name="T105" fmla="*/ 91 h 211"/>
                  <a:gd name="T106" fmla="*/ 15 w 392"/>
                  <a:gd name="T107" fmla="*/ 111 h 211"/>
                  <a:gd name="T108" fmla="*/ 14 w 392"/>
                  <a:gd name="T109" fmla="*/ 127 h 211"/>
                  <a:gd name="T110" fmla="*/ 6 w 392"/>
                  <a:gd name="T111" fmla="*/ 144 h 211"/>
                  <a:gd name="T112" fmla="*/ 0 w 392"/>
                  <a:gd name="T113" fmla="*/ 163 h 211"/>
                  <a:gd name="T114" fmla="*/ 2 w 392"/>
                  <a:gd name="T115" fmla="*/ 172 h 211"/>
                  <a:gd name="T116" fmla="*/ 2 w 392"/>
                  <a:gd name="T117" fmla="*/ 191 h 211"/>
                  <a:gd name="T118" fmla="*/ 4 w 392"/>
                  <a:gd name="T119" fmla="*/ 203 h 211"/>
                  <a:gd name="T120" fmla="*/ 8 w 392"/>
                  <a:gd name="T121"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2" h="211">
                    <a:moveTo>
                      <a:pt x="8" y="211"/>
                    </a:moveTo>
                    <a:lnTo>
                      <a:pt x="23" y="206"/>
                    </a:lnTo>
                    <a:lnTo>
                      <a:pt x="35" y="192"/>
                    </a:lnTo>
                    <a:lnTo>
                      <a:pt x="67" y="177"/>
                    </a:lnTo>
                    <a:lnTo>
                      <a:pt x="87" y="169"/>
                    </a:lnTo>
                    <a:lnTo>
                      <a:pt x="94" y="175"/>
                    </a:lnTo>
                    <a:lnTo>
                      <a:pt x="110" y="168"/>
                    </a:lnTo>
                    <a:lnTo>
                      <a:pt x="142" y="166"/>
                    </a:lnTo>
                    <a:lnTo>
                      <a:pt x="178" y="174"/>
                    </a:lnTo>
                    <a:lnTo>
                      <a:pt x="202" y="156"/>
                    </a:lnTo>
                    <a:lnTo>
                      <a:pt x="211" y="155"/>
                    </a:lnTo>
                    <a:lnTo>
                      <a:pt x="226" y="167"/>
                    </a:lnTo>
                    <a:lnTo>
                      <a:pt x="248" y="176"/>
                    </a:lnTo>
                    <a:lnTo>
                      <a:pt x="276" y="191"/>
                    </a:lnTo>
                    <a:lnTo>
                      <a:pt x="298" y="203"/>
                    </a:lnTo>
                    <a:lnTo>
                      <a:pt x="311" y="209"/>
                    </a:lnTo>
                    <a:lnTo>
                      <a:pt x="319" y="208"/>
                    </a:lnTo>
                    <a:lnTo>
                      <a:pt x="331" y="193"/>
                    </a:lnTo>
                    <a:lnTo>
                      <a:pt x="356" y="193"/>
                    </a:lnTo>
                    <a:lnTo>
                      <a:pt x="363" y="171"/>
                    </a:lnTo>
                    <a:lnTo>
                      <a:pt x="367" y="158"/>
                    </a:lnTo>
                    <a:lnTo>
                      <a:pt x="383" y="149"/>
                    </a:lnTo>
                    <a:lnTo>
                      <a:pt x="392" y="148"/>
                    </a:lnTo>
                    <a:lnTo>
                      <a:pt x="390" y="127"/>
                    </a:lnTo>
                    <a:lnTo>
                      <a:pt x="374" y="105"/>
                    </a:lnTo>
                    <a:lnTo>
                      <a:pt x="355" y="85"/>
                    </a:lnTo>
                    <a:lnTo>
                      <a:pt x="342" y="78"/>
                    </a:lnTo>
                    <a:lnTo>
                      <a:pt x="344" y="43"/>
                    </a:lnTo>
                    <a:lnTo>
                      <a:pt x="327" y="30"/>
                    </a:lnTo>
                    <a:lnTo>
                      <a:pt x="313" y="19"/>
                    </a:lnTo>
                    <a:lnTo>
                      <a:pt x="291" y="27"/>
                    </a:lnTo>
                    <a:lnTo>
                      <a:pt x="275" y="34"/>
                    </a:lnTo>
                    <a:lnTo>
                      <a:pt x="257" y="23"/>
                    </a:lnTo>
                    <a:lnTo>
                      <a:pt x="244" y="8"/>
                    </a:lnTo>
                    <a:lnTo>
                      <a:pt x="227" y="6"/>
                    </a:lnTo>
                    <a:lnTo>
                      <a:pt x="217" y="0"/>
                    </a:lnTo>
                    <a:lnTo>
                      <a:pt x="191" y="3"/>
                    </a:lnTo>
                    <a:lnTo>
                      <a:pt x="169" y="12"/>
                    </a:lnTo>
                    <a:lnTo>
                      <a:pt x="161" y="20"/>
                    </a:lnTo>
                    <a:lnTo>
                      <a:pt x="160" y="47"/>
                    </a:lnTo>
                    <a:lnTo>
                      <a:pt x="168" y="85"/>
                    </a:lnTo>
                    <a:lnTo>
                      <a:pt x="162" y="97"/>
                    </a:lnTo>
                    <a:lnTo>
                      <a:pt x="151" y="106"/>
                    </a:lnTo>
                    <a:lnTo>
                      <a:pt x="135" y="108"/>
                    </a:lnTo>
                    <a:lnTo>
                      <a:pt x="117" y="101"/>
                    </a:lnTo>
                    <a:lnTo>
                      <a:pt x="107" y="90"/>
                    </a:lnTo>
                    <a:lnTo>
                      <a:pt x="95" y="73"/>
                    </a:lnTo>
                    <a:lnTo>
                      <a:pt x="77" y="58"/>
                    </a:lnTo>
                    <a:lnTo>
                      <a:pt x="69" y="51"/>
                    </a:lnTo>
                    <a:lnTo>
                      <a:pt x="60" y="48"/>
                    </a:lnTo>
                    <a:lnTo>
                      <a:pt x="43" y="61"/>
                    </a:lnTo>
                    <a:lnTo>
                      <a:pt x="26" y="76"/>
                    </a:lnTo>
                    <a:lnTo>
                      <a:pt x="20" y="91"/>
                    </a:lnTo>
                    <a:lnTo>
                      <a:pt x="15" y="111"/>
                    </a:lnTo>
                    <a:lnTo>
                      <a:pt x="14" y="127"/>
                    </a:lnTo>
                    <a:lnTo>
                      <a:pt x="6" y="144"/>
                    </a:lnTo>
                    <a:lnTo>
                      <a:pt x="0" y="163"/>
                    </a:lnTo>
                    <a:lnTo>
                      <a:pt x="2" y="172"/>
                    </a:lnTo>
                    <a:lnTo>
                      <a:pt x="2" y="191"/>
                    </a:lnTo>
                    <a:lnTo>
                      <a:pt x="4" y="203"/>
                    </a:lnTo>
                    <a:lnTo>
                      <a:pt x="8" y="21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4" name="Freeform 17">
                <a:extLst>
                  <a:ext uri="{FF2B5EF4-FFF2-40B4-BE49-F238E27FC236}">
                    <a16:creationId xmlns:a16="http://schemas.microsoft.com/office/drawing/2014/main" id="{9AEC6F59-F45B-3CE1-DF1C-1E50B935B8D4}"/>
                  </a:ext>
                </a:extLst>
              </p:cNvPr>
              <p:cNvSpPr>
                <a:spLocks/>
              </p:cNvSpPr>
              <p:nvPr/>
            </p:nvSpPr>
            <p:spPr bwMode="auto">
              <a:xfrm>
                <a:off x="4863222" y="2424258"/>
                <a:ext cx="335427" cy="314283"/>
              </a:xfrm>
              <a:custGeom>
                <a:avLst/>
                <a:gdLst>
                  <a:gd name="T0" fmla="*/ 51 w 524"/>
                  <a:gd name="T1" fmla="*/ 464 h 464"/>
                  <a:gd name="T2" fmla="*/ 69 w 524"/>
                  <a:gd name="T3" fmla="*/ 450 h 464"/>
                  <a:gd name="T4" fmla="*/ 85 w 524"/>
                  <a:gd name="T5" fmla="*/ 431 h 464"/>
                  <a:gd name="T6" fmla="*/ 110 w 524"/>
                  <a:gd name="T7" fmla="*/ 421 h 464"/>
                  <a:gd name="T8" fmla="*/ 158 w 524"/>
                  <a:gd name="T9" fmla="*/ 415 h 464"/>
                  <a:gd name="T10" fmla="*/ 190 w 524"/>
                  <a:gd name="T11" fmla="*/ 431 h 464"/>
                  <a:gd name="T12" fmla="*/ 211 w 524"/>
                  <a:gd name="T13" fmla="*/ 420 h 464"/>
                  <a:gd name="T14" fmla="*/ 230 w 524"/>
                  <a:gd name="T15" fmla="*/ 430 h 464"/>
                  <a:gd name="T16" fmla="*/ 258 w 524"/>
                  <a:gd name="T17" fmla="*/ 444 h 464"/>
                  <a:gd name="T18" fmla="*/ 293 w 524"/>
                  <a:gd name="T19" fmla="*/ 439 h 464"/>
                  <a:gd name="T20" fmla="*/ 328 w 524"/>
                  <a:gd name="T21" fmla="*/ 432 h 464"/>
                  <a:gd name="T22" fmla="*/ 347 w 524"/>
                  <a:gd name="T23" fmla="*/ 429 h 464"/>
                  <a:gd name="T24" fmla="*/ 365 w 524"/>
                  <a:gd name="T25" fmla="*/ 423 h 464"/>
                  <a:gd name="T26" fmla="*/ 386 w 524"/>
                  <a:gd name="T27" fmla="*/ 438 h 464"/>
                  <a:gd name="T28" fmla="*/ 405 w 524"/>
                  <a:gd name="T29" fmla="*/ 433 h 464"/>
                  <a:gd name="T30" fmla="*/ 436 w 524"/>
                  <a:gd name="T31" fmla="*/ 434 h 464"/>
                  <a:gd name="T32" fmla="*/ 446 w 524"/>
                  <a:gd name="T33" fmla="*/ 403 h 464"/>
                  <a:gd name="T34" fmla="*/ 442 w 524"/>
                  <a:gd name="T35" fmla="*/ 370 h 464"/>
                  <a:gd name="T36" fmla="*/ 475 w 524"/>
                  <a:gd name="T37" fmla="*/ 340 h 464"/>
                  <a:gd name="T38" fmla="*/ 504 w 524"/>
                  <a:gd name="T39" fmla="*/ 336 h 464"/>
                  <a:gd name="T40" fmla="*/ 488 w 524"/>
                  <a:gd name="T41" fmla="*/ 305 h 464"/>
                  <a:gd name="T42" fmla="*/ 468 w 524"/>
                  <a:gd name="T43" fmla="*/ 271 h 464"/>
                  <a:gd name="T44" fmla="*/ 447 w 524"/>
                  <a:gd name="T45" fmla="*/ 237 h 464"/>
                  <a:gd name="T46" fmla="*/ 483 w 524"/>
                  <a:gd name="T47" fmla="*/ 227 h 464"/>
                  <a:gd name="T48" fmla="*/ 513 w 524"/>
                  <a:gd name="T49" fmla="*/ 218 h 464"/>
                  <a:gd name="T50" fmla="*/ 524 w 524"/>
                  <a:gd name="T51" fmla="*/ 194 h 464"/>
                  <a:gd name="T52" fmla="*/ 504 w 524"/>
                  <a:gd name="T53" fmla="*/ 180 h 464"/>
                  <a:gd name="T54" fmla="*/ 484 w 524"/>
                  <a:gd name="T55" fmla="*/ 167 h 464"/>
                  <a:gd name="T56" fmla="*/ 459 w 524"/>
                  <a:gd name="T57" fmla="*/ 169 h 464"/>
                  <a:gd name="T58" fmla="*/ 438 w 524"/>
                  <a:gd name="T59" fmla="*/ 143 h 464"/>
                  <a:gd name="T60" fmla="*/ 397 w 524"/>
                  <a:gd name="T61" fmla="*/ 95 h 464"/>
                  <a:gd name="T62" fmla="*/ 388 w 524"/>
                  <a:gd name="T63" fmla="*/ 75 h 464"/>
                  <a:gd name="T64" fmla="*/ 386 w 524"/>
                  <a:gd name="T65" fmla="*/ 48 h 464"/>
                  <a:gd name="T66" fmla="*/ 375 w 524"/>
                  <a:gd name="T67" fmla="*/ 19 h 464"/>
                  <a:gd name="T68" fmla="*/ 341 w 524"/>
                  <a:gd name="T69" fmla="*/ 7 h 464"/>
                  <a:gd name="T70" fmla="*/ 308 w 524"/>
                  <a:gd name="T71" fmla="*/ 15 h 464"/>
                  <a:gd name="T72" fmla="*/ 291 w 524"/>
                  <a:gd name="T73" fmla="*/ 12 h 464"/>
                  <a:gd name="T74" fmla="*/ 266 w 524"/>
                  <a:gd name="T75" fmla="*/ 1 h 464"/>
                  <a:gd name="T76" fmla="*/ 233 w 524"/>
                  <a:gd name="T77" fmla="*/ 2 h 464"/>
                  <a:gd name="T78" fmla="*/ 209 w 524"/>
                  <a:gd name="T79" fmla="*/ 3 h 464"/>
                  <a:gd name="T80" fmla="*/ 199 w 524"/>
                  <a:gd name="T81" fmla="*/ 35 h 464"/>
                  <a:gd name="T82" fmla="*/ 169 w 524"/>
                  <a:gd name="T83" fmla="*/ 43 h 464"/>
                  <a:gd name="T84" fmla="*/ 155 w 524"/>
                  <a:gd name="T85" fmla="*/ 61 h 464"/>
                  <a:gd name="T86" fmla="*/ 138 w 524"/>
                  <a:gd name="T87" fmla="*/ 77 h 464"/>
                  <a:gd name="T88" fmla="*/ 164 w 524"/>
                  <a:gd name="T89" fmla="*/ 96 h 464"/>
                  <a:gd name="T90" fmla="*/ 146 w 524"/>
                  <a:gd name="T91" fmla="*/ 111 h 464"/>
                  <a:gd name="T92" fmla="*/ 122 w 524"/>
                  <a:gd name="T93" fmla="*/ 128 h 464"/>
                  <a:gd name="T94" fmla="*/ 113 w 524"/>
                  <a:gd name="T95" fmla="*/ 172 h 464"/>
                  <a:gd name="T96" fmla="*/ 118 w 524"/>
                  <a:gd name="T97" fmla="*/ 199 h 464"/>
                  <a:gd name="T98" fmla="*/ 115 w 524"/>
                  <a:gd name="T99" fmla="*/ 211 h 464"/>
                  <a:gd name="T100" fmla="*/ 94 w 524"/>
                  <a:gd name="T101" fmla="*/ 201 h 464"/>
                  <a:gd name="T102" fmla="*/ 70 w 524"/>
                  <a:gd name="T103" fmla="*/ 217 h 464"/>
                  <a:gd name="T104" fmla="*/ 67 w 524"/>
                  <a:gd name="T105" fmla="*/ 236 h 464"/>
                  <a:gd name="T106" fmla="*/ 51 w 524"/>
                  <a:gd name="T107" fmla="*/ 241 h 464"/>
                  <a:gd name="T108" fmla="*/ 23 w 524"/>
                  <a:gd name="T109" fmla="*/ 240 h 464"/>
                  <a:gd name="T110" fmla="*/ 0 w 524"/>
                  <a:gd name="T111" fmla="*/ 245 h 464"/>
                  <a:gd name="T112" fmla="*/ 17 w 524"/>
                  <a:gd name="T113" fmla="*/ 306 h 464"/>
                  <a:gd name="T114" fmla="*/ 32 w 524"/>
                  <a:gd name="T115" fmla="*/ 351 h 464"/>
                  <a:gd name="T116" fmla="*/ 12 w 524"/>
                  <a:gd name="T117" fmla="*/ 397 h 464"/>
                  <a:gd name="T118" fmla="*/ 10 w 524"/>
                  <a:gd name="T119" fmla="*/ 418 h 464"/>
                  <a:gd name="T120" fmla="*/ 26 w 524"/>
                  <a:gd name="T121"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4" h="464">
                    <a:moveTo>
                      <a:pt x="26" y="463"/>
                    </a:moveTo>
                    <a:lnTo>
                      <a:pt x="51" y="464"/>
                    </a:lnTo>
                    <a:lnTo>
                      <a:pt x="57" y="457"/>
                    </a:lnTo>
                    <a:lnTo>
                      <a:pt x="69" y="450"/>
                    </a:lnTo>
                    <a:lnTo>
                      <a:pt x="74" y="443"/>
                    </a:lnTo>
                    <a:lnTo>
                      <a:pt x="85" y="431"/>
                    </a:lnTo>
                    <a:lnTo>
                      <a:pt x="106" y="427"/>
                    </a:lnTo>
                    <a:lnTo>
                      <a:pt x="110" y="421"/>
                    </a:lnTo>
                    <a:lnTo>
                      <a:pt x="152" y="421"/>
                    </a:lnTo>
                    <a:lnTo>
                      <a:pt x="158" y="415"/>
                    </a:lnTo>
                    <a:lnTo>
                      <a:pt x="175" y="424"/>
                    </a:lnTo>
                    <a:lnTo>
                      <a:pt x="190" y="431"/>
                    </a:lnTo>
                    <a:lnTo>
                      <a:pt x="203" y="427"/>
                    </a:lnTo>
                    <a:lnTo>
                      <a:pt x="211" y="420"/>
                    </a:lnTo>
                    <a:lnTo>
                      <a:pt x="218" y="424"/>
                    </a:lnTo>
                    <a:lnTo>
                      <a:pt x="230" y="430"/>
                    </a:lnTo>
                    <a:lnTo>
                      <a:pt x="244" y="443"/>
                    </a:lnTo>
                    <a:lnTo>
                      <a:pt x="258" y="444"/>
                    </a:lnTo>
                    <a:lnTo>
                      <a:pt x="269" y="453"/>
                    </a:lnTo>
                    <a:lnTo>
                      <a:pt x="293" y="439"/>
                    </a:lnTo>
                    <a:lnTo>
                      <a:pt x="305" y="432"/>
                    </a:lnTo>
                    <a:lnTo>
                      <a:pt x="328" y="432"/>
                    </a:lnTo>
                    <a:lnTo>
                      <a:pt x="341" y="442"/>
                    </a:lnTo>
                    <a:lnTo>
                      <a:pt x="347" y="429"/>
                    </a:lnTo>
                    <a:lnTo>
                      <a:pt x="354" y="417"/>
                    </a:lnTo>
                    <a:lnTo>
                      <a:pt x="365" y="423"/>
                    </a:lnTo>
                    <a:lnTo>
                      <a:pt x="378" y="439"/>
                    </a:lnTo>
                    <a:lnTo>
                      <a:pt x="386" y="438"/>
                    </a:lnTo>
                    <a:lnTo>
                      <a:pt x="396" y="434"/>
                    </a:lnTo>
                    <a:lnTo>
                      <a:pt x="405" y="433"/>
                    </a:lnTo>
                    <a:lnTo>
                      <a:pt x="423" y="427"/>
                    </a:lnTo>
                    <a:lnTo>
                      <a:pt x="436" y="434"/>
                    </a:lnTo>
                    <a:lnTo>
                      <a:pt x="449" y="417"/>
                    </a:lnTo>
                    <a:lnTo>
                      <a:pt x="446" y="403"/>
                    </a:lnTo>
                    <a:lnTo>
                      <a:pt x="438" y="387"/>
                    </a:lnTo>
                    <a:lnTo>
                      <a:pt x="442" y="370"/>
                    </a:lnTo>
                    <a:lnTo>
                      <a:pt x="454" y="352"/>
                    </a:lnTo>
                    <a:lnTo>
                      <a:pt x="475" y="340"/>
                    </a:lnTo>
                    <a:lnTo>
                      <a:pt x="488" y="334"/>
                    </a:lnTo>
                    <a:lnTo>
                      <a:pt x="504" y="336"/>
                    </a:lnTo>
                    <a:lnTo>
                      <a:pt x="496" y="318"/>
                    </a:lnTo>
                    <a:lnTo>
                      <a:pt x="488" y="305"/>
                    </a:lnTo>
                    <a:lnTo>
                      <a:pt x="483" y="290"/>
                    </a:lnTo>
                    <a:lnTo>
                      <a:pt x="468" y="271"/>
                    </a:lnTo>
                    <a:lnTo>
                      <a:pt x="460" y="256"/>
                    </a:lnTo>
                    <a:lnTo>
                      <a:pt x="447" y="237"/>
                    </a:lnTo>
                    <a:lnTo>
                      <a:pt x="460" y="226"/>
                    </a:lnTo>
                    <a:lnTo>
                      <a:pt x="483" y="227"/>
                    </a:lnTo>
                    <a:lnTo>
                      <a:pt x="497" y="230"/>
                    </a:lnTo>
                    <a:lnTo>
                      <a:pt x="513" y="218"/>
                    </a:lnTo>
                    <a:lnTo>
                      <a:pt x="521" y="203"/>
                    </a:lnTo>
                    <a:lnTo>
                      <a:pt x="524" y="194"/>
                    </a:lnTo>
                    <a:lnTo>
                      <a:pt x="519" y="181"/>
                    </a:lnTo>
                    <a:lnTo>
                      <a:pt x="504" y="180"/>
                    </a:lnTo>
                    <a:lnTo>
                      <a:pt x="499" y="173"/>
                    </a:lnTo>
                    <a:lnTo>
                      <a:pt x="484" y="167"/>
                    </a:lnTo>
                    <a:lnTo>
                      <a:pt x="469" y="170"/>
                    </a:lnTo>
                    <a:lnTo>
                      <a:pt x="459" y="169"/>
                    </a:lnTo>
                    <a:lnTo>
                      <a:pt x="456" y="152"/>
                    </a:lnTo>
                    <a:lnTo>
                      <a:pt x="438" y="143"/>
                    </a:lnTo>
                    <a:lnTo>
                      <a:pt x="421" y="136"/>
                    </a:lnTo>
                    <a:lnTo>
                      <a:pt x="397" y="95"/>
                    </a:lnTo>
                    <a:lnTo>
                      <a:pt x="385" y="90"/>
                    </a:lnTo>
                    <a:lnTo>
                      <a:pt x="388" y="75"/>
                    </a:lnTo>
                    <a:lnTo>
                      <a:pt x="395" y="60"/>
                    </a:lnTo>
                    <a:lnTo>
                      <a:pt x="386" y="48"/>
                    </a:lnTo>
                    <a:lnTo>
                      <a:pt x="379" y="39"/>
                    </a:lnTo>
                    <a:lnTo>
                      <a:pt x="375" y="19"/>
                    </a:lnTo>
                    <a:lnTo>
                      <a:pt x="354" y="13"/>
                    </a:lnTo>
                    <a:lnTo>
                      <a:pt x="341" y="7"/>
                    </a:lnTo>
                    <a:lnTo>
                      <a:pt x="321" y="3"/>
                    </a:lnTo>
                    <a:lnTo>
                      <a:pt x="308" y="15"/>
                    </a:lnTo>
                    <a:lnTo>
                      <a:pt x="298" y="23"/>
                    </a:lnTo>
                    <a:lnTo>
                      <a:pt x="291" y="12"/>
                    </a:lnTo>
                    <a:lnTo>
                      <a:pt x="277" y="0"/>
                    </a:lnTo>
                    <a:lnTo>
                      <a:pt x="266" y="1"/>
                    </a:lnTo>
                    <a:lnTo>
                      <a:pt x="258" y="6"/>
                    </a:lnTo>
                    <a:lnTo>
                      <a:pt x="233" y="2"/>
                    </a:lnTo>
                    <a:lnTo>
                      <a:pt x="224" y="2"/>
                    </a:lnTo>
                    <a:lnTo>
                      <a:pt x="209" y="3"/>
                    </a:lnTo>
                    <a:lnTo>
                      <a:pt x="202" y="10"/>
                    </a:lnTo>
                    <a:lnTo>
                      <a:pt x="199" y="35"/>
                    </a:lnTo>
                    <a:lnTo>
                      <a:pt x="194" y="43"/>
                    </a:lnTo>
                    <a:lnTo>
                      <a:pt x="169" y="43"/>
                    </a:lnTo>
                    <a:lnTo>
                      <a:pt x="162" y="51"/>
                    </a:lnTo>
                    <a:lnTo>
                      <a:pt x="155" y="61"/>
                    </a:lnTo>
                    <a:lnTo>
                      <a:pt x="143" y="67"/>
                    </a:lnTo>
                    <a:lnTo>
                      <a:pt x="138" y="77"/>
                    </a:lnTo>
                    <a:lnTo>
                      <a:pt x="142" y="92"/>
                    </a:lnTo>
                    <a:lnTo>
                      <a:pt x="164" y="96"/>
                    </a:lnTo>
                    <a:lnTo>
                      <a:pt x="157" y="108"/>
                    </a:lnTo>
                    <a:lnTo>
                      <a:pt x="146" y="111"/>
                    </a:lnTo>
                    <a:lnTo>
                      <a:pt x="138" y="113"/>
                    </a:lnTo>
                    <a:lnTo>
                      <a:pt x="122" y="128"/>
                    </a:lnTo>
                    <a:lnTo>
                      <a:pt x="119" y="159"/>
                    </a:lnTo>
                    <a:lnTo>
                      <a:pt x="113" y="172"/>
                    </a:lnTo>
                    <a:lnTo>
                      <a:pt x="111" y="187"/>
                    </a:lnTo>
                    <a:lnTo>
                      <a:pt x="118" y="199"/>
                    </a:lnTo>
                    <a:lnTo>
                      <a:pt x="123" y="209"/>
                    </a:lnTo>
                    <a:lnTo>
                      <a:pt x="115" y="211"/>
                    </a:lnTo>
                    <a:lnTo>
                      <a:pt x="106" y="202"/>
                    </a:lnTo>
                    <a:lnTo>
                      <a:pt x="94" y="201"/>
                    </a:lnTo>
                    <a:lnTo>
                      <a:pt x="84" y="210"/>
                    </a:lnTo>
                    <a:lnTo>
                      <a:pt x="70" y="217"/>
                    </a:lnTo>
                    <a:lnTo>
                      <a:pt x="70" y="226"/>
                    </a:lnTo>
                    <a:lnTo>
                      <a:pt x="67" y="236"/>
                    </a:lnTo>
                    <a:lnTo>
                      <a:pt x="58" y="234"/>
                    </a:lnTo>
                    <a:lnTo>
                      <a:pt x="51" y="241"/>
                    </a:lnTo>
                    <a:lnTo>
                      <a:pt x="39" y="240"/>
                    </a:lnTo>
                    <a:lnTo>
                      <a:pt x="23" y="240"/>
                    </a:lnTo>
                    <a:lnTo>
                      <a:pt x="7" y="246"/>
                    </a:lnTo>
                    <a:lnTo>
                      <a:pt x="0" y="245"/>
                    </a:lnTo>
                    <a:lnTo>
                      <a:pt x="9" y="272"/>
                    </a:lnTo>
                    <a:lnTo>
                      <a:pt x="17" y="306"/>
                    </a:lnTo>
                    <a:lnTo>
                      <a:pt x="29" y="318"/>
                    </a:lnTo>
                    <a:lnTo>
                      <a:pt x="32" y="351"/>
                    </a:lnTo>
                    <a:lnTo>
                      <a:pt x="27" y="374"/>
                    </a:lnTo>
                    <a:lnTo>
                      <a:pt x="12" y="397"/>
                    </a:lnTo>
                    <a:lnTo>
                      <a:pt x="5" y="408"/>
                    </a:lnTo>
                    <a:lnTo>
                      <a:pt x="10" y="418"/>
                    </a:lnTo>
                    <a:lnTo>
                      <a:pt x="20" y="429"/>
                    </a:lnTo>
                    <a:lnTo>
                      <a:pt x="26" y="444"/>
                    </a:lnTo>
                    <a:lnTo>
                      <a:pt x="26" y="46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5" name="Freeform 18">
                <a:extLst>
                  <a:ext uri="{FF2B5EF4-FFF2-40B4-BE49-F238E27FC236}">
                    <a16:creationId xmlns:a16="http://schemas.microsoft.com/office/drawing/2014/main" id="{E5D08EFD-3BCF-65DA-76C9-077C7DE510A1}"/>
                  </a:ext>
                </a:extLst>
              </p:cNvPr>
              <p:cNvSpPr>
                <a:spLocks/>
              </p:cNvSpPr>
              <p:nvPr/>
            </p:nvSpPr>
            <p:spPr bwMode="auto">
              <a:xfrm>
                <a:off x="5026910" y="2918029"/>
                <a:ext cx="158322" cy="189421"/>
              </a:xfrm>
              <a:custGeom>
                <a:avLst/>
                <a:gdLst>
                  <a:gd name="T0" fmla="*/ 0 w 247"/>
                  <a:gd name="T1" fmla="*/ 27 h 280"/>
                  <a:gd name="T2" fmla="*/ 41 w 247"/>
                  <a:gd name="T3" fmla="*/ 50 h 280"/>
                  <a:gd name="T4" fmla="*/ 56 w 247"/>
                  <a:gd name="T5" fmla="*/ 65 h 280"/>
                  <a:gd name="T6" fmla="*/ 63 w 247"/>
                  <a:gd name="T7" fmla="*/ 86 h 280"/>
                  <a:gd name="T8" fmla="*/ 90 w 247"/>
                  <a:gd name="T9" fmla="*/ 122 h 280"/>
                  <a:gd name="T10" fmla="*/ 117 w 247"/>
                  <a:gd name="T11" fmla="*/ 148 h 280"/>
                  <a:gd name="T12" fmla="*/ 127 w 247"/>
                  <a:gd name="T13" fmla="*/ 167 h 280"/>
                  <a:gd name="T14" fmla="*/ 140 w 247"/>
                  <a:gd name="T15" fmla="*/ 215 h 280"/>
                  <a:gd name="T16" fmla="*/ 145 w 247"/>
                  <a:gd name="T17" fmla="*/ 272 h 280"/>
                  <a:gd name="T18" fmla="*/ 163 w 247"/>
                  <a:gd name="T19" fmla="*/ 280 h 280"/>
                  <a:gd name="T20" fmla="*/ 162 w 247"/>
                  <a:gd name="T21" fmla="*/ 253 h 280"/>
                  <a:gd name="T22" fmla="*/ 163 w 247"/>
                  <a:gd name="T23" fmla="*/ 242 h 280"/>
                  <a:gd name="T24" fmla="*/ 177 w 247"/>
                  <a:gd name="T25" fmla="*/ 233 h 280"/>
                  <a:gd name="T26" fmla="*/ 182 w 247"/>
                  <a:gd name="T27" fmla="*/ 217 h 280"/>
                  <a:gd name="T28" fmla="*/ 187 w 247"/>
                  <a:gd name="T29" fmla="*/ 209 h 280"/>
                  <a:gd name="T30" fmla="*/ 185 w 247"/>
                  <a:gd name="T31" fmla="*/ 170 h 280"/>
                  <a:gd name="T32" fmla="*/ 199 w 247"/>
                  <a:gd name="T33" fmla="*/ 178 h 280"/>
                  <a:gd name="T34" fmla="*/ 207 w 247"/>
                  <a:gd name="T35" fmla="*/ 174 h 280"/>
                  <a:gd name="T36" fmla="*/ 226 w 247"/>
                  <a:gd name="T37" fmla="*/ 170 h 280"/>
                  <a:gd name="T38" fmla="*/ 240 w 247"/>
                  <a:gd name="T39" fmla="*/ 171 h 280"/>
                  <a:gd name="T40" fmla="*/ 246 w 247"/>
                  <a:gd name="T41" fmla="*/ 162 h 280"/>
                  <a:gd name="T42" fmla="*/ 247 w 247"/>
                  <a:gd name="T43" fmla="*/ 150 h 280"/>
                  <a:gd name="T44" fmla="*/ 239 w 247"/>
                  <a:gd name="T45" fmla="*/ 142 h 280"/>
                  <a:gd name="T46" fmla="*/ 237 w 247"/>
                  <a:gd name="T47" fmla="*/ 126 h 280"/>
                  <a:gd name="T48" fmla="*/ 224 w 247"/>
                  <a:gd name="T49" fmla="*/ 114 h 280"/>
                  <a:gd name="T50" fmla="*/ 211 w 247"/>
                  <a:gd name="T51" fmla="*/ 116 h 280"/>
                  <a:gd name="T52" fmla="*/ 191 w 247"/>
                  <a:gd name="T53" fmla="*/ 81 h 280"/>
                  <a:gd name="T54" fmla="*/ 177 w 247"/>
                  <a:gd name="T55" fmla="*/ 61 h 280"/>
                  <a:gd name="T56" fmla="*/ 170 w 247"/>
                  <a:gd name="T57" fmla="*/ 31 h 280"/>
                  <a:gd name="T58" fmla="*/ 158 w 247"/>
                  <a:gd name="T59" fmla="*/ 30 h 280"/>
                  <a:gd name="T60" fmla="*/ 149 w 247"/>
                  <a:gd name="T61" fmla="*/ 22 h 280"/>
                  <a:gd name="T62" fmla="*/ 138 w 247"/>
                  <a:gd name="T63" fmla="*/ 15 h 280"/>
                  <a:gd name="T64" fmla="*/ 124 w 247"/>
                  <a:gd name="T65" fmla="*/ 17 h 280"/>
                  <a:gd name="T66" fmla="*/ 104 w 247"/>
                  <a:gd name="T67" fmla="*/ 23 h 280"/>
                  <a:gd name="T68" fmla="*/ 82 w 247"/>
                  <a:gd name="T69" fmla="*/ 19 h 280"/>
                  <a:gd name="T70" fmla="*/ 61 w 247"/>
                  <a:gd name="T71" fmla="*/ 4 h 280"/>
                  <a:gd name="T72" fmla="*/ 45 w 247"/>
                  <a:gd name="T73" fmla="*/ 0 h 280"/>
                  <a:gd name="T74" fmla="*/ 27 w 247"/>
                  <a:gd name="T75" fmla="*/ 10 h 280"/>
                  <a:gd name="T76" fmla="*/ 14 w 247"/>
                  <a:gd name="T77" fmla="*/ 12 h 280"/>
                  <a:gd name="T78" fmla="*/ 4 w 247"/>
                  <a:gd name="T79" fmla="*/ 17 h 280"/>
                  <a:gd name="T80" fmla="*/ 0 w 247"/>
                  <a:gd name="T81" fmla="*/ 27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7" h="280">
                    <a:moveTo>
                      <a:pt x="0" y="27"/>
                    </a:moveTo>
                    <a:lnTo>
                      <a:pt x="41" y="50"/>
                    </a:lnTo>
                    <a:lnTo>
                      <a:pt x="56" y="65"/>
                    </a:lnTo>
                    <a:lnTo>
                      <a:pt x="63" y="86"/>
                    </a:lnTo>
                    <a:lnTo>
                      <a:pt x="90" y="122"/>
                    </a:lnTo>
                    <a:lnTo>
                      <a:pt x="117" y="148"/>
                    </a:lnTo>
                    <a:lnTo>
                      <a:pt x="127" y="167"/>
                    </a:lnTo>
                    <a:lnTo>
                      <a:pt x="140" y="215"/>
                    </a:lnTo>
                    <a:lnTo>
                      <a:pt x="145" y="272"/>
                    </a:lnTo>
                    <a:lnTo>
                      <a:pt x="163" y="280"/>
                    </a:lnTo>
                    <a:lnTo>
                      <a:pt x="162" y="253"/>
                    </a:lnTo>
                    <a:lnTo>
                      <a:pt x="163" y="242"/>
                    </a:lnTo>
                    <a:lnTo>
                      <a:pt x="177" y="233"/>
                    </a:lnTo>
                    <a:lnTo>
                      <a:pt x="182" y="217"/>
                    </a:lnTo>
                    <a:lnTo>
                      <a:pt x="187" y="209"/>
                    </a:lnTo>
                    <a:lnTo>
                      <a:pt x="185" y="170"/>
                    </a:lnTo>
                    <a:lnTo>
                      <a:pt x="199" y="178"/>
                    </a:lnTo>
                    <a:lnTo>
                      <a:pt x="207" y="174"/>
                    </a:lnTo>
                    <a:lnTo>
                      <a:pt x="226" y="170"/>
                    </a:lnTo>
                    <a:lnTo>
                      <a:pt x="240" y="171"/>
                    </a:lnTo>
                    <a:lnTo>
                      <a:pt x="246" y="162"/>
                    </a:lnTo>
                    <a:lnTo>
                      <a:pt x="247" y="150"/>
                    </a:lnTo>
                    <a:lnTo>
                      <a:pt x="239" y="142"/>
                    </a:lnTo>
                    <a:lnTo>
                      <a:pt x="237" y="126"/>
                    </a:lnTo>
                    <a:lnTo>
                      <a:pt x="224" y="114"/>
                    </a:lnTo>
                    <a:lnTo>
                      <a:pt x="211" y="116"/>
                    </a:lnTo>
                    <a:lnTo>
                      <a:pt x="191" y="81"/>
                    </a:lnTo>
                    <a:lnTo>
                      <a:pt x="177" y="61"/>
                    </a:lnTo>
                    <a:lnTo>
                      <a:pt x="170" y="31"/>
                    </a:lnTo>
                    <a:lnTo>
                      <a:pt x="158" y="30"/>
                    </a:lnTo>
                    <a:lnTo>
                      <a:pt x="149" y="22"/>
                    </a:lnTo>
                    <a:lnTo>
                      <a:pt x="138" y="15"/>
                    </a:lnTo>
                    <a:lnTo>
                      <a:pt x="124" y="17"/>
                    </a:lnTo>
                    <a:lnTo>
                      <a:pt x="104" y="23"/>
                    </a:lnTo>
                    <a:lnTo>
                      <a:pt x="82" y="19"/>
                    </a:lnTo>
                    <a:lnTo>
                      <a:pt x="61" y="4"/>
                    </a:lnTo>
                    <a:lnTo>
                      <a:pt x="45" y="0"/>
                    </a:lnTo>
                    <a:lnTo>
                      <a:pt x="27" y="10"/>
                    </a:lnTo>
                    <a:lnTo>
                      <a:pt x="14" y="12"/>
                    </a:lnTo>
                    <a:lnTo>
                      <a:pt x="4" y="17"/>
                    </a:lnTo>
                    <a:lnTo>
                      <a:pt x="0"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6" name="Freeform 19">
                <a:extLst>
                  <a:ext uri="{FF2B5EF4-FFF2-40B4-BE49-F238E27FC236}">
                    <a16:creationId xmlns:a16="http://schemas.microsoft.com/office/drawing/2014/main" id="{FB7AAC40-8318-3C78-134C-612FB6EE87F3}"/>
                  </a:ext>
                </a:extLst>
              </p:cNvPr>
              <p:cNvSpPr>
                <a:spLocks/>
              </p:cNvSpPr>
              <p:nvPr/>
            </p:nvSpPr>
            <p:spPr bwMode="auto">
              <a:xfrm>
                <a:off x="4781378" y="2936475"/>
                <a:ext cx="406538" cy="306479"/>
              </a:xfrm>
              <a:custGeom>
                <a:avLst/>
                <a:gdLst>
                  <a:gd name="T0" fmla="*/ 23 w 634"/>
                  <a:gd name="T1" fmla="*/ 238 h 452"/>
                  <a:gd name="T2" fmla="*/ 49 w 634"/>
                  <a:gd name="T3" fmla="*/ 228 h 452"/>
                  <a:gd name="T4" fmla="*/ 63 w 634"/>
                  <a:gd name="T5" fmla="*/ 202 h 452"/>
                  <a:gd name="T6" fmla="*/ 75 w 634"/>
                  <a:gd name="T7" fmla="*/ 172 h 452"/>
                  <a:gd name="T8" fmla="*/ 86 w 634"/>
                  <a:gd name="T9" fmla="*/ 148 h 452"/>
                  <a:gd name="T10" fmla="*/ 96 w 634"/>
                  <a:gd name="T11" fmla="*/ 119 h 452"/>
                  <a:gd name="T12" fmla="*/ 106 w 634"/>
                  <a:gd name="T13" fmla="*/ 98 h 452"/>
                  <a:gd name="T14" fmla="*/ 132 w 634"/>
                  <a:gd name="T15" fmla="*/ 82 h 452"/>
                  <a:gd name="T16" fmla="*/ 149 w 634"/>
                  <a:gd name="T17" fmla="*/ 68 h 452"/>
                  <a:gd name="T18" fmla="*/ 230 w 634"/>
                  <a:gd name="T19" fmla="*/ 56 h 452"/>
                  <a:gd name="T20" fmla="*/ 248 w 634"/>
                  <a:gd name="T21" fmla="*/ 48 h 452"/>
                  <a:gd name="T22" fmla="*/ 281 w 634"/>
                  <a:gd name="T23" fmla="*/ 57 h 452"/>
                  <a:gd name="T24" fmla="*/ 308 w 634"/>
                  <a:gd name="T25" fmla="*/ 47 h 452"/>
                  <a:gd name="T26" fmla="*/ 342 w 634"/>
                  <a:gd name="T27" fmla="*/ 36 h 452"/>
                  <a:gd name="T28" fmla="*/ 414 w 634"/>
                  <a:gd name="T29" fmla="*/ 15 h 452"/>
                  <a:gd name="T30" fmla="*/ 442 w 634"/>
                  <a:gd name="T31" fmla="*/ 44 h 452"/>
                  <a:gd name="T32" fmla="*/ 464 w 634"/>
                  <a:gd name="T33" fmla="*/ 83 h 452"/>
                  <a:gd name="T34" fmla="*/ 516 w 634"/>
                  <a:gd name="T35" fmla="*/ 159 h 452"/>
                  <a:gd name="T36" fmla="*/ 524 w 634"/>
                  <a:gd name="T37" fmla="*/ 221 h 452"/>
                  <a:gd name="T38" fmla="*/ 536 w 634"/>
                  <a:gd name="T39" fmla="*/ 249 h 452"/>
                  <a:gd name="T40" fmla="*/ 564 w 634"/>
                  <a:gd name="T41" fmla="*/ 261 h 452"/>
                  <a:gd name="T42" fmla="*/ 605 w 634"/>
                  <a:gd name="T43" fmla="*/ 241 h 452"/>
                  <a:gd name="T44" fmla="*/ 631 w 634"/>
                  <a:gd name="T45" fmla="*/ 249 h 452"/>
                  <a:gd name="T46" fmla="*/ 633 w 634"/>
                  <a:gd name="T47" fmla="*/ 294 h 452"/>
                  <a:gd name="T48" fmla="*/ 607 w 634"/>
                  <a:gd name="T49" fmla="*/ 310 h 452"/>
                  <a:gd name="T50" fmla="*/ 589 w 634"/>
                  <a:gd name="T51" fmla="*/ 331 h 452"/>
                  <a:gd name="T52" fmla="*/ 597 w 634"/>
                  <a:gd name="T53" fmla="*/ 293 h 452"/>
                  <a:gd name="T54" fmla="*/ 586 w 634"/>
                  <a:gd name="T55" fmla="*/ 310 h 452"/>
                  <a:gd name="T56" fmla="*/ 579 w 634"/>
                  <a:gd name="T57" fmla="*/ 341 h 452"/>
                  <a:gd name="T58" fmla="*/ 580 w 634"/>
                  <a:gd name="T59" fmla="*/ 376 h 452"/>
                  <a:gd name="T60" fmla="*/ 586 w 634"/>
                  <a:gd name="T61" fmla="*/ 404 h 452"/>
                  <a:gd name="T62" fmla="*/ 537 w 634"/>
                  <a:gd name="T63" fmla="*/ 396 h 452"/>
                  <a:gd name="T64" fmla="*/ 485 w 634"/>
                  <a:gd name="T65" fmla="*/ 386 h 452"/>
                  <a:gd name="T66" fmla="*/ 423 w 634"/>
                  <a:gd name="T67" fmla="*/ 414 h 452"/>
                  <a:gd name="T68" fmla="*/ 370 w 634"/>
                  <a:gd name="T69" fmla="*/ 452 h 452"/>
                  <a:gd name="T70" fmla="*/ 197 w 634"/>
                  <a:gd name="T71" fmla="*/ 450 h 452"/>
                  <a:gd name="T72" fmla="*/ 193 w 634"/>
                  <a:gd name="T73" fmla="*/ 424 h 452"/>
                  <a:gd name="T74" fmla="*/ 169 w 634"/>
                  <a:gd name="T75" fmla="*/ 424 h 452"/>
                  <a:gd name="T76" fmla="*/ 164 w 634"/>
                  <a:gd name="T77" fmla="*/ 406 h 452"/>
                  <a:gd name="T78" fmla="*/ 171 w 634"/>
                  <a:gd name="T79" fmla="*/ 385 h 452"/>
                  <a:gd name="T80" fmla="*/ 140 w 634"/>
                  <a:gd name="T81" fmla="*/ 381 h 452"/>
                  <a:gd name="T82" fmla="*/ 117 w 634"/>
                  <a:gd name="T83" fmla="*/ 376 h 452"/>
                  <a:gd name="T84" fmla="*/ 82 w 634"/>
                  <a:gd name="T85" fmla="*/ 329 h 452"/>
                  <a:gd name="T86" fmla="*/ 48 w 634"/>
                  <a:gd name="T87" fmla="*/ 302 h 452"/>
                  <a:gd name="T88" fmla="*/ 20 w 634"/>
                  <a:gd name="T89" fmla="*/ 257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4" h="452">
                    <a:moveTo>
                      <a:pt x="0" y="251"/>
                    </a:moveTo>
                    <a:lnTo>
                      <a:pt x="23" y="238"/>
                    </a:lnTo>
                    <a:lnTo>
                      <a:pt x="39" y="232"/>
                    </a:lnTo>
                    <a:lnTo>
                      <a:pt x="49" y="228"/>
                    </a:lnTo>
                    <a:lnTo>
                      <a:pt x="57" y="220"/>
                    </a:lnTo>
                    <a:lnTo>
                      <a:pt x="63" y="202"/>
                    </a:lnTo>
                    <a:lnTo>
                      <a:pt x="73" y="191"/>
                    </a:lnTo>
                    <a:lnTo>
                      <a:pt x="75" y="172"/>
                    </a:lnTo>
                    <a:lnTo>
                      <a:pt x="87" y="161"/>
                    </a:lnTo>
                    <a:lnTo>
                      <a:pt x="86" y="148"/>
                    </a:lnTo>
                    <a:lnTo>
                      <a:pt x="99" y="137"/>
                    </a:lnTo>
                    <a:lnTo>
                      <a:pt x="96" y="119"/>
                    </a:lnTo>
                    <a:lnTo>
                      <a:pt x="105" y="120"/>
                    </a:lnTo>
                    <a:lnTo>
                      <a:pt x="106" y="98"/>
                    </a:lnTo>
                    <a:lnTo>
                      <a:pt x="116" y="85"/>
                    </a:lnTo>
                    <a:lnTo>
                      <a:pt x="132" y="82"/>
                    </a:lnTo>
                    <a:lnTo>
                      <a:pt x="142" y="82"/>
                    </a:lnTo>
                    <a:lnTo>
                      <a:pt x="149" y="68"/>
                    </a:lnTo>
                    <a:lnTo>
                      <a:pt x="150" y="56"/>
                    </a:lnTo>
                    <a:lnTo>
                      <a:pt x="230" y="56"/>
                    </a:lnTo>
                    <a:lnTo>
                      <a:pt x="241" y="55"/>
                    </a:lnTo>
                    <a:lnTo>
                      <a:pt x="248" y="48"/>
                    </a:lnTo>
                    <a:lnTo>
                      <a:pt x="268" y="53"/>
                    </a:lnTo>
                    <a:lnTo>
                      <a:pt x="281" y="57"/>
                    </a:lnTo>
                    <a:lnTo>
                      <a:pt x="289" y="60"/>
                    </a:lnTo>
                    <a:lnTo>
                      <a:pt x="308" y="47"/>
                    </a:lnTo>
                    <a:lnTo>
                      <a:pt x="323" y="38"/>
                    </a:lnTo>
                    <a:lnTo>
                      <a:pt x="342" y="36"/>
                    </a:lnTo>
                    <a:lnTo>
                      <a:pt x="384" y="0"/>
                    </a:lnTo>
                    <a:lnTo>
                      <a:pt x="414" y="15"/>
                    </a:lnTo>
                    <a:lnTo>
                      <a:pt x="434" y="31"/>
                    </a:lnTo>
                    <a:lnTo>
                      <a:pt x="442" y="44"/>
                    </a:lnTo>
                    <a:lnTo>
                      <a:pt x="446" y="58"/>
                    </a:lnTo>
                    <a:lnTo>
                      <a:pt x="464" y="83"/>
                    </a:lnTo>
                    <a:lnTo>
                      <a:pt x="502" y="124"/>
                    </a:lnTo>
                    <a:lnTo>
                      <a:pt x="516" y="159"/>
                    </a:lnTo>
                    <a:lnTo>
                      <a:pt x="522" y="195"/>
                    </a:lnTo>
                    <a:lnTo>
                      <a:pt x="524" y="221"/>
                    </a:lnTo>
                    <a:lnTo>
                      <a:pt x="529" y="244"/>
                    </a:lnTo>
                    <a:lnTo>
                      <a:pt x="536" y="249"/>
                    </a:lnTo>
                    <a:lnTo>
                      <a:pt x="552" y="258"/>
                    </a:lnTo>
                    <a:lnTo>
                      <a:pt x="564" y="261"/>
                    </a:lnTo>
                    <a:lnTo>
                      <a:pt x="586" y="253"/>
                    </a:lnTo>
                    <a:lnTo>
                      <a:pt x="605" y="241"/>
                    </a:lnTo>
                    <a:lnTo>
                      <a:pt x="622" y="237"/>
                    </a:lnTo>
                    <a:lnTo>
                      <a:pt x="631" y="249"/>
                    </a:lnTo>
                    <a:lnTo>
                      <a:pt x="634" y="272"/>
                    </a:lnTo>
                    <a:lnTo>
                      <a:pt x="633" y="294"/>
                    </a:lnTo>
                    <a:lnTo>
                      <a:pt x="619" y="305"/>
                    </a:lnTo>
                    <a:lnTo>
                      <a:pt x="607" y="310"/>
                    </a:lnTo>
                    <a:lnTo>
                      <a:pt x="597" y="327"/>
                    </a:lnTo>
                    <a:lnTo>
                      <a:pt x="589" y="331"/>
                    </a:lnTo>
                    <a:lnTo>
                      <a:pt x="597" y="310"/>
                    </a:lnTo>
                    <a:lnTo>
                      <a:pt x="597" y="293"/>
                    </a:lnTo>
                    <a:lnTo>
                      <a:pt x="581" y="288"/>
                    </a:lnTo>
                    <a:lnTo>
                      <a:pt x="586" y="310"/>
                    </a:lnTo>
                    <a:lnTo>
                      <a:pt x="587" y="326"/>
                    </a:lnTo>
                    <a:lnTo>
                      <a:pt x="579" y="341"/>
                    </a:lnTo>
                    <a:lnTo>
                      <a:pt x="581" y="359"/>
                    </a:lnTo>
                    <a:lnTo>
                      <a:pt x="580" y="376"/>
                    </a:lnTo>
                    <a:lnTo>
                      <a:pt x="584" y="389"/>
                    </a:lnTo>
                    <a:lnTo>
                      <a:pt x="586" y="404"/>
                    </a:lnTo>
                    <a:lnTo>
                      <a:pt x="561" y="408"/>
                    </a:lnTo>
                    <a:lnTo>
                      <a:pt x="537" y="396"/>
                    </a:lnTo>
                    <a:lnTo>
                      <a:pt x="502" y="395"/>
                    </a:lnTo>
                    <a:lnTo>
                      <a:pt x="485" y="386"/>
                    </a:lnTo>
                    <a:lnTo>
                      <a:pt x="469" y="388"/>
                    </a:lnTo>
                    <a:lnTo>
                      <a:pt x="423" y="414"/>
                    </a:lnTo>
                    <a:lnTo>
                      <a:pt x="383" y="448"/>
                    </a:lnTo>
                    <a:lnTo>
                      <a:pt x="370" y="452"/>
                    </a:lnTo>
                    <a:lnTo>
                      <a:pt x="301" y="448"/>
                    </a:lnTo>
                    <a:lnTo>
                      <a:pt x="197" y="450"/>
                    </a:lnTo>
                    <a:lnTo>
                      <a:pt x="191" y="435"/>
                    </a:lnTo>
                    <a:lnTo>
                      <a:pt x="193" y="424"/>
                    </a:lnTo>
                    <a:lnTo>
                      <a:pt x="178" y="418"/>
                    </a:lnTo>
                    <a:lnTo>
                      <a:pt x="169" y="424"/>
                    </a:lnTo>
                    <a:lnTo>
                      <a:pt x="167" y="418"/>
                    </a:lnTo>
                    <a:lnTo>
                      <a:pt x="164" y="406"/>
                    </a:lnTo>
                    <a:lnTo>
                      <a:pt x="158" y="396"/>
                    </a:lnTo>
                    <a:lnTo>
                      <a:pt x="171" y="385"/>
                    </a:lnTo>
                    <a:lnTo>
                      <a:pt x="157" y="372"/>
                    </a:lnTo>
                    <a:lnTo>
                      <a:pt x="140" y="381"/>
                    </a:lnTo>
                    <a:lnTo>
                      <a:pt x="135" y="376"/>
                    </a:lnTo>
                    <a:lnTo>
                      <a:pt x="117" y="376"/>
                    </a:lnTo>
                    <a:lnTo>
                      <a:pt x="93" y="362"/>
                    </a:lnTo>
                    <a:lnTo>
                      <a:pt x="82" y="329"/>
                    </a:lnTo>
                    <a:lnTo>
                      <a:pt x="63" y="324"/>
                    </a:lnTo>
                    <a:lnTo>
                      <a:pt x="48" y="302"/>
                    </a:lnTo>
                    <a:lnTo>
                      <a:pt x="35" y="273"/>
                    </a:lnTo>
                    <a:lnTo>
                      <a:pt x="20" y="257"/>
                    </a:lnTo>
                    <a:lnTo>
                      <a:pt x="0" y="25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7" name="Freeform 20">
                <a:extLst>
                  <a:ext uri="{FF2B5EF4-FFF2-40B4-BE49-F238E27FC236}">
                    <a16:creationId xmlns:a16="http://schemas.microsoft.com/office/drawing/2014/main" id="{C6664AD6-9A71-EA48-3BFA-6CD49AA51CAE}"/>
                  </a:ext>
                </a:extLst>
              </p:cNvPr>
              <p:cNvSpPr>
                <a:spLocks/>
              </p:cNvSpPr>
              <p:nvPr/>
            </p:nvSpPr>
            <p:spPr bwMode="auto">
              <a:xfrm>
                <a:off x="4885360" y="3198968"/>
                <a:ext cx="272367" cy="200772"/>
              </a:xfrm>
              <a:custGeom>
                <a:avLst/>
                <a:gdLst>
                  <a:gd name="T0" fmla="*/ 78 w 425"/>
                  <a:gd name="T1" fmla="*/ 296 h 296"/>
                  <a:gd name="T2" fmla="*/ 116 w 425"/>
                  <a:gd name="T3" fmla="*/ 286 h 296"/>
                  <a:gd name="T4" fmla="*/ 142 w 425"/>
                  <a:gd name="T5" fmla="*/ 278 h 296"/>
                  <a:gd name="T6" fmla="*/ 180 w 425"/>
                  <a:gd name="T7" fmla="*/ 265 h 296"/>
                  <a:gd name="T8" fmla="*/ 209 w 425"/>
                  <a:gd name="T9" fmla="*/ 280 h 296"/>
                  <a:gd name="T10" fmla="*/ 243 w 425"/>
                  <a:gd name="T11" fmla="*/ 285 h 296"/>
                  <a:gd name="T12" fmla="*/ 283 w 425"/>
                  <a:gd name="T13" fmla="*/ 253 h 296"/>
                  <a:gd name="T14" fmla="*/ 290 w 425"/>
                  <a:gd name="T15" fmla="*/ 227 h 296"/>
                  <a:gd name="T16" fmla="*/ 309 w 425"/>
                  <a:gd name="T17" fmla="*/ 218 h 296"/>
                  <a:gd name="T18" fmla="*/ 342 w 425"/>
                  <a:gd name="T19" fmla="*/ 202 h 296"/>
                  <a:gd name="T20" fmla="*/ 367 w 425"/>
                  <a:gd name="T21" fmla="*/ 206 h 296"/>
                  <a:gd name="T22" fmla="*/ 398 w 425"/>
                  <a:gd name="T23" fmla="*/ 201 h 296"/>
                  <a:gd name="T24" fmla="*/ 408 w 425"/>
                  <a:gd name="T25" fmla="*/ 190 h 296"/>
                  <a:gd name="T26" fmla="*/ 383 w 425"/>
                  <a:gd name="T27" fmla="*/ 162 h 296"/>
                  <a:gd name="T28" fmla="*/ 384 w 425"/>
                  <a:gd name="T29" fmla="*/ 131 h 296"/>
                  <a:gd name="T30" fmla="*/ 389 w 425"/>
                  <a:gd name="T31" fmla="*/ 94 h 296"/>
                  <a:gd name="T32" fmla="*/ 397 w 425"/>
                  <a:gd name="T33" fmla="*/ 69 h 296"/>
                  <a:gd name="T34" fmla="*/ 425 w 425"/>
                  <a:gd name="T35" fmla="*/ 50 h 296"/>
                  <a:gd name="T36" fmla="*/ 401 w 425"/>
                  <a:gd name="T37" fmla="*/ 22 h 296"/>
                  <a:gd name="T38" fmla="*/ 379 w 425"/>
                  <a:gd name="T39" fmla="*/ 10 h 296"/>
                  <a:gd name="T40" fmla="*/ 329 w 425"/>
                  <a:gd name="T41" fmla="*/ 1 h 296"/>
                  <a:gd name="T42" fmla="*/ 268 w 425"/>
                  <a:gd name="T43" fmla="*/ 23 h 296"/>
                  <a:gd name="T44" fmla="*/ 207 w 425"/>
                  <a:gd name="T45" fmla="*/ 64 h 296"/>
                  <a:gd name="T46" fmla="*/ 130 w 425"/>
                  <a:gd name="T47" fmla="*/ 63 h 296"/>
                  <a:gd name="T48" fmla="*/ 31 w 425"/>
                  <a:gd name="T49" fmla="*/ 52 h 296"/>
                  <a:gd name="T50" fmla="*/ 19 w 425"/>
                  <a:gd name="T51" fmla="*/ 34 h 296"/>
                  <a:gd name="T52" fmla="*/ 0 w 425"/>
                  <a:gd name="T53" fmla="*/ 48 h 296"/>
                  <a:gd name="T54" fmla="*/ 24 w 425"/>
                  <a:gd name="T55" fmla="*/ 125 h 296"/>
                  <a:gd name="T56" fmla="*/ 10 w 425"/>
                  <a:gd name="T57" fmla="*/ 181 h 296"/>
                  <a:gd name="T58" fmla="*/ 29 w 425"/>
                  <a:gd name="T59" fmla="*/ 223 h 296"/>
                  <a:gd name="T60" fmla="*/ 48 w 425"/>
                  <a:gd name="T61" fmla="*/ 244 h 296"/>
                  <a:gd name="T62" fmla="*/ 59 w 425"/>
                  <a:gd name="T63" fmla="*/ 273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5" h="296">
                    <a:moveTo>
                      <a:pt x="59" y="296"/>
                    </a:moveTo>
                    <a:lnTo>
                      <a:pt x="78" y="296"/>
                    </a:lnTo>
                    <a:lnTo>
                      <a:pt x="93" y="288"/>
                    </a:lnTo>
                    <a:lnTo>
                      <a:pt x="116" y="286"/>
                    </a:lnTo>
                    <a:lnTo>
                      <a:pt x="135" y="284"/>
                    </a:lnTo>
                    <a:lnTo>
                      <a:pt x="142" y="278"/>
                    </a:lnTo>
                    <a:lnTo>
                      <a:pt x="159" y="273"/>
                    </a:lnTo>
                    <a:lnTo>
                      <a:pt x="180" y="265"/>
                    </a:lnTo>
                    <a:lnTo>
                      <a:pt x="193" y="276"/>
                    </a:lnTo>
                    <a:lnTo>
                      <a:pt x="209" y="280"/>
                    </a:lnTo>
                    <a:lnTo>
                      <a:pt x="222" y="285"/>
                    </a:lnTo>
                    <a:lnTo>
                      <a:pt x="243" y="285"/>
                    </a:lnTo>
                    <a:lnTo>
                      <a:pt x="271" y="274"/>
                    </a:lnTo>
                    <a:lnTo>
                      <a:pt x="283" y="253"/>
                    </a:lnTo>
                    <a:lnTo>
                      <a:pt x="279" y="234"/>
                    </a:lnTo>
                    <a:lnTo>
                      <a:pt x="290" y="227"/>
                    </a:lnTo>
                    <a:lnTo>
                      <a:pt x="297" y="228"/>
                    </a:lnTo>
                    <a:lnTo>
                      <a:pt x="309" y="218"/>
                    </a:lnTo>
                    <a:lnTo>
                      <a:pt x="323" y="213"/>
                    </a:lnTo>
                    <a:lnTo>
                      <a:pt x="342" y="202"/>
                    </a:lnTo>
                    <a:lnTo>
                      <a:pt x="351" y="198"/>
                    </a:lnTo>
                    <a:lnTo>
                      <a:pt x="367" y="206"/>
                    </a:lnTo>
                    <a:lnTo>
                      <a:pt x="384" y="205"/>
                    </a:lnTo>
                    <a:lnTo>
                      <a:pt x="398" y="201"/>
                    </a:lnTo>
                    <a:lnTo>
                      <a:pt x="409" y="201"/>
                    </a:lnTo>
                    <a:lnTo>
                      <a:pt x="408" y="190"/>
                    </a:lnTo>
                    <a:lnTo>
                      <a:pt x="395" y="179"/>
                    </a:lnTo>
                    <a:lnTo>
                      <a:pt x="383" y="162"/>
                    </a:lnTo>
                    <a:lnTo>
                      <a:pt x="371" y="149"/>
                    </a:lnTo>
                    <a:lnTo>
                      <a:pt x="384" y="131"/>
                    </a:lnTo>
                    <a:lnTo>
                      <a:pt x="395" y="120"/>
                    </a:lnTo>
                    <a:lnTo>
                      <a:pt x="389" y="94"/>
                    </a:lnTo>
                    <a:lnTo>
                      <a:pt x="394" y="81"/>
                    </a:lnTo>
                    <a:lnTo>
                      <a:pt x="397" y="69"/>
                    </a:lnTo>
                    <a:lnTo>
                      <a:pt x="409" y="60"/>
                    </a:lnTo>
                    <a:lnTo>
                      <a:pt x="425" y="50"/>
                    </a:lnTo>
                    <a:lnTo>
                      <a:pt x="424" y="17"/>
                    </a:lnTo>
                    <a:lnTo>
                      <a:pt x="401" y="22"/>
                    </a:lnTo>
                    <a:lnTo>
                      <a:pt x="385" y="15"/>
                    </a:lnTo>
                    <a:lnTo>
                      <a:pt x="379" y="10"/>
                    </a:lnTo>
                    <a:lnTo>
                      <a:pt x="340" y="7"/>
                    </a:lnTo>
                    <a:lnTo>
                      <a:pt x="329" y="1"/>
                    </a:lnTo>
                    <a:lnTo>
                      <a:pt x="307" y="0"/>
                    </a:lnTo>
                    <a:lnTo>
                      <a:pt x="268" y="23"/>
                    </a:lnTo>
                    <a:lnTo>
                      <a:pt x="222" y="59"/>
                    </a:lnTo>
                    <a:lnTo>
                      <a:pt x="207" y="64"/>
                    </a:lnTo>
                    <a:lnTo>
                      <a:pt x="156" y="61"/>
                    </a:lnTo>
                    <a:lnTo>
                      <a:pt x="130" y="63"/>
                    </a:lnTo>
                    <a:lnTo>
                      <a:pt x="38" y="63"/>
                    </a:lnTo>
                    <a:lnTo>
                      <a:pt x="31" y="52"/>
                    </a:lnTo>
                    <a:lnTo>
                      <a:pt x="33" y="38"/>
                    </a:lnTo>
                    <a:lnTo>
                      <a:pt x="19" y="34"/>
                    </a:lnTo>
                    <a:lnTo>
                      <a:pt x="6" y="43"/>
                    </a:lnTo>
                    <a:lnTo>
                      <a:pt x="0" y="48"/>
                    </a:lnTo>
                    <a:lnTo>
                      <a:pt x="0" y="91"/>
                    </a:lnTo>
                    <a:lnTo>
                      <a:pt x="24" y="125"/>
                    </a:lnTo>
                    <a:lnTo>
                      <a:pt x="36" y="141"/>
                    </a:lnTo>
                    <a:lnTo>
                      <a:pt x="10" y="181"/>
                    </a:lnTo>
                    <a:lnTo>
                      <a:pt x="12" y="214"/>
                    </a:lnTo>
                    <a:lnTo>
                      <a:pt x="29" y="223"/>
                    </a:lnTo>
                    <a:lnTo>
                      <a:pt x="40" y="231"/>
                    </a:lnTo>
                    <a:lnTo>
                      <a:pt x="48" y="244"/>
                    </a:lnTo>
                    <a:lnTo>
                      <a:pt x="55" y="262"/>
                    </a:lnTo>
                    <a:lnTo>
                      <a:pt x="59" y="273"/>
                    </a:lnTo>
                    <a:lnTo>
                      <a:pt x="59" y="29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8" name="Freeform 21">
                <a:extLst>
                  <a:ext uri="{FF2B5EF4-FFF2-40B4-BE49-F238E27FC236}">
                    <a16:creationId xmlns:a16="http://schemas.microsoft.com/office/drawing/2014/main" id="{CFC186CC-12E2-B1B8-C69B-03E3DA87C6CA}"/>
                  </a:ext>
                </a:extLst>
              </p:cNvPr>
              <p:cNvSpPr>
                <a:spLocks/>
              </p:cNvSpPr>
              <p:nvPr/>
            </p:nvSpPr>
            <p:spPr bwMode="auto">
              <a:xfrm>
                <a:off x="4812908" y="3342985"/>
                <a:ext cx="109349" cy="98612"/>
              </a:xfrm>
              <a:custGeom>
                <a:avLst/>
                <a:gdLst>
                  <a:gd name="T0" fmla="*/ 2 w 171"/>
                  <a:gd name="T1" fmla="*/ 32 h 146"/>
                  <a:gd name="T2" fmla="*/ 17 w 171"/>
                  <a:gd name="T3" fmla="*/ 32 h 146"/>
                  <a:gd name="T4" fmla="*/ 18 w 171"/>
                  <a:gd name="T5" fmla="*/ 17 h 146"/>
                  <a:gd name="T6" fmla="*/ 34 w 171"/>
                  <a:gd name="T7" fmla="*/ 8 h 146"/>
                  <a:gd name="T8" fmla="*/ 50 w 171"/>
                  <a:gd name="T9" fmla="*/ 14 h 146"/>
                  <a:gd name="T10" fmla="*/ 61 w 171"/>
                  <a:gd name="T11" fmla="*/ 6 h 146"/>
                  <a:gd name="T12" fmla="*/ 79 w 171"/>
                  <a:gd name="T13" fmla="*/ 7 h 146"/>
                  <a:gd name="T14" fmla="*/ 91 w 171"/>
                  <a:gd name="T15" fmla="*/ 2 h 146"/>
                  <a:gd name="T16" fmla="*/ 121 w 171"/>
                  <a:gd name="T17" fmla="*/ 0 h 146"/>
                  <a:gd name="T18" fmla="*/ 140 w 171"/>
                  <a:gd name="T19" fmla="*/ 11 h 146"/>
                  <a:gd name="T20" fmla="*/ 156 w 171"/>
                  <a:gd name="T21" fmla="*/ 27 h 146"/>
                  <a:gd name="T22" fmla="*/ 165 w 171"/>
                  <a:gd name="T23" fmla="*/ 45 h 146"/>
                  <a:gd name="T24" fmla="*/ 171 w 171"/>
                  <a:gd name="T25" fmla="*/ 67 h 146"/>
                  <a:gd name="T26" fmla="*/ 171 w 171"/>
                  <a:gd name="T27" fmla="*/ 84 h 146"/>
                  <a:gd name="T28" fmla="*/ 162 w 171"/>
                  <a:gd name="T29" fmla="*/ 92 h 146"/>
                  <a:gd name="T30" fmla="*/ 146 w 171"/>
                  <a:gd name="T31" fmla="*/ 108 h 146"/>
                  <a:gd name="T32" fmla="*/ 118 w 171"/>
                  <a:gd name="T33" fmla="*/ 109 h 146"/>
                  <a:gd name="T34" fmla="*/ 85 w 171"/>
                  <a:gd name="T35" fmla="*/ 131 h 146"/>
                  <a:gd name="T36" fmla="*/ 75 w 171"/>
                  <a:gd name="T37" fmla="*/ 138 h 146"/>
                  <a:gd name="T38" fmla="*/ 53 w 171"/>
                  <a:gd name="T39" fmla="*/ 139 h 146"/>
                  <a:gd name="T40" fmla="*/ 42 w 171"/>
                  <a:gd name="T41" fmla="*/ 146 h 146"/>
                  <a:gd name="T42" fmla="*/ 26 w 171"/>
                  <a:gd name="T43" fmla="*/ 139 h 146"/>
                  <a:gd name="T44" fmla="*/ 6 w 171"/>
                  <a:gd name="T45" fmla="*/ 112 h 146"/>
                  <a:gd name="T46" fmla="*/ 0 w 171"/>
                  <a:gd name="T47" fmla="*/ 83 h 146"/>
                  <a:gd name="T48" fmla="*/ 0 w 171"/>
                  <a:gd name="T49" fmla="*/ 56 h 146"/>
                  <a:gd name="T50" fmla="*/ 2 w 171"/>
                  <a:gd name="T51" fmla="*/ 32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1" h="146">
                    <a:moveTo>
                      <a:pt x="2" y="32"/>
                    </a:moveTo>
                    <a:lnTo>
                      <a:pt x="17" y="32"/>
                    </a:lnTo>
                    <a:lnTo>
                      <a:pt x="18" y="17"/>
                    </a:lnTo>
                    <a:lnTo>
                      <a:pt x="34" y="8"/>
                    </a:lnTo>
                    <a:lnTo>
                      <a:pt x="50" y="14"/>
                    </a:lnTo>
                    <a:lnTo>
                      <a:pt x="61" y="6"/>
                    </a:lnTo>
                    <a:lnTo>
                      <a:pt x="79" y="7"/>
                    </a:lnTo>
                    <a:lnTo>
                      <a:pt x="91" y="2"/>
                    </a:lnTo>
                    <a:lnTo>
                      <a:pt x="121" y="0"/>
                    </a:lnTo>
                    <a:lnTo>
                      <a:pt x="140" y="11"/>
                    </a:lnTo>
                    <a:lnTo>
                      <a:pt x="156" y="27"/>
                    </a:lnTo>
                    <a:lnTo>
                      <a:pt x="165" y="45"/>
                    </a:lnTo>
                    <a:lnTo>
                      <a:pt x="171" y="67"/>
                    </a:lnTo>
                    <a:lnTo>
                      <a:pt x="171" y="84"/>
                    </a:lnTo>
                    <a:lnTo>
                      <a:pt x="162" y="92"/>
                    </a:lnTo>
                    <a:lnTo>
                      <a:pt x="146" y="108"/>
                    </a:lnTo>
                    <a:lnTo>
                      <a:pt x="118" y="109"/>
                    </a:lnTo>
                    <a:lnTo>
                      <a:pt x="85" y="131"/>
                    </a:lnTo>
                    <a:lnTo>
                      <a:pt x="75" y="138"/>
                    </a:lnTo>
                    <a:lnTo>
                      <a:pt x="53" y="139"/>
                    </a:lnTo>
                    <a:lnTo>
                      <a:pt x="42" y="146"/>
                    </a:lnTo>
                    <a:lnTo>
                      <a:pt x="26" y="139"/>
                    </a:lnTo>
                    <a:lnTo>
                      <a:pt x="6" y="112"/>
                    </a:lnTo>
                    <a:lnTo>
                      <a:pt x="0" y="83"/>
                    </a:lnTo>
                    <a:lnTo>
                      <a:pt x="0" y="56"/>
                    </a:lnTo>
                    <a:lnTo>
                      <a:pt x="2" y="3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89" name="Freeform 22">
                <a:extLst>
                  <a:ext uri="{FF2B5EF4-FFF2-40B4-BE49-F238E27FC236}">
                    <a16:creationId xmlns:a16="http://schemas.microsoft.com/office/drawing/2014/main" id="{7151324F-2B91-86D2-9385-3A1540600A88}"/>
                  </a:ext>
                </a:extLst>
              </p:cNvPr>
              <p:cNvSpPr>
                <a:spLocks/>
              </p:cNvSpPr>
              <p:nvPr/>
            </p:nvSpPr>
            <p:spPr bwMode="auto">
              <a:xfrm>
                <a:off x="4756556" y="3331634"/>
                <a:ext cx="83186" cy="187293"/>
              </a:xfrm>
              <a:custGeom>
                <a:avLst/>
                <a:gdLst>
                  <a:gd name="T0" fmla="*/ 0 w 130"/>
                  <a:gd name="T1" fmla="*/ 78 h 276"/>
                  <a:gd name="T2" fmla="*/ 10 w 130"/>
                  <a:gd name="T3" fmla="*/ 48 h 276"/>
                  <a:gd name="T4" fmla="*/ 0 w 130"/>
                  <a:gd name="T5" fmla="*/ 34 h 276"/>
                  <a:gd name="T6" fmla="*/ 9 w 130"/>
                  <a:gd name="T7" fmla="*/ 19 h 276"/>
                  <a:gd name="T8" fmla="*/ 9 w 130"/>
                  <a:gd name="T9" fmla="*/ 13 h 276"/>
                  <a:gd name="T10" fmla="*/ 26 w 130"/>
                  <a:gd name="T11" fmla="*/ 0 h 276"/>
                  <a:gd name="T12" fmla="*/ 47 w 130"/>
                  <a:gd name="T13" fmla="*/ 10 h 276"/>
                  <a:gd name="T14" fmla="*/ 53 w 130"/>
                  <a:gd name="T15" fmla="*/ 8 h 276"/>
                  <a:gd name="T16" fmla="*/ 55 w 130"/>
                  <a:gd name="T17" fmla="*/ 19 h 276"/>
                  <a:gd name="T18" fmla="*/ 88 w 130"/>
                  <a:gd name="T19" fmla="*/ 39 h 276"/>
                  <a:gd name="T20" fmla="*/ 94 w 130"/>
                  <a:gd name="T21" fmla="*/ 53 h 276"/>
                  <a:gd name="T22" fmla="*/ 87 w 130"/>
                  <a:gd name="T23" fmla="*/ 93 h 276"/>
                  <a:gd name="T24" fmla="*/ 90 w 130"/>
                  <a:gd name="T25" fmla="*/ 118 h 276"/>
                  <a:gd name="T26" fmla="*/ 100 w 130"/>
                  <a:gd name="T27" fmla="*/ 138 h 276"/>
                  <a:gd name="T28" fmla="*/ 121 w 130"/>
                  <a:gd name="T29" fmla="*/ 161 h 276"/>
                  <a:gd name="T30" fmla="*/ 130 w 130"/>
                  <a:gd name="T31" fmla="*/ 175 h 276"/>
                  <a:gd name="T32" fmla="*/ 128 w 130"/>
                  <a:gd name="T33" fmla="*/ 194 h 276"/>
                  <a:gd name="T34" fmla="*/ 113 w 130"/>
                  <a:gd name="T35" fmla="*/ 215 h 276"/>
                  <a:gd name="T36" fmla="*/ 103 w 130"/>
                  <a:gd name="T37" fmla="*/ 234 h 276"/>
                  <a:gd name="T38" fmla="*/ 94 w 130"/>
                  <a:gd name="T39" fmla="*/ 242 h 276"/>
                  <a:gd name="T40" fmla="*/ 89 w 130"/>
                  <a:gd name="T41" fmla="*/ 257 h 276"/>
                  <a:gd name="T42" fmla="*/ 78 w 130"/>
                  <a:gd name="T43" fmla="*/ 271 h 276"/>
                  <a:gd name="T44" fmla="*/ 72 w 130"/>
                  <a:gd name="T45" fmla="*/ 276 h 276"/>
                  <a:gd name="T46" fmla="*/ 58 w 130"/>
                  <a:gd name="T47" fmla="*/ 269 h 276"/>
                  <a:gd name="T48" fmla="*/ 55 w 130"/>
                  <a:gd name="T49" fmla="*/ 257 h 276"/>
                  <a:gd name="T50" fmla="*/ 50 w 130"/>
                  <a:gd name="T51" fmla="*/ 249 h 276"/>
                  <a:gd name="T52" fmla="*/ 33 w 130"/>
                  <a:gd name="T53" fmla="*/ 243 h 276"/>
                  <a:gd name="T54" fmla="*/ 26 w 130"/>
                  <a:gd name="T55" fmla="*/ 241 h 276"/>
                  <a:gd name="T56" fmla="*/ 16 w 130"/>
                  <a:gd name="T57" fmla="*/ 235 h 276"/>
                  <a:gd name="T58" fmla="*/ 13 w 130"/>
                  <a:gd name="T59" fmla="*/ 224 h 276"/>
                  <a:gd name="T60" fmla="*/ 8 w 130"/>
                  <a:gd name="T61" fmla="*/ 219 h 276"/>
                  <a:gd name="T62" fmla="*/ 1 w 130"/>
                  <a:gd name="T63" fmla="*/ 205 h 276"/>
                  <a:gd name="T64" fmla="*/ 14 w 130"/>
                  <a:gd name="T65" fmla="*/ 205 h 276"/>
                  <a:gd name="T66" fmla="*/ 14 w 130"/>
                  <a:gd name="T67" fmla="*/ 191 h 276"/>
                  <a:gd name="T68" fmla="*/ 7 w 130"/>
                  <a:gd name="T69" fmla="*/ 184 h 276"/>
                  <a:gd name="T70" fmla="*/ 3 w 130"/>
                  <a:gd name="T71" fmla="*/ 153 h 276"/>
                  <a:gd name="T72" fmla="*/ 6 w 130"/>
                  <a:gd name="T73" fmla="*/ 144 h 276"/>
                  <a:gd name="T74" fmla="*/ 14 w 130"/>
                  <a:gd name="T75" fmla="*/ 136 h 276"/>
                  <a:gd name="T76" fmla="*/ 11 w 130"/>
                  <a:gd name="T77" fmla="*/ 127 h 276"/>
                  <a:gd name="T78" fmla="*/ 6 w 130"/>
                  <a:gd name="T79" fmla="*/ 115 h 276"/>
                  <a:gd name="T80" fmla="*/ 12 w 130"/>
                  <a:gd name="T81" fmla="*/ 101 h 276"/>
                  <a:gd name="T82" fmla="*/ 17 w 130"/>
                  <a:gd name="T83" fmla="*/ 91 h 276"/>
                  <a:gd name="T84" fmla="*/ 15 w 130"/>
                  <a:gd name="T85" fmla="*/ 79 h 276"/>
                  <a:gd name="T86" fmla="*/ 0 w 130"/>
                  <a:gd name="T87" fmla="*/ 7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0" h="276">
                    <a:moveTo>
                      <a:pt x="0" y="78"/>
                    </a:moveTo>
                    <a:lnTo>
                      <a:pt x="10" y="48"/>
                    </a:lnTo>
                    <a:lnTo>
                      <a:pt x="0" y="34"/>
                    </a:lnTo>
                    <a:lnTo>
                      <a:pt x="9" y="19"/>
                    </a:lnTo>
                    <a:lnTo>
                      <a:pt x="9" y="13"/>
                    </a:lnTo>
                    <a:lnTo>
                      <a:pt x="26" y="0"/>
                    </a:lnTo>
                    <a:lnTo>
                      <a:pt x="47" y="10"/>
                    </a:lnTo>
                    <a:lnTo>
                      <a:pt x="53" y="8"/>
                    </a:lnTo>
                    <a:lnTo>
                      <a:pt x="55" y="19"/>
                    </a:lnTo>
                    <a:lnTo>
                      <a:pt x="88" y="39"/>
                    </a:lnTo>
                    <a:lnTo>
                      <a:pt x="94" y="53"/>
                    </a:lnTo>
                    <a:lnTo>
                      <a:pt x="87" y="93"/>
                    </a:lnTo>
                    <a:lnTo>
                      <a:pt x="90" y="118"/>
                    </a:lnTo>
                    <a:lnTo>
                      <a:pt x="100" y="138"/>
                    </a:lnTo>
                    <a:lnTo>
                      <a:pt x="121" y="161"/>
                    </a:lnTo>
                    <a:lnTo>
                      <a:pt x="130" y="175"/>
                    </a:lnTo>
                    <a:lnTo>
                      <a:pt x="128" y="194"/>
                    </a:lnTo>
                    <a:lnTo>
                      <a:pt x="113" y="215"/>
                    </a:lnTo>
                    <a:lnTo>
                      <a:pt x="103" y="234"/>
                    </a:lnTo>
                    <a:lnTo>
                      <a:pt x="94" y="242"/>
                    </a:lnTo>
                    <a:lnTo>
                      <a:pt x="89" y="257"/>
                    </a:lnTo>
                    <a:lnTo>
                      <a:pt x="78" y="271"/>
                    </a:lnTo>
                    <a:lnTo>
                      <a:pt x="72" y="276"/>
                    </a:lnTo>
                    <a:lnTo>
                      <a:pt x="58" y="269"/>
                    </a:lnTo>
                    <a:lnTo>
                      <a:pt x="55" y="257"/>
                    </a:lnTo>
                    <a:lnTo>
                      <a:pt x="50" y="249"/>
                    </a:lnTo>
                    <a:lnTo>
                      <a:pt x="33" y="243"/>
                    </a:lnTo>
                    <a:lnTo>
                      <a:pt x="26" y="241"/>
                    </a:lnTo>
                    <a:lnTo>
                      <a:pt x="16" y="235"/>
                    </a:lnTo>
                    <a:lnTo>
                      <a:pt x="13" y="224"/>
                    </a:lnTo>
                    <a:lnTo>
                      <a:pt x="8" y="219"/>
                    </a:lnTo>
                    <a:lnTo>
                      <a:pt x="1" y="205"/>
                    </a:lnTo>
                    <a:lnTo>
                      <a:pt x="14" y="205"/>
                    </a:lnTo>
                    <a:lnTo>
                      <a:pt x="14" y="191"/>
                    </a:lnTo>
                    <a:lnTo>
                      <a:pt x="7" y="184"/>
                    </a:lnTo>
                    <a:lnTo>
                      <a:pt x="3" y="153"/>
                    </a:lnTo>
                    <a:lnTo>
                      <a:pt x="6" y="144"/>
                    </a:lnTo>
                    <a:lnTo>
                      <a:pt x="14" y="136"/>
                    </a:lnTo>
                    <a:lnTo>
                      <a:pt x="11" y="127"/>
                    </a:lnTo>
                    <a:lnTo>
                      <a:pt x="6" y="115"/>
                    </a:lnTo>
                    <a:lnTo>
                      <a:pt x="12" y="101"/>
                    </a:lnTo>
                    <a:lnTo>
                      <a:pt x="17" y="91"/>
                    </a:lnTo>
                    <a:lnTo>
                      <a:pt x="15" y="79"/>
                    </a:lnTo>
                    <a:lnTo>
                      <a:pt x="0" y="7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0" name="Freeform 23">
                <a:extLst>
                  <a:ext uri="{FF2B5EF4-FFF2-40B4-BE49-F238E27FC236}">
                    <a16:creationId xmlns:a16="http://schemas.microsoft.com/office/drawing/2014/main" id="{769D2C16-6CF9-C554-87AF-9DAB7F28EB1B}"/>
                  </a:ext>
                </a:extLst>
              </p:cNvPr>
              <p:cNvSpPr>
                <a:spLocks/>
              </p:cNvSpPr>
              <p:nvPr/>
            </p:nvSpPr>
            <p:spPr bwMode="auto">
              <a:xfrm>
                <a:off x="4672699" y="3267784"/>
                <a:ext cx="125450" cy="116348"/>
              </a:xfrm>
              <a:custGeom>
                <a:avLst/>
                <a:gdLst>
                  <a:gd name="T0" fmla="*/ 6 w 196"/>
                  <a:gd name="T1" fmla="*/ 81 h 172"/>
                  <a:gd name="T2" fmla="*/ 23 w 196"/>
                  <a:gd name="T3" fmla="*/ 83 h 172"/>
                  <a:gd name="T4" fmla="*/ 39 w 196"/>
                  <a:gd name="T5" fmla="*/ 94 h 172"/>
                  <a:gd name="T6" fmla="*/ 53 w 196"/>
                  <a:gd name="T7" fmla="*/ 104 h 172"/>
                  <a:gd name="T8" fmla="*/ 71 w 196"/>
                  <a:gd name="T9" fmla="*/ 114 h 172"/>
                  <a:gd name="T10" fmla="*/ 86 w 196"/>
                  <a:gd name="T11" fmla="*/ 123 h 172"/>
                  <a:gd name="T12" fmla="*/ 109 w 196"/>
                  <a:gd name="T13" fmla="*/ 142 h 172"/>
                  <a:gd name="T14" fmla="*/ 125 w 196"/>
                  <a:gd name="T15" fmla="*/ 162 h 172"/>
                  <a:gd name="T16" fmla="*/ 131 w 196"/>
                  <a:gd name="T17" fmla="*/ 172 h 172"/>
                  <a:gd name="T18" fmla="*/ 135 w 196"/>
                  <a:gd name="T19" fmla="*/ 153 h 172"/>
                  <a:gd name="T20" fmla="*/ 140 w 196"/>
                  <a:gd name="T21" fmla="*/ 143 h 172"/>
                  <a:gd name="T22" fmla="*/ 131 w 196"/>
                  <a:gd name="T23" fmla="*/ 129 h 172"/>
                  <a:gd name="T24" fmla="*/ 138 w 196"/>
                  <a:gd name="T25" fmla="*/ 120 h 172"/>
                  <a:gd name="T26" fmla="*/ 139 w 196"/>
                  <a:gd name="T27" fmla="*/ 110 h 172"/>
                  <a:gd name="T28" fmla="*/ 151 w 196"/>
                  <a:gd name="T29" fmla="*/ 102 h 172"/>
                  <a:gd name="T30" fmla="*/ 157 w 196"/>
                  <a:gd name="T31" fmla="*/ 94 h 172"/>
                  <a:gd name="T32" fmla="*/ 169 w 196"/>
                  <a:gd name="T33" fmla="*/ 101 h 172"/>
                  <a:gd name="T34" fmla="*/ 178 w 196"/>
                  <a:gd name="T35" fmla="*/ 104 h 172"/>
                  <a:gd name="T36" fmla="*/ 185 w 196"/>
                  <a:gd name="T37" fmla="*/ 99 h 172"/>
                  <a:gd name="T38" fmla="*/ 185 w 196"/>
                  <a:gd name="T39" fmla="*/ 86 h 172"/>
                  <a:gd name="T40" fmla="*/ 174 w 196"/>
                  <a:gd name="T41" fmla="*/ 79 h 172"/>
                  <a:gd name="T42" fmla="*/ 196 w 196"/>
                  <a:gd name="T43" fmla="*/ 77 h 172"/>
                  <a:gd name="T44" fmla="*/ 192 w 196"/>
                  <a:gd name="T45" fmla="*/ 66 h 172"/>
                  <a:gd name="T46" fmla="*/ 172 w 196"/>
                  <a:gd name="T47" fmla="*/ 55 h 172"/>
                  <a:gd name="T48" fmla="*/ 170 w 196"/>
                  <a:gd name="T49" fmla="*/ 37 h 172"/>
                  <a:gd name="T50" fmla="*/ 146 w 196"/>
                  <a:gd name="T51" fmla="*/ 21 h 172"/>
                  <a:gd name="T52" fmla="*/ 126 w 196"/>
                  <a:gd name="T53" fmla="*/ 14 h 172"/>
                  <a:gd name="T54" fmla="*/ 121 w 196"/>
                  <a:gd name="T55" fmla="*/ 0 h 172"/>
                  <a:gd name="T56" fmla="*/ 109 w 196"/>
                  <a:gd name="T57" fmla="*/ 6 h 172"/>
                  <a:gd name="T58" fmla="*/ 95 w 196"/>
                  <a:gd name="T59" fmla="*/ 5 h 172"/>
                  <a:gd name="T60" fmla="*/ 110 w 196"/>
                  <a:gd name="T61" fmla="*/ 23 h 172"/>
                  <a:gd name="T62" fmla="*/ 104 w 196"/>
                  <a:gd name="T63" fmla="*/ 34 h 172"/>
                  <a:gd name="T64" fmla="*/ 95 w 196"/>
                  <a:gd name="T65" fmla="*/ 24 h 172"/>
                  <a:gd name="T66" fmla="*/ 86 w 196"/>
                  <a:gd name="T67" fmla="*/ 23 h 172"/>
                  <a:gd name="T68" fmla="*/ 79 w 196"/>
                  <a:gd name="T69" fmla="*/ 33 h 172"/>
                  <a:gd name="T70" fmla="*/ 76 w 196"/>
                  <a:gd name="T71" fmla="*/ 56 h 172"/>
                  <a:gd name="T72" fmla="*/ 68 w 196"/>
                  <a:gd name="T73" fmla="*/ 60 h 172"/>
                  <a:gd name="T74" fmla="*/ 68 w 196"/>
                  <a:gd name="T75" fmla="*/ 76 h 172"/>
                  <a:gd name="T76" fmla="*/ 73 w 196"/>
                  <a:gd name="T77" fmla="*/ 94 h 172"/>
                  <a:gd name="T78" fmla="*/ 68 w 196"/>
                  <a:gd name="T79" fmla="*/ 100 h 172"/>
                  <a:gd name="T80" fmla="*/ 61 w 196"/>
                  <a:gd name="T81" fmla="*/ 95 h 172"/>
                  <a:gd name="T82" fmla="*/ 33 w 196"/>
                  <a:gd name="T83" fmla="*/ 79 h 172"/>
                  <a:gd name="T84" fmla="*/ 19 w 196"/>
                  <a:gd name="T85" fmla="*/ 71 h 172"/>
                  <a:gd name="T86" fmla="*/ 6 w 196"/>
                  <a:gd name="T87" fmla="*/ 65 h 172"/>
                  <a:gd name="T88" fmla="*/ 0 w 196"/>
                  <a:gd name="T89" fmla="*/ 73 h 172"/>
                  <a:gd name="T90" fmla="*/ 6 w 196"/>
                  <a:gd name="T91" fmla="*/ 8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172">
                    <a:moveTo>
                      <a:pt x="6" y="81"/>
                    </a:moveTo>
                    <a:lnTo>
                      <a:pt x="23" y="83"/>
                    </a:lnTo>
                    <a:lnTo>
                      <a:pt x="39" y="94"/>
                    </a:lnTo>
                    <a:lnTo>
                      <a:pt x="53" y="104"/>
                    </a:lnTo>
                    <a:lnTo>
                      <a:pt x="71" y="114"/>
                    </a:lnTo>
                    <a:lnTo>
                      <a:pt x="86" y="123"/>
                    </a:lnTo>
                    <a:lnTo>
                      <a:pt x="109" y="142"/>
                    </a:lnTo>
                    <a:lnTo>
                      <a:pt x="125" y="162"/>
                    </a:lnTo>
                    <a:lnTo>
                      <a:pt x="131" y="172"/>
                    </a:lnTo>
                    <a:lnTo>
                      <a:pt x="135" y="153"/>
                    </a:lnTo>
                    <a:lnTo>
                      <a:pt x="140" y="143"/>
                    </a:lnTo>
                    <a:lnTo>
                      <a:pt x="131" y="129"/>
                    </a:lnTo>
                    <a:lnTo>
                      <a:pt x="138" y="120"/>
                    </a:lnTo>
                    <a:lnTo>
                      <a:pt x="139" y="110"/>
                    </a:lnTo>
                    <a:lnTo>
                      <a:pt x="151" y="102"/>
                    </a:lnTo>
                    <a:lnTo>
                      <a:pt x="157" y="94"/>
                    </a:lnTo>
                    <a:lnTo>
                      <a:pt x="169" y="101"/>
                    </a:lnTo>
                    <a:lnTo>
                      <a:pt x="178" y="104"/>
                    </a:lnTo>
                    <a:lnTo>
                      <a:pt x="185" y="99"/>
                    </a:lnTo>
                    <a:lnTo>
                      <a:pt x="185" y="86"/>
                    </a:lnTo>
                    <a:lnTo>
                      <a:pt x="174" y="79"/>
                    </a:lnTo>
                    <a:lnTo>
                      <a:pt x="196" y="77"/>
                    </a:lnTo>
                    <a:lnTo>
                      <a:pt x="192" y="66"/>
                    </a:lnTo>
                    <a:lnTo>
                      <a:pt x="172" y="55"/>
                    </a:lnTo>
                    <a:lnTo>
                      <a:pt x="170" y="37"/>
                    </a:lnTo>
                    <a:lnTo>
                      <a:pt x="146" y="21"/>
                    </a:lnTo>
                    <a:lnTo>
                      <a:pt x="126" y="14"/>
                    </a:lnTo>
                    <a:lnTo>
                      <a:pt x="121" y="0"/>
                    </a:lnTo>
                    <a:lnTo>
                      <a:pt x="109" y="6"/>
                    </a:lnTo>
                    <a:lnTo>
                      <a:pt x="95" y="5"/>
                    </a:lnTo>
                    <a:lnTo>
                      <a:pt x="110" y="23"/>
                    </a:lnTo>
                    <a:lnTo>
                      <a:pt x="104" y="34"/>
                    </a:lnTo>
                    <a:lnTo>
                      <a:pt x="95" y="24"/>
                    </a:lnTo>
                    <a:lnTo>
                      <a:pt x="86" y="23"/>
                    </a:lnTo>
                    <a:lnTo>
                      <a:pt x="79" y="33"/>
                    </a:lnTo>
                    <a:lnTo>
                      <a:pt x="76" y="56"/>
                    </a:lnTo>
                    <a:lnTo>
                      <a:pt x="68" y="60"/>
                    </a:lnTo>
                    <a:lnTo>
                      <a:pt x="68" y="76"/>
                    </a:lnTo>
                    <a:lnTo>
                      <a:pt x="73" y="94"/>
                    </a:lnTo>
                    <a:lnTo>
                      <a:pt x="68" y="100"/>
                    </a:lnTo>
                    <a:lnTo>
                      <a:pt x="61" y="95"/>
                    </a:lnTo>
                    <a:lnTo>
                      <a:pt x="33" y="79"/>
                    </a:lnTo>
                    <a:lnTo>
                      <a:pt x="19" y="71"/>
                    </a:lnTo>
                    <a:lnTo>
                      <a:pt x="6" y="65"/>
                    </a:lnTo>
                    <a:lnTo>
                      <a:pt x="0" y="73"/>
                    </a:lnTo>
                    <a:lnTo>
                      <a:pt x="6" y="8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1" name="Freeform 24">
                <a:extLst>
                  <a:ext uri="{FF2B5EF4-FFF2-40B4-BE49-F238E27FC236}">
                    <a16:creationId xmlns:a16="http://schemas.microsoft.com/office/drawing/2014/main" id="{DDA18885-AD7F-CA07-07D9-8120EDCF4F3E}"/>
                  </a:ext>
                </a:extLst>
              </p:cNvPr>
              <p:cNvSpPr>
                <a:spLocks/>
              </p:cNvSpPr>
              <p:nvPr/>
            </p:nvSpPr>
            <p:spPr bwMode="auto">
              <a:xfrm>
                <a:off x="4495594" y="3081201"/>
                <a:ext cx="252241" cy="244048"/>
              </a:xfrm>
              <a:custGeom>
                <a:avLst/>
                <a:gdLst>
                  <a:gd name="T0" fmla="*/ 9 w 393"/>
                  <a:gd name="T1" fmla="*/ 119 h 360"/>
                  <a:gd name="T2" fmla="*/ 49 w 393"/>
                  <a:gd name="T3" fmla="*/ 116 h 360"/>
                  <a:gd name="T4" fmla="*/ 65 w 393"/>
                  <a:gd name="T5" fmla="*/ 95 h 360"/>
                  <a:gd name="T6" fmla="*/ 86 w 393"/>
                  <a:gd name="T7" fmla="*/ 113 h 360"/>
                  <a:gd name="T8" fmla="*/ 108 w 393"/>
                  <a:gd name="T9" fmla="*/ 126 h 360"/>
                  <a:gd name="T10" fmla="*/ 117 w 393"/>
                  <a:gd name="T11" fmla="*/ 102 h 360"/>
                  <a:gd name="T12" fmla="*/ 135 w 393"/>
                  <a:gd name="T13" fmla="*/ 83 h 360"/>
                  <a:gd name="T14" fmla="*/ 147 w 393"/>
                  <a:gd name="T15" fmla="*/ 57 h 360"/>
                  <a:gd name="T16" fmla="*/ 161 w 393"/>
                  <a:gd name="T17" fmla="*/ 32 h 360"/>
                  <a:gd name="T18" fmla="*/ 181 w 393"/>
                  <a:gd name="T19" fmla="*/ 23 h 360"/>
                  <a:gd name="T20" fmla="*/ 184 w 393"/>
                  <a:gd name="T21" fmla="*/ 0 h 360"/>
                  <a:gd name="T22" fmla="*/ 215 w 393"/>
                  <a:gd name="T23" fmla="*/ 16 h 360"/>
                  <a:gd name="T24" fmla="*/ 250 w 393"/>
                  <a:gd name="T25" fmla="*/ 42 h 360"/>
                  <a:gd name="T26" fmla="*/ 285 w 393"/>
                  <a:gd name="T27" fmla="*/ 73 h 360"/>
                  <a:gd name="T28" fmla="*/ 330 w 393"/>
                  <a:gd name="T29" fmla="*/ 68 h 360"/>
                  <a:gd name="T30" fmla="*/ 356 w 393"/>
                  <a:gd name="T31" fmla="*/ 76 h 360"/>
                  <a:gd name="T32" fmla="*/ 367 w 393"/>
                  <a:gd name="T33" fmla="*/ 112 h 360"/>
                  <a:gd name="T34" fmla="*/ 393 w 393"/>
                  <a:gd name="T35" fmla="*/ 116 h 360"/>
                  <a:gd name="T36" fmla="*/ 376 w 393"/>
                  <a:gd name="T37" fmla="*/ 136 h 360"/>
                  <a:gd name="T38" fmla="*/ 367 w 393"/>
                  <a:gd name="T39" fmla="*/ 151 h 360"/>
                  <a:gd name="T40" fmla="*/ 353 w 393"/>
                  <a:gd name="T41" fmla="*/ 136 h 360"/>
                  <a:gd name="T42" fmla="*/ 331 w 393"/>
                  <a:gd name="T43" fmla="*/ 129 h 360"/>
                  <a:gd name="T44" fmla="*/ 310 w 393"/>
                  <a:gd name="T45" fmla="*/ 132 h 360"/>
                  <a:gd name="T46" fmla="*/ 290 w 393"/>
                  <a:gd name="T47" fmla="*/ 137 h 360"/>
                  <a:gd name="T48" fmla="*/ 241 w 393"/>
                  <a:gd name="T49" fmla="*/ 125 h 360"/>
                  <a:gd name="T50" fmla="*/ 221 w 393"/>
                  <a:gd name="T51" fmla="*/ 123 h 360"/>
                  <a:gd name="T52" fmla="*/ 186 w 393"/>
                  <a:gd name="T53" fmla="*/ 141 h 360"/>
                  <a:gd name="T54" fmla="*/ 155 w 393"/>
                  <a:gd name="T55" fmla="*/ 121 h 360"/>
                  <a:gd name="T56" fmla="*/ 153 w 393"/>
                  <a:gd name="T57" fmla="*/ 162 h 360"/>
                  <a:gd name="T58" fmla="*/ 177 w 393"/>
                  <a:gd name="T59" fmla="*/ 188 h 360"/>
                  <a:gd name="T60" fmla="*/ 194 w 393"/>
                  <a:gd name="T61" fmla="*/ 230 h 360"/>
                  <a:gd name="T62" fmla="*/ 248 w 393"/>
                  <a:gd name="T63" fmla="*/ 289 h 360"/>
                  <a:gd name="T64" fmla="*/ 278 w 393"/>
                  <a:gd name="T65" fmla="*/ 331 h 360"/>
                  <a:gd name="T66" fmla="*/ 278 w 393"/>
                  <a:gd name="T67" fmla="*/ 351 h 360"/>
                  <a:gd name="T68" fmla="*/ 270 w 393"/>
                  <a:gd name="T69" fmla="*/ 351 h 360"/>
                  <a:gd name="T70" fmla="*/ 257 w 393"/>
                  <a:gd name="T71" fmla="*/ 343 h 360"/>
                  <a:gd name="T72" fmla="*/ 216 w 393"/>
                  <a:gd name="T73" fmla="*/ 351 h 360"/>
                  <a:gd name="T74" fmla="*/ 243 w 393"/>
                  <a:gd name="T75" fmla="*/ 344 h 360"/>
                  <a:gd name="T76" fmla="*/ 246 w 393"/>
                  <a:gd name="T77" fmla="*/ 320 h 360"/>
                  <a:gd name="T78" fmla="*/ 233 w 393"/>
                  <a:gd name="T79" fmla="*/ 306 h 360"/>
                  <a:gd name="T80" fmla="*/ 218 w 393"/>
                  <a:gd name="T81" fmla="*/ 319 h 360"/>
                  <a:gd name="T82" fmla="*/ 199 w 393"/>
                  <a:gd name="T83" fmla="*/ 315 h 360"/>
                  <a:gd name="T84" fmla="*/ 201 w 393"/>
                  <a:gd name="T85" fmla="*/ 297 h 360"/>
                  <a:gd name="T86" fmla="*/ 169 w 393"/>
                  <a:gd name="T87" fmla="*/ 282 h 360"/>
                  <a:gd name="T88" fmla="*/ 159 w 393"/>
                  <a:gd name="T89" fmla="*/ 271 h 360"/>
                  <a:gd name="T90" fmla="*/ 147 w 393"/>
                  <a:gd name="T91" fmla="*/ 263 h 360"/>
                  <a:gd name="T92" fmla="*/ 126 w 393"/>
                  <a:gd name="T93" fmla="*/ 253 h 360"/>
                  <a:gd name="T94" fmla="*/ 112 w 393"/>
                  <a:gd name="T95" fmla="*/ 233 h 360"/>
                  <a:gd name="T96" fmla="*/ 115 w 393"/>
                  <a:gd name="T97" fmla="*/ 217 h 360"/>
                  <a:gd name="T98" fmla="*/ 134 w 393"/>
                  <a:gd name="T99" fmla="*/ 218 h 360"/>
                  <a:gd name="T100" fmla="*/ 100 w 393"/>
                  <a:gd name="T101" fmla="*/ 192 h 360"/>
                  <a:gd name="T102" fmla="*/ 91 w 393"/>
                  <a:gd name="T103" fmla="*/ 160 h 360"/>
                  <a:gd name="T104" fmla="*/ 78 w 393"/>
                  <a:gd name="T105" fmla="*/ 136 h 360"/>
                  <a:gd name="T106" fmla="*/ 51 w 393"/>
                  <a:gd name="T107" fmla="*/ 140 h 360"/>
                  <a:gd name="T108" fmla="*/ 38 w 393"/>
                  <a:gd name="T109" fmla="*/ 165 h 360"/>
                  <a:gd name="T110" fmla="*/ 21 w 393"/>
                  <a:gd name="T111" fmla="*/ 161 h 360"/>
                  <a:gd name="T112" fmla="*/ 7 w 393"/>
                  <a:gd name="T113" fmla="*/ 132 h 360"/>
                  <a:gd name="T114" fmla="*/ 0 w 393"/>
                  <a:gd name="T115" fmla="*/ 10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3" h="360">
                    <a:moveTo>
                      <a:pt x="0" y="109"/>
                    </a:moveTo>
                    <a:lnTo>
                      <a:pt x="9" y="119"/>
                    </a:lnTo>
                    <a:lnTo>
                      <a:pt x="37" y="113"/>
                    </a:lnTo>
                    <a:lnTo>
                      <a:pt x="49" y="116"/>
                    </a:lnTo>
                    <a:lnTo>
                      <a:pt x="60" y="107"/>
                    </a:lnTo>
                    <a:lnTo>
                      <a:pt x="65" y="95"/>
                    </a:lnTo>
                    <a:cubicBezTo>
                      <a:pt x="74" y="94"/>
                      <a:pt x="74" y="91"/>
                      <a:pt x="74" y="95"/>
                    </a:cubicBezTo>
                    <a:lnTo>
                      <a:pt x="86" y="113"/>
                    </a:lnTo>
                    <a:lnTo>
                      <a:pt x="100" y="116"/>
                    </a:lnTo>
                    <a:lnTo>
                      <a:pt x="108" y="126"/>
                    </a:lnTo>
                    <a:lnTo>
                      <a:pt x="118" y="120"/>
                    </a:lnTo>
                    <a:lnTo>
                      <a:pt x="117" y="102"/>
                    </a:lnTo>
                    <a:lnTo>
                      <a:pt x="122" y="91"/>
                    </a:lnTo>
                    <a:lnTo>
                      <a:pt x="135" y="83"/>
                    </a:lnTo>
                    <a:lnTo>
                      <a:pt x="146" y="72"/>
                    </a:lnTo>
                    <a:lnTo>
                      <a:pt x="147" y="57"/>
                    </a:lnTo>
                    <a:lnTo>
                      <a:pt x="140" y="40"/>
                    </a:lnTo>
                    <a:lnTo>
                      <a:pt x="161" y="32"/>
                    </a:lnTo>
                    <a:lnTo>
                      <a:pt x="171" y="21"/>
                    </a:lnTo>
                    <a:lnTo>
                      <a:pt x="181" y="23"/>
                    </a:lnTo>
                    <a:lnTo>
                      <a:pt x="175" y="8"/>
                    </a:lnTo>
                    <a:lnTo>
                      <a:pt x="184" y="0"/>
                    </a:lnTo>
                    <a:lnTo>
                      <a:pt x="197" y="11"/>
                    </a:lnTo>
                    <a:lnTo>
                      <a:pt x="215" y="16"/>
                    </a:lnTo>
                    <a:lnTo>
                      <a:pt x="234" y="38"/>
                    </a:lnTo>
                    <a:lnTo>
                      <a:pt x="250" y="42"/>
                    </a:lnTo>
                    <a:lnTo>
                      <a:pt x="264" y="63"/>
                    </a:lnTo>
                    <a:lnTo>
                      <a:pt x="285" y="73"/>
                    </a:lnTo>
                    <a:lnTo>
                      <a:pt x="309" y="76"/>
                    </a:lnTo>
                    <a:lnTo>
                      <a:pt x="330" y="68"/>
                    </a:lnTo>
                    <a:lnTo>
                      <a:pt x="350" y="60"/>
                    </a:lnTo>
                    <a:lnTo>
                      <a:pt x="356" y="76"/>
                    </a:lnTo>
                    <a:lnTo>
                      <a:pt x="361" y="88"/>
                    </a:lnTo>
                    <a:lnTo>
                      <a:pt x="367" y="112"/>
                    </a:lnTo>
                    <a:lnTo>
                      <a:pt x="382" y="113"/>
                    </a:lnTo>
                    <a:lnTo>
                      <a:pt x="393" y="116"/>
                    </a:lnTo>
                    <a:lnTo>
                      <a:pt x="378" y="123"/>
                    </a:lnTo>
                    <a:lnTo>
                      <a:pt x="376" y="136"/>
                    </a:lnTo>
                    <a:lnTo>
                      <a:pt x="376" y="144"/>
                    </a:lnTo>
                    <a:lnTo>
                      <a:pt x="367" y="151"/>
                    </a:lnTo>
                    <a:lnTo>
                      <a:pt x="355" y="149"/>
                    </a:lnTo>
                    <a:lnTo>
                      <a:pt x="353" y="136"/>
                    </a:lnTo>
                    <a:lnTo>
                      <a:pt x="340" y="133"/>
                    </a:lnTo>
                    <a:lnTo>
                      <a:pt x="331" y="129"/>
                    </a:lnTo>
                    <a:lnTo>
                      <a:pt x="318" y="132"/>
                    </a:lnTo>
                    <a:lnTo>
                      <a:pt x="310" y="132"/>
                    </a:lnTo>
                    <a:lnTo>
                      <a:pt x="299" y="131"/>
                    </a:lnTo>
                    <a:lnTo>
                      <a:pt x="290" y="137"/>
                    </a:lnTo>
                    <a:lnTo>
                      <a:pt x="278" y="128"/>
                    </a:lnTo>
                    <a:lnTo>
                      <a:pt x="241" y="125"/>
                    </a:lnTo>
                    <a:lnTo>
                      <a:pt x="233" y="116"/>
                    </a:lnTo>
                    <a:lnTo>
                      <a:pt x="221" y="123"/>
                    </a:lnTo>
                    <a:lnTo>
                      <a:pt x="200" y="121"/>
                    </a:lnTo>
                    <a:lnTo>
                      <a:pt x="186" y="141"/>
                    </a:lnTo>
                    <a:lnTo>
                      <a:pt x="170" y="121"/>
                    </a:lnTo>
                    <a:lnTo>
                      <a:pt x="155" y="121"/>
                    </a:lnTo>
                    <a:lnTo>
                      <a:pt x="149" y="142"/>
                    </a:lnTo>
                    <a:lnTo>
                      <a:pt x="153" y="162"/>
                    </a:lnTo>
                    <a:lnTo>
                      <a:pt x="169" y="175"/>
                    </a:lnTo>
                    <a:lnTo>
                      <a:pt x="177" y="188"/>
                    </a:lnTo>
                    <a:lnTo>
                      <a:pt x="176" y="211"/>
                    </a:lnTo>
                    <a:lnTo>
                      <a:pt x="194" y="230"/>
                    </a:lnTo>
                    <a:lnTo>
                      <a:pt x="207" y="240"/>
                    </a:lnTo>
                    <a:lnTo>
                      <a:pt x="248" y="289"/>
                    </a:lnTo>
                    <a:lnTo>
                      <a:pt x="257" y="310"/>
                    </a:lnTo>
                    <a:lnTo>
                      <a:pt x="278" y="331"/>
                    </a:lnTo>
                    <a:lnTo>
                      <a:pt x="278" y="343"/>
                    </a:lnTo>
                    <a:lnTo>
                      <a:pt x="278" y="351"/>
                    </a:lnTo>
                    <a:lnTo>
                      <a:pt x="276" y="360"/>
                    </a:lnTo>
                    <a:lnTo>
                      <a:pt x="270" y="351"/>
                    </a:lnTo>
                    <a:lnTo>
                      <a:pt x="264" y="352"/>
                    </a:lnTo>
                    <a:lnTo>
                      <a:pt x="257" y="343"/>
                    </a:lnTo>
                    <a:lnTo>
                      <a:pt x="247" y="350"/>
                    </a:lnTo>
                    <a:lnTo>
                      <a:pt x="216" y="351"/>
                    </a:lnTo>
                    <a:lnTo>
                      <a:pt x="222" y="344"/>
                    </a:lnTo>
                    <a:lnTo>
                      <a:pt x="243" y="344"/>
                    </a:lnTo>
                    <a:lnTo>
                      <a:pt x="252" y="336"/>
                    </a:lnTo>
                    <a:lnTo>
                      <a:pt x="246" y="320"/>
                    </a:lnTo>
                    <a:lnTo>
                      <a:pt x="239" y="312"/>
                    </a:lnTo>
                    <a:lnTo>
                      <a:pt x="233" y="306"/>
                    </a:lnTo>
                    <a:lnTo>
                      <a:pt x="229" y="313"/>
                    </a:lnTo>
                    <a:lnTo>
                      <a:pt x="218" y="319"/>
                    </a:lnTo>
                    <a:lnTo>
                      <a:pt x="205" y="317"/>
                    </a:lnTo>
                    <a:lnTo>
                      <a:pt x="199" y="315"/>
                    </a:lnTo>
                    <a:lnTo>
                      <a:pt x="195" y="307"/>
                    </a:lnTo>
                    <a:lnTo>
                      <a:pt x="201" y="297"/>
                    </a:lnTo>
                    <a:lnTo>
                      <a:pt x="166" y="295"/>
                    </a:lnTo>
                    <a:lnTo>
                      <a:pt x="169" y="282"/>
                    </a:lnTo>
                    <a:lnTo>
                      <a:pt x="160" y="284"/>
                    </a:lnTo>
                    <a:lnTo>
                      <a:pt x="159" y="271"/>
                    </a:lnTo>
                    <a:lnTo>
                      <a:pt x="150" y="272"/>
                    </a:lnTo>
                    <a:lnTo>
                      <a:pt x="147" y="263"/>
                    </a:lnTo>
                    <a:lnTo>
                      <a:pt x="137" y="259"/>
                    </a:lnTo>
                    <a:lnTo>
                      <a:pt x="126" y="253"/>
                    </a:lnTo>
                    <a:lnTo>
                      <a:pt x="119" y="244"/>
                    </a:lnTo>
                    <a:lnTo>
                      <a:pt x="112" y="233"/>
                    </a:lnTo>
                    <a:lnTo>
                      <a:pt x="111" y="224"/>
                    </a:lnTo>
                    <a:lnTo>
                      <a:pt x="115" y="217"/>
                    </a:lnTo>
                    <a:lnTo>
                      <a:pt x="127" y="215"/>
                    </a:lnTo>
                    <a:lnTo>
                      <a:pt x="134" y="218"/>
                    </a:lnTo>
                    <a:lnTo>
                      <a:pt x="112" y="208"/>
                    </a:lnTo>
                    <a:lnTo>
                      <a:pt x="100" y="192"/>
                    </a:lnTo>
                    <a:lnTo>
                      <a:pt x="96" y="178"/>
                    </a:lnTo>
                    <a:lnTo>
                      <a:pt x="91" y="160"/>
                    </a:lnTo>
                    <a:lnTo>
                      <a:pt x="91" y="146"/>
                    </a:lnTo>
                    <a:lnTo>
                      <a:pt x="78" y="136"/>
                    </a:lnTo>
                    <a:lnTo>
                      <a:pt x="60" y="121"/>
                    </a:lnTo>
                    <a:lnTo>
                      <a:pt x="51" y="140"/>
                    </a:lnTo>
                    <a:lnTo>
                      <a:pt x="46" y="153"/>
                    </a:lnTo>
                    <a:lnTo>
                      <a:pt x="38" y="165"/>
                    </a:lnTo>
                    <a:lnTo>
                      <a:pt x="29" y="171"/>
                    </a:lnTo>
                    <a:lnTo>
                      <a:pt x="21" y="161"/>
                    </a:lnTo>
                    <a:lnTo>
                      <a:pt x="11" y="143"/>
                    </a:lnTo>
                    <a:lnTo>
                      <a:pt x="7" y="132"/>
                    </a:lnTo>
                    <a:lnTo>
                      <a:pt x="2" y="119"/>
                    </a:lnTo>
                    <a:lnTo>
                      <a:pt x="0" y="10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2" name="Freeform 25">
                <a:extLst>
                  <a:ext uri="{FF2B5EF4-FFF2-40B4-BE49-F238E27FC236}">
                    <a16:creationId xmlns:a16="http://schemas.microsoft.com/office/drawing/2014/main" id="{F0DCD5B3-1837-3975-5667-345CFB5AE1A9}"/>
                  </a:ext>
                </a:extLst>
              </p:cNvPr>
              <p:cNvSpPr>
                <a:spLocks/>
              </p:cNvSpPr>
              <p:nvPr/>
            </p:nvSpPr>
            <p:spPr bwMode="auto">
              <a:xfrm>
                <a:off x="4592197" y="3159239"/>
                <a:ext cx="171068" cy="175942"/>
              </a:xfrm>
              <a:custGeom>
                <a:avLst/>
                <a:gdLst>
                  <a:gd name="T0" fmla="*/ 249 w 267"/>
                  <a:gd name="T1" fmla="*/ 37 h 260"/>
                  <a:gd name="T2" fmla="*/ 230 w 267"/>
                  <a:gd name="T3" fmla="*/ 69 h 260"/>
                  <a:gd name="T4" fmla="*/ 232 w 267"/>
                  <a:gd name="T5" fmla="*/ 91 h 260"/>
                  <a:gd name="T6" fmla="*/ 256 w 267"/>
                  <a:gd name="T7" fmla="*/ 102 h 260"/>
                  <a:gd name="T8" fmla="*/ 267 w 267"/>
                  <a:gd name="T9" fmla="*/ 118 h 260"/>
                  <a:gd name="T10" fmla="*/ 266 w 267"/>
                  <a:gd name="T11" fmla="*/ 146 h 260"/>
                  <a:gd name="T12" fmla="*/ 241 w 267"/>
                  <a:gd name="T13" fmla="*/ 167 h 260"/>
                  <a:gd name="T14" fmla="*/ 233 w 267"/>
                  <a:gd name="T15" fmla="*/ 182 h 260"/>
                  <a:gd name="T16" fmla="*/ 223 w 267"/>
                  <a:gd name="T17" fmla="*/ 184 h 260"/>
                  <a:gd name="T18" fmla="*/ 205 w 267"/>
                  <a:gd name="T19" fmla="*/ 194 h 260"/>
                  <a:gd name="T20" fmla="*/ 194 w 267"/>
                  <a:gd name="T21" fmla="*/ 218 h 260"/>
                  <a:gd name="T22" fmla="*/ 194 w 267"/>
                  <a:gd name="T23" fmla="*/ 244 h 260"/>
                  <a:gd name="T24" fmla="*/ 194 w 267"/>
                  <a:gd name="T25" fmla="*/ 260 h 260"/>
                  <a:gd name="T26" fmla="*/ 149 w 267"/>
                  <a:gd name="T27" fmla="*/ 234 h 260"/>
                  <a:gd name="T28" fmla="*/ 128 w 267"/>
                  <a:gd name="T29" fmla="*/ 227 h 260"/>
                  <a:gd name="T30" fmla="*/ 112 w 267"/>
                  <a:gd name="T31" fmla="*/ 198 h 260"/>
                  <a:gd name="T32" fmla="*/ 99 w 267"/>
                  <a:gd name="T33" fmla="*/ 173 h 260"/>
                  <a:gd name="T34" fmla="*/ 68 w 267"/>
                  <a:gd name="T35" fmla="*/ 142 h 260"/>
                  <a:gd name="T36" fmla="*/ 40 w 267"/>
                  <a:gd name="T37" fmla="*/ 112 h 260"/>
                  <a:gd name="T38" fmla="*/ 25 w 267"/>
                  <a:gd name="T39" fmla="*/ 94 h 260"/>
                  <a:gd name="T40" fmla="*/ 17 w 267"/>
                  <a:gd name="T41" fmla="*/ 56 h 260"/>
                  <a:gd name="T42" fmla="*/ 0 w 267"/>
                  <a:gd name="T43" fmla="*/ 37 h 260"/>
                  <a:gd name="T44" fmla="*/ 6 w 267"/>
                  <a:gd name="T45" fmla="*/ 6 h 260"/>
                  <a:gd name="T46" fmla="*/ 39 w 267"/>
                  <a:gd name="T47" fmla="*/ 27 h 260"/>
                  <a:gd name="T48" fmla="*/ 75 w 267"/>
                  <a:gd name="T49" fmla="*/ 8 h 260"/>
                  <a:gd name="T50" fmla="*/ 94 w 267"/>
                  <a:gd name="T51" fmla="*/ 11 h 260"/>
                  <a:gd name="T52" fmla="*/ 135 w 267"/>
                  <a:gd name="T53" fmla="*/ 13 h 260"/>
                  <a:gd name="T54" fmla="*/ 154 w 267"/>
                  <a:gd name="T55" fmla="*/ 15 h 260"/>
                  <a:gd name="T56" fmla="*/ 180 w 267"/>
                  <a:gd name="T57" fmla="*/ 14 h 260"/>
                  <a:gd name="T58" fmla="*/ 196 w 267"/>
                  <a:gd name="T59" fmla="*/ 17 h 260"/>
                  <a:gd name="T60" fmla="*/ 204 w 267"/>
                  <a:gd name="T61" fmla="*/ 34 h 260"/>
                  <a:gd name="T62" fmla="*/ 232 w 267"/>
                  <a:gd name="T63" fmla="*/ 3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260">
                    <a:moveTo>
                      <a:pt x="232" y="31"/>
                    </a:moveTo>
                    <a:lnTo>
                      <a:pt x="249" y="37"/>
                    </a:lnTo>
                    <a:lnTo>
                      <a:pt x="243" y="51"/>
                    </a:lnTo>
                    <a:lnTo>
                      <a:pt x="230" y="69"/>
                    </a:lnTo>
                    <a:lnTo>
                      <a:pt x="227" y="78"/>
                    </a:lnTo>
                    <a:lnTo>
                      <a:pt x="232" y="91"/>
                    </a:lnTo>
                    <a:lnTo>
                      <a:pt x="246" y="93"/>
                    </a:lnTo>
                    <a:lnTo>
                      <a:pt x="256" y="102"/>
                    </a:lnTo>
                    <a:lnTo>
                      <a:pt x="267" y="111"/>
                    </a:lnTo>
                    <a:lnTo>
                      <a:pt x="267" y="118"/>
                    </a:lnTo>
                    <a:lnTo>
                      <a:pt x="246" y="123"/>
                    </a:lnTo>
                    <a:lnTo>
                      <a:pt x="266" y="146"/>
                    </a:lnTo>
                    <a:lnTo>
                      <a:pt x="251" y="158"/>
                    </a:lnTo>
                    <a:lnTo>
                      <a:pt x="241" y="167"/>
                    </a:lnTo>
                    <a:lnTo>
                      <a:pt x="222" y="166"/>
                    </a:lnTo>
                    <a:lnTo>
                      <a:pt x="233" y="182"/>
                    </a:lnTo>
                    <a:lnTo>
                      <a:pt x="231" y="192"/>
                    </a:lnTo>
                    <a:lnTo>
                      <a:pt x="223" y="184"/>
                    </a:lnTo>
                    <a:lnTo>
                      <a:pt x="212" y="184"/>
                    </a:lnTo>
                    <a:lnTo>
                      <a:pt x="205" y="194"/>
                    </a:lnTo>
                    <a:lnTo>
                      <a:pt x="205" y="213"/>
                    </a:lnTo>
                    <a:lnTo>
                      <a:pt x="194" y="218"/>
                    </a:lnTo>
                    <a:lnTo>
                      <a:pt x="192" y="233"/>
                    </a:lnTo>
                    <a:lnTo>
                      <a:pt x="194" y="244"/>
                    </a:lnTo>
                    <a:lnTo>
                      <a:pt x="198" y="254"/>
                    </a:lnTo>
                    <a:lnTo>
                      <a:pt x="194" y="260"/>
                    </a:lnTo>
                    <a:lnTo>
                      <a:pt x="164" y="241"/>
                    </a:lnTo>
                    <a:lnTo>
                      <a:pt x="149" y="234"/>
                    </a:lnTo>
                    <a:lnTo>
                      <a:pt x="139" y="225"/>
                    </a:lnTo>
                    <a:lnTo>
                      <a:pt x="128" y="227"/>
                    </a:lnTo>
                    <a:lnTo>
                      <a:pt x="128" y="213"/>
                    </a:lnTo>
                    <a:lnTo>
                      <a:pt x="112" y="198"/>
                    </a:lnTo>
                    <a:lnTo>
                      <a:pt x="102" y="189"/>
                    </a:lnTo>
                    <a:lnTo>
                      <a:pt x="99" y="173"/>
                    </a:lnTo>
                    <a:lnTo>
                      <a:pt x="89" y="165"/>
                    </a:lnTo>
                    <a:lnTo>
                      <a:pt x="68" y="142"/>
                    </a:lnTo>
                    <a:lnTo>
                      <a:pt x="50" y="119"/>
                    </a:lnTo>
                    <a:lnTo>
                      <a:pt x="40" y="112"/>
                    </a:lnTo>
                    <a:lnTo>
                      <a:pt x="32" y="102"/>
                    </a:lnTo>
                    <a:lnTo>
                      <a:pt x="25" y="94"/>
                    </a:lnTo>
                    <a:lnTo>
                      <a:pt x="26" y="73"/>
                    </a:lnTo>
                    <a:lnTo>
                      <a:pt x="17" y="56"/>
                    </a:lnTo>
                    <a:lnTo>
                      <a:pt x="5" y="48"/>
                    </a:lnTo>
                    <a:lnTo>
                      <a:pt x="0" y="37"/>
                    </a:lnTo>
                    <a:lnTo>
                      <a:pt x="2" y="18"/>
                    </a:lnTo>
                    <a:lnTo>
                      <a:pt x="6" y="6"/>
                    </a:lnTo>
                    <a:lnTo>
                      <a:pt x="23" y="7"/>
                    </a:lnTo>
                    <a:lnTo>
                      <a:pt x="39" y="27"/>
                    </a:lnTo>
                    <a:lnTo>
                      <a:pt x="52" y="6"/>
                    </a:lnTo>
                    <a:lnTo>
                      <a:pt x="75" y="8"/>
                    </a:lnTo>
                    <a:lnTo>
                      <a:pt x="84" y="0"/>
                    </a:lnTo>
                    <a:lnTo>
                      <a:pt x="94" y="11"/>
                    </a:lnTo>
                    <a:lnTo>
                      <a:pt x="103" y="14"/>
                    </a:lnTo>
                    <a:lnTo>
                      <a:pt x="135" y="13"/>
                    </a:lnTo>
                    <a:lnTo>
                      <a:pt x="144" y="23"/>
                    </a:lnTo>
                    <a:lnTo>
                      <a:pt x="154" y="15"/>
                    </a:lnTo>
                    <a:lnTo>
                      <a:pt x="164" y="18"/>
                    </a:lnTo>
                    <a:lnTo>
                      <a:pt x="180" y="14"/>
                    </a:lnTo>
                    <a:lnTo>
                      <a:pt x="188" y="23"/>
                    </a:lnTo>
                    <a:lnTo>
                      <a:pt x="196" y="17"/>
                    </a:lnTo>
                    <a:lnTo>
                      <a:pt x="207" y="21"/>
                    </a:lnTo>
                    <a:lnTo>
                      <a:pt x="204" y="34"/>
                    </a:lnTo>
                    <a:lnTo>
                      <a:pt x="211" y="37"/>
                    </a:lnTo>
                    <a:lnTo>
                      <a:pt x="232" y="3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3" name="Freeform 26">
                <a:extLst>
                  <a:ext uri="{FF2B5EF4-FFF2-40B4-BE49-F238E27FC236}">
                    <a16:creationId xmlns:a16="http://schemas.microsoft.com/office/drawing/2014/main" id="{FF6AE83D-D09F-790D-F409-B8BDA22D92ED}"/>
                  </a:ext>
                </a:extLst>
              </p:cNvPr>
              <p:cNvSpPr>
                <a:spLocks/>
              </p:cNvSpPr>
              <p:nvPr/>
            </p:nvSpPr>
            <p:spPr bwMode="auto">
              <a:xfrm>
                <a:off x="4718317" y="3101065"/>
                <a:ext cx="189852" cy="263203"/>
              </a:xfrm>
              <a:custGeom>
                <a:avLst/>
                <a:gdLst>
                  <a:gd name="T0" fmla="*/ 7 w 297"/>
                  <a:gd name="T1" fmla="*/ 29 h 389"/>
                  <a:gd name="T2" fmla="*/ 32 w 297"/>
                  <a:gd name="T3" fmla="*/ 23 h 389"/>
                  <a:gd name="T4" fmla="*/ 59 w 297"/>
                  <a:gd name="T5" fmla="*/ 0 h 389"/>
                  <a:gd name="T6" fmla="*/ 88 w 297"/>
                  <a:gd name="T7" fmla="*/ 6 h 389"/>
                  <a:gd name="T8" fmla="*/ 107 w 297"/>
                  <a:gd name="T9" fmla="*/ 17 h 389"/>
                  <a:gd name="T10" fmla="*/ 139 w 297"/>
                  <a:gd name="T11" fmla="*/ 39 h 389"/>
                  <a:gd name="T12" fmla="*/ 156 w 297"/>
                  <a:gd name="T13" fmla="*/ 78 h 389"/>
                  <a:gd name="T14" fmla="*/ 182 w 297"/>
                  <a:gd name="T15" fmla="*/ 88 h 389"/>
                  <a:gd name="T16" fmla="*/ 195 w 297"/>
                  <a:gd name="T17" fmla="*/ 124 h 389"/>
                  <a:gd name="T18" fmla="*/ 235 w 297"/>
                  <a:gd name="T19" fmla="*/ 136 h 389"/>
                  <a:gd name="T20" fmla="*/ 250 w 297"/>
                  <a:gd name="T21" fmla="*/ 138 h 389"/>
                  <a:gd name="T22" fmla="*/ 269 w 297"/>
                  <a:gd name="T23" fmla="*/ 140 h 389"/>
                  <a:gd name="T24" fmla="*/ 256 w 297"/>
                  <a:gd name="T25" fmla="*/ 156 h 389"/>
                  <a:gd name="T26" fmla="*/ 267 w 297"/>
                  <a:gd name="T27" fmla="*/ 175 h 389"/>
                  <a:gd name="T28" fmla="*/ 260 w 297"/>
                  <a:gd name="T29" fmla="*/ 192 h 389"/>
                  <a:gd name="T30" fmla="*/ 281 w 297"/>
                  <a:gd name="T31" fmla="*/ 266 h 389"/>
                  <a:gd name="T32" fmla="*/ 279 w 297"/>
                  <a:gd name="T33" fmla="*/ 311 h 389"/>
                  <a:gd name="T34" fmla="*/ 271 w 297"/>
                  <a:gd name="T35" fmla="*/ 358 h 389"/>
                  <a:gd name="T36" fmla="*/ 246 w 297"/>
                  <a:gd name="T37" fmla="*/ 359 h 389"/>
                  <a:gd name="T38" fmla="*/ 226 w 297"/>
                  <a:gd name="T39" fmla="*/ 364 h 389"/>
                  <a:gd name="T40" fmla="*/ 198 w 297"/>
                  <a:gd name="T41" fmla="*/ 369 h 389"/>
                  <a:gd name="T42" fmla="*/ 172 w 297"/>
                  <a:gd name="T43" fmla="*/ 368 h 389"/>
                  <a:gd name="T44" fmla="*/ 165 w 297"/>
                  <a:gd name="T45" fmla="*/ 388 h 389"/>
                  <a:gd name="T46" fmla="*/ 146 w 297"/>
                  <a:gd name="T47" fmla="*/ 379 h 389"/>
                  <a:gd name="T48" fmla="*/ 124 w 297"/>
                  <a:gd name="T49" fmla="*/ 364 h 389"/>
                  <a:gd name="T50" fmla="*/ 114 w 297"/>
                  <a:gd name="T51" fmla="*/ 347 h 389"/>
                  <a:gd name="T52" fmla="*/ 104 w 297"/>
                  <a:gd name="T53" fmla="*/ 326 h 389"/>
                  <a:gd name="T54" fmla="*/ 120 w 297"/>
                  <a:gd name="T55" fmla="*/ 310 h 389"/>
                  <a:gd name="T56" fmla="*/ 102 w 297"/>
                  <a:gd name="T57" fmla="*/ 289 h 389"/>
                  <a:gd name="T58" fmla="*/ 81 w 297"/>
                  <a:gd name="T59" fmla="*/ 272 h 389"/>
                  <a:gd name="T60" fmla="*/ 57 w 297"/>
                  <a:gd name="T61" fmla="*/ 261 h 389"/>
                  <a:gd name="T62" fmla="*/ 60 w 297"/>
                  <a:gd name="T63" fmla="*/ 240 h 389"/>
                  <a:gd name="T64" fmla="*/ 51 w 297"/>
                  <a:gd name="T65" fmla="*/ 209 h 389"/>
                  <a:gd name="T66" fmla="*/ 70 w 297"/>
                  <a:gd name="T67" fmla="*/ 203 h 389"/>
                  <a:gd name="T68" fmla="*/ 56 w 297"/>
                  <a:gd name="T69" fmla="*/ 186 h 389"/>
                  <a:gd name="T70" fmla="*/ 35 w 297"/>
                  <a:gd name="T71" fmla="*/ 175 h 389"/>
                  <a:gd name="T72" fmla="*/ 38 w 297"/>
                  <a:gd name="T73" fmla="*/ 145 h 389"/>
                  <a:gd name="T74" fmla="*/ 51 w 297"/>
                  <a:gd name="T75" fmla="*/ 122 h 389"/>
                  <a:gd name="T76" fmla="*/ 31 w 297"/>
                  <a:gd name="T77" fmla="*/ 116 h 389"/>
                  <a:gd name="T78" fmla="*/ 31 w 297"/>
                  <a:gd name="T79" fmla="*/ 94 h 389"/>
                  <a:gd name="T80" fmla="*/ 49 w 297"/>
                  <a:gd name="T81" fmla="*/ 86 h 389"/>
                  <a:gd name="T82" fmla="*/ 25 w 297"/>
                  <a:gd name="T83" fmla="*/ 81 h 389"/>
                  <a:gd name="T84" fmla="*/ 17 w 297"/>
                  <a:gd name="T85" fmla="*/ 67 h 389"/>
                  <a:gd name="T86" fmla="*/ 10 w 297"/>
                  <a:gd name="T87" fmla="*/ 55 h 389"/>
                  <a:gd name="T88" fmla="*/ 0 w 297"/>
                  <a:gd name="T89" fmla="*/ 26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389">
                    <a:moveTo>
                      <a:pt x="0" y="26"/>
                    </a:moveTo>
                    <a:lnTo>
                      <a:pt x="7" y="29"/>
                    </a:lnTo>
                    <a:lnTo>
                      <a:pt x="17" y="19"/>
                    </a:lnTo>
                    <a:lnTo>
                      <a:pt x="32" y="23"/>
                    </a:lnTo>
                    <a:lnTo>
                      <a:pt x="42" y="17"/>
                    </a:lnTo>
                    <a:lnTo>
                      <a:pt x="59" y="0"/>
                    </a:lnTo>
                    <a:lnTo>
                      <a:pt x="78" y="0"/>
                    </a:lnTo>
                    <a:lnTo>
                      <a:pt x="88" y="6"/>
                    </a:lnTo>
                    <a:lnTo>
                      <a:pt x="99" y="12"/>
                    </a:lnTo>
                    <a:lnTo>
                      <a:pt x="107" y="17"/>
                    </a:lnTo>
                    <a:lnTo>
                      <a:pt x="121" y="17"/>
                    </a:lnTo>
                    <a:lnTo>
                      <a:pt x="139" y="39"/>
                    </a:lnTo>
                    <a:lnTo>
                      <a:pt x="147" y="60"/>
                    </a:lnTo>
                    <a:lnTo>
                      <a:pt x="156" y="78"/>
                    </a:lnTo>
                    <a:lnTo>
                      <a:pt x="164" y="84"/>
                    </a:lnTo>
                    <a:lnTo>
                      <a:pt x="182" y="88"/>
                    </a:lnTo>
                    <a:lnTo>
                      <a:pt x="187" y="99"/>
                    </a:lnTo>
                    <a:lnTo>
                      <a:pt x="195" y="124"/>
                    </a:lnTo>
                    <a:lnTo>
                      <a:pt x="219" y="136"/>
                    </a:lnTo>
                    <a:lnTo>
                      <a:pt x="235" y="136"/>
                    </a:lnTo>
                    <a:lnTo>
                      <a:pt x="243" y="142"/>
                    </a:lnTo>
                    <a:lnTo>
                      <a:pt x="250" y="138"/>
                    </a:lnTo>
                    <a:lnTo>
                      <a:pt x="260" y="130"/>
                    </a:lnTo>
                    <a:lnTo>
                      <a:pt x="269" y="140"/>
                    </a:lnTo>
                    <a:lnTo>
                      <a:pt x="263" y="150"/>
                    </a:lnTo>
                    <a:lnTo>
                      <a:pt x="256" y="156"/>
                    </a:lnTo>
                    <a:lnTo>
                      <a:pt x="262" y="168"/>
                    </a:lnTo>
                    <a:lnTo>
                      <a:pt x="267" y="175"/>
                    </a:lnTo>
                    <a:lnTo>
                      <a:pt x="266" y="186"/>
                    </a:lnTo>
                    <a:lnTo>
                      <a:pt x="260" y="192"/>
                    </a:lnTo>
                    <a:lnTo>
                      <a:pt x="260" y="236"/>
                    </a:lnTo>
                    <a:lnTo>
                      <a:pt x="281" y="266"/>
                    </a:lnTo>
                    <a:lnTo>
                      <a:pt x="297" y="281"/>
                    </a:lnTo>
                    <a:lnTo>
                      <a:pt x="279" y="311"/>
                    </a:lnTo>
                    <a:lnTo>
                      <a:pt x="271" y="327"/>
                    </a:lnTo>
                    <a:lnTo>
                      <a:pt x="271" y="358"/>
                    </a:lnTo>
                    <a:lnTo>
                      <a:pt x="256" y="358"/>
                    </a:lnTo>
                    <a:lnTo>
                      <a:pt x="246" y="359"/>
                    </a:lnTo>
                    <a:lnTo>
                      <a:pt x="236" y="359"/>
                    </a:lnTo>
                    <a:lnTo>
                      <a:pt x="226" y="364"/>
                    </a:lnTo>
                    <a:lnTo>
                      <a:pt x="206" y="363"/>
                    </a:lnTo>
                    <a:lnTo>
                      <a:pt x="198" y="369"/>
                    </a:lnTo>
                    <a:lnTo>
                      <a:pt x="187" y="366"/>
                    </a:lnTo>
                    <a:lnTo>
                      <a:pt x="172" y="368"/>
                    </a:lnTo>
                    <a:lnTo>
                      <a:pt x="166" y="377"/>
                    </a:lnTo>
                    <a:lnTo>
                      <a:pt x="165" y="388"/>
                    </a:lnTo>
                    <a:lnTo>
                      <a:pt x="151" y="389"/>
                    </a:lnTo>
                    <a:lnTo>
                      <a:pt x="146" y="379"/>
                    </a:lnTo>
                    <a:lnTo>
                      <a:pt x="139" y="373"/>
                    </a:lnTo>
                    <a:lnTo>
                      <a:pt x="124" y="364"/>
                    </a:lnTo>
                    <a:lnTo>
                      <a:pt x="115" y="359"/>
                    </a:lnTo>
                    <a:lnTo>
                      <a:pt x="114" y="347"/>
                    </a:lnTo>
                    <a:lnTo>
                      <a:pt x="113" y="334"/>
                    </a:lnTo>
                    <a:lnTo>
                      <a:pt x="104" y="326"/>
                    </a:lnTo>
                    <a:lnTo>
                      <a:pt x="127" y="324"/>
                    </a:lnTo>
                    <a:lnTo>
                      <a:pt x="120" y="310"/>
                    </a:lnTo>
                    <a:lnTo>
                      <a:pt x="103" y="303"/>
                    </a:lnTo>
                    <a:lnTo>
                      <a:pt x="102" y="289"/>
                    </a:lnTo>
                    <a:lnTo>
                      <a:pt x="92" y="278"/>
                    </a:lnTo>
                    <a:lnTo>
                      <a:pt x="81" y="272"/>
                    </a:lnTo>
                    <a:lnTo>
                      <a:pt x="70" y="266"/>
                    </a:lnTo>
                    <a:lnTo>
                      <a:pt x="57" y="261"/>
                    </a:lnTo>
                    <a:lnTo>
                      <a:pt x="52" y="246"/>
                    </a:lnTo>
                    <a:lnTo>
                      <a:pt x="60" y="240"/>
                    </a:lnTo>
                    <a:lnTo>
                      <a:pt x="68" y="231"/>
                    </a:lnTo>
                    <a:lnTo>
                      <a:pt x="51" y="209"/>
                    </a:lnTo>
                    <a:lnTo>
                      <a:pt x="61" y="206"/>
                    </a:lnTo>
                    <a:lnTo>
                      <a:pt x="70" y="203"/>
                    </a:lnTo>
                    <a:lnTo>
                      <a:pt x="68" y="194"/>
                    </a:lnTo>
                    <a:lnTo>
                      <a:pt x="56" y="186"/>
                    </a:lnTo>
                    <a:lnTo>
                      <a:pt x="50" y="178"/>
                    </a:lnTo>
                    <a:lnTo>
                      <a:pt x="35" y="175"/>
                    </a:lnTo>
                    <a:lnTo>
                      <a:pt x="30" y="162"/>
                    </a:lnTo>
                    <a:lnTo>
                      <a:pt x="38" y="145"/>
                    </a:lnTo>
                    <a:lnTo>
                      <a:pt x="48" y="133"/>
                    </a:lnTo>
                    <a:lnTo>
                      <a:pt x="51" y="122"/>
                    </a:lnTo>
                    <a:lnTo>
                      <a:pt x="39" y="117"/>
                    </a:lnTo>
                    <a:lnTo>
                      <a:pt x="31" y="116"/>
                    </a:lnTo>
                    <a:lnTo>
                      <a:pt x="28" y="106"/>
                    </a:lnTo>
                    <a:lnTo>
                      <a:pt x="31" y="94"/>
                    </a:lnTo>
                    <a:lnTo>
                      <a:pt x="40" y="91"/>
                    </a:lnTo>
                    <a:lnTo>
                      <a:pt x="49" y="86"/>
                    </a:lnTo>
                    <a:lnTo>
                      <a:pt x="40" y="82"/>
                    </a:lnTo>
                    <a:lnTo>
                      <a:pt x="25" y="81"/>
                    </a:lnTo>
                    <a:lnTo>
                      <a:pt x="18" y="80"/>
                    </a:lnTo>
                    <a:lnTo>
                      <a:pt x="17" y="67"/>
                    </a:lnTo>
                    <a:lnTo>
                      <a:pt x="16" y="60"/>
                    </a:lnTo>
                    <a:lnTo>
                      <a:pt x="10" y="55"/>
                    </a:lnTo>
                    <a:lnTo>
                      <a:pt x="8" y="37"/>
                    </a:lnTo>
                    <a:lnTo>
                      <a:pt x="0" y="2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4" name="Freeform 27">
                <a:extLst>
                  <a:ext uri="{FF2B5EF4-FFF2-40B4-BE49-F238E27FC236}">
                    <a16:creationId xmlns:a16="http://schemas.microsoft.com/office/drawing/2014/main" id="{52C49E6E-9F46-E6B4-7350-0C71580DA622}"/>
                  </a:ext>
                </a:extLst>
              </p:cNvPr>
              <p:cNvSpPr>
                <a:spLocks/>
              </p:cNvSpPr>
              <p:nvPr/>
            </p:nvSpPr>
            <p:spPr bwMode="auto">
              <a:xfrm>
                <a:off x="4492239" y="3066303"/>
                <a:ext cx="129475" cy="99322"/>
              </a:xfrm>
              <a:custGeom>
                <a:avLst/>
                <a:gdLst>
                  <a:gd name="T0" fmla="*/ 12 w 202"/>
                  <a:gd name="T1" fmla="*/ 31 h 147"/>
                  <a:gd name="T2" fmla="*/ 20 w 202"/>
                  <a:gd name="T3" fmla="*/ 36 h 147"/>
                  <a:gd name="T4" fmla="*/ 35 w 202"/>
                  <a:gd name="T5" fmla="*/ 34 h 147"/>
                  <a:gd name="T6" fmla="*/ 82 w 202"/>
                  <a:gd name="T7" fmla="*/ 39 h 147"/>
                  <a:gd name="T8" fmla="*/ 97 w 202"/>
                  <a:gd name="T9" fmla="*/ 18 h 147"/>
                  <a:gd name="T10" fmla="*/ 139 w 202"/>
                  <a:gd name="T11" fmla="*/ 21 h 147"/>
                  <a:gd name="T12" fmla="*/ 151 w 202"/>
                  <a:gd name="T13" fmla="*/ 11 h 147"/>
                  <a:gd name="T14" fmla="*/ 171 w 202"/>
                  <a:gd name="T15" fmla="*/ 15 h 147"/>
                  <a:gd name="T16" fmla="*/ 181 w 202"/>
                  <a:gd name="T17" fmla="*/ 0 h 147"/>
                  <a:gd name="T18" fmla="*/ 193 w 202"/>
                  <a:gd name="T19" fmla="*/ 7 h 147"/>
                  <a:gd name="T20" fmla="*/ 199 w 202"/>
                  <a:gd name="T21" fmla="*/ 21 h 147"/>
                  <a:gd name="T22" fmla="*/ 202 w 202"/>
                  <a:gd name="T23" fmla="*/ 33 h 147"/>
                  <a:gd name="T24" fmla="*/ 188 w 202"/>
                  <a:gd name="T25" fmla="*/ 23 h 147"/>
                  <a:gd name="T26" fmla="*/ 181 w 202"/>
                  <a:gd name="T27" fmla="*/ 32 h 147"/>
                  <a:gd name="T28" fmla="*/ 187 w 202"/>
                  <a:gd name="T29" fmla="*/ 46 h 147"/>
                  <a:gd name="T30" fmla="*/ 176 w 202"/>
                  <a:gd name="T31" fmla="*/ 43 h 147"/>
                  <a:gd name="T32" fmla="*/ 168 w 202"/>
                  <a:gd name="T33" fmla="*/ 55 h 147"/>
                  <a:gd name="T34" fmla="*/ 156 w 202"/>
                  <a:gd name="T35" fmla="*/ 58 h 147"/>
                  <a:gd name="T36" fmla="*/ 146 w 202"/>
                  <a:gd name="T37" fmla="*/ 63 h 147"/>
                  <a:gd name="T38" fmla="*/ 150 w 202"/>
                  <a:gd name="T39" fmla="*/ 74 h 147"/>
                  <a:gd name="T40" fmla="*/ 153 w 202"/>
                  <a:gd name="T41" fmla="*/ 85 h 147"/>
                  <a:gd name="T42" fmla="*/ 150 w 202"/>
                  <a:gd name="T43" fmla="*/ 100 h 147"/>
                  <a:gd name="T44" fmla="*/ 144 w 202"/>
                  <a:gd name="T45" fmla="*/ 104 h 147"/>
                  <a:gd name="T46" fmla="*/ 131 w 202"/>
                  <a:gd name="T47" fmla="*/ 108 h 147"/>
                  <a:gd name="T48" fmla="*/ 124 w 202"/>
                  <a:gd name="T49" fmla="*/ 118 h 147"/>
                  <a:gd name="T50" fmla="*/ 123 w 202"/>
                  <a:gd name="T51" fmla="*/ 129 h 147"/>
                  <a:gd name="T52" fmla="*/ 124 w 202"/>
                  <a:gd name="T53" fmla="*/ 143 h 147"/>
                  <a:gd name="T54" fmla="*/ 114 w 202"/>
                  <a:gd name="T55" fmla="*/ 147 h 147"/>
                  <a:gd name="T56" fmla="*/ 107 w 202"/>
                  <a:gd name="T57" fmla="*/ 136 h 147"/>
                  <a:gd name="T58" fmla="*/ 93 w 202"/>
                  <a:gd name="T59" fmla="*/ 136 h 147"/>
                  <a:gd name="T60" fmla="*/ 83 w 202"/>
                  <a:gd name="T61" fmla="*/ 124 h 147"/>
                  <a:gd name="T62" fmla="*/ 80 w 202"/>
                  <a:gd name="T63" fmla="*/ 116 h 147"/>
                  <a:gd name="T64" fmla="*/ 69 w 202"/>
                  <a:gd name="T65" fmla="*/ 118 h 147"/>
                  <a:gd name="T66" fmla="*/ 67 w 202"/>
                  <a:gd name="T67" fmla="*/ 129 h 147"/>
                  <a:gd name="T68" fmla="*/ 54 w 202"/>
                  <a:gd name="T69" fmla="*/ 136 h 147"/>
                  <a:gd name="T70" fmla="*/ 38 w 202"/>
                  <a:gd name="T71" fmla="*/ 137 h 147"/>
                  <a:gd name="T72" fmla="*/ 25 w 202"/>
                  <a:gd name="T73" fmla="*/ 139 h 147"/>
                  <a:gd name="T74" fmla="*/ 11 w 202"/>
                  <a:gd name="T75" fmla="*/ 143 h 147"/>
                  <a:gd name="T76" fmla="*/ 8 w 202"/>
                  <a:gd name="T77" fmla="*/ 131 h 147"/>
                  <a:gd name="T78" fmla="*/ 26 w 202"/>
                  <a:gd name="T79" fmla="*/ 123 h 147"/>
                  <a:gd name="T80" fmla="*/ 37 w 202"/>
                  <a:gd name="T81" fmla="*/ 117 h 147"/>
                  <a:gd name="T82" fmla="*/ 13 w 202"/>
                  <a:gd name="T83" fmla="*/ 95 h 147"/>
                  <a:gd name="T84" fmla="*/ 15 w 202"/>
                  <a:gd name="T85" fmla="*/ 82 h 147"/>
                  <a:gd name="T86" fmla="*/ 8 w 202"/>
                  <a:gd name="T87" fmla="*/ 79 h 147"/>
                  <a:gd name="T88" fmla="*/ 10 w 202"/>
                  <a:gd name="T89" fmla="*/ 66 h 147"/>
                  <a:gd name="T90" fmla="*/ 5 w 202"/>
                  <a:gd name="T91" fmla="*/ 58 h 147"/>
                  <a:gd name="T92" fmla="*/ 0 w 202"/>
                  <a:gd name="T93" fmla="*/ 53 h 147"/>
                  <a:gd name="T94" fmla="*/ 5 w 202"/>
                  <a:gd name="T95" fmla="*/ 43 h 147"/>
                  <a:gd name="T96" fmla="*/ 11 w 202"/>
                  <a:gd name="T97" fmla="*/ 37 h 147"/>
                  <a:gd name="T98" fmla="*/ 12 w 202"/>
                  <a:gd name="T99" fmla="*/ 3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2" h="147">
                    <a:moveTo>
                      <a:pt x="12" y="31"/>
                    </a:moveTo>
                    <a:lnTo>
                      <a:pt x="20" y="36"/>
                    </a:lnTo>
                    <a:lnTo>
                      <a:pt x="35" y="34"/>
                    </a:lnTo>
                    <a:lnTo>
                      <a:pt x="82" y="39"/>
                    </a:lnTo>
                    <a:lnTo>
                      <a:pt x="97" y="18"/>
                    </a:lnTo>
                    <a:lnTo>
                      <a:pt x="139" y="21"/>
                    </a:lnTo>
                    <a:lnTo>
                      <a:pt x="151" y="11"/>
                    </a:lnTo>
                    <a:lnTo>
                      <a:pt x="171" y="15"/>
                    </a:lnTo>
                    <a:lnTo>
                      <a:pt x="181" y="0"/>
                    </a:lnTo>
                    <a:lnTo>
                      <a:pt x="193" y="7"/>
                    </a:lnTo>
                    <a:lnTo>
                      <a:pt x="199" y="21"/>
                    </a:lnTo>
                    <a:lnTo>
                      <a:pt x="202" y="33"/>
                    </a:lnTo>
                    <a:lnTo>
                      <a:pt x="188" y="23"/>
                    </a:lnTo>
                    <a:lnTo>
                      <a:pt x="181" y="32"/>
                    </a:lnTo>
                    <a:lnTo>
                      <a:pt x="187" y="46"/>
                    </a:lnTo>
                    <a:lnTo>
                      <a:pt x="176" y="43"/>
                    </a:lnTo>
                    <a:lnTo>
                      <a:pt x="168" y="55"/>
                    </a:lnTo>
                    <a:lnTo>
                      <a:pt x="156" y="58"/>
                    </a:lnTo>
                    <a:lnTo>
                      <a:pt x="146" y="63"/>
                    </a:lnTo>
                    <a:lnTo>
                      <a:pt x="150" y="74"/>
                    </a:lnTo>
                    <a:lnTo>
                      <a:pt x="153" y="85"/>
                    </a:lnTo>
                    <a:lnTo>
                      <a:pt x="150" y="100"/>
                    </a:lnTo>
                    <a:lnTo>
                      <a:pt x="144" y="104"/>
                    </a:lnTo>
                    <a:lnTo>
                      <a:pt x="131" y="108"/>
                    </a:lnTo>
                    <a:lnTo>
                      <a:pt x="124" y="118"/>
                    </a:lnTo>
                    <a:lnTo>
                      <a:pt x="123" y="129"/>
                    </a:lnTo>
                    <a:lnTo>
                      <a:pt x="124" y="143"/>
                    </a:lnTo>
                    <a:lnTo>
                      <a:pt x="114" y="147"/>
                    </a:lnTo>
                    <a:lnTo>
                      <a:pt x="107" y="136"/>
                    </a:lnTo>
                    <a:lnTo>
                      <a:pt x="93" y="136"/>
                    </a:lnTo>
                    <a:lnTo>
                      <a:pt x="83" y="124"/>
                    </a:lnTo>
                    <a:lnTo>
                      <a:pt x="80" y="116"/>
                    </a:lnTo>
                    <a:lnTo>
                      <a:pt x="69" y="118"/>
                    </a:lnTo>
                    <a:lnTo>
                      <a:pt x="67" y="129"/>
                    </a:lnTo>
                    <a:lnTo>
                      <a:pt x="54" y="136"/>
                    </a:lnTo>
                    <a:lnTo>
                      <a:pt x="38" y="137"/>
                    </a:lnTo>
                    <a:lnTo>
                      <a:pt x="25" y="139"/>
                    </a:lnTo>
                    <a:lnTo>
                      <a:pt x="11" y="143"/>
                    </a:lnTo>
                    <a:lnTo>
                      <a:pt x="8" y="131"/>
                    </a:lnTo>
                    <a:lnTo>
                      <a:pt x="26" y="123"/>
                    </a:lnTo>
                    <a:lnTo>
                      <a:pt x="37" y="117"/>
                    </a:lnTo>
                    <a:lnTo>
                      <a:pt x="13" y="95"/>
                    </a:lnTo>
                    <a:lnTo>
                      <a:pt x="15" y="82"/>
                    </a:lnTo>
                    <a:lnTo>
                      <a:pt x="8" y="79"/>
                    </a:lnTo>
                    <a:lnTo>
                      <a:pt x="10" y="66"/>
                    </a:lnTo>
                    <a:lnTo>
                      <a:pt x="5" y="58"/>
                    </a:lnTo>
                    <a:lnTo>
                      <a:pt x="0" y="53"/>
                    </a:lnTo>
                    <a:lnTo>
                      <a:pt x="5" y="43"/>
                    </a:lnTo>
                    <a:lnTo>
                      <a:pt x="11" y="37"/>
                    </a:lnTo>
                    <a:lnTo>
                      <a:pt x="12" y="3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5" name="Freeform 28">
                <a:extLst>
                  <a:ext uri="{FF2B5EF4-FFF2-40B4-BE49-F238E27FC236}">
                    <a16:creationId xmlns:a16="http://schemas.microsoft.com/office/drawing/2014/main" id="{70C49A57-BB21-667D-84A7-205C8C9F28C6}"/>
                  </a:ext>
                </a:extLst>
              </p:cNvPr>
              <p:cNvSpPr>
                <a:spLocks/>
              </p:cNvSpPr>
              <p:nvPr/>
            </p:nvSpPr>
            <p:spPr bwMode="auto">
              <a:xfrm>
                <a:off x="4604272" y="2949245"/>
                <a:ext cx="273038" cy="182327"/>
              </a:xfrm>
              <a:custGeom>
                <a:avLst/>
                <a:gdLst>
                  <a:gd name="T0" fmla="*/ 17 w 426"/>
                  <a:gd name="T1" fmla="*/ 159 h 269"/>
                  <a:gd name="T2" fmla="*/ 28 w 426"/>
                  <a:gd name="T3" fmla="*/ 126 h 269"/>
                  <a:gd name="T4" fmla="*/ 35 w 426"/>
                  <a:gd name="T5" fmla="*/ 107 h 269"/>
                  <a:gd name="T6" fmla="*/ 32 w 426"/>
                  <a:gd name="T7" fmla="*/ 90 h 269"/>
                  <a:gd name="T8" fmla="*/ 62 w 426"/>
                  <a:gd name="T9" fmla="*/ 90 h 269"/>
                  <a:gd name="T10" fmla="*/ 71 w 426"/>
                  <a:gd name="T11" fmla="*/ 87 h 269"/>
                  <a:gd name="T12" fmla="*/ 103 w 426"/>
                  <a:gd name="T13" fmla="*/ 88 h 269"/>
                  <a:gd name="T14" fmla="*/ 175 w 426"/>
                  <a:gd name="T15" fmla="*/ 53 h 269"/>
                  <a:gd name="T16" fmla="*/ 193 w 426"/>
                  <a:gd name="T17" fmla="*/ 46 h 269"/>
                  <a:gd name="T18" fmla="*/ 217 w 426"/>
                  <a:gd name="T19" fmla="*/ 40 h 269"/>
                  <a:gd name="T20" fmla="*/ 244 w 426"/>
                  <a:gd name="T21" fmla="*/ 41 h 269"/>
                  <a:gd name="T22" fmla="*/ 271 w 426"/>
                  <a:gd name="T23" fmla="*/ 30 h 269"/>
                  <a:gd name="T24" fmla="*/ 292 w 426"/>
                  <a:gd name="T25" fmla="*/ 0 h 269"/>
                  <a:gd name="T26" fmla="*/ 345 w 426"/>
                  <a:gd name="T27" fmla="*/ 1 h 269"/>
                  <a:gd name="T28" fmla="*/ 380 w 426"/>
                  <a:gd name="T29" fmla="*/ 4 h 269"/>
                  <a:gd name="T30" fmla="*/ 414 w 426"/>
                  <a:gd name="T31" fmla="*/ 25 h 269"/>
                  <a:gd name="T32" fmla="*/ 426 w 426"/>
                  <a:gd name="T33" fmla="*/ 50 h 269"/>
                  <a:gd name="T34" fmla="*/ 399 w 426"/>
                  <a:gd name="T35" fmla="*/ 65 h 269"/>
                  <a:gd name="T36" fmla="*/ 382 w 426"/>
                  <a:gd name="T37" fmla="*/ 87 h 269"/>
                  <a:gd name="T38" fmla="*/ 373 w 426"/>
                  <a:gd name="T39" fmla="*/ 104 h 269"/>
                  <a:gd name="T40" fmla="*/ 363 w 426"/>
                  <a:gd name="T41" fmla="*/ 133 h 269"/>
                  <a:gd name="T42" fmla="*/ 352 w 426"/>
                  <a:gd name="T43" fmla="*/ 157 h 269"/>
                  <a:gd name="T44" fmla="*/ 338 w 426"/>
                  <a:gd name="T45" fmla="*/ 189 h 269"/>
                  <a:gd name="T46" fmla="*/ 325 w 426"/>
                  <a:gd name="T47" fmla="*/ 212 h 269"/>
                  <a:gd name="T48" fmla="*/ 288 w 426"/>
                  <a:gd name="T49" fmla="*/ 228 h 269"/>
                  <a:gd name="T50" fmla="*/ 268 w 426"/>
                  <a:gd name="T51" fmla="*/ 227 h 269"/>
                  <a:gd name="T52" fmla="*/ 243 w 426"/>
                  <a:gd name="T53" fmla="*/ 224 h 269"/>
                  <a:gd name="T54" fmla="*/ 222 w 426"/>
                  <a:gd name="T55" fmla="*/ 239 h 269"/>
                  <a:gd name="T56" fmla="*/ 195 w 426"/>
                  <a:gd name="T57" fmla="*/ 244 h 269"/>
                  <a:gd name="T58" fmla="*/ 178 w 426"/>
                  <a:gd name="T59" fmla="*/ 252 h 269"/>
                  <a:gd name="T60" fmla="*/ 144 w 426"/>
                  <a:gd name="T61" fmla="*/ 269 h 269"/>
                  <a:gd name="T62" fmla="*/ 105 w 426"/>
                  <a:gd name="T63" fmla="*/ 261 h 269"/>
                  <a:gd name="T64" fmla="*/ 83 w 426"/>
                  <a:gd name="T65" fmla="*/ 239 h 269"/>
                  <a:gd name="T66" fmla="*/ 58 w 426"/>
                  <a:gd name="T67" fmla="*/ 224 h 269"/>
                  <a:gd name="T68" fmla="*/ 28 w 426"/>
                  <a:gd name="T69" fmla="*/ 202 h 269"/>
                  <a:gd name="T70" fmla="*/ 20 w 426"/>
                  <a:gd name="T71" fmla="*/ 181 h 269"/>
                  <a:gd name="T72" fmla="*/ 0 w 426"/>
                  <a:gd name="T73" fmla="*/ 176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6" h="269">
                    <a:moveTo>
                      <a:pt x="0" y="176"/>
                    </a:moveTo>
                    <a:lnTo>
                      <a:pt x="17" y="159"/>
                    </a:lnTo>
                    <a:lnTo>
                      <a:pt x="27" y="153"/>
                    </a:lnTo>
                    <a:lnTo>
                      <a:pt x="28" y="126"/>
                    </a:lnTo>
                    <a:lnTo>
                      <a:pt x="34" y="118"/>
                    </a:lnTo>
                    <a:lnTo>
                      <a:pt x="35" y="107"/>
                    </a:lnTo>
                    <a:lnTo>
                      <a:pt x="31" y="100"/>
                    </a:lnTo>
                    <a:lnTo>
                      <a:pt x="32" y="90"/>
                    </a:lnTo>
                    <a:lnTo>
                      <a:pt x="46" y="90"/>
                    </a:lnTo>
                    <a:lnTo>
                      <a:pt x="62" y="90"/>
                    </a:lnTo>
                    <a:lnTo>
                      <a:pt x="65" y="82"/>
                    </a:lnTo>
                    <a:lnTo>
                      <a:pt x="71" y="87"/>
                    </a:lnTo>
                    <a:lnTo>
                      <a:pt x="71" y="56"/>
                    </a:lnTo>
                    <a:lnTo>
                      <a:pt x="103" y="88"/>
                    </a:lnTo>
                    <a:lnTo>
                      <a:pt x="155" y="88"/>
                    </a:lnTo>
                    <a:lnTo>
                      <a:pt x="175" y="53"/>
                    </a:lnTo>
                    <a:lnTo>
                      <a:pt x="186" y="53"/>
                    </a:lnTo>
                    <a:lnTo>
                      <a:pt x="193" y="46"/>
                    </a:lnTo>
                    <a:lnTo>
                      <a:pt x="210" y="38"/>
                    </a:lnTo>
                    <a:lnTo>
                      <a:pt x="217" y="40"/>
                    </a:lnTo>
                    <a:lnTo>
                      <a:pt x="227" y="31"/>
                    </a:lnTo>
                    <a:lnTo>
                      <a:pt x="244" y="41"/>
                    </a:lnTo>
                    <a:lnTo>
                      <a:pt x="254" y="32"/>
                    </a:lnTo>
                    <a:lnTo>
                      <a:pt x="271" y="30"/>
                    </a:lnTo>
                    <a:lnTo>
                      <a:pt x="275" y="9"/>
                    </a:lnTo>
                    <a:lnTo>
                      <a:pt x="292" y="0"/>
                    </a:lnTo>
                    <a:lnTo>
                      <a:pt x="322" y="0"/>
                    </a:lnTo>
                    <a:lnTo>
                      <a:pt x="345" y="1"/>
                    </a:lnTo>
                    <a:lnTo>
                      <a:pt x="364" y="13"/>
                    </a:lnTo>
                    <a:lnTo>
                      <a:pt x="380" y="4"/>
                    </a:lnTo>
                    <a:lnTo>
                      <a:pt x="399" y="15"/>
                    </a:lnTo>
                    <a:lnTo>
                      <a:pt x="414" y="25"/>
                    </a:lnTo>
                    <a:lnTo>
                      <a:pt x="424" y="38"/>
                    </a:lnTo>
                    <a:lnTo>
                      <a:pt x="426" y="50"/>
                    </a:lnTo>
                    <a:lnTo>
                      <a:pt x="417" y="63"/>
                    </a:lnTo>
                    <a:lnTo>
                      <a:pt x="399" y="65"/>
                    </a:lnTo>
                    <a:lnTo>
                      <a:pt x="389" y="69"/>
                    </a:lnTo>
                    <a:lnTo>
                      <a:pt x="382" y="87"/>
                    </a:lnTo>
                    <a:lnTo>
                      <a:pt x="381" y="103"/>
                    </a:lnTo>
                    <a:lnTo>
                      <a:pt x="373" y="104"/>
                    </a:lnTo>
                    <a:lnTo>
                      <a:pt x="374" y="120"/>
                    </a:lnTo>
                    <a:lnTo>
                      <a:pt x="363" y="133"/>
                    </a:lnTo>
                    <a:lnTo>
                      <a:pt x="362" y="143"/>
                    </a:lnTo>
                    <a:lnTo>
                      <a:pt x="352" y="157"/>
                    </a:lnTo>
                    <a:lnTo>
                      <a:pt x="349" y="173"/>
                    </a:lnTo>
                    <a:lnTo>
                      <a:pt x="338" y="189"/>
                    </a:lnTo>
                    <a:lnTo>
                      <a:pt x="336" y="200"/>
                    </a:lnTo>
                    <a:lnTo>
                      <a:pt x="325" y="212"/>
                    </a:lnTo>
                    <a:lnTo>
                      <a:pt x="300" y="219"/>
                    </a:lnTo>
                    <a:lnTo>
                      <a:pt x="288" y="228"/>
                    </a:lnTo>
                    <a:lnTo>
                      <a:pt x="279" y="233"/>
                    </a:lnTo>
                    <a:lnTo>
                      <a:pt x="268" y="227"/>
                    </a:lnTo>
                    <a:lnTo>
                      <a:pt x="255" y="223"/>
                    </a:lnTo>
                    <a:lnTo>
                      <a:pt x="243" y="224"/>
                    </a:lnTo>
                    <a:lnTo>
                      <a:pt x="234" y="225"/>
                    </a:lnTo>
                    <a:lnTo>
                      <a:pt x="222" y="239"/>
                    </a:lnTo>
                    <a:lnTo>
                      <a:pt x="211" y="245"/>
                    </a:lnTo>
                    <a:lnTo>
                      <a:pt x="195" y="244"/>
                    </a:lnTo>
                    <a:lnTo>
                      <a:pt x="188" y="252"/>
                    </a:lnTo>
                    <a:lnTo>
                      <a:pt x="178" y="252"/>
                    </a:lnTo>
                    <a:lnTo>
                      <a:pt x="162" y="262"/>
                    </a:lnTo>
                    <a:lnTo>
                      <a:pt x="144" y="269"/>
                    </a:lnTo>
                    <a:lnTo>
                      <a:pt x="124" y="268"/>
                    </a:lnTo>
                    <a:lnTo>
                      <a:pt x="105" y="261"/>
                    </a:lnTo>
                    <a:lnTo>
                      <a:pt x="91" y="252"/>
                    </a:lnTo>
                    <a:lnTo>
                      <a:pt x="83" y="239"/>
                    </a:lnTo>
                    <a:lnTo>
                      <a:pt x="69" y="233"/>
                    </a:lnTo>
                    <a:lnTo>
                      <a:pt x="58" y="224"/>
                    </a:lnTo>
                    <a:lnTo>
                      <a:pt x="47" y="210"/>
                    </a:lnTo>
                    <a:lnTo>
                      <a:pt x="28" y="202"/>
                    </a:lnTo>
                    <a:lnTo>
                      <a:pt x="25" y="190"/>
                    </a:lnTo>
                    <a:lnTo>
                      <a:pt x="20" y="181"/>
                    </a:lnTo>
                    <a:lnTo>
                      <a:pt x="11" y="173"/>
                    </a:lnTo>
                    <a:lnTo>
                      <a:pt x="0" y="17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6" name="Freeform 29">
                <a:extLst>
                  <a:ext uri="{FF2B5EF4-FFF2-40B4-BE49-F238E27FC236}">
                    <a16:creationId xmlns:a16="http://schemas.microsoft.com/office/drawing/2014/main" id="{007AA692-A991-43CB-B726-378E74A76FA6}"/>
                  </a:ext>
                </a:extLst>
              </p:cNvPr>
              <p:cNvSpPr>
                <a:spLocks/>
              </p:cNvSpPr>
              <p:nvPr/>
            </p:nvSpPr>
            <p:spPr bwMode="auto">
              <a:xfrm>
                <a:off x="4442596" y="2796005"/>
                <a:ext cx="267671" cy="155368"/>
              </a:xfrm>
              <a:custGeom>
                <a:avLst/>
                <a:gdLst>
                  <a:gd name="T0" fmla="*/ 176 w 418"/>
                  <a:gd name="T1" fmla="*/ 17 h 230"/>
                  <a:gd name="T2" fmla="*/ 194 w 418"/>
                  <a:gd name="T3" fmla="*/ 12 h 230"/>
                  <a:gd name="T4" fmla="*/ 240 w 418"/>
                  <a:gd name="T5" fmla="*/ 27 h 230"/>
                  <a:gd name="T6" fmla="*/ 262 w 418"/>
                  <a:gd name="T7" fmla="*/ 49 h 230"/>
                  <a:gd name="T8" fmla="*/ 285 w 418"/>
                  <a:gd name="T9" fmla="*/ 82 h 230"/>
                  <a:gd name="T10" fmla="*/ 304 w 418"/>
                  <a:gd name="T11" fmla="*/ 68 h 230"/>
                  <a:gd name="T12" fmla="*/ 345 w 418"/>
                  <a:gd name="T13" fmla="*/ 76 h 230"/>
                  <a:gd name="T14" fmla="*/ 363 w 418"/>
                  <a:gd name="T15" fmla="*/ 97 h 230"/>
                  <a:gd name="T16" fmla="*/ 373 w 418"/>
                  <a:gd name="T17" fmla="*/ 105 h 230"/>
                  <a:gd name="T18" fmla="*/ 396 w 418"/>
                  <a:gd name="T19" fmla="*/ 125 h 230"/>
                  <a:gd name="T20" fmla="*/ 407 w 418"/>
                  <a:gd name="T21" fmla="*/ 137 h 230"/>
                  <a:gd name="T22" fmla="*/ 403 w 418"/>
                  <a:gd name="T23" fmla="*/ 148 h 230"/>
                  <a:gd name="T24" fmla="*/ 377 w 418"/>
                  <a:gd name="T25" fmla="*/ 171 h 230"/>
                  <a:gd name="T26" fmla="*/ 360 w 418"/>
                  <a:gd name="T27" fmla="*/ 205 h 230"/>
                  <a:gd name="T28" fmla="*/ 345 w 418"/>
                  <a:gd name="T29" fmla="*/ 223 h 230"/>
                  <a:gd name="T30" fmla="*/ 310 w 418"/>
                  <a:gd name="T31" fmla="*/ 221 h 230"/>
                  <a:gd name="T32" fmla="*/ 297 w 418"/>
                  <a:gd name="T33" fmla="*/ 223 h 230"/>
                  <a:gd name="T34" fmla="*/ 282 w 418"/>
                  <a:gd name="T35" fmla="*/ 211 h 230"/>
                  <a:gd name="T36" fmla="*/ 249 w 418"/>
                  <a:gd name="T37" fmla="*/ 213 h 230"/>
                  <a:gd name="T38" fmla="*/ 211 w 418"/>
                  <a:gd name="T39" fmla="*/ 195 h 230"/>
                  <a:gd name="T40" fmla="*/ 184 w 418"/>
                  <a:gd name="T41" fmla="*/ 201 h 230"/>
                  <a:gd name="T42" fmla="*/ 169 w 418"/>
                  <a:gd name="T43" fmla="*/ 224 h 230"/>
                  <a:gd name="T44" fmla="*/ 124 w 418"/>
                  <a:gd name="T45" fmla="*/ 226 h 230"/>
                  <a:gd name="T46" fmla="*/ 88 w 418"/>
                  <a:gd name="T47" fmla="*/ 204 h 230"/>
                  <a:gd name="T48" fmla="*/ 75 w 418"/>
                  <a:gd name="T49" fmla="*/ 188 h 230"/>
                  <a:gd name="T50" fmla="*/ 51 w 418"/>
                  <a:gd name="T51" fmla="*/ 164 h 230"/>
                  <a:gd name="T52" fmla="*/ 35 w 418"/>
                  <a:gd name="T53" fmla="*/ 151 h 230"/>
                  <a:gd name="T54" fmla="*/ 23 w 418"/>
                  <a:gd name="T55" fmla="*/ 128 h 230"/>
                  <a:gd name="T56" fmla="*/ 14 w 418"/>
                  <a:gd name="T57" fmla="*/ 98 h 230"/>
                  <a:gd name="T58" fmla="*/ 0 w 418"/>
                  <a:gd name="T59" fmla="*/ 80 h 230"/>
                  <a:gd name="T60" fmla="*/ 13 w 418"/>
                  <a:gd name="T61" fmla="*/ 80 h 230"/>
                  <a:gd name="T62" fmla="*/ 68 w 418"/>
                  <a:gd name="T63" fmla="*/ 58 h 230"/>
                  <a:gd name="T64" fmla="*/ 105 w 418"/>
                  <a:gd name="T65" fmla="*/ 33 h 230"/>
                  <a:gd name="T66" fmla="*/ 134 w 418"/>
                  <a:gd name="T67" fmla="*/ 22 h 230"/>
                  <a:gd name="T68" fmla="*/ 147 w 418"/>
                  <a:gd name="T69" fmla="*/ 6 h 230"/>
                  <a:gd name="T70" fmla="*/ 164 w 418"/>
                  <a:gd name="T71" fmla="*/ 22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8" h="230">
                    <a:moveTo>
                      <a:pt x="173" y="21"/>
                    </a:moveTo>
                    <a:cubicBezTo>
                      <a:pt x="174" y="18"/>
                      <a:pt x="173" y="19"/>
                      <a:pt x="176" y="17"/>
                    </a:cubicBezTo>
                    <a:cubicBezTo>
                      <a:pt x="178" y="16"/>
                      <a:pt x="182" y="15"/>
                      <a:pt x="182" y="15"/>
                    </a:cubicBezTo>
                    <a:cubicBezTo>
                      <a:pt x="186" y="10"/>
                      <a:pt x="187" y="11"/>
                      <a:pt x="194" y="12"/>
                    </a:cubicBezTo>
                    <a:cubicBezTo>
                      <a:pt x="196" y="15"/>
                      <a:pt x="200" y="19"/>
                      <a:pt x="204" y="20"/>
                    </a:cubicBezTo>
                    <a:cubicBezTo>
                      <a:pt x="212" y="31"/>
                      <a:pt x="228" y="27"/>
                      <a:pt x="240" y="27"/>
                    </a:cubicBezTo>
                    <a:cubicBezTo>
                      <a:pt x="246" y="29"/>
                      <a:pt x="245" y="38"/>
                      <a:pt x="247" y="43"/>
                    </a:cubicBezTo>
                    <a:cubicBezTo>
                      <a:pt x="247" y="44"/>
                      <a:pt x="260" y="47"/>
                      <a:pt x="262" y="49"/>
                    </a:cubicBezTo>
                    <a:cubicBezTo>
                      <a:pt x="264" y="56"/>
                      <a:pt x="264" y="69"/>
                      <a:pt x="272" y="72"/>
                    </a:cubicBezTo>
                    <a:cubicBezTo>
                      <a:pt x="274" y="78"/>
                      <a:pt x="280" y="79"/>
                      <a:pt x="285" y="82"/>
                    </a:cubicBezTo>
                    <a:cubicBezTo>
                      <a:pt x="288" y="82"/>
                      <a:pt x="292" y="82"/>
                      <a:pt x="295" y="81"/>
                    </a:cubicBezTo>
                    <a:cubicBezTo>
                      <a:pt x="301" y="78"/>
                      <a:pt x="297" y="70"/>
                      <a:pt x="304" y="68"/>
                    </a:cubicBezTo>
                    <a:cubicBezTo>
                      <a:pt x="314" y="69"/>
                      <a:pt x="324" y="70"/>
                      <a:pt x="333" y="72"/>
                    </a:cubicBezTo>
                    <a:cubicBezTo>
                      <a:pt x="337" y="73"/>
                      <a:pt x="345" y="76"/>
                      <a:pt x="345" y="76"/>
                    </a:cubicBezTo>
                    <a:cubicBezTo>
                      <a:pt x="346" y="79"/>
                      <a:pt x="351" y="92"/>
                      <a:pt x="354" y="94"/>
                    </a:cubicBezTo>
                    <a:cubicBezTo>
                      <a:pt x="357" y="96"/>
                      <a:pt x="360" y="96"/>
                      <a:pt x="363" y="97"/>
                    </a:cubicBezTo>
                    <a:cubicBezTo>
                      <a:pt x="364" y="97"/>
                      <a:pt x="366" y="98"/>
                      <a:pt x="366" y="98"/>
                    </a:cubicBezTo>
                    <a:cubicBezTo>
                      <a:pt x="367" y="101"/>
                      <a:pt x="373" y="105"/>
                      <a:pt x="373" y="105"/>
                    </a:cubicBezTo>
                    <a:cubicBezTo>
                      <a:pt x="377" y="111"/>
                      <a:pt x="378" y="115"/>
                      <a:pt x="385" y="117"/>
                    </a:cubicBezTo>
                    <a:cubicBezTo>
                      <a:pt x="388" y="121"/>
                      <a:pt x="392" y="122"/>
                      <a:pt x="396" y="125"/>
                    </a:cubicBezTo>
                    <a:cubicBezTo>
                      <a:pt x="397" y="126"/>
                      <a:pt x="399" y="127"/>
                      <a:pt x="399" y="127"/>
                    </a:cubicBezTo>
                    <a:cubicBezTo>
                      <a:pt x="402" y="131"/>
                      <a:pt x="402" y="135"/>
                      <a:pt x="407" y="137"/>
                    </a:cubicBezTo>
                    <a:cubicBezTo>
                      <a:pt x="409" y="141"/>
                      <a:pt x="412" y="141"/>
                      <a:pt x="415" y="144"/>
                    </a:cubicBezTo>
                    <a:cubicBezTo>
                      <a:pt x="418" y="152"/>
                      <a:pt x="408" y="148"/>
                      <a:pt x="403" y="148"/>
                    </a:cubicBezTo>
                    <a:cubicBezTo>
                      <a:pt x="394" y="150"/>
                      <a:pt x="393" y="159"/>
                      <a:pt x="390" y="167"/>
                    </a:cubicBezTo>
                    <a:cubicBezTo>
                      <a:pt x="389" y="171"/>
                      <a:pt x="377" y="171"/>
                      <a:pt x="377" y="171"/>
                    </a:cubicBezTo>
                    <a:cubicBezTo>
                      <a:pt x="376" y="179"/>
                      <a:pt x="374" y="185"/>
                      <a:pt x="379" y="192"/>
                    </a:cubicBezTo>
                    <a:cubicBezTo>
                      <a:pt x="370" y="195"/>
                      <a:pt x="372" y="201"/>
                      <a:pt x="360" y="205"/>
                    </a:cubicBezTo>
                    <a:cubicBezTo>
                      <a:pt x="359" y="211"/>
                      <a:pt x="360" y="214"/>
                      <a:pt x="355" y="216"/>
                    </a:cubicBezTo>
                    <a:cubicBezTo>
                      <a:pt x="354" y="220"/>
                      <a:pt x="349" y="222"/>
                      <a:pt x="345" y="223"/>
                    </a:cubicBezTo>
                    <a:cubicBezTo>
                      <a:pt x="338" y="221"/>
                      <a:pt x="332" y="219"/>
                      <a:pt x="325" y="218"/>
                    </a:cubicBezTo>
                    <a:cubicBezTo>
                      <a:pt x="320" y="219"/>
                      <a:pt x="310" y="221"/>
                      <a:pt x="310" y="221"/>
                    </a:cubicBezTo>
                    <a:cubicBezTo>
                      <a:pt x="309" y="225"/>
                      <a:pt x="307" y="227"/>
                      <a:pt x="304" y="229"/>
                    </a:cubicBezTo>
                    <a:cubicBezTo>
                      <a:pt x="300" y="228"/>
                      <a:pt x="301" y="225"/>
                      <a:pt x="297" y="223"/>
                    </a:cubicBezTo>
                    <a:cubicBezTo>
                      <a:pt x="295" y="218"/>
                      <a:pt x="293" y="215"/>
                      <a:pt x="288" y="213"/>
                    </a:cubicBezTo>
                    <a:cubicBezTo>
                      <a:pt x="286" y="212"/>
                      <a:pt x="282" y="211"/>
                      <a:pt x="282" y="211"/>
                    </a:cubicBezTo>
                    <a:cubicBezTo>
                      <a:pt x="276" y="212"/>
                      <a:pt x="271" y="215"/>
                      <a:pt x="265" y="216"/>
                    </a:cubicBezTo>
                    <a:cubicBezTo>
                      <a:pt x="253" y="215"/>
                      <a:pt x="258" y="216"/>
                      <a:pt x="249" y="213"/>
                    </a:cubicBezTo>
                    <a:cubicBezTo>
                      <a:pt x="247" y="212"/>
                      <a:pt x="243" y="211"/>
                      <a:pt x="243" y="211"/>
                    </a:cubicBezTo>
                    <a:cubicBezTo>
                      <a:pt x="241" y="205"/>
                      <a:pt x="219" y="197"/>
                      <a:pt x="211" y="195"/>
                    </a:cubicBezTo>
                    <a:cubicBezTo>
                      <a:pt x="205" y="195"/>
                      <a:pt x="199" y="195"/>
                      <a:pt x="193" y="196"/>
                    </a:cubicBezTo>
                    <a:cubicBezTo>
                      <a:pt x="190" y="196"/>
                      <a:pt x="184" y="201"/>
                      <a:pt x="184" y="201"/>
                    </a:cubicBezTo>
                    <a:cubicBezTo>
                      <a:pt x="179" y="208"/>
                      <a:pt x="182" y="206"/>
                      <a:pt x="177" y="209"/>
                    </a:cubicBezTo>
                    <a:cubicBezTo>
                      <a:pt x="175" y="214"/>
                      <a:pt x="172" y="219"/>
                      <a:pt x="169" y="224"/>
                    </a:cubicBezTo>
                    <a:cubicBezTo>
                      <a:pt x="167" y="228"/>
                      <a:pt x="157" y="230"/>
                      <a:pt x="157" y="230"/>
                    </a:cubicBezTo>
                    <a:cubicBezTo>
                      <a:pt x="146" y="229"/>
                      <a:pt x="135" y="230"/>
                      <a:pt x="124" y="226"/>
                    </a:cubicBezTo>
                    <a:cubicBezTo>
                      <a:pt x="118" y="218"/>
                      <a:pt x="106" y="219"/>
                      <a:pt x="98" y="214"/>
                    </a:cubicBezTo>
                    <a:cubicBezTo>
                      <a:pt x="96" y="210"/>
                      <a:pt x="92" y="206"/>
                      <a:pt x="88" y="204"/>
                    </a:cubicBezTo>
                    <a:cubicBezTo>
                      <a:pt x="87" y="200"/>
                      <a:pt x="85" y="198"/>
                      <a:pt x="82" y="196"/>
                    </a:cubicBezTo>
                    <a:cubicBezTo>
                      <a:pt x="77" y="189"/>
                      <a:pt x="80" y="191"/>
                      <a:pt x="75" y="188"/>
                    </a:cubicBezTo>
                    <a:cubicBezTo>
                      <a:pt x="73" y="183"/>
                      <a:pt x="68" y="178"/>
                      <a:pt x="64" y="175"/>
                    </a:cubicBezTo>
                    <a:cubicBezTo>
                      <a:pt x="60" y="170"/>
                      <a:pt x="56" y="167"/>
                      <a:pt x="51" y="164"/>
                    </a:cubicBezTo>
                    <a:cubicBezTo>
                      <a:pt x="49" y="161"/>
                      <a:pt x="47" y="159"/>
                      <a:pt x="44" y="157"/>
                    </a:cubicBezTo>
                    <a:cubicBezTo>
                      <a:pt x="41" y="155"/>
                      <a:pt x="35" y="151"/>
                      <a:pt x="35" y="151"/>
                    </a:cubicBezTo>
                    <a:cubicBezTo>
                      <a:pt x="33" y="146"/>
                      <a:pt x="29" y="142"/>
                      <a:pt x="27" y="137"/>
                    </a:cubicBezTo>
                    <a:cubicBezTo>
                      <a:pt x="26" y="134"/>
                      <a:pt x="23" y="128"/>
                      <a:pt x="23" y="128"/>
                    </a:cubicBezTo>
                    <a:cubicBezTo>
                      <a:pt x="22" y="123"/>
                      <a:pt x="18" y="120"/>
                      <a:pt x="17" y="115"/>
                    </a:cubicBezTo>
                    <a:cubicBezTo>
                      <a:pt x="16" y="110"/>
                      <a:pt x="16" y="102"/>
                      <a:pt x="14" y="98"/>
                    </a:cubicBezTo>
                    <a:cubicBezTo>
                      <a:pt x="12" y="95"/>
                      <a:pt x="10" y="90"/>
                      <a:pt x="6" y="88"/>
                    </a:cubicBezTo>
                    <a:cubicBezTo>
                      <a:pt x="4" y="85"/>
                      <a:pt x="1" y="84"/>
                      <a:pt x="0" y="80"/>
                    </a:cubicBezTo>
                    <a:cubicBezTo>
                      <a:pt x="1" y="68"/>
                      <a:pt x="5" y="71"/>
                      <a:pt x="10" y="79"/>
                    </a:cubicBezTo>
                    <a:cubicBezTo>
                      <a:pt x="11" y="80"/>
                      <a:pt x="12" y="80"/>
                      <a:pt x="13" y="80"/>
                    </a:cubicBezTo>
                    <a:cubicBezTo>
                      <a:pt x="19" y="79"/>
                      <a:pt x="21" y="79"/>
                      <a:pt x="26" y="76"/>
                    </a:cubicBezTo>
                    <a:cubicBezTo>
                      <a:pt x="29" y="66"/>
                      <a:pt x="58" y="59"/>
                      <a:pt x="68" y="58"/>
                    </a:cubicBezTo>
                    <a:cubicBezTo>
                      <a:pt x="72" y="57"/>
                      <a:pt x="76" y="53"/>
                      <a:pt x="80" y="52"/>
                    </a:cubicBezTo>
                    <a:cubicBezTo>
                      <a:pt x="88" y="40"/>
                      <a:pt x="89" y="35"/>
                      <a:pt x="105" y="33"/>
                    </a:cubicBezTo>
                    <a:cubicBezTo>
                      <a:pt x="110" y="30"/>
                      <a:pt x="114" y="29"/>
                      <a:pt x="120" y="28"/>
                    </a:cubicBezTo>
                    <a:cubicBezTo>
                      <a:pt x="126" y="24"/>
                      <a:pt x="128" y="24"/>
                      <a:pt x="134" y="22"/>
                    </a:cubicBezTo>
                    <a:cubicBezTo>
                      <a:pt x="137" y="14"/>
                      <a:pt x="130" y="3"/>
                      <a:pt x="139" y="0"/>
                    </a:cubicBezTo>
                    <a:cubicBezTo>
                      <a:pt x="143" y="1"/>
                      <a:pt x="144" y="4"/>
                      <a:pt x="147" y="6"/>
                    </a:cubicBezTo>
                    <a:cubicBezTo>
                      <a:pt x="149" y="11"/>
                      <a:pt x="152" y="14"/>
                      <a:pt x="156" y="17"/>
                    </a:cubicBezTo>
                    <a:cubicBezTo>
                      <a:pt x="158" y="20"/>
                      <a:pt x="164" y="22"/>
                      <a:pt x="164" y="22"/>
                    </a:cubicBezTo>
                    <a:cubicBezTo>
                      <a:pt x="168" y="21"/>
                      <a:pt x="175" y="29"/>
                      <a:pt x="173" y="21"/>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7" name="Freeform 30">
                <a:extLst>
                  <a:ext uri="{FF2B5EF4-FFF2-40B4-BE49-F238E27FC236}">
                    <a16:creationId xmlns:a16="http://schemas.microsoft.com/office/drawing/2014/main" id="{F3AA8858-7944-257D-9DE1-20723CD0BB30}"/>
                  </a:ext>
                </a:extLst>
              </p:cNvPr>
              <p:cNvSpPr>
                <a:spLocks/>
              </p:cNvSpPr>
              <p:nvPr/>
            </p:nvSpPr>
            <p:spPr bwMode="auto">
              <a:xfrm>
                <a:off x="4524440" y="2550538"/>
                <a:ext cx="383729" cy="362525"/>
              </a:xfrm>
              <a:custGeom>
                <a:avLst/>
                <a:gdLst>
                  <a:gd name="T0" fmla="*/ 347 w 599"/>
                  <a:gd name="T1" fmla="*/ 40 h 535"/>
                  <a:gd name="T2" fmla="*/ 445 w 599"/>
                  <a:gd name="T3" fmla="*/ 36 h 535"/>
                  <a:gd name="T4" fmla="*/ 503 w 599"/>
                  <a:gd name="T5" fmla="*/ 27 h 535"/>
                  <a:gd name="T6" fmla="*/ 533 w 599"/>
                  <a:gd name="T7" fmla="*/ 75 h 535"/>
                  <a:gd name="T8" fmla="*/ 556 w 599"/>
                  <a:gd name="T9" fmla="*/ 135 h 535"/>
                  <a:gd name="T10" fmla="*/ 533 w 599"/>
                  <a:gd name="T11" fmla="*/ 220 h 535"/>
                  <a:gd name="T12" fmla="*/ 550 w 599"/>
                  <a:gd name="T13" fmla="*/ 247 h 535"/>
                  <a:gd name="T14" fmla="*/ 562 w 599"/>
                  <a:gd name="T15" fmla="*/ 310 h 535"/>
                  <a:gd name="T16" fmla="*/ 592 w 599"/>
                  <a:gd name="T17" fmla="*/ 349 h 535"/>
                  <a:gd name="T18" fmla="*/ 599 w 599"/>
                  <a:gd name="T19" fmla="*/ 387 h 535"/>
                  <a:gd name="T20" fmla="*/ 547 w 599"/>
                  <a:gd name="T21" fmla="*/ 439 h 535"/>
                  <a:gd name="T22" fmla="*/ 535 w 599"/>
                  <a:gd name="T23" fmla="*/ 505 h 535"/>
                  <a:gd name="T24" fmla="*/ 512 w 599"/>
                  <a:gd name="T25" fmla="*/ 525 h 535"/>
                  <a:gd name="T26" fmla="*/ 457 w 599"/>
                  <a:gd name="T27" fmla="*/ 498 h 535"/>
                  <a:gd name="T28" fmla="*/ 401 w 599"/>
                  <a:gd name="T29" fmla="*/ 511 h 535"/>
                  <a:gd name="T30" fmla="*/ 362 w 599"/>
                  <a:gd name="T31" fmla="*/ 531 h 535"/>
                  <a:gd name="T32" fmla="*/ 341 w 599"/>
                  <a:gd name="T33" fmla="*/ 516 h 535"/>
                  <a:gd name="T34" fmla="*/ 314 w 599"/>
                  <a:gd name="T35" fmla="*/ 504 h 535"/>
                  <a:gd name="T36" fmla="*/ 254 w 599"/>
                  <a:gd name="T37" fmla="*/ 478 h 535"/>
                  <a:gd name="T38" fmla="*/ 217 w 599"/>
                  <a:gd name="T39" fmla="*/ 439 h 535"/>
                  <a:gd name="T40" fmla="*/ 175 w 599"/>
                  <a:gd name="T41" fmla="*/ 427 h 535"/>
                  <a:gd name="T42" fmla="*/ 157 w 599"/>
                  <a:gd name="T43" fmla="*/ 444 h 535"/>
                  <a:gd name="T44" fmla="*/ 119 w 599"/>
                  <a:gd name="T45" fmla="*/ 405 h 535"/>
                  <a:gd name="T46" fmla="*/ 95 w 599"/>
                  <a:gd name="T47" fmla="*/ 388 h 535"/>
                  <a:gd name="T48" fmla="*/ 53 w 599"/>
                  <a:gd name="T49" fmla="*/ 375 h 535"/>
                  <a:gd name="T50" fmla="*/ 38 w 599"/>
                  <a:gd name="T51" fmla="*/ 315 h 535"/>
                  <a:gd name="T52" fmla="*/ 28 w 599"/>
                  <a:gd name="T53" fmla="*/ 289 h 535"/>
                  <a:gd name="T54" fmla="*/ 20 w 599"/>
                  <a:gd name="T55" fmla="*/ 231 h 535"/>
                  <a:gd name="T56" fmla="*/ 11 w 599"/>
                  <a:gd name="T57" fmla="*/ 180 h 535"/>
                  <a:gd name="T58" fmla="*/ 22 w 599"/>
                  <a:gd name="T59" fmla="*/ 96 h 535"/>
                  <a:gd name="T60" fmla="*/ 75 w 599"/>
                  <a:gd name="T61" fmla="*/ 68 h 535"/>
                  <a:gd name="T62" fmla="*/ 119 w 599"/>
                  <a:gd name="T63" fmla="*/ 55 h 535"/>
                  <a:gd name="T64" fmla="*/ 163 w 599"/>
                  <a:gd name="T65" fmla="*/ 21 h 535"/>
                  <a:gd name="T66" fmla="*/ 200 w 599"/>
                  <a:gd name="T67" fmla="*/ 6 h 535"/>
                  <a:gd name="T68" fmla="*/ 257 w 599"/>
                  <a:gd name="T69" fmla="*/ 18 h 535"/>
                  <a:gd name="T70" fmla="*/ 260 w 599"/>
                  <a:gd name="T71" fmla="*/ 48 h 535"/>
                  <a:gd name="T72" fmla="*/ 308 w 599"/>
                  <a:gd name="T73" fmla="*/ 34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99" h="535">
                    <a:moveTo>
                      <a:pt x="308" y="34"/>
                    </a:moveTo>
                    <a:lnTo>
                      <a:pt x="347" y="40"/>
                    </a:lnTo>
                    <a:lnTo>
                      <a:pt x="409" y="45"/>
                    </a:lnTo>
                    <a:lnTo>
                      <a:pt x="445" y="36"/>
                    </a:lnTo>
                    <a:lnTo>
                      <a:pt x="482" y="24"/>
                    </a:lnTo>
                    <a:lnTo>
                      <a:pt x="503" y="27"/>
                    </a:lnTo>
                    <a:lnTo>
                      <a:pt x="524" y="46"/>
                    </a:lnTo>
                    <a:lnTo>
                      <a:pt x="533" y="75"/>
                    </a:lnTo>
                    <a:cubicBezTo>
                      <a:pt x="535" y="84"/>
                      <a:pt x="538" y="93"/>
                      <a:pt x="541" y="102"/>
                    </a:cubicBezTo>
                    <a:cubicBezTo>
                      <a:pt x="543" y="115"/>
                      <a:pt x="549" y="124"/>
                      <a:pt x="556" y="135"/>
                    </a:cubicBezTo>
                    <a:cubicBezTo>
                      <a:pt x="557" y="145"/>
                      <a:pt x="559" y="156"/>
                      <a:pt x="560" y="166"/>
                    </a:cubicBezTo>
                    <a:cubicBezTo>
                      <a:pt x="558" y="190"/>
                      <a:pt x="543" y="199"/>
                      <a:pt x="533" y="220"/>
                    </a:cubicBezTo>
                    <a:cubicBezTo>
                      <a:pt x="535" y="228"/>
                      <a:pt x="535" y="231"/>
                      <a:pt x="542" y="234"/>
                    </a:cubicBezTo>
                    <a:cubicBezTo>
                      <a:pt x="545" y="238"/>
                      <a:pt x="547" y="243"/>
                      <a:pt x="550" y="247"/>
                    </a:cubicBezTo>
                    <a:cubicBezTo>
                      <a:pt x="551" y="253"/>
                      <a:pt x="554" y="256"/>
                      <a:pt x="556" y="261"/>
                    </a:cubicBezTo>
                    <a:cubicBezTo>
                      <a:pt x="558" y="277"/>
                      <a:pt x="555" y="295"/>
                      <a:pt x="562" y="310"/>
                    </a:cubicBezTo>
                    <a:cubicBezTo>
                      <a:pt x="564" y="321"/>
                      <a:pt x="572" y="328"/>
                      <a:pt x="581" y="333"/>
                    </a:cubicBezTo>
                    <a:cubicBezTo>
                      <a:pt x="584" y="339"/>
                      <a:pt x="589" y="343"/>
                      <a:pt x="592" y="349"/>
                    </a:cubicBezTo>
                    <a:cubicBezTo>
                      <a:pt x="593" y="362"/>
                      <a:pt x="593" y="356"/>
                      <a:pt x="593" y="366"/>
                    </a:cubicBezTo>
                    <a:lnTo>
                      <a:pt x="599" y="387"/>
                    </a:lnTo>
                    <a:lnTo>
                      <a:pt x="572" y="409"/>
                    </a:lnTo>
                    <a:lnTo>
                      <a:pt x="547" y="439"/>
                    </a:lnTo>
                    <a:lnTo>
                      <a:pt x="530" y="481"/>
                    </a:lnTo>
                    <a:lnTo>
                      <a:pt x="535" y="505"/>
                    </a:lnTo>
                    <a:lnTo>
                      <a:pt x="532" y="525"/>
                    </a:lnTo>
                    <a:lnTo>
                      <a:pt x="512" y="525"/>
                    </a:lnTo>
                    <a:lnTo>
                      <a:pt x="478" y="510"/>
                    </a:lnTo>
                    <a:lnTo>
                      <a:pt x="457" y="498"/>
                    </a:lnTo>
                    <a:lnTo>
                      <a:pt x="425" y="507"/>
                    </a:lnTo>
                    <a:cubicBezTo>
                      <a:pt x="419" y="522"/>
                      <a:pt x="415" y="516"/>
                      <a:pt x="401" y="511"/>
                    </a:cubicBezTo>
                    <a:cubicBezTo>
                      <a:pt x="390" y="512"/>
                      <a:pt x="379" y="512"/>
                      <a:pt x="370" y="519"/>
                    </a:cubicBezTo>
                    <a:cubicBezTo>
                      <a:pt x="367" y="525"/>
                      <a:pt x="368" y="527"/>
                      <a:pt x="362" y="531"/>
                    </a:cubicBezTo>
                    <a:cubicBezTo>
                      <a:pt x="361" y="532"/>
                      <a:pt x="361" y="535"/>
                      <a:pt x="359" y="535"/>
                    </a:cubicBezTo>
                    <a:cubicBezTo>
                      <a:pt x="359" y="535"/>
                      <a:pt x="346" y="519"/>
                      <a:pt x="341" y="516"/>
                    </a:cubicBezTo>
                    <a:cubicBezTo>
                      <a:pt x="337" y="510"/>
                      <a:pt x="336" y="508"/>
                      <a:pt x="329" y="507"/>
                    </a:cubicBezTo>
                    <a:cubicBezTo>
                      <a:pt x="323" y="503"/>
                      <a:pt x="321" y="501"/>
                      <a:pt x="314" y="504"/>
                    </a:cubicBezTo>
                    <a:cubicBezTo>
                      <a:pt x="303" y="503"/>
                      <a:pt x="287" y="505"/>
                      <a:pt x="277" y="498"/>
                    </a:cubicBezTo>
                    <a:cubicBezTo>
                      <a:pt x="272" y="490"/>
                      <a:pt x="263" y="481"/>
                      <a:pt x="254" y="478"/>
                    </a:cubicBezTo>
                    <a:cubicBezTo>
                      <a:pt x="246" y="467"/>
                      <a:pt x="241" y="459"/>
                      <a:pt x="227" y="456"/>
                    </a:cubicBezTo>
                    <a:cubicBezTo>
                      <a:pt x="219" y="452"/>
                      <a:pt x="223" y="445"/>
                      <a:pt x="217" y="439"/>
                    </a:cubicBezTo>
                    <a:cubicBezTo>
                      <a:pt x="207" y="429"/>
                      <a:pt x="192" y="431"/>
                      <a:pt x="179" y="429"/>
                    </a:cubicBezTo>
                    <a:cubicBezTo>
                      <a:pt x="178" y="428"/>
                      <a:pt x="176" y="426"/>
                      <a:pt x="175" y="427"/>
                    </a:cubicBezTo>
                    <a:cubicBezTo>
                      <a:pt x="173" y="428"/>
                      <a:pt x="171" y="435"/>
                      <a:pt x="170" y="436"/>
                    </a:cubicBezTo>
                    <a:cubicBezTo>
                      <a:pt x="167" y="440"/>
                      <a:pt x="161" y="442"/>
                      <a:pt x="157" y="444"/>
                    </a:cubicBezTo>
                    <a:cubicBezTo>
                      <a:pt x="145" y="441"/>
                      <a:pt x="145" y="433"/>
                      <a:pt x="136" y="426"/>
                    </a:cubicBezTo>
                    <a:cubicBezTo>
                      <a:pt x="131" y="412"/>
                      <a:pt x="141" y="409"/>
                      <a:pt x="119" y="405"/>
                    </a:cubicBezTo>
                    <a:cubicBezTo>
                      <a:pt x="114" y="397"/>
                      <a:pt x="120" y="389"/>
                      <a:pt x="110" y="387"/>
                    </a:cubicBezTo>
                    <a:cubicBezTo>
                      <a:pt x="104" y="384"/>
                      <a:pt x="101" y="387"/>
                      <a:pt x="95" y="388"/>
                    </a:cubicBezTo>
                    <a:cubicBezTo>
                      <a:pt x="72" y="387"/>
                      <a:pt x="81" y="383"/>
                      <a:pt x="65" y="373"/>
                    </a:cubicBezTo>
                    <a:cubicBezTo>
                      <a:pt x="60" y="367"/>
                      <a:pt x="59" y="371"/>
                      <a:pt x="53" y="375"/>
                    </a:cubicBezTo>
                    <a:cubicBezTo>
                      <a:pt x="49" y="380"/>
                      <a:pt x="48" y="380"/>
                      <a:pt x="46" y="386"/>
                    </a:cubicBezTo>
                    <a:cubicBezTo>
                      <a:pt x="48" y="365"/>
                      <a:pt x="60" y="328"/>
                      <a:pt x="38" y="315"/>
                    </a:cubicBezTo>
                    <a:cubicBezTo>
                      <a:pt x="37" y="309"/>
                      <a:pt x="36" y="307"/>
                      <a:pt x="31" y="303"/>
                    </a:cubicBezTo>
                    <a:cubicBezTo>
                      <a:pt x="27" y="297"/>
                      <a:pt x="25" y="296"/>
                      <a:pt x="28" y="289"/>
                    </a:cubicBezTo>
                    <a:cubicBezTo>
                      <a:pt x="29" y="280"/>
                      <a:pt x="29" y="273"/>
                      <a:pt x="26" y="265"/>
                    </a:cubicBezTo>
                    <a:cubicBezTo>
                      <a:pt x="25" y="254"/>
                      <a:pt x="25" y="241"/>
                      <a:pt x="20" y="231"/>
                    </a:cubicBezTo>
                    <a:cubicBezTo>
                      <a:pt x="18" y="220"/>
                      <a:pt x="13" y="208"/>
                      <a:pt x="4" y="201"/>
                    </a:cubicBezTo>
                    <a:cubicBezTo>
                      <a:pt x="0" y="192"/>
                      <a:pt x="4" y="186"/>
                      <a:pt x="11" y="180"/>
                    </a:cubicBezTo>
                    <a:cubicBezTo>
                      <a:pt x="19" y="161"/>
                      <a:pt x="0" y="121"/>
                      <a:pt x="22" y="117"/>
                    </a:cubicBezTo>
                    <a:cubicBezTo>
                      <a:pt x="25" y="112"/>
                      <a:pt x="19" y="101"/>
                      <a:pt x="22" y="96"/>
                    </a:cubicBezTo>
                    <a:cubicBezTo>
                      <a:pt x="25" y="82"/>
                      <a:pt x="48" y="80"/>
                      <a:pt x="61" y="78"/>
                    </a:cubicBezTo>
                    <a:cubicBezTo>
                      <a:pt x="67" y="75"/>
                      <a:pt x="69" y="69"/>
                      <a:pt x="75" y="68"/>
                    </a:cubicBezTo>
                    <a:cubicBezTo>
                      <a:pt x="83" y="64"/>
                      <a:pt x="98" y="62"/>
                      <a:pt x="106" y="60"/>
                    </a:cubicBezTo>
                    <a:cubicBezTo>
                      <a:pt x="110" y="58"/>
                      <a:pt x="115" y="57"/>
                      <a:pt x="119" y="55"/>
                    </a:cubicBezTo>
                    <a:cubicBezTo>
                      <a:pt x="124" y="49"/>
                      <a:pt x="128" y="41"/>
                      <a:pt x="135" y="37"/>
                    </a:cubicBezTo>
                    <a:cubicBezTo>
                      <a:pt x="140" y="28"/>
                      <a:pt x="153" y="23"/>
                      <a:pt x="163" y="21"/>
                    </a:cubicBezTo>
                    <a:cubicBezTo>
                      <a:pt x="169" y="17"/>
                      <a:pt x="174" y="13"/>
                      <a:pt x="181" y="12"/>
                    </a:cubicBezTo>
                    <a:cubicBezTo>
                      <a:pt x="187" y="9"/>
                      <a:pt x="194" y="7"/>
                      <a:pt x="200" y="6"/>
                    </a:cubicBezTo>
                    <a:cubicBezTo>
                      <a:pt x="215" y="0"/>
                      <a:pt x="232" y="7"/>
                      <a:pt x="247" y="10"/>
                    </a:cubicBezTo>
                    <a:cubicBezTo>
                      <a:pt x="253" y="13"/>
                      <a:pt x="256" y="11"/>
                      <a:pt x="257" y="18"/>
                    </a:cubicBezTo>
                    <a:cubicBezTo>
                      <a:pt x="251" y="22"/>
                      <a:pt x="248" y="22"/>
                      <a:pt x="247" y="30"/>
                    </a:cubicBezTo>
                    <a:cubicBezTo>
                      <a:pt x="254" y="35"/>
                      <a:pt x="252" y="44"/>
                      <a:pt x="260" y="48"/>
                    </a:cubicBezTo>
                    <a:cubicBezTo>
                      <a:pt x="268" y="46"/>
                      <a:pt x="275" y="44"/>
                      <a:pt x="283" y="42"/>
                    </a:cubicBezTo>
                    <a:cubicBezTo>
                      <a:pt x="291" y="38"/>
                      <a:pt x="300" y="36"/>
                      <a:pt x="308" y="34"/>
                    </a:cubicBez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8" name="Freeform 31">
                <a:extLst>
                  <a:ext uri="{FF2B5EF4-FFF2-40B4-BE49-F238E27FC236}">
                    <a16:creationId xmlns:a16="http://schemas.microsoft.com/office/drawing/2014/main" id="{0D209EC8-DDF1-C7E8-4D35-B696AA159919}"/>
                  </a:ext>
                </a:extLst>
              </p:cNvPr>
              <p:cNvSpPr>
                <a:spLocks/>
              </p:cNvSpPr>
              <p:nvPr/>
            </p:nvSpPr>
            <p:spPr bwMode="auto">
              <a:xfrm>
                <a:off x="4635802" y="2888233"/>
                <a:ext cx="218699" cy="120605"/>
              </a:xfrm>
              <a:custGeom>
                <a:avLst/>
                <a:gdLst>
                  <a:gd name="T0" fmla="*/ 2 w 342"/>
                  <a:gd name="T1" fmla="*/ 93 h 178"/>
                  <a:gd name="T2" fmla="*/ 10 w 342"/>
                  <a:gd name="T3" fmla="*/ 85 h 178"/>
                  <a:gd name="T4" fmla="*/ 22 w 342"/>
                  <a:gd name="T5" fmla="*/ 82 h 178"/>
                  <a:gd name="T6" fmla="*/ 37 w 342"/>
                  <a:gd name="T7" fmla="*/ 86 h 178"/>
                  <a:gd name="T8" fmla="*/ 50 w 342"/>
                  <a:gd name="T9" fmla="*/ 85 h 178"/>
                  <a:gd name="T10" fmla="*/ 59 w 342"/>
                  <a:gd name="T11" fmla="*/ 70 h 178"/>
                  <a:gd name="T12" fmla="*/ 74 w 342"/>
                  <a:gd name="T13" fmla="*/ 58 h 178"/>
                  <a:gd name="T14" fmla="*/ 79 w 342"/>
                  <a:gd name="T15" fmla="*/ 53 h 178"/>
                  <a:gd name="T16" fmla="*/ 75 w 342"/>
                  <a:gd name="T17" fmla="*/ 40 h 178"/>
                  <a:gd name="T18" fmla="*/ 77 w 342"/>
                  <a:gd name="T19" fmla="*/ 32 h 178"/>
                  <a:gd name="T20" fmla="*/ 86 w 342"/>
                  <a:gd name="T21" fmla="*/ 32 h 178"/>
                  <a:gd name="T22" fmla="*/ 95 w 342"/>
                  <a:gd name="T23" fmla="*/ 17 h 178"/>
                  <a:gd name="T24" fmla="*/ 102 w 342"/>
                  <a:gd name="T25" fmla="*/ 10 h 178"/>
                  <a:gd name="T26" fmla="*/ 113 w 342"/>
                  <a:gd name="T27" fmla="*/ 12 h 178"/>
                  <a:gd name="T28" fmla="*/ 115 w 342"/>
                  <a:gd name="T29" fmla="*/ 6 h 178"/>
                  <a:gd name="T30" fmla="*/ 148 w 342"/>
                  <a:gd name="T31" fmla="*/ 4 h 178"/>
                  <a:gd name="T32" fmla="*/ 163 w 342"/>
                  <a:gd name="T33" fmla="*/ 11 h 178"/>
                  <a:gd name="T34" fmla="*/ 188 w 342"/>
                  <a:gd name="T35" fmla="*/ 38 h 178"/>
                  <a:gd name="T36" fmla="*/ 194 w 342"/>
                  <a:gd name="T37" fmla="*/ 28 h 178"/>
                  <a:gd name="T38" fmla="*/ 200 w 342"/>
                  <a:gd name="T39" fmla="*/ 18 h 178"/>
                  <a:gd name="T40" fmla="*/ 222 w 342"/>
                  <a:gd name="T41" fmla="*/ 12 h 178"/>
                  <a:gd name="T42" fmla="*/ 245 w 342"/>
                  <a:gd name="T43" fmla="*/ 18 h 178"/>
                  <a:gd name="T44" fmla="*/ 255 w 342"/>
                  <a:gd name="T45" fmla="*/ 8 h 178"/>
                  <a:gd name="T46" fmla="*/ 286 w 342"/>
                  <a:gd name="T47" fmla="*/ 0 h 178"/>
                  <a:gd name="T48" fmla="*/ 342 w 342"/>
                  <a:gd name="T49" fmla="*/ 28 h 178"/>
                  <a:gd name="T50" fmla="*/ 342 w 342"/>
                  <a:gd name="T51" fmla="*/ 43 h 178"/>
                  <a:gd name="T52" fmla="*/ 337 w 342"/>
                  <a:gd name="T53" fmla="*/ 54 h 178"/>
                  <a:gd name="T54" fmla="*/ 333 w 342"/>
                  <a:gd name="T55" fmla="*/ 73 h 178"/>
                  <a:gd name="T56" fmla="*/ 330 w 342"/>
                  <a:gd name="T57" fmla="*/ 94 h 178"/>
                  <a:gd name="T58" fmla="*/ 316 w 342"/>
                  <a:gd name="T59" fmla="*/ 102 h 178"/>
                  <a:gd name="T60" fmla="*/ 299 w 342"/>
                  <a:gd name="T61" fmla="*/ 95 h 178"/>
                  <a:gd name="T62" fmla="*/ 291 w 342"/>
                  <a:gd name="T63" fmla="*/ 91 h 178"/>
                  <a:gd name="T64" fmla="*/ 271 w 342"/>
                  <a:gd name="T65" fmla="*/ 89 h 178"/>
                  <a:gd name="T66" fmla="*/ 242 w 342"/>
                  <a:gd name="T67" fmla="*/ 88 h 178"/>
                  <a:gd name="T68" fmla="*/ 225 w 342"/>
                  <a:gd name="T69" fmla="*/ 99 h 178"/>
                  <a:gd name="T70" fmla="*/ 221 w 342"/>
                  <a:gd name="T71" fmla="*/ 107 h 178"/>
                  <a:gd name="T72" fmla="*/ 220 w 342"/>
                  <a:gd name="T73" fmla="*/ 119 h 178"/>
                  <a:gd name="T74" fmla="*/ 204 w 342"/>
                  <a:gd name="T75" fmla="*/ 121 h 178"/>
                  <a:gd name="T76" fmla="*/ 193 w 342"/>
                  <a:gd name="T77" fmla="*/ 129 h 178"/>
                  <a:gd name="T78" fmla="*/ 179 w 342"/>
                  <a:gd name="T79" fmla="*/ 123 h 178"/>
                  <a:gd name="T80" fmla="*/ 172 w 342"/>
                  <a:gd name="T81" fmla="*/ 121 h 178"/>
                  <a:gd name="T82" fmla="*/ 167 w 342"/>
                  <a:gd name="T83" fmla="*/ 127 h 178"/>
                  <a:gd name="T84" fmla="*/ 157 w 342"/>
                  <a:gd name="T85" fmla="*/ 129 h 178"/>
                  <a:gd name="T86" fmla="*/ 151 w 342"/>
                  <a:gd name="T87" fmla="*/ 138 h 178"/>
                  <a:gd name="T88" fmla="*/ 143 w 342"/>
                  <a:gd name="T89" fmla="*/ 138 h 178"/>
                  <a:gd name="T90" fmla="*/ 136 w 342"/>
                  <a:gd name="T91" fmla="*/ 144 h 178"/>
                  <a:gd name="T92" fmla="*/ 125 w 342"/>
                  <a:gd name="T93" fmla="*/ 143 h 178"/>
                  <a:gd name="T94" fmla="*/ 117 w 342"/>
                  <a:gd name="T95" fmla="*/ 153 h 178"/>
                  <a:gd name="T96" fmla="*/ 106 w 342"/>
                  <a:gd name="T97" fmla="*/ 178 h 178"/>
                  <a:gd name="T98" fmla="*/ 53 w 342"/>
                  <a:gd name="T99" fmla="*/ 178 h 178"/>
                  <a:gd name="T100" fmla="*/ 17 w 342"/>
                  <a:gd name="T101" fmla="*/ 142 h 178"/>
                  <a:gd name="T102" fmla="*/ 11 w 342"/>
                  <a:gd name="T103" fmla="*/ 134 h 178"/>
                  <a:gd name="T104" fmla="*/ 6 w 342"/>
                  <a:gd name="T105" fmla="*/ 118 h 178"/>
                  <a:gd name="T106" fmla="*/ 0 w 342"/>
                  <a:gd name="T107" fmla="*/ 106 h 178"/>
                  <a:gd name="T108" fmla="*/ 2 w 342"/>
                  <a:gd name="T109" fmla="*/ 9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2" h="178">
                    <a:moveTo>
                      <a:pt x="2" y="93"/>
                    </a:moveTo>
                    <a:lnTo>
                      <a:pt x="10" y="85"/>
                    </a:lnTo>
                    <a:lnTo>
                      <a:pt x="22" y="82"/>
                    </a:lnTo>
                    <a:lnTo>
                      <a:pt x="37" y="86"/>
                    </a:lnTo>
                    <a:lnTo>
                      <a:pt x="50" y="85"/>
                    </a:lnTo>
                    <a:lnTo>
                      <a:pt x="59" y="70"/>
                    </a:lnTo>
                    <a:lnTo>
                      <a:pt x="74" y="58"/>
                    </a:lnTo>
                    <a:lnTo>
                      <a:pt x="79" y="53"/>
                    </a:lnTo>
                    <a:lnTo>
                      <a:pt x="75" y="40"/>
                    </a:lnTo>
                    <a:lnTo>
                      <a:pt x="77" y="32"/>
                    </a:lnTo>
                    <a:lnTo>
                      <a:pt x="86" y="32"/>
                    </a:lnTo>
                    <a:lnTo>
                      <a:pt x="95" y="17"/>
                    </a:lnTo>
                    <a:lnTo>
                      <a:pt x="102" y="10"/>
                    </a:lnTo>
                    <a:lnTo>
                      <a:pt x="113" y="12"/>
                    </a:lnTo>
                    <a:lnTo>
                      <a:pt x="115" y="6"/>
                    </a:lnTo>
                    <a:lnTo>
                      <a:pt x="148" y="4"/>
                    </a:lnTo>
                    <a:lnTo>
                      <a:pt x="163" y="11"/>
                    </a:lnTo>
                    <a:lnTo>
                      <a:pt x="188" y="38"/>
                    </a:lnTo>
                    <a:lnTo>
                      <a:pt x="194" y="28"/>
                    </a:lnTo>
                    <a:lnTo>
                      <a:pt x="200" y="18"/>
                    </a:lnTo>
                    <a:lnTo>
                      <a:pt x="222" y="12"/>
                    </a:lnTo>
                    <a:lnTo>
                      <a:pt x="245" y="18"/>
                    </a:lnTo>
                    <a:lnTo>
                      <a:pt x="255" y="8"/>
                    </a:lnTo>
                    <a:lnTo>
                      <a:pt x="286" y="0"/>
                    </a:lnTo>
                    <a:lnTo>
                      <a:pt x="342" y="28"/>
                    </a:lnTo>
                    <a:lnTo>
                      <a:pt x="342" y="43"/>
                    </a:lnTo>
                    <a:lnTo>
                      <a:pt x="337" y="54"/>
                    </a:lnTo>
                    <a:lnTo>
                      <a:pt x="333" y="73"/>
                    </a:lnTo>
                    <a:lnTo>
                      <a:pt x="330" y="94"/>
                    </a:lnTo>
                    <a:lnTo>
                      <a:pt x="316" y="102"/>
                    </a:lnTo>
                    <a:lnTo>
                      <a:pt x="299" y="95"/>
                    </a:lnTo>
                    <a:lnTo>
                      <a:pt x="291" y="91"/>
                    </a:lnTo>
                    <a:lnTo>
                      <a:pt x="271" y="89"/>
                    </a:lnTo>
                    <a:lnTo>
                      <a:pt x="242" y="88"/>
                    </a:lnTo>
                    <a:lnTo>
                      <a:pt x="225" y="99"/>
                    </a:lnTo>
                    <a:lnTo>
                      <a:pt x="221" y="107"/>
                    </a:lnTo>
                    <a:lnTo>
                      <a:pt x="220" y="119"/>
                    </a:lnTo>
                    <a:lnTo>
                      <a:pt x="204" y="121"/>
                    </a:lnTo>
                    <a:lnTo>
                      <a:pt x="193" y="129"/>
                    </a:lnTo>
                    <a:lnTo>
                      <a:pt x="179" y="123"/>
                    </a:lnTo>
                    <a:lnTo>
                      <a:pt x="172" y="121"/>
                    </a:lnTo>
                    <a:lnTo>
                      <a:pt x="167" y="127"/>
                    </a:lnTo>
                    <a:lnTo>
                      <a:pt x="157" y="129"/>
                    </a:lnTo>
                    <a:lnTo>
                      <a:pt x="151" y="138"/>
                    </a:lnTo>
                    <a:lnTo>
                      <a:pt x="143" y="138"/>
                    </a:lnTo>
                    <a:lnTo>
                      <a:pt x="136" y="144"/>
                    </a:lnTo>
                    <a:lnTo>
                      <a:pt x="125" y="143"/>
                    </a:lnTo>
                    <a:lnTo>
                      <a:pt x="117" y="153"/>
                    </a:lnTo>
                    <a:lnTo>
                      <a:pt x="106" y="178"/>
                    </a:lnTo>
                    <a:lnTo>
                      <a:pt x="53" y="178"/>
                    </a:lnTo>
                    <a:lnTo>
                      <a:pt x="17" y="142"/>
                    </a:lnTo>
                    <a:lnTo>
                      <a:pt x="11" y="134"/>
                    </a:lnTo>
                    <a:lnTo>
                      <a:pt x="6" y="118"/>
                    </a:lnTo>
                    <a:lnTo>
                      <a:pt x="0" y="106"/>
                    </a:lnTo>
                    <a:lnTo>
                      <a:pt x="2" y="94"/>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1999" name="Freeform 32">
                <a:extLst>
                  <a:ext uri="{FF2B5EF4-FFF2-40B4-BE49-F238E27FC236}">
                    <a16:creationId xmlns:a16="http://schemas.microsoft.com/office/drawing/2014/main" id="{D09445B3-9D00-50FD-19D0-A7ADB0FD4D36}"/>
                  </a:ext>
                </a:extLst>
              </p:cNvPr>
              <p:cNvSpPr>
                <a:spLocks/>
              </p:cNvSpPr>
              <p:nvPr/>
            </p:nvSpPr>
            <p:spPr bwMode="auto">
              <a:xfrm>
                <a:off x="4339285" y="2927252"/>
                <a:ext cx="309935" cy="166719"/>
              </a:xfrm>
              <a:custGeom>
                <a:avLst/>
                <a:gdLst>
                  <a:gd name="T0" fmla="*/ 475 w 483"/>
                  <a:gd name="T1" fmla="*/ 121 h 246"/>
                  <a:gd name="T2" fmla="*/ 483 w 483"/>
                  <a:gd name="T3" fmla="*/ 114 h 246"/>
                  <a:gd name="T4" fmla="*/ 470 w 483"/>
                  <a:gd name="T5" fmla="*/ 74 h 246"/>
                  <a:gd name="T6" fmla="*/ 464 w 483"/>
                  <a:gd name="T7" fmla="*/ 49 h 246"/>
                  <a:gd name="T8" fmla="*/ 458 w 483"/>
                  <a:gd name="T9" fmla="*/ 26 h 246"/>
                  <a:gd name="T10" fmla="*/ 419 w 483"/>
                  <a:gd name="T11" fmla="*/ 21 h 246"/>
                  <a:gd name="T12" fmla="*/ 393 w 483"/>
                  <a:gd name="T13" fmla="*/ 8 h 246"/>
                  <a:gd name="T14" fmla="*/ 357 w 483"/>
                  <a:gd name="T15" fmla="*/ 0 h 246"/>
                  <a:gd name="T16" fmla="*/ 336 w 483"/>
                  <a:gd name="T17" fmla="*/ 20 h 246"/>
                  <a:gd name="T18" fmla="*/ 312 w 483"/>
                  <a:gd name="T19" fmla="*/ 38 h 246"/>
                  <a:gd name="T20" fmla="*/ 283 w 483"/>
                  <a:gd name="T21" fmla="*/ 31 h 246"/>
                  <a:gd name="T22" fmla="*/ 264 w 483"/>
                  <a:gd name="T23" fmla="*/ 24 h 246"/>
                  <a:gd name="T24" fmla="*/ 254 w 483"/>
                  <a:gd name="T25" fmla="*/ 38 h 246"/>
                  <a:gd name="T26" fmla="*/ 243 w 483"/>
                  <a:gd name="T27" fmla="*/ 48 h 246"/>
                  <a:gd name="T28" fmla="*/ 240 w 483"/>
                  <a:gd name="T29" fmla="*/ 63 h 246"/>
                  <a:gd name="T30" fmla="*/ 224 w 483"/>
                  <a:gd name="T31" fmla="*/ 68 h 246"/>
                  <a:gd name="T32" fmla="*/ 209 w 483"/>
                  <a:gd name="T33" fmla="*/ 77 h 246"/>
                  <a:gd name="T34" fmla="*/ 212 w 483"/>
                  <a:gd name="T35" fmla="*/ 118 h 246"/>
                  <a:gd name="T36" fmla="*/ 212 w 483"/>
                  <a:gd name="T37" fmla="*/ 136 h 246"/>
                  <a:gd name="T38" fmla="*/ 198 w 483"/>
                  <a:gd name="T39" fmla="*/ 127 h 246"/>
                  <a:gd name="T40" fmla="*/ 170 w 483"/>
                  <a:gd name="T41" fmla="*/ 120 h 246"/>
                  <a:gd name="T42" fmla="*/ 144 w 483"/>
                  <a:gd name="T43" fmla="*/ 130 h 246"/>
                  <a:gd name="T44" fmla="*/ 125 w 483"/>
                  <a:gd name="T45" fmla="*/ 135 h 246"/>
                  <a:gd name="T46" fmla="*/ 107 w 483"/>
                  <a:gd name="T47" fmla="*/ 140 h 246"/>
                  <a:gd name="T48" fmla="*/ 87 w 483"/>
                  <a:gd name="T49" fmla="*/ 146 h 246"/>
                  <a:gd name="T50" fmla="*/ 73 w 483"/>
                  <a:gd name="T51" fmla="*/ 134 h 246"/>
                  <a:gd name="T52" fmla="*/ 53 w 483"/>
                  <a:gd name="T53" fmla="*/ 139 h 246"/>
                  <a:gd name="T54" fmla="*/ 39 w 483"/>
                  <a:gd name="T55" fmla="*/ 151 h 246"/>
                  <a:gd name="T56" fmla="*/ 15 w 483"/>
                  <a:gd name="T57" fmla="*/ 131 h 246"/>
                  <a:gd name="T58" fmla="*/ 2 w 483"/>
                  <a:gd name="T59" fmla="*/ 153 h 246"/>
                  <a:gd name="T60" fmla="*/ 8 w 483"/>
                  <a:gd name="T61" fmla="*/ 181 h 246"/>
                  <a:gd name="T62" fmla="*/ 15 w 483"/>
                  <a:gd name="T63" fmla="*/ 188 h 246"/>
                  <a:gd name="T64" fmla="*/ 27 w 483"/>
                  <a:gd name="T65" fmla="*/ 196 h 246"/>
                  <a:gd name="T66" fmla="*/ 49 w 483"/>
                  <a:gd name="T67" fmla="*/ 195 h 246"/>
                  <a:gd name="T68" fmla="*/ 80 w 483"/>
                  <a:gd name="T69" fmla="*/ 202 h 246"/>
                  <a:gd name="T70" fmla="*/ 124 w 483"/>
                  <a:gd name="T71" fmla="*/ 190 h 246"/>
                  <a:gd name="T72" fmla="*/ 153 w 483"/>
                  <a:gd name="T73" fmla="*/ 182 h 246"/>
                  <a:gd name="T74" fmla="*/ 166 w 483"/>
                  <a:gd name="T75" fmla="*/ 206 h 246"/>
                  <a:gd name="T76" fmla="*/ 192 w 483"/>
                  <a:gd name="T77" fmla="*/ 227 h 246"/>
                  <a:gd name="T78" fmla="*/ 235 w 483"/>
                  <a:gd name="T79" fmla="*/ 230 h 246"/>
                  <a:gd name="T80" fmla="*/ 288 w 483"/>
                  <a:gd name="T81" fmla="*/ 241 h 246"/>
                  <a:gd name="T82" fmla="*/ 333 w 483"/>
                  <a:gd name="T83" fmla="*/ 224 h 246"/>
                  <a:gd name="T84" fmla="*/ 387 w 483"/>
                  <a:gd name="T85" fmla="*/ 217 h 246"/>
                  <a:gd name="T86" fmla="*/ 416 w 483"/>
                  <a:gd name="T87" fmla="*/ 205 h 246"/>
                  <a:gd name="T88" fmla="*/ 440 w 483"/>
                  <a:gd name="T89" fmla="*/ 184 h 246"/>
                  <a:gd name="T90" fmla="*/ 446 w 483"/>
                  <a:gd name="T91" fmla="*/ 152 h 246"/>
                  <a:gd name="T92" fmla="*/ 441 w 483"/>
                  <a:gd name="T93" fmla="*/ 13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3" h="246">
                    <a:moveTo>
                      <a:pt x="444" y="121"/>
                    </a:moveTo>
                    <a:lnTo>
                      <a:pt x="475" y="121"/>
                    </a:lnTo>
                    <a:lnTo>
                      <a:pt x="476" y="114"/>
                    </a:lnTo>
                    <a:lnTo>
                      <a:pt x="483" y="114"/>
                    </a:lnTo>
                    <a:lnTo>
                      <a:pt x="483" y="86"/>
                    </a:lnTo>
                    <a:lnTo>
                      <a:pt x="470" y="74"/>
                    </a:lnTo>
                    <a:lnTo>
                      <a:pt x="471" y="62"/>
                    </a:lnTo>
                    <a:lnTo>
                      <a:pt x="464" y="49"/>
                    </a:lnTo>
                    <a:lnTo>
                      <a:pt x="462" y="36"/>
                    </a:lnTo>
                    <a:lnTo>
                      <a:pt x="458" y="26"/>
                    </a:lnTo>
                    <a:lnTo>
                      <a:pt x="446" y="17"/>
                    </a:lnTo>
                    <a:lnTo>
                      <a:pt x="419" y="21"/>
                    </a:lnTo>
                    <a:lnTo>
                      <a:pt x="404" y="17"/>
                    </a:lnTo>
                    <a:lnTo>
                      <a:pt x="393" y="8"/>
                    </a:lnTo>
                    <a:lnTo>
                      <a:pt x="373" y="0"/>
                    </a:lnTo>
                    <a:lnTo>
                      <a:pt x="357" y="0"/>
                    </a:lnTo>
                    <a:lnTo>
                      <a:pt x="346" y="6"/>
                    </a:lnTo>
                    <a:lnTo>
                      <a:pt x="336" y="20"/>
                    </a:lnTo>
                    <a:lnTo>
                      <a:pt x="328" y="33"/>
                    </a:lnTo>
                    <a:lnTo>
                      <a:pt x="312" y="38"/>
                    </a:lnTo>
                    <a:lnTo>
                      <a:pt x="297" y="36"/>
                    </a:lnTo>
                    <a:lnTo>
                      <a:pt x="283" y="31"/>
                    </a:lnTo>
                    <a:lnTo>
                      <a:pt x="271" y="27"/>
                    </a:lnTo>
                    <a:lnTo>
                      <a:pt x="264" y="24"/>
                    </a:lnTo>
                    <a:lnTo>
                      <a:pt x="263" y="36"/>
                    </a:lnTo>
                    <a:lnTo>
                      <a:pt x="254" y="38"/>
                    </a:lnTo>
                    <a:lnTo>
                      <a:pt x="251" y="45"/>
                    </a:lnTo>
                    <a:lnTo>
                      <a:pt x="243" y="48"/>
                    </a:lnTo>
                    <a:lnTo>
                      <a:pt x="241" y="54"/>
                    </a:lnTo>
                    <a:lnTo>
                      <a:pt x="240" y="63"/>
                    </a:lnTo>
                    <a:lnTo>
                      <a:pt x="233" y="67"/>
                    </a:lnTo>
                    <a:lnTo>
                      <a:pt x="224" y="68"/>
                    </a:lnTo>
                    <a:lnTo>
                      <a:pt x="217" y="71"/>
                    </a:lnTo>
                    <a:lnTo>
                      <a:pt x="209" y="77"/>
                    </a:lnTo>
                    <a:lnTo>
                      <a:pt x="206" y="96"/>
                    </a:lnTo>
                    <a:lnTo>
                      <a:pt x="212" y="118"/>
                    </a:lnTo>
                    <a:lnTo>
                      <a:pt x="216" y="124"/>
                    </a:lnTo>
                    <a:lnTo>
                      <a:pt x="212" y="136"/>
                    </a:lnTo>
                    <a:lnTo>
                      <a:pt x="203" y="138"/>
                    </a:lnTo>
                    <a:lnTo>
                      <a:pt x="198" y="127"/>
                    </a:lnTo>
                    <a:lnTo>
                      <a:pt x="176" y="125"/>
                    </a:lnTo>
                    <a:lnTo>
                      <a:pt x="170" y="120"/>
                    </a:lnTo>
                    <a:lnTo>
                      <a:pt x="169" y="127"/>
                    </a:lnTo>
                    <a:lnTo>
                      <a:pt x="144" y="130"/>
                    </a:lnTo>
                    <a:lnTo>
                      <a:pt x="128" y="127"/>
                    </a:lnTo>
                    <a:lnTo>
                      <a:pt x="125" y="135"/>
                    </a:lnTo>
                    <a:lnTo>
                      <a:pt x="117" y="135"/>
                    </a:lnTo>
                    <a:lnTo>
                      <a:pt x="107" y="140"/>
                    </a:lnTo>
                    <a:lnTo>
                      <a:pt x="105" y="146"/>
                    </a:lnTo>
                    <a:lnTo>
                      <a:pt x="87" y="146"/>
                    </a:lnTo>
                    <a:lnTo>
                      <a:pt x="80" y="138"/>
                    </a:lnTo>
                    <a:lnTo>
                      <a:pt x="73" y="134"/>
                    </a:lnTo>
                    <a:lnTo>
                      <a:pt x="58" y="134"/>
                    </a:lnTo>
                    <a:lnTo>
                      <a:pt x="53" y="139"/>
                    </a:lnTo>
                    <a:lnTo>
                      <a:pt x="46" y="145"/>
                    </a:lnTo>
                    <a:lnTo>
                      <a:pt x="39" y="151"/>
                    </a:lnTo>
                    <a:lnTo>
                      <a:pt x="24" y="135"/>
                    </a:lnTo>
                    <a:lnTo>
                      <a:pt x="15" y="131"/>
                    </a:lnTo>
                    <a:lnTo>
                      <a:pt x="0" y="133"/>
                    </a:lnTo>
                    <a:lnTo>
                      <a:pt x="2" y="153"/>
                    </a:lnTo>
                    <a:lnTo>
                      <a:pt x="1" y="170"/>
                    </a:lnTo>
                    <a:lnTo>
                      <a:pt x="8" y="181"/>
                    </a:lnTo>
                    <a:lnTo>
                      <a:pt x="10" y="187"/>
                    </a:lnTo>
                    <a:lnTo>
                      <a:pt x="15" y="188"/>
                    </a:lnTo>
                    <a:lnTo>
                      <a:pt x="22" y="188"/>
                    </a:lnTo>
                    <a:lnTo>
                      <a:pt x="27" y="196"/>
                    </a:lnTo>
                    <a:lnTo>
                      <a:pt x="37" y="190"/>
                    </a:lnTo>
                    <a:lnTo>
                      <a:pt x="49" y="195"/>
                    </a:lnTo>
                    <a:lnTo>
                      <a:pt x="69" y="201"/>
                    </a:lnTo>
                    <a:lnTo>
                      <a:pt x="80" y="202"/>
                    </a:lnTo>
                    <a:lnTo>
                      <a:pt x="101" y="195"/>
                    </a:lnTo>
                    <a:lnTo>
                      <a:pt x="124" y="190"/>
                    </a:lnTo>
                    <a:lnTo>
                      <a:pt x="140" y="188"/>
                    </a:lnTo>
                    <a:lnTo>
                      <a:pt x="153" y="182"/>
                    </a:lnTo>
                    <a:lnTo>
                      <a:pt x="159" y="194"/>
                    </a:lnTo>
                    <a:lnTo>
                      <a:pt x="166" y="206"/>
                    </a:lnTo>
                    <a:lnTo>
                      <a:pt x="174" y="215"/>
                    </a:lnTo>
                    <a:lnTo>
                      <a:pt x="192" y="227"/>
                    </a:lnTo>
                    <a:lnTo>
                      <a:pt x="201" y="227"/>
                    </a:lnTo>
                    <a:lnTo>
                      <a:pt x="235" y="230"/>
                    </a:lnTo>
                    <a:lnTo>
                      <a:pt x="255" y="238"/>
                    </a:lnTo>
                    <a:lnTo>
                      <a:pt x="288" y="241"/>
                    </a:lnTo>
                    <a:lnTo>
                      <a:pt x="319" y="246"/>
                    </a:lnTo>
                    <a:lnTo>
                      <a:pt x="333" y="224"/>
                    </a:lnTo>
                    <a:lnTo>
                      <a:pt x="374" y="225"/>
                    </a:lnTo>
                    <a:lnTo>
                      <a:pt x="387" y="217"/>
                    </a:lnTo>
                    <a:lnTo>
                      <a:pt x="403" y="220"/>
                    </a:lnTo>
                    <a:lnTo>
                      <a:pt x="416" y="205"/>
                    </a:lnTo>
                    <a:lnTo>
                      <a:pt x="429" y="189"/>
                    </a:lnTo>
                    <a:lnTo>
                      <a:pt x="440" y="184"/>
                    </a:lnTo>
                    <a:lnTo>
                      <a:pt x="440" y="158"/>
                    </a:lnTo>
                    <a:lnTo>
                      <a:pt x="446" y="152"/>
                    </a:lnTo>
                    <a:lnTo>
                      <a:pt x="446" y="144"/>
                    </a:lnTo>
                    <a:lnTo>
                      <a:pt x="441" y="130"/>
                    </a:lnTo>
                    <a:lnTo>
                      <a:pt x="444" y="12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0" name="Freeform 33">
                <a:extLst>
                  <a:ext uri="{FF2B5EF4-FFF2-40B4-BE49-F238E27FC236}">
                    <a16:creationId xmlns:a16="http://schemas.microsoft.com/office/drawing/2014/main" id="{A9E95261-E570-C215-273E-3D42F480D93C}"/>
                  </a:ext>
                </a:extLst>
              </p:cNvPr>
              <p:cNvSpPr>
                <a:spLocks/>
              </p:cNvSpPr>
              <p:nvPr/>
            </p:nvSpPr>
            <p:spPr bwMode="auto">
              <a:xfrm>
                <a:off x="4185659" y="3003872"/>
                <a:ext cx="183143" cy="112801"/>
              </a:xfrm>
              <a:custGeom>
                <a:avLst/>
                <a:gdLst>
                  <a:gd name="T0" fmla="*/ 285 w 286"/>
                  <a:gd name="T1" fmla="*/ 82 h 167"/>
                  <a:gd name="T2" fmla="*/ 279 w 286"/>
                  <a:gd name="T3" fmla="*/ 78 h 167"/>
                  <a:gd name="T4" fmla="*/ 270 w 286"/>
                  <a:gd name="T5" fmla="*/ 83 h 167"/>
                  <a:gd name="T6" fmla="*/ 261 w 286"/>
                  <a:gd name="T7" fmla="*/ 74 h 167"/>
                  <a:gd name="T8" fmla="*/ 249 w 286"/>
                  <a:gd name="T9" fmla="*/ 74 h 167"/>
                  <a:gd name="T10" fmla="*/ 240 w 286"/>
                  <a:gd name="T11" fmla="*/ 58 h 167"/>
                  <a:gd name="T12" fmla="*/ 240 w 286"/>
                  <a:gd name="T13" fmla="*/ 35 h 167"/>
                  <a:gd name="T14" fmla="*/ 240 w 286"/>
                  <a:gd name="T15" fmla="*/ 20 h 167"/>
                  <a:gd name="T16" fmla="*/ 223 w 286"/>
                  <a:gd name="T17" fmla="*/ 15 h 167"/>
                  <a:gd name="T18" fmla="*/ 207 w 286"/>
                  <a:gd name="T19" fmla="*/ 5 h 167"/>
                  <a:gd name="T20" fmla="*/ 192 w 286"/>
                  <a:gd name="T21" fmla="*/ 2 h 167"/>
                  <a:gd name="T22" fmla="*/ 117 w 286"/>
                  <a:gd name="T23" fmla="*/ 9 h 167"/>
                  <a:gd name="T24" fmla="*/ 109 w 286"/>
                  <a:gd name="T25" fmla="*/ 0 h 167"/>
                  <a:gd name="T26" fmla="*/ 102 w 286"/>
                  <a:gd name="T27" fmla="*/ 5 h 167"/>
                  <a:gd name="T28" fmla="*/ 93 w 286"/>
                  <a:gd name="T29" fmla="*/ 9 h 167"/>
                  <a:gd name="T30" fmla="*/ 77 w 286"/>
                  <a:gd name="T31" fmla="*/ 5 h 167"/>
                  <a:gd name="T32" fmla="*/ 68 w 286"/>
                  <a:gd name="T33" fmla="*/ 8 h 167"/>
                  <a:gd name="T34" fmla="*/ 69 w 286"/>
                  <a:gd name="T35" fmla="*/ 24 h 167"/>
                  <a:gd name="T36" fmla="*/ 34 w 286"/>
                  <a:gd name="T37" fmla="*/ 50 h 167"/>
                  <a:gd name="T38" fmla="*/ 34 w 286"/>
                  <a:gd name="T39" fmla="*/ 65 h 167"/>
                  <a:gd name="T40" fmla="*/ 2 w 286"/>
                  <a:gd name="T41" fmla="*/ 92 h 167"/>
                  <a:gd name="T42" fmla="*/ 0 w 286"/>
                  <a:gd name="T43" fmla="*/ 119 h 167"/>
                  <a:gd name="T44" fmla="*/ 6 w 286"/>
                  <a:gd name="T45" fmla="*/ 132 h 167"/>
                  <a:gd name="T46" fmla="*/ 14 w 286"/>
                  <a:gd name="T47" fmla="*/ 117 h 167"/>
                  <a:gd name="T48" fmla="*/ 22 w 286"/>
                  <a:gd name="T49" fmla="*/ 104 h 167"/>
                  <a:gd name="T50" fmla="*/ 47 w 286"/>
                  <a:gd name="T51" fmla="*/ 104 h 167"/>
                  <a:gd name="T52" fmla="*/ 48 w 286"/>
                  <a:gd name="T53" fmla="*/ 121 h 167"/>
                  <a:gd name="T54" fmla="*/ 43 w 286"/>
                  <a:gd name="T55" fmla="*/ 138 h 167"/>
                  <a:gd name="T56" fmla="*/ 51 w 286"/>
                  <a:gd name="T57" fmla="*/ 146 h 167"/>
                  <a:gd name="T58" fmla="*/ 59 w 286"/>
                  <a:gd name="T59" fmla="*/ 146 h 167"/>
                  <a:gd name="T60" fmla="*/ 69 w 286"/>
                  <a:gd name="T61" fmla="*/ 152 h 167"/>
                  <a:gd name="T62" fmla="*/ 89 w 286"/>
                  <a:gd name="T63" fmla="*/ 154 h 167"/>
                  <a:gd name="T64" fmla="*/ 105 w 286"/>
                  <a:gd name="T65" fmla="*/ 157 h 167"/>
                  <a:gd name="T66" fmla="*/ 115 w 286"/>
                  <a:gd name="T67" fmla="*/ 158 h 167"/>
                  <a:gd name="T68" fmla="*/ 125 w 286"/>
                  <a:gd name="T69" fmla="*/ 147 h 167"/>
                  <a:gd name="T70" fmla="*/ 133 w 286"/>
                  <a:gd name="T71" fmla="*/ 139 h 167"/>
                  <a:gd name="T72" fmla="*/ 134 w 286"/>
                  <a:gd name="T73" fmla="*/ 127 h 167"/>
                  <a:gd name="T74" fmla="*/ 144 w 286"/>
                  <a:gd name="T75" fmla="*/ 122 h 167"/>
                  <a:gd name="T76" fmla="*/ 155 w 286"/>
                  <a:gd name="T77" fmla="*/ 118 h 167"/>
                  <a:gd name="T78" fmla="*/ 161 w 286"/>
                  <a:gd name="T79" fmla="*/ 131 h 167"/>
                  <a:gd name="T80" fmla="*/ 161 w 286"/>
                  <a:gd name="T81" fmla="*/ 142 h 167"/>
                  <a:gd name="T82" fmla="*/ 186 w 286"/>
                  <a:gd name="T83" fmla="*/ 167 h 167"/>
                  <a:gd name="T84" fmla="*/ 194 w 286"/>
                  <a:gd name="T85" fmla="*/ 159 h 167"/>
                  <a:gd name="T86" fmla="*/ 199 w 286"/>
                  <a:gd name="T87" fmla="*/ 147 h 167"/>
                  <a:gd name="T88" fmla="*/ 205 w 286"/>
                  <a:gd name="T89" fmla="*/ 130 h 167"/>
                  <a:gd name="T90" fmla="*/ 216 w 286"/>
                  <a:gd name="T91" fmla="*/ 119 h 167"/>
                  <a:gd name="T92" fmla="*/ 227 w 286"/>
                  <a:gd name="T93" fmla="*/ 126 h 167"/>
                  <a:gd name="T94" fmla="*/ 236 w 286"/>
                  <a:gd name="T95" fmla="*/ 129 h 167"/>
                  <a:gd name="T96" fmla="*/ 249 w 286"/>
                  <a:gd name="T97" fmla="*/ 131 h 167"/>
                  <a:gd name="T98" fmla="*/ 264 w 286"/>
                  <a:gd name="T99" fmla="*/ 136 h 167"/>
                  <a:gd name="T100" fmla="*/ 269 w 286"/>
                  <a:gd name="T101" fmla="*/ 129 h 167"/>
                  <a:gd name="T102" fmla="*/ 263 w 286"/>
                  <a:gd name="T103" fmla="*/ 118 h 167"/>
                  <a:gd name="T104" fmla="*/ 264 w 286"/>
                  <a:gd name="T105" fmla="*/ 109 h 167"/>
                  <a:gd name="T106" fmla="*/ 276 w 286"/>
                  <a:gd name="T107" fmla="*/ 105 h 167"/>
                  <a:gd name="T108" fmla="*/ 286 w 286"/>
                  <a:gd name="T109" fmla="*/ 106 h 167"/>
                  <a:gd name="T110" fmla="*/ 285 w 286"/>
                  <a:gd name="T111" fmla="*/ 82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167">
                    <a:moveTo>
                      <a:pt x="285" y="82"/>
                    </a:moveTo>
                    <a:lnTo>
                      <a:pt x="279" y="78"/>
                    </a:lnTo>
                    <a:lnTo>
                      <a:pt x="270" y="83"/>
                    </a:lnTo>
                    <a:lnTo>
                      <a:pt x="261" y="74"/>
                    </a:lnTo>
                    <a:lnTo>
                      <a:pt x="249" y="74"/>
                    </a:lnTo>
                    <a:lnTo>
                      <a:pt x="240" y="58"/>
                    </a:lnTo>
                    <a:lnTo>
                      <a:pt x="240" y="35"/>
                    </a:lnTo>
                    <a:lnTo>
                      <a:pt x="240" y="20"/>
                    </a:lnTo>
                    <a:lnTo>
                      <a:pt x="223" y="15"/>
                    </a:lnTo>
                    <a:lnTo>
                      <a:pt x="207" y="5"/>
                    </a:lnTo>
                    <a:lnTo>
                      <a:pt x="192" y="2"/>
                    </a:lnTo>
                    <a:lnTo>
                      <a:pt x="117" y="9"/>
                    </a:lnTo>
                    <a:lnTo>
                      <a:pt x="109" y="0"/>
                    </a:lnTo>
                    <a:lnTo>
                      <a:pt x="102" y="5"/>
                    </a:lnTo>
                    <a:lnTo>
                      <a:pt x="93" y="9"/>
                    </a:lnTo>
                    <a:lnTo>
                      <a:pt x="77" y="5"/>
                    </a:lnTo>
                    <a:lnTo>
                      <a:pt x="68" y="8"/>
                    </a:lnTo>
                    <a:lnTo>
                      <a:pt x="69" y="24"/>
                    </a:lnTo>
                    <a:lnTo>
                      <a:pt x="34" y="50"/>
                    </a:lnTo>
                    <a:lnTo>
                      <a:pt x="34" y="65"/>
                    </a:lnTo>
                    <a:lnTo>
                      <a:pt x="2" y="92"/>
                    </a:lnTo>
                    <a:lnTo>
                      <a:pt x="0" y="119"/>
                    </a:lnTo>
                    <a:lnTo>
                      <a:pt x="6" y="132"/>
                    </a:lnTo>
                    <a:lnTo>
                      <a:pt x="14" y="117"/>
                    </a:lnTo>
                    <a:lnTo>
                      <a:pt x="22" y="104"/>
                    </a:lnTo>
                    <a:lnTo>
                      <a:pt x="47" y="104"/>
                    </a:lnTo>
                    <a:lnTo>
                      <a:pt x="48" y="121"/>
                    </a:lnTo>
                    <a:lnTo>
                      <a:pt x="43" y="138"/>
                    </a:lnTo>
                    <a:lnTo>
                      <a:pt x="51" y="146"/>
                    </a:lnTo>
                    <a:lnTo>
                      <a:pt x="59" y="146"/>
                    </a:lnTo>
                    <a:lnTo>
                      <a:pt x="69" y="152"/>
                    </a:lnTo>
                    <a:lnTo>
                      <a:pt x="89" y="154"/>
                    </a:lnTo>
                    <a:lnTo>
                      <a:pt x="105" y="157"/>
                    </a:lnTo>
                    <a:lnTo>
                      <a:pt x="115" y="158"/>
                    </a:lnTo>
                    <a:lnTo>
                      <a:pt x="125" y="147"/>
                    </a:lnTo>
                    <a:lnTo>
                      <a:pt x="133" y="139"/>
                    </a:lnTo>
                    <a:lnTo>
                      <a:pt x="134" y="127"/>
                    </a:lnTo>
                    <a:lnTo>
                      <a:pt x="144" y="122"/>
                    </a:lnTo>
                    <a:lnTo>
                      <a:pt x="155" y="118"/>
                    </a:lnTo>
                    <a:lnTo>
                      <a:pt x="161" y="131"/>
                    </a:lnTo>
                    <a:lnTo>
                      <a:pt x="161" y="142"/>
                    </a:lnTo>
                    <a:lnTo>
                      <a:pt x="186" y="167"/>
                    </a:lnTo>
                    <a:lnTo>
                      <a:pt x="194" y="159"/>
                    </a:lnTo>
                    <a:lnTo>
                      <a:pt x="199" y="147"/>
                    </a:lnTo>
                    <a:lnTo>
                      <a:pt x="205" y="130"/>
                    </a:lnTo>
                    <a:lnTo>
                      <a:pt x="216" y="119"/>
                    </a:lnTo>
                    <a:lnTo>
                      <a:pt x="227" y="126"/>
                    </a:lnTo>
                    <a:lnTo>
                      <a:pt x="236" y="129"/>
                    </a:lnTo>
                    <a:lnTo>
                      <a:pt x="249" y="131"/>
                    </a:lnTo>
                    <a:lnTo>
                      <a:pt x="264" y="136"/>
                    </a:lnTo>
                    <a:lnTo>
                      <a:pt x="269" y="129"/>
                    </a:lnTo>
                    <a:lnTo>
                      <a:pt x="263" y="118"/>
                    </a:lnTo>
                    <a:lnTo>
                      <a:pt x="264" y="109"/>
                    </a:lnTo>
                    <a:lnTo>
                      <a:pt x="276" y="105"/>
                    </a:lnTo>
                    <a:lnTo>
                      <a:pt x="286" y="106"/>
                    </a:lnTo>
                    <a:lnTo>
                      <a:pt x="285" y="8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1" name="Freeform 34">
                <a:extLst>
                  <a:ext uri="{FF2B5EF4-FFF2-40B4-BE49-F238E27FC236}">
                    <a16:creationId xmlns:a16="http://schemas.microsoft.com/office/drawing/2014/main" id="{DA6439D0-D1FF-B7CA-9E4D-3549392CE77A}"/>
                  </a:ext>
                </a:extLst>
              </p:cNvPr>
              <p:cNvSpPr>
                <a:spLocks/>
              </p:cNvSpPr>
              <p:nvPr/>
            </p:nvSpPr>
            <p:spPr bwMode="auto">
              <a:xfrm>
                <a:off x="4779365" y="3513960"/>
                <a:ext cx="18784" cy="26249"/>
              </a:xfrm>
              <a:custGeom>
                <a:avLst/>
                <a:gdLst>
                  <a:gd name="T0" fmla="*/ 18 w 29"/>
                  <a:gd name="T1" fmla="*/ 38 h 38"/>
                  <a:gd name="T2" fmla="*/ 29 w 29"/>
                  <a:gd name="T3" fmla="*/ 35 h 38"/>
                  <a:gd name="T4" fmla="*/ 27 w 29"/>
                  <a:gd name="T5" fmla="*/ 22 h 38"/>
                  <a:gd name="T6" fmla="*/ 16 w 29"/>
                  <a:gd name="T7" fmla="*/ 6 h 38"/>
                  <a:gd name="T8" fmla="*/ 8 w 29"/>
                  <a:gd name="T9" fmla="*/ 0 h 38"/>
                  <a:gd name="T10" fmla="*/ 0 w 29"/>
                  <a:gd name="T11" fmla="*/ 6 h 38"/>
                  <a:gd name="T12" fmla="*/ 7 w 29"/>
                  <a:gd name="T13" fmla="*/ 22 h 38"/>
                  <a:gd name="T14" fmla="*/ 18 w 29"/>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38">
                    <a:moveTo>
                      <a:pt x="18" y="38"/>
                    </a:moveTo>
                    <a:lnTo>
                      <a:pt x="29" y="35"/>
                    </a:lnTo>
                    <a:lnTo>
                      <a:pt x="27" y="22"/>
                    </a:lnTo>
                    <a:lnTo>
                      <a:pt x="16" y="6"/>
                    </a:lnTo>
                    <a:lnTo>
                      <a:pt x="8" y="0"/>
                    </a:lnTo>
                    <a:lnTo>
                      <a:pt x="0" y="6"/>
                    </a:lnTo>
                    <a:lnTo>
                      <a:pt x="7" y="22"/>
                    </a:lnTo>
                    <a:lnTo>
                      <a:pt x="18" y="3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2" name="Freeform 35">
                <a:extLst>
                  <a:ext uri="{FF2B5EF4-FFF2-40B4-BE49-F238E27FC236}">
                    <a16:creationId xmlns:a16="http://schemas.microsoft.com/office/drawing/2014/main" id="{A8B9E668-D260-B871-13BB-4FF8EF2C79D8}"/>
                  </a:ext>
                </a:extLst>
              </p:cNvPr>
              <p:cNvSpPr>
                <a:spLocks/>
              </p:cNvSpPr>
              <p:nvPr/>
            </p:nvSpPr>
            <p:spPr bwMode="auto">
              <a:xfrm>
                <a:off x="4817604" y="3600512"/>
                <a:ext cx="19455" cy="18445"/>
              </a:xfrm>
              <a:custGeom>
                <a:avLst/>
                <a:gdLst>
                  <a:gd name="T0" fmla="*/ 10 w 31"/>
                  <a:gd name="T1" fmla="*/ 27 h 27"/>
                  <a:gd name="T2" fmla="*/ 25 w 31"/>
                  <a:gd name="T3" fmla="*/ 26 h 27"/>
                  <a:gd name="T4" fmla="*/ 31 w 31"/>
                  <a:gd name="T5" fmla="*/ 20 h 27"/>
                  <a:gd name="T6" fmla="*/ 24 w 31"/>
                  <a:gd name="T7" fmla="*/ 13 h 27"/>
                  <a:gd name="T8" fmla="*/ 19 w 31"/>
                  <a:gd name="T9" fmla="*/ 1 h 27"/>
                  <a:gd name="T10" fmla="*/ 13 w 31"/>
                  <a:gd name="T11" fmla="*/ 0 h 27"/>
                  <a:gd name="T12" fmla="*/ 5 w 31"/>
                  <a:gd name="T13" fmla="*/ 7 h 27"/>
                  <a:gd name="T14" fmla="*/ 0 w 31"/>
                  <a:gd name="T15" fmla="*/ 19 h 27"/>
                  <a:gd name="T16" fmla="*/ 10 w 31"/>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27">
                    <a:moveTo>
                      <a:pt x="10" y="27"/>
                    </a:moveTo>
                    <a:lnTo>
                      <a:pt x="25" y="26"/>
                    </a:lnTo>
                    <a:lnTo>
                      <a:pt x="31" y="20"/>
                    </a:lnTo>
                    <a:lnTo>
                      <a:pt x="24" y="13"/>
                    </a:lnTo>
                    <a:lnTo>
                      <a:pt x="19" y="1"/>
                    </a:lnTo>
                    <a:lnTo>
                      <a:pt x="13" y="0"/>
                    </a:lnTo>
                    <a:lnTo>
                      <a:pt x="5" y="7"/>
                    </a:lnTo>
                    <a:lnTo>
                      <a:pt x="0" y="19"/>
                    </a:lnTo>
                    <a:lnTo>
                      <a:pt x="10"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3" name="Freeform 36">
                <a:extLst>
                  <a:ext uri="{FF2B5EF4-FFF2-40B4-BE49-F238E27FC236}">
                    <a16:creationId xmlns:a16="http://schemas.microsoft.com/office/drawing/2014/main" id="{0D3F6C64-4878-894E-9F69-C5E9D9817DDA}"/>
                  </a:ext>
                </a:extLst>
              </p:cNvPr>
              <p:cNvSpPr>
                <a:spLocks/>
              </p:cNvSpPr>
              <p:nvPr/>
            </p:nvSpPr>
            <p:spPr bwMode="auto">
              <a:xfrm>
                <a:off x="4804858" y="3357174"/>
                <a:ext cx="281088" cy="278101"/>
              </a:xfrm>
              <a:custGeom>
                <a:avLst/>
                <a:gdLst>
                  <a:gd name="T0" fmla="*/ 427 w 439"/>
                  <a:gd name="T1" fmla="*/ 0 h 411"/>
                  <a:gd name="T2" fmla="*/ 439 w 439"/>
                  <a:gd name="T3" fmla="*/ 14 h 411"/>
                  <a:gd name="T4" fmla="*/ 426 w 439"/>
                  <a:gd name="T5" fmla="*/ 45 h 411"/>
                  <a:gd name="T6" fmla="*/ 424 w 439"/>
                  <a:gd name="T7" fmla="*/ 78 h 411"/>
                  <a:gd name="T8" fmla="*/ 415 w 439"/>
                  <a:gd name="T9" fmla="*/ 105 h 411"/>
                  <a:gd name="T10" fmla="*/ 393 w 439"/>
                  <a:gd name="T11" fmla="*/ 94 h 411"/>
                  <a:gd name="T12" fmla="*/ 364 w 439"/>
                  <a:gd name="T13" fmla="*/ 94 h 411"/>
                  <a:gd name="T14" fmla="*/ 340 w 439"/>
                  <a:gd name="T15" fmla="*/ 83 h 411"/>
                  <a:gd name="T16" fmla="*/ 318 w 439"/>
                  <a:gd name="T17" fmla="*/ 100 h 411"/>
                  <a:gd name="T18" fmla="*/ 291 w 439"/>
                  <a:gd name="T19" fmla="*/ 98 h 411"/>
                  <a:gd name="T20" fmla="*/ 269 w 439"/>
                  <a:gd name="T21" fmla="*/ 115 h 411"/>
                  <a:gd name="T22" fmla="*/ 247 w 439"/>
                  <a:gd name="T23" fmla="*/ 134 h 411"/>
                  <a:gd name="T24" fmla="*/ 268 w 439"/>
                  <a:gd name="T25" fmla="*/ 145 h 411"/>
                  <a:gd name="T26" fmla="*/ 292 w 439"/>
                  <a:gd name="T27" fmla="*/ 166 h 411"/>
                  <a:gd name="T28" fmla="*/ 264 w 439"/>
                  <a:gd name="T29" fmla="*/ 159 h 411"/>
                  <a:gd name="T30" fmla="*/ 259 w 439"/>
                  <a:gd name="T31" fmla="*/ 166 h 411"/>
                  <a:gd name="T32" fmla="*/ 272 w 439"/>
                  <a:gd name="T33" fmla="*/ 183 h 411"/>
                  <a:gd name="T34" fmla="*/ 258 w 439"/>
                  <a:gd name="T35" fmla="*/ 184 h 411"/>
                  <a:gd name="T36" fmla="*/ 238 w 439"/>
                  <a:gd name="T37" fmla="*/ 168 h 411"/>
                  <a:gd name="T38" fmla="*/ 245 w 439"/>
                  <a:gd name="T39" fmla="*/ 186 h 411"/>
                  <a:gd name="T40" fmla="*/ 236 w 439"/>
                  <a:gd name="T41" fmla="*/ 197 h 411"/>
                  <a:gd name="T42" fmla="*/ 214 w 439"/>
                  <a:gd name="T43" fmla="*/ 173 h 411"/>
                  <a:gd name="T44" fmla="*/ 190 w 439"/>
                  <a:gd name="T45" fmla="*/ 155 h 411"/>
                  <a:gd name="T46" fmla="*/ 170 w 439"/>
                  <a:gd name="T47" fmla="*/ 158 h 411"/>
                  <a:gd name="T48" fmla="*/ 177 w 439"/>
                  <a:gd name="T49" fmla="*/ 203 h 411"/>
                  <a:gd name="T50" fmla="*/ 194 w 439"/>
                  <a:gd name="T51" fmla="*/ 233 h 411"/>
                  <a:gd name="T52" fmla="*/ 230 w 439"/>
                  <a:gd name="T53" fmla="*/ 267 h 411"/>
                  <a:gd name="T54" fmla="*/ 212 w 439"/>
                  <a:gd name="T55" fmla="*/ 272 h 411"/>
                  <a:gd name="T56" fmla="*/ 196 w 439"/>
                  <a:gd name="T57" fmla="*/ 267 h 411"/>
                  <a:gd name="T58" fmla="*/ 206 w 439"/>
                  <a:gd name="T59" fmla="*/ 293 h 411"/>
                  <a:gd name="T60" fmla="*/ 178 w 439"/>
                  <a:gd name="T61" fmla="*/ 296 h 411"/>
                  <a:gd name="T62" fmla="*/ 198 w 439"/>
                  <a:gd name="T63" fmla="*/ 315 h 411"/>
                  <a:gd name="T64" fmla="*/ 233 w 439"/>
                  <a:gd name="T65" fmla="*/ 328 h 411"/>
                  <a:gd name="T66" fmla="*/ 256 w 439"/>
                  <a:gd name="T67" fmla="*/ 343 h 411"/>
                  <a:gd name="T68" fmla="*/ 280 w 439"/>
                  <a:gd name="T69" fmla="*/ 354 h 411"/>
                  <a:gd name="T70" fmla="*/ 294 w 439"/>
                  <a:gd name="T71" fmla="*/ 375 h 411"/>
                  <a:gd name="T72" fmla="*/ 296 w 439"/>
                  <a:gd name="T73" fmla="*/ 411 h 411"/>
                  <a:gd name="T74" fmla="*/ 260 w 439"/>
                  <a:gd name="T75" fmla="*/ 398 h 411"/>
                  <a:gd name="T76" fmla="*/ 232 w 439"/>
                  <a:gd name="T77" fmla="*/ 387 h 411"/>
                  <a:gd name="T78" fmla="*/ 217 w 439"/>
                  <a:gd name="T79" fmla="*/ 362 h 411"/>
                  <a:gd name="T80" fmla="*/ 200 w 439"/>
                  <a:gd name="T81" fmla="*/ 357 h 411"/>
                  <a:gd name="T82" fmla="*/ 164 w 439"/>
                  <a:gd name="T83" fmla="*/ 357 h 411"/>
                  <a:gd name="T84" fmla="*/ 115 w 439"/>
                  <a:gd name="T85" fmla="*/ 358 h 411"/>
                  <a:gd name="T86" fmla="*/ 90 w 439"/>
                  <a:gd name="T87" fmla="*/ 353 h 411"/>
                  <a:gd name="T88" fmla="*/ 69 w 439"/>
                  <a:gd name="T89" fmla="*/ 352 h 411"/>
                  <a:gd name="T90" fmla="*/ 45 w 439"/>
                  <a:gd name="T91" fmla="*/ 316 h 411"/>
                  <a:gd name="T92" fmla="*/ 68 w 439"/>
                  <a:gd name="T93" fmla="*/ 308 h 411"/>
                  <a:gd name="T94" fmla="*/ 45 w 439"/>
                  <a:gd name="T95" fmla="*/ 295 h 411"/>
                  <a:gd name="T96" fmla="*/ 30 w 439"/>
                  <a:gd name="T97" fmla="*/ 280 h 411"/>
                  <a:gd name="T98" fmla="*/ 7 w 439"/>
                  <a:gd name="T99" fmla="*/ 262 h 411"/>
                  <a:gd name="T100" fmla="*/ 0 w 439"/>
                  <a:gd name="T101" fmla="*/ 235 h 411"/>
                  <a:gd name="T102" fmla="*/ 20 w 439"/>
                  <a:gd name="T103" fmla="*/ 202 h 411"/>
                  <a:gd name="T104" fmla="*/ 53 w 439"/>
                  <a:gd name="T105" fmla="*/ 155 h 411"/>
                  <a:gd name="T106" fmla="*/ 52 w 439"/>
                  <a:gd name="T107" fmla="*/ 132 h 411"/>
                  <a:gd name="T108" fmla="*/ 53 w 439"/>
                  <a:gd name="T109" fmla="*/ 125 h 411"/>
                  <a:gd name="T110" fmla="*/ 87 w 439"/>
                  <a:gd name="T111" fmla="*/ 118 h 411"/>
                  <a:gd name="T112" fmla="*/ 162 w 439"/>
                  <a:gd name="T113" fmla="*/ 88 h 411"/>
                  <a:gd name="T114" fmla="*/ 204 w 439"/>
                  <a:gd name="T115" fmla="*/ 63 h 411"/>
                  <a:gd name="T116" fmla="*/ 260 w 439"/>
                  <a:gd name="T117" fmla="*/ 52 h 411"/>
                  <a:gd name="T118" fmla="*/ 306 w 439"/>
                  <a:gd name="T119" fmla="*/ 33 h 411"/>
                  <a:gd name="T120" fmla="*/ 345 w 439"/>
                  <a:gd name="T121" fmla="*/ 50 h 411"/>
                  <a:gd name="T122" fmla="*/ 400 w 439"/>
                  <a:gd name="T123" fmla="*/ 41 h 411"/>
                  <a:gd name="T124" fmla="*/ 409 w 439"/>
                  <a:gd name="T125" fmla="*/ 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9" h="411">
                    <a:moveTo>
                      <a:pt x="409" y="1"/>
                    </a:moveTo>
                    <a:lnTo>
                      <a:pt x="427" y="0"/>
                    </a:lnTo>
                    <a:lnTo>
                      <a:pt x="429" y="9"/>
                    </a:lnTo>
                    <a:lnTo>
                      <a:pt x="439" y="14"/>
                    </a:lnTo>
                    <a:lnTo>
                      <a:pt x="437" y="31"/>
                    </a:lnTo>
                    <a:lnTo>
                      <a:pt x="426" y="45"/>
                    </a:lnTo>
                    <a:lnTo>
                      <a:pt x="426" y="63"/>
                    </a:lnTo>
                    <a:lnTo>
                      <a:pt x="424" y="78"/>
                    </a:lnTo>
                    <a:lnTo>
                      <a:pt x="423" y="89"/>
                    </a:lnTo>
                    <a:lnTo>
                      <a:pt x="415" y="105"/>
                    </a:lnTo>
                    <a:lnTo>
                      <a:pt x="406" y="98"/>
                    </a:lnTo>
                    <a:lnTo>
                      <a:pt x="393" y="94"/>
                    </a:lnTo>
                    <a:lnTo>
                      <a:pt x="382" y="92"/>
                    </a:lnTo>
                    <a:lnTo>
                      <a:pt x="364" y="94"/>
                    </a:lnTo>
                    <a:lnTo>
                      <a:pt x="348" y="88"/>
                    </a:lnTo>
                    <a:lnTo>
                      <a:pt x="340" y="83"/>
                    </a:lnTo>
                    <a:lnTo>
                      <a:pt x="324" y="93"/>
                    </a:lnTo>
                    <a:lnTo>
                      <a:pt x="318" y="100"/>
                    </a:lnTo>
                    <a:lnTo>
                      <a:pt x="300" y="100"/>
                    </a:lnTo>
                    <a:lnTo>
                      <a:pt x="291" y="98"/>
                    </a:lnTo>
                    <a:lnTo>
                      <a:pt x="282" y="111"/>
                    </a:lnTo>
                    <a:lnTo>
                      <a:pt x="269" y="115"/>
                    </a:lnTo>
                    <a:lnTo>
                      <a:pt x="255" y="121"/>
                    </a:lnTo>
                    <a:lnTo>
                      <a:pt x="247" y="134"/>
                    </a:lnTo>
                    <a:lnTo>
                      <a:pt x="254" y="143"/>
                    </a:lnTo>
                    <a:lnTo>
                      <a:pt x="268" y="145"/>
                    </a:lnTo>
                    <a:lnTo>
                      <a:pt x="282" y="152"/>
                    </a:lnTo>
                    <a:lnTo>
                      <a:pt x="292" y="166"/>
                    </a:lnTo>
                    <a:lnTo>
                      <a:pt x="281" y="164"/>
                    </a:lnTo>
                    <a:lnTo>
                      <a:pt x="264" y="159"/>
                    </a:lnTo>
                    <a:lnTo>
                      <a:pt x="256" y="159"/>
                    </a:lnTo>
                    <a:lnTo>
                      <a:pt x="259" y="166"/>
                    </a:lnTo>
                    <a:lnTo>
                      <a:pt x="268" y="172"/>
                    </a:lnTo>
                    <a:lnTo>
                      <a:pt x="272" y="183"/>
                    </a:lnTo>
                    <a:lnTo>
                      <a:pt x="272" y="193"/>
                    </a:lnTo>
                    <a:lnTo>
                      <a:pt x="258" y="184"/>
                    </a:lnTo>
                    <a:lnTo>
                      <a:pt x="249" y="174"/>
                    </a:lnTo>
                    <a:lnTo>
                      <a:pt x="238" y="168"/>
                    </a:lnTo>
                    <a:lnTo>
                      <a:pt x="233" y="175"/>
                    </a:lnTo>
                    <a:lnTo>
                      <a:pt x="245" y="186"/>
                    </a:lnTo>
                    <a:lnTo>
                      <a:pt x="249" y="196"/>
                    </a:lnTo>
                    <a:lnTo>
                      <a:pt x="236" y="197"/>
                    </a:lnTo>
                    <a:lnTo>
                      <a:pt x="223" y="184"/>
                    </a:lnTo>
                    <a:lnTo>
                      <a:pt x="214" y="173"/>
                    </a:lnTo>
                    <a:lnTo>
                      <a:pt x="202" y="164"/>
                    </a:lnTo>
                    <a:lnTo>
                      <a:pt x="190" y="155"/>
                    </a:lnTo>
                    <a:lnTo>
                      <a:pt x="182" y="146"/>
                    </a:lnTo>
                    <a:lnTo>
                      <a:pt x="170" y="158"/>
                    </a:lnTo>
                    <a:lnTo>
                      <a:pt x="170" y="180"/>
                    </a:lnTo>
                    <a:lnTo>
                      <a:pt x="177" y="203"/>
                    </a:lnTo>
                    <a:lnTo>
                      <a:pt x="189" y="217"/>
                    </a:lnTo>
                    <a:lnTo>
                      <a:pt x="194" y="233"/>
                    </a:lnTo>
                    <a:lnTo>
                      <a:pt x="221" y="248"/>
                    </a:lnTo>
                    <a:lnTo>
                      <a:pt x="230" y="267"/>
                    </a:lnTo>
                    <a:lnTo>
                      <a:pt x="224" y="275"/>
                    </a:lnTo>
                    <a:lnTo>
                      <a:pt x="212" y="272"/>
                    </a:lnTo>
                    <a:lnTo>
                      <a:pt x="202" y="259"/>
                    </a:lnTo>
                    <a:lnTo>
                      <a:pt x="196" y="267"/>
                    </a:lnTo>
                    <a:lnTo>
                      <a:pt x="203" y="281"/>
                    </a:lnTo>
                    <a:lnTo>
                      <a:pt x="206" y="293"/>
                    </a:lnTo>
                    <a:lnTo>
                      <a:pt x="192" y="297"/>
                    </a:lnTo>
                    <a:lnTo>
                      <a:pt x="178" y="296"/>
                    </a:lnTo>
                    <a:lnTo>
                      <a:pt x="182" y="309"/>
                    </a:lnTo>
                    <a:lnTo>
                      <a:pt x="198" y="315"/>
                    </a:lnTo>
                    <a:lnTo>
                      <a:pt x="217" y="322"/>
                    </a:lnTo>
                    <a:lnTo>
                      <a:pt x="233" y="328"/>
                    </a:lnTo>
                    <a:lnTo>
                      <a:pt x="243" y="335"/>
                    </a:lnTo>
                    <a:lnTo>
                      <a:pt x="256" y="343"/>
                    </a:lnTo>
                    <a:lnTo>
                      <a:pt x="268" y="350"/>
                    </a:lnTo>
                    <a:lnTo>
                      <a:pt x="280" y="354"/>
                    </a:lnTo>
                    <a:lnTo>
                      <a:pt x="291" y="358"/>
                    </a:lnTo>
                    <a:lnTo>
                      <a:pt x="294" y="375"/>
                    </a:lnTo>
                    <a:lnTo>
                      <a:pt x="297" y="396"/>
                    </a:lnTo>
                    <a:lnTo>
                      <a:pt x="296" y="411"/>
                    </a:lnTo>
                    <a:lnTo>
                      <a:pt x="279" y="399"/>
                    </a:lnTo>
                    <a:lnTo>
                      <a:pt x="260" y="398"/>
                    </a:lnTo>
                    <a:lnTo>
                      <a:pt x="243" y="387"/>
                    </a:lnTo>
                    <a:lnTo>
                      <a:pt x="232" y="387"/>
                    </a:lnTo>
                    <a:lnTo>
                      <a:pt x="224" y="375"/>
                    </a:lnTo>
                    <a:lnTo>
                      <a:pt x="217" y="362"/>
                    </a:lnTo>
                    <a:lnTo>
                      <a:pt x="207" y="366"/>
                    </a:lnTo>
                    <a:lnTo>
                      <a:pt x="200" y="357"/>
                    </a:lnTo>
                    <a:lnTo>
                      <a:pt x="181" y="353"/>
                    </a:lnTo>
                    <a:lnTo>
                      <a:pt x="164" y="357"/>
                    </a:lnTo>
                    <a:lnTo>
                      <a:pt x="142" y="356"/>
                    </a:lnTo>
                    <a:lnTo>
                      <a:pt x="115" y="358"/>
                    </a:lnTo>
                    <a:lnTo>
                      <a:pt x="102" y="357"/>
                    </a:lnTo>
                    <a:lnTo>
                      <a:pt x="90" y="353"/>
                    </a:lnTo>
                    <a:lnTo>
                      <a:pt x="78" y="361"/>
                    </a:lnTo>
                    <a:lnTo>
                      <a:pt x="69" y="352"/>
                    </a:lnTo>
                    <a:lnTo>
                      <a:pt x="58" y="330"/>
                    </a:lnTo>
                    <a:lnTo>
                      <a:pt x="45" y="316"/>
                    </a:lnTo>
                    <a:lnTo>
                      <a:pt x="64" y="314"/>
                    </a:lnTo>
                    <a:lnTo>
                      <a:pt x="68" y="308"/>
                    </a:lnTo>
                    <a:lnTo>
                      <a:pt x="58" y="297"/>
                    </a:lnTo>
                    <a:lnTo>
                      <a:pt x="45" y="295"/>
                    </a:lnTo>
                    <a:lnTo>
                      <a:pt x="39" y="306"/>
                    </a:lnTo>
                    <a:lnTo>
                      <a:pt x="30" y="280"/>
                    </a:lnTo>
                    <a:lnTo>
                      <a:pt x="14" y="269"/>
                    </a:lnTo>
                    <a:lnTo>
                      <a:pt x="7" y="262"/>
                    </a:lnTo>
                    <a:lnTo>
                      <a:pt x="6" y="244"/>
                    </a:lnTo>
                    <a:lnTo>
                      <a:pt x="0" y="235"/>
                    </a:lnTo>
                    <a:lnTo>
                      <a:pt x="15" y="217"/>
                    </a:lnTo>
                    <a:lnTo>
                      <a:pt x="20" y="202"/>
                    </a:lnTo>
                    <a:lnTo>
                      <a:pt x="31" y="192"/>
                    </a:lnTo>
                    <a:lnTo>
                      <a:pt x="53" y="155"/>
                    </a:lnTo>
                    <a:lnTo>
                      <a:pt x="54" y="140"/>
                    </a:lnTo>
                    <a:lnTo>
                      <a:pt x="52" y="132"/>
                    </a:lnTo>
                    <a:lnTo>
                      <a:pt x="45" y="121"/>
                    </a:lnTo>
                    <a:lnTo>
                      <a:pt x="53" y="125"/>
                    </a:lnTo>
                    <a:lnTo>
                      <a:pt x="71" y="116"/>
                    </a:lnTo>
                    <a:lnTo>
                      <a:pt x="87" y="118"/>
                    </a:lnTo>
                    <a:lnTo>
                      <a:pt x="135" y="86"/>
                    </a:lnTo>
                    <a:lnTo>
                      <a:pt x="162" y="88"/>
                    </a:lnTo>
                    <a:lnTo>
                      <a:pt x="184" y="63"/>
                    </a:lnTo>
                    <a:lnTo>
                      <a:pt x="204" y="63"/>
                    </a:lnTo>
                    <a:lnTo>
                      <a:pt x="222" y="55"/>
                    </a:lnTo>
                    <a:lnTo>
                      <a:pt x="260" y="52"/>
                    </a:lnTo>
                    <a:lnTo>
                      <a:pt x="271" y="42"/>
                    </a:lnTo>
                    <a:lnTo>
                      <a:pt x="306" y="33"/>
                    </a:lnTo>
                    <a:lnTo>
                      <a:pt x="319" y="44"/>
                    </a:lnTo>
                    <a:lnTo>
                      <a:pt x="345" y="50"/>
                    </a:lnTo>
                    <a:lnTo>
                      <a:pt x="369" y="54"/>
                    </a:lnTo>
                    <a:lnTo>
                      <a:pt x="400" y="41"/>
                    </a:lnTo>
                    <a:lnTo>
                      <a:pt x="409" y="20"/>
                    </a:lnTo>
                    <a:lnTo>
                      <a:pt x="409" y="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4" name="Oval 37">
                <a:extLst>
                  <a:ext uri="{FF2B5EF4-FFF2-40B4-BE49-F238E27FC236}">
                    <a16:creationId xmlns:a16="http://schemas.microsoft.com/office/drawing/2014/main" id="{4617D470-E106-B6AB-29EA-42CC5CEE685C}"/>
                  </a:ext>
                </a:extLst>
              </p:cNvPr>
              <p:cNvSpPr>
                <a:spLocks noChangeArrowheads="1"/>
              </p:cNvSpPr>
              <p:nvPr/>
            </p:nvSpPr>
            <p:spPr bwMode="auto">
              <a:xfrm>
                <a:off x="4967204" y="3614701"/>
                <a:ext cx="11405"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5" name="Freeform 38">
                <a:extLst>
                  <a:ext uri="{FF2B5EF4-FFF2-40B4-BE49-F238E27FC236}">
                    <a16:creationId xmlns:a16="http://schemas.microsoft.com/office/drawing/2014/main" id="{67C3D1B7-76D8-B8D4-F4A0-F1F1D355755F}"/>
                  </a:ext>
                </a:extLst>
              </p:cNvPr>
              <p:cNvSpPr>
                <a:spLocks/>
              </p:cNvSpPr>
              <p:nvPr/>
            </p:nvSpPr>
            <p:spPr bwMode="auto">
              <a:xfrm>
                <a:off x="4938358" y="3552270"/>
                <a:ext cx="83186" cy="63850"/>
              </a:xfrm>
              <a:custGeom>
                <a:avLst/>
                <a:gdLst>
                  <a:gd name="T0" fmla="*/ 0 w 129"/>
                  <a:gd name="T1" fmla="*/ 14 h 95"/>
                  <a:gd name="T2" fmla="*/ 20 w 129"/>
                  <a:gd name="T3" fmla="*/ 22 h 95"/>
                  <a:gd name="T4" fmla="*/ 27 w 129"/>
                  <a:gd name="T5" fmla="*/ 31 h 95"/>
                  <a:gd name="T6" fmla="*/ 30 w 129"/>
                  <a:gd name="T7" fmla="*/ 39 h 95"/>
                  <a:gd name="T8" fmla="*/ 44 w 129"/>
                  <a:gd name="T9" fmla="*/ 37 h 95"/>
                  <a:gd name="T10" fmla="*/ 52 w 129"/>
                  <a:gd name="T11" fmla="*/ 48 h 95"/>
                  <a:gd name="T12" fmla="*/ 59 w 129"/>
                  <a:gd name="T13" fmla="*/ 58 h 95"/>
                  <a:gd name="T14" fmla="*/ 76 w 129"/>
                  <a:gd name="T15" fmla="*/ 60 h 95"/>
                  <a:gd name="T16" fmla="*/ 87 w 129"/>
                  <a:gd name="T17" fmla="*/ 59 h 95"/>
                  <a:gd name="T18" fmla="*/ 95 w 129"/>
                  <a:gd name="T19" fmla="*/ 67 h 95"/>
                  <a:gd name="T20" fmla="*/ 107 w 129"/>
                  <a:gd name="T21" fmla="*/ 91 h 95"/>
                  <a:gd name="T22" fmla="*/ 119 w 129"/>
                  <a:gd name="T23" fmla="*/ 95 h 95"/>
                  <a:gd name="T24" fmla="*/ 126 w 129"/>
                  <a:gd name="T25" fmla="*/ 89 h 95"/>
                  <a:gd name="T26" fmla="*/ 129 w 129"/>
                  <a:gd name="T27" fmla="*/ 74 h 95"/>
                  <a:gd name="T28" fmla="*/ 115 w 129"/>
                  <a:gd name="T29" fmla="*/ 65 h 95"/>
                  <a:gd name="T30" fmla="*/ 100 w 129"/>
                  <a:gd name="T31" fmla="*/ 58 h 95"/>
                  <a:gd name="T32" fmla="*/ 93 w 129"/>
                  <a:gd name="T33" fmla="*/ 46 h 95"/>
                  <a:gd name="T34" fmla="*/ 87 w 129"/>
                  <a:gd name="T35" fmla="*/ 28 h 95"/>
                  <a:gd name="T36" fmla="*/ 61 w 129"/>
                  <a:gd name="T37" fmla="*/ 24 h 95"/>
                  <a:gd name="T38" fmla="*/ 46 w 129"/>
                  <a:gd name="T39" fmla="*/ 18 h 95"/>
                  <a:gd name="T40" fmla="*/ 28 w 129"/>
                  <a:gd name="T41" fmla="*/ 4 h 95"/>
                  <a:gd name="T42" fmla="*/ 14 w 129"/>
                  <a:gd name="T43" fmla="*/ 0 h 95"/>
                  <a:gd name="T44" fmla="*/ 0 w 129"/>
                  <a:gd name="T4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9" h="95">
                    <a:moveTo>
                      <a:pt x="0" y="14"/>
                    </a:moveTo>
                    <a:lnTo>
                      <a:pt x="20" y="22"/>
                    </a:lnTo>
                    <a:lnTo>
                      <a:pt x="27" y="31"/>
                    </a:lnTo>
                    <a:lnTo>
                      <a:pt x="30" y="39"/>
                    </a:lnTo>
                    <a:lnTo>
                      <a:pt x="44" y="37"/>
                    </a:lnTo>
                    <a:lnTo>
                      <a:pt x="52" y="48"/>
                    </a:lnTo>
                    <a:lnTo>
                      <a:pt x="59" y="58"/>
                    </a:lnTo>
                    <a:lnTo>
                      <a:pt x="76" y="60"/>
                    </a:lnTo>
                    <a:lnTo>
                      <a:pt x="87" y="59"/>
                    </a:lnTo>
                    <a:lnTo>
                      <a:pt x="95" y="67"/>
                    </a:lnTo>
                    <a:lnTo>
                      <a:pt x="107" y="91"/>
                    </a:lnTo>
                    <a:lnTo>
                      <a:pt x="119" y="95"/>
                    </a:lnTo>
                    <a:lnTo>
                      <a:pt x="126" y="89"/>
                    </a:lnTo>
                    <a:lnTo>
                      <a:pt x="129" y="74"/>
                    </a:lnTo>
                    <a:lnTo>
                      <a:pt x="115" y="65"/>
                    </a:lnTo>
                    <a:lnTo>
                      <a:pt x="100" y="58"/>
                    </a:lnTo>
                    <a:lnTo>
                      <a:pt x="93" y="46"/>
                    </a:lnTo>
                    <a:lnTo>
                      <a:pt x="87" y="28"/>
                    </a:lnTo>
                    <a:lnTo>
                      <a:pt x="61" y="24"/>
                    </a:lnTo>
                    <a:lnTo>
                      <a:pt x="46" y="18"/>
                    </a:lnTo>
                    <a:lnTo>
                      <a:pt x="28" y="4"/>
                    </a:lnTo>
                    <a:lnTo>
                      <a:pt x="14" y="0"/>
                    </a:lnTo>
                    <a:lnTo>
                      <a:pt x="0" y="1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6" name="Freeform 39">
                <a:extLst>
                  <a:ext uri="{FF2B5EF4-FFF2-40B4-BE49-F238E27FC236}">
                    <a16:creationId xmlns:a16="http://schemas.microsoft.com/office/drawing/2014/main" id="{D8104D9C-4ECF-D7FC-B2EF-ACF08159AABD}"/>
                  </a:ext>
                </a:extLst>
              </p:cNvPr>
              <p:cNvSpPr>
                <a:spLocks/>
              </p:cNvSpPr>
              <p:nvPr/>
            </p:nvSpPr>
            <p:spPr bwMode="auto">
              <a:xfrm>
                <a:off x="5024898" y="3611863"/>
                <a:ext cx="18113" cy="18445"/>
              </a:xfrm>
              <a:custGeom>
                <a:avLst/>
                <a:gdLst>
                  <a:gd name="T0" fmla="*/ 0 w 28"/>
                  <a:gd name="T1" fmla="*/ 3 h 27"/>
                  <a:gd name="T2" fmla="*/ 10 w 28"/>
                  <a:gd name="T3" fmla="*/ 18 h 27"/>
                  <a:gd name="T4" fmla="*/ 14 w 28"/>
                  <a:gd name="T5" fmla="*/ 27 h 27"/>
                  <a:gd name="T6" fmla="*/ 23 w 28"/>
                  <a:gd name="T7" fmla="*/ 27 h 27"/>
                  <a:gd name="T8" fmla="*/ 28 w 28"/>
                  <a:gd name="T9" fmla="*/ 19 h 27"/>
                  <a:gd name="T10" fmla="*/ 19 w 28"/>
                  <a:gd name="T11" fmla="*/ 7 h 27"/>
                  <a:gd name="T12" fmla="*/ 9 w 28"/>
                  <a:gd name="T13" fmla="*/ 0 h 27"/>
                  <a:gd name="T14" fmla="*/ 0 w 28"/>
                  <a:gd name="T15" fmla="*/ 3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7">
                    <a:moveTo>
                      <a:pt x="0" y="3"/>
                    </a:moveTo>
                    <a:lnTo>
                      <a:pt x="10" y="18"/>
                    </a:lnTo>
                    <a:lnTo>
                      <a:pt x="14" y="27"/>
                    </a:lnTo>
                    <a:lnTo>
                      <a:pt x="23" y="27"/>
                    </a:lnTo>
                    <a:lnTo>
                      <a:pt x="28" y="19"/>
                    </a:lnTo>
                    <a:lnTo>
                      <a:pt x="19" y="7"/>
                    </a:lnTo>
                    <a:lnTo>
                      <a:pt x="9" y="0"/>
                    </a:lnTo>
                    <a:lnTo>
                      <a:pt x="0" y="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7" name="Freeform 40">
                <a:extLst>
                  <a:ext uri="{FF2B5EF4-FFF2-40B4-BE49-F238E27FC236}">
                    <a16:creationId xmlns:a16="http://schemas.microsoft.com/office/drawing/2014/main" id="{80E74728-8916-2183-B26F-58AF488516BD}"/>
                  </a:ext>
                </a:extLst>
              </p:cNvPr>
              <p:cNvSpPr>
                <a:spLocks/>
              </p:cNvSpPr>
              <p:nvPr/>
            </p:nvSpPr>
            <p:spPr bwMode="auto">
              <a:xfrm>
                <a:off x="4997393" y="3430246"/>
                <a:ext cx="15430" cy="15608"/>
              </a:xfrm>
              <a:custGeom>
                <a:avLst/>
                <a:gdLst>
                  <a:gd name="T0" fmla="*/ 3 w 24"/>
                  <a:gd name="T1" fmla="*/ 17 h 23"/>
                  <a:gd name="T2" fmla="*/ 14 w 24"/>
                  <a:gd name="T3" fmla="*/ 23 h 23"/>
                  <a:gd name="T4" fmla="*/ 20 w 24"/>
                  <a:gd name="T5" fmla="*/ 17 h 23"/>
                  <a:gd name="T6" fmla="*/ 24 w 24"/>
                  <a:gd name="T7" fmla="*/ 8 h 23"/>
                  <a:gd name="T8" fmla="*/ 16 w 24"/>
                  <a:gd name="T9" fmla="*/ 0 h 23"/>
                  <a:gd name="T10" fmla="*/ 4 w 24"/>
                  <a:gd name="T11" fmla="*/ 4 h 23"/>
                  <a:gd name="T12" fmla="*/ 0 w 24"/>
                  <a:gd name="T13" fmla="*/ 10 h 23"/>
                  <a:gd name="T14" fmla="*/ 3 w 24"/>
                  <a:gd name="T15" fmla="*/ 17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23">
                    <a:moveTo>
                      <a:pt x="3" y="17"/>
                    </a:moveTo>
                    <a:lnTo>
                      <a:pt x="14" y="23"/>
                    </a:lnTo>
                    <a:lnTo>
                      <a:pt x="20" y="17"/>
                    </a:lnTo>
                    <a:lnTo>
                      <a:pt x="24" y="8"/>
                    </a:lnTo>
                    <a:lnTo>
                      <a:pt x="16" y="0"/>
                    </a:lnTo>
                    <a:lnTo>
                      <a:pt x="4" y="4"/>
                    </a:lnTo>
                    <a:lnTo>
                      <a:pt x="0" y="10"/>
                    </a:lnTo>
                    <a:lnTo>
                      <a:pt x="3" y="1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8" name="Freeform 41">
                <a:extLst>
                  <a:ext uri="{FF2B5EF4-FFF2-40B4-BE49-F238E27FC236}">
                    <a16:creationId xmlns:a16="http://schemas.microsoft.com/office/drawing/2014/main" id="{29D21138-0AED-1308-EBB9-1C0519C10EA0}"/>
                  </a:ext>
                </a:extLst>
              </p:cNvPr>
              <p:cNvSpPr>
                <a:spLocks/>
              </p:cNvSpPr>
              <p:nvPr/>
            </p:nvSpPr>
            <p:spPr bwMode="auto">
              <a:xfrm>
                <a:off x="5028252" y="3477069"/>
                <a:ext cx="14759" cy="17736"/>
              </a:xfrm>
              <a:custGeom>
                <a:avLst/>
                <a:gdLst>
                  <a:gd name="T0" fmla="*/ 2 w 23"/>
                  <a:gd name="T1" fmla="*/ 11 h 27"/>
                  <a:gd name="T2" fmla="*/ 0 w 23"/>
                  <a:gd name="T3" fmla="*/ 18 h 27"/>
                  <a:gd name="T4" fmla="*/ 5 w 23"/>
                  <a:gd name="T5" fmla="*/ 27 h 27"/>
                  <a:gd name="T6" fmla="*/ 19 w 23"/>
                  <a:gd name="T7" fmla="*/ 20 h 27"/>
                  <a:gd name="T8" fmla="*/ 23 w 23"/>
                  <a:gd name="T9" fmla="*/ 11 h 27"/>
                  <a:gd name="T10" fmla="*/ 20 w 23"/>
                  <a:gd name="T11" fmla="*/ 1 h 27"/>
                  <a:gd name="T12" fmla="*/ 12 w 23"/>
                  <a:gd name="T13" fmla="*/ 0 h 27"/>
                  <a:gd name="T14" fmla="*/ 2 w 23"/>
                  <a:gd name="T15" fmla="*/ 11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7">
                    <a:moveTo>
                      <a:pt x="2" y="11"/>
                    </a:moveTo>
                    <a:lnTo>
                      <a:pt x="0" y="18"/>
                    </a:lnTo>
                    <a:lnTo>
                      <a:pt x="5" y="27"/>
                    </a:lnTo>
                    <a:lnTo>
                      <a:pt x="19" y="20"/>
                    </a:lnTo>
                    <a:lnTo>
                      <a:pt x="23" y="11"/>
                    </a:lnTo>
                    <a:lnTo>
                      <a:pt x="20" y="1"/>
                    </a:lnTo>
                    <a:lnTo>
                      <a:pt x="12" y="0"/>
                    </a:lnTo>
                    <a:lnTo>
                      <a:pt x="2" y="1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09" name="Freeform 43">
                <a:extLst>
                  <a:ext uri="{FF2B5EF4-FFF2-40B4-BE49-F238E27FC236}">
                    <a16:creationId xmlns:a16="http://schemas.microsoft.com/office/drawing/2014/main" id="{8532D91F-D6AE-F3E6-5488-844955FC210F}"/>
                  </a:ext>
                </a:extLst>
              </p:cNvPr>
              <p:cNvSpPr>
                <a:spLocks/>
              </p:cNvSpPr>
              <p:nvPr/>
            </p:nvSpPr>
            <p:spPr bwMode="auto">
              <a:xfrm>
                <a:off x="4856513" y="3599803"/>
                <a:ext cx="114716" cy="121315"/>
              </a:xfrm>
              <a:custGeom>
                <a:avLst/>
                <a:gdLst>
                  <a:gd name="T0" fmla="*/ 39 w 179"/>
                  <a:gd name="T1" fmla="*/ 99 h 179"/>
                  <a:gd name="T2" fmla="*/ 36 w 179"/>
                  <a:gd name="T3" fmla="*/ 129 h 179"/>
                  <a:gd name="T4" fmla="*/ 44 w 179"/>
                  <a:gd name="T5" fmla="*/ 146 h 179"/>
                  <a:gd name="T6" fmla="*/ 58 w 179"/>
                  <a:gd name="T7" fmla="*/ 156 h 179"/>
                  <a:gd name="T8" fmla="*/ 68 w 179"/>
                  <a:gd name="T9" fmla="*/ 130 h 179"/>
                  <a:gd name="T10" fmla="*/ 85 w 179"/>
                  <a:gd name="T11" fmla="*/ 144 h 179"/>
                  <a:gd name="T12" fmla="*/ 91 w 179"/>
                  <a:gd name="T13" fmla="*/ 151 h 179"/>
                  <a:gd name="T14" fmla="*/ 96 w 179"/>
                  <a:gd name="T15" fmla="*/ 159 h 179"/>
                  <a:gd name="T16" fmla="*/ 100 w 179"/>
                  <a:gd name="T17" fmla="*/ 167 h 179"/>
                  <a:gd name="T18" fmla="*/ 101 w 179"/>
                  <a:gd name="T19" fmla="*/ 179 h 179"/>
                  <a:gd name="T20" fmla="*/ 111 w 179"/>
                  <a:gd name="T21" fmla="*/ 176 h 179"/>
                  <a:gd name="T22" fmla="*/ 116 w 179"/>
                  <a:gd name="T23" fmla="*/ 152 h 179"/>
                  <a:gd name="T24" fmla="*/ 133 w 179"/>
                  <a:gd name="T25" fmla="*/ 166 h 179"/>
                  <a:gd name="T26" fmla="*/ 139 w 179"/>
                  <a:gd name="T27" fmla="*/ 168 h 179"/>
                  <a:gd name="T28" fmla="*/ 153 w 179"/>
                  <a:gd name="T29" fmla="*/ 175 h 179"/>
                  <a:gd name="T30" fmla="*/ 156 w 179"/>
                  <a:gd name="T31" fmla="*/ 157 h 179"/>
                  <a:gd name="T32" fmla="*/ 151 w 179"/>
                  <a:gd name="T33" fmla="*/ 132 h 179"/>
                  <a:gd name="T34" fmla="*/ 138 w 179"/>
                  <a:gd name="T35" fmla="*/ 107 h 179"/>
                  <a:gd name="T36" fmla="*/ 125 w 179"/>
                  <a:gd name="T37" fmla="*/ 84 h 179"/>
                  <a:gd name="T38" fmla="*/ 123 w 179"/>
                  <a:gd name="T39" fmla="*/ 74 h 179"/>
                  <a:gd name="T40" fmla="*/ 140 w 179"/>
                  <a:gd name="T41" fmla="*/ 85 h 179"/>
                  <a:gd name="T42" fmla="*/ 154 w 179"/>
                  <a:gd name="T43" fmla="*/ 95 h 179"/>
                  <a:gd name="T44" fmla="*/ 163 w 179"/>
                  <a:gd name="T45" fmla="*/ 88 h 179"/>
                  <a:gd name="T46" fmla="*/ 175 w 179"/>
                  <a:gd name="T47" fmla="*/ 84 h 179"/>
                  <a:gd name="T48" fmla="*/ 179 w 179"/>
                  <a:gd name="T49" fmla="*/ 76 h 179"/>
                  <a:gd name="T50" fmla="*/ 169 w 179"/>
                  <a:gd name="T51" fmla="*/ 66 h 179"/>
                  <a:gd name="T52" fmla="*/ 156 w 179"/>
                  <a:gd name="T53" fmla="*/ 62 h 179"/>
                  <a:gd name="T54" fmla="*/ 145 w 179"/>
                  <a:gd name="T55" fmla="*/ 47 h 179"/>
                  <a:gd name="T56" fmla="*/ 145 w 179"/>
                  <a:gd name="T57" fmla="*/ 38 h 179"/>
                  <a:gd name="T58" fmla="*/ 163 w 179"/>
                  <a:gd name="T59" fmla="*/ 33 h 179"/>
                  <a:gd name="T60" fmla="*/ 157 w 179"/>
                  <a:gd name="T61" fmla="*/ 28 h 179"/>
                  <a:gd name="T62" fmla="*/ 146 w 179"/>
                  <a:gd name="T63" fmla="*/ 27 h 179"/>
                  <a:gd name="T64" fmla="*/ 126 w 179"/>
                  <a:gd name="T65" fmla="*/ 23 h 179"/>
                  <a:gd name="T66" fmla="*/ 112 w 179"/>
                  <a:gd name="T67" fmla="*/ 21 h 179"/>
                  <a:gd name="T68" fmla="*/ 99 w 179"/>
                  <a:gd name="T69" fmla="*/ 15 h 179"/>
                  <a:gd name="T70" fmla="*/ 78 w 179"/>
                  <a:gd name="T71" fmla="*/ 18 h 179"/>
                  <a:gd name="T72" fmla="*/ 52 w 179"/>
                  <a:gd name="T73" fmla="*/ 1 h 179"/>
                  <a:gd name="T74" fmla="*/ 45 w 179"/>
                  <a:gd name="T75" fmla="*/ 0 h 179"/>
                  <a:gd name="T76" fmla="*/ 34 w 179"/>
                  <a:gd name="T77" fmla="*/ 14 h 179"/>
                  <a:gd name="T78" fmla="*/ 24 w 179"/>
                  <a:gd name="T79" fmla="*/ 23 h 179"/>
                  <a:gd name="T80" fmla="*/ 16 w 179"/>
                  <a:gd name="T81" fmla="*/ 18 h 179"/>
                  <a:gd name="T82" fmla="*/ 8 w 179"/>
                  <a:gd name="T83" fmla="*/ 31 h 179"/>
                  <a:gd name="T84" fmla="*/ 4 w 179"/>
                  <a:gd name="T85" fmla="*/ 44 h 179"/>
                  <a:gd name="T86" fmla="*/ 0 w 179"/>
                  <a:gd name="T87" fmla="*/ 58 h 179"/>
                  <a:gd name="T88" fmla="*/ 5 w 179"/>
                  <a:gd name="T89" fmla="*/ 75 h 179"/>
                  <a:gd name="T90" fmla="*/ 18 w 179"/>
                  <a:gd name="T91" fmla="*/ 82 h 179"/>
                  <a:gd name="T92" fmla="*/ 34 w 179"/>
                  <a:gd name="T93" fmla="*/ 91 h 179"/>
                  <a:gd name="T94" fmla="*/ 39 w 179"/>
                  <a:gd name="T95" fmla="*/ 9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9" h="179">
                    <a:moveTo>
                      <a:pt x="39" y="99"/>
                    </a:moveTo>
                    <a:lnTo>
                      <a:pt x="36" y="129"/>
                    </a:lnTo>
                    <a:lnTo>
                      <a:pt x="44" y="146"/>
                    </a:lnTo>
                    <a:lnTo>
                      <a:pt x="58" y="156"/>
                    </a:lnTo>
                    <a:lnTo>
                      <a:pt x="68" y="130"/>
                    </a:lnTo>
                    <a:lnTo>
                      <a:pt x="85" y="144"/>
                    </a:lnTo>
                    <a:lnTo>
                      <a:pt x="91" y="151"/>
                    </a:lnTo>
                    <a:lnTo>
                      <a:pt x="96" y="159"/>
                    </a:lnTo>
                    <a:lnTo>
                      <a:pt x="100" y="167"/>
                    </a:lnTo>
                    <a:lnTo>
                      <a:pt x="101" y="179"/>
                    </a:lnTo>
                    <a:lnTo>
                      <a:pt x="111" y="176"/>
                    </a:lnTo>
                    <a:lnTo>
                      <a:pt x="116" y="152"/>
                    </a:lnTo>
                    <a:lnTo>
                      <a:pt x="133" y="166"/>
                    </a:lnTo>
                    <a:lnTo>
                      <a:pt x="139" y="168"/>
                    </a:lnTo>
                    <a:lnTo>
                      <a:pt x="153" y="175"/>
                    </a:lnTo>
                    <a:lnTo>
                      <a:pt x="156" y="157"/>
                    </a:lnTo>
                    <a:lnTo>
                      <a:pt x="151" y="132"/>
                    </a:lnTo>
                    <a:lnTo>
                      <a:pt x="138" y="107"/>
                    </a:lnTo>
                    <a:lnTo>
                      <a:pt x="125" y="84"/>
                    </a:lnTo>
                    <a:lnTo>
                      <a:pt x="123" y="74"/>
                    </a:lnTo>
                    <a:lnTo>
                      <a:pt x="140" y="85"/>
                    </a:lnTo>
                    <a:lnTo>
                      <a:pt x="154" y="95"/>
                    </a:lnTo>
                    <a:lnTo>
                      <a:pt x="163" y="88"/>
                    </a:lnTo>
                    <a:lnTo>
                      <a:pt x="175" y="84"/>
                    </a:lnTo>
                    <a:lnTo>
                      <a:pt x="179" y="76"/>
                    </a:lnTo>
                    <a:lnTo>
                      <a:pt x="169" y="66"/>
                    </a:lnTo>
                    <a:lnTo>
                      <a:pt x="156" y="62"/>
                    </a:lnTo>
                    <a:lnTo>
                      <a:pt x="145" y="47"/>
                    </a:lnTo>
                    <a:lnTo>
                      <a:pt x="145" y="38"/>
                    </a:lnTo>
                    <a:lnTo>
                      <a:pt x="163" y="33"/>
                    </a:lnTo>
                    <a:lnTo>
                      <a:pt x="157" y="28"/>
                    </a:lnTo>
                    <a:lnTo>
                      <a:pt x="146" y="27"/>
                    </a:lnTo>
                    <a:lnTo>
                      <a:pt x="126" y="23"/>
                    </a:lnTo>
                    <a:lnTo>
                      <a:pt x="112" y="21"/>
                    </a:lnTo>
                    <a:lnTo>
                      <a:pt x="99" y="15"/>
                    </a:lnTo>
                    <a:lnTo>
                      <a:pt x="78" y="18"/>
                    </a:lnTo>
                    <a:lnTo>
                      <a:pt x="52" y="1"/>
                    </a:lnTo>
                    <a:lnTo>
                      <a:pt x="45" y="0"/>
                    </a:lnTo>
                    <a:lnTo>
                      <a:pt x="34" y="14"/>
                    </a:lnTo>
                    <a:lnTo>
                      <a:pt x="24" y="23"/>
                    </a:lnTo>
                    <a:lnTo>
                      <a:pt x="16" y="18"/>
                    </a:lnTo>
                    <a:lnTo>
                      <a:pt x="8" y="31"/>
                    </a:lnTo>
                    <a:lnTo>
                      <a:pt x="4" y="44"/>
                    </a:lnTo>
                    <a:lnTo>
                      <a:pt x="0" y="58"/>
                    </a:lnTo>
                    <a:lnTo>
                      <a:pt x="5" y="75"/>
                    </a:lnTo>
                    <a:lnTo>
                      <a:pt x="18" y="82"/>
                    </a:lnTo>
                    <a:lnTo>
                      <a:pt x="34" y="91"/>
                    </a:lnTo>
                    <a:lnTo>
                      <a:pt x="39" y="9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0" name="Freeform 44">
                <a:extLst>
                  <a:ext uri="{FF2B5EF4-FFF2-40B4-BE49-F238E27FC236}">
                    <a16:creationId xmlns:a16="http://schemas.microsoft.com/office/drawing/2014/main" id="{1A005179-3C30-9C9C-4ADB-E2A580F72A80}"/>
                  </a:ext>
                </a:extLst>
              </p:cNvPr>
              <p:cNvSpPr>
                <a:spLocks/>
              </p:cNvSpPr>
              <p:nvPr/>
            </p:nvSpPr>
            <p:spPr bwMode="auto">
              <a:xfrm>
                <a:off x="5063807" y="3657268"/>
                <a:ext cx="9392" cy="20574"/>
              </a:xfrm>
              <a:custGeom>
                <a:avLst/>
                <a:gdLst>
                  <a:gd name="T0" fmla="*/ 2 w 15"/>
                  <a:gd name="T1" fmla="*/ 10 h 31"/>
                  <a:gd name="T2" fmla="*/ 0 w 15"/>
                  <a:gd name="T3" fmla="*/ 27 h 31"/>
                  <a:gd name="T4" fmla="*/ 9 w 15"/>
                  <a:gd name="T5" fmla="*/ 31 h 31"/>
                  <a:gd name="T6" fmla="*/ 14 w 15"/>
                  <a:gd name="T7" fmla="*/ 23 h 31"/>
                  <a:gd name="T8" fmla="*/ 15 w 15"/>
                  <a:gd name="T9" fmla="*/ 8 h 31"/>
                  <a:gd name="T10" fmla="*/ 12 w 15"/>
                  <a:gd name="T11" fmla="*/ 0 h 31"/>
                  <a:gd name="T12" fmla="*/ 2 w 15"/>
                  <a:gd name="T13" fmla="*/ 1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2" y="10"/>
                    </a:moveTo>
                    <a:lnTo>
                      <a:pt x="0" y="27"/>
                    </a:lnTo>
                    <a:lnTo>
                      <a:pt x="9" y="31"/>
                    </a:lnTo>
                    <a:lnTo>
                      <a:pt x="14" y="23"/>
                    </a:lnTo>
                    <a:lnTo>
                      <a:pt x="15" y="8"/>
                    </a:lnTo>
                    <a:lnTo>
                      <a:pt x="12" y="0"/>
                    </a:lnTo>
                    <a:lnTo>
                      <a:pt x="2" y="1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1" name="Freeform 45">
                <a:extLst>
                  <a:ext uri="{FF2B5EF4-FFF2-40B4-BE49-F238E27FC236}">
                    <a16:creationId xmlns:a16="http://schemas.microsoft.com/office/drawing/2014/main" id="{5EB94E1D-6BCE-A1DB-1983-A7062B8D2DF7}"/>
                  </a:ext>
                </a:extLst>
              </p:cNvPr>
              <p:cNvSpPr>
                <a:spLocks/>
              </p:cNvSpPr>
              <p:nvPr/>
            </p:nvSpPr>
            <p:spPr bwMode="auto">
              <a:xfrm>
                <a:off x="5074541" y="3560074"/>
                <a:ext cx="19455" cy="28378"/>
              </a:xfrm>
              <a:custGeom>
                <a:avLst/>
                <a:gdLst>
                  <a:gd name="T0" fmla="*/ 3 w 30"/>
                  <a:gd name="T1" fmla="*/ 0 h 42"/>
                  <a:gd name="T2" fmla="*/ 22 w 30"/>
                  <a:gd name="T3" fmla="*/ 0 h 42"/>
                  <a:gd name="T4" fmla="*/ 26 w 30"/>
                  <a:gd name="T5" fmla="*/ 10 h 42"/>
                  <a:gd name="T6" fmla="*/ 30 w 30"/>
                  <a:gd name="T7" fmla="*/ 19 h 42"/>
                  <a:gd name="T8" fmla="*/ 24 w 30"/>
                  <a:gd name="T9" fmla="*/ 28 h 42"/>
                  <a:gd name="T10" fmla="*/ 21 w 30"/>
                  <a:gd name="T11" fmla="*/ 37 h 42"/>
                  <a:gd name="T12" fmla="*/ 14 w 30"/>
                  <a:gd name="T13" fmla="*/ 42 h 42"/>
                  <a:gd name="T14" fmla="*/ 8 w 30"/>
                  <a:gd name="T15" fmla="*/ 33 h 42"/>
                  <a:gd name="T16" fmla="*/ 9 w 30"/>
                  <a:gd name="T17" fmla="*/ 21 h 42"/>
                  <a:gd name="T18" fmla="*/ 0 w 30"/>
                  <a:gd name="T19" fmla="*/ 9 h 42"/>
                  <a:gd name="T20" fmla="*/ 3 w 30"/>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42">
                    <a:moveTo>
                      <a:pt x="3" y="0"/>
                    </a:moveTo>
                    <a:lnTo>
                      <a:pt x="22" y="0"/>
                    </a:lnTo>
                    <a:lnTo>
                      <a:pt x="26" y="10"/>
                    </a:lnTo>
                    <a:lnTo>
                      <a:pt x="30" y="19"/>
                    </a:lnTo>
                    <a:lnTo>
                      <a:pt x="24" y="28"/>
                    </a:lnTo>
                    <a:lnTo>
                      <a:pt x="21" y="37"/>
                    </a:lnTo>
                    <a:lnTo>
                      <a:pt x="14" y="42"/>
                    </a:lnTo>
                    <a:lnTo>
                      <a:pt x="8" y="33"/>
                    </a:lnTo>
                    <a:lnTo>
                      <a:pt x="9" y="21"/>
                    </a:lnTo>
                    <a:lnTo>
                      <a:pt x="0" y="9"/>
                    </a:lnTo>
                    <a:lnTo>
                      <a:pt x="3"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2" name="Freeform 46">
                <a:extLst>
                  <a:ext uri="{FF2B5EF4-FFF2-40B4-BE49-F238E27FC236}">
                    <a16:creationId xmlns:a16="http://schemas.microsoft.com/office/drawing/2014/main" id="{4BD97624-FD66-6E77-15BB-211172133197}"/>
                  </a:ext>
                </a:extLst>
              </p:cNvPr>
              <p:cNvSpPr>
                <a:spLocks/>
              </p:cNvSpPr>
              <p:nvPr/>
            </p:nvSpPr>
            <p:spPr bwMode="auto">
              <a:xfrm>
                <a:off x="5187915" y="3686355"/>
                <a:ext cx="22809" cy="37600"/>
              </a:xfrm>
              <a:custGeom>
                <a:avLst/>
                <a:gdLst>
                  <a:gd name="T0" fmla="*/ 32 w 36"/>
                  <a:gd name="T1" fmla="*/ 25 h 56"/>
                  <a:gd name="T2" fmla="*/ 36 w 36"/>
                  <a:gd name="T3" fmla="*/ 19 h 56"/>
                  <a:gd name="T4" fmla="*/ 34 w 36"/>
                  <a:gd name="T5" fmla="*/ 0 h 56"/>
                  <a:gd name="T6" fmla="*/ 16 w 36"/>
                  <a:gd name="T7" fmla="*/ 12 h 56"/>
                  <a:gd name="T8" fmla="*/ 3 w 36"/>
                  <a:gd name="T9" fmla="*/ 30 h 56"/>
                  <a:gd name="T10" fmla="*/ 0 w 36"/>
                  <a:gd name="T11" fmla="*/ 41 h 56"/>
                  <a:gd name="T12" fmla="*/ 3 w 36"/>
                  <a:gd name="T13" fmla="*/ 56 h 56"/>
                  <a:gd name="T14" fmla="*/ 23 w 36"/>
                  <a:gd name="T15" fmla="*/ 42 h 56"/>
                  <a:gd name="T16" fmla="*/ 30 w 36"/>
                  <a:gd name="T17" fmla="*/ 33 h 56"/>
                  <a:gd name="T18" fmla="*/ 32 w 36"/>
                  <a:gd name="T19" fmla="*/ 2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56">
                    <a:moveTo>
                      <a:pt x="32" y="25"/>
                    </a:moveTo>
                    <a:lnTo>
                      <a:pt x="36" y="19"/>
                    </a:lnTo>
                    <a:lnTo>
                      <a:pt x="34" y="0"/>
                    </a:lnTo>
                    <a:lnTo>
                      <a:pt x="16" y="12"/>
                    </a:lnTo>
                    <a:lnTo>
                      <a:pt x="3" y="30"/>
                    </a:lnTo>
                    <a:lnTo>
                      <a:pt x="0" y="41"/>
                    </a:lnTo>
                    <a:lnTo>
                      <a:pt x="3" y="56"/>
                    </a:lnTo>
                    <a:lnTo>
                      <a:pt x="23" y="42"/>
                    </a:lnTo>
                    <a:lnTo>
                      <a:pt x="30" y="33"/>
                    </a:lnTo>
                    <a:lnTo>
                      <a:pt x="32" y="2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3" name="Freeform 47">
                <a:extLst>
                  <a:ext uri="{FF2B5EF4-FFF2-40B4-BE49-F238E27FC236}">
                    <a16:creationId xmlns:a16="http://schemas.microsoft.com/office/drawing/2014/main" id="{7BEF9C46-3530-0920-AA5F-DAD2BF1E888E}"/>
                  </a:ext>
                </a:extLst>
              </p:cNvPr>
              <p:cNvSpPr>
                <a:spLocks/>
              </p:cNvSpPr>
              <p:nvPr/>
            </p:nvSpPr>
            <p:spPr bwMode="auto">
              <a:xfrm>
                <a:off x="5071187" y="3506866"/>
                <a:ext cx="38239" cy="26959"/>
              </a:xfrm>
              <a:custGeom>
                <a:avLst/>
                <a:gdLst>
                  <a:gd name="T0" fmla="*/ 9 w 60"/>
                  <a:gd name="T1" fmla="*/ 32 h 40"/>
                  <a:gd name="T2" fmla="*/ 25 w 60"/>
                  <a:gd name="T3" fmla="*/ 24 h 40"/>
                  <a:gd name="T4" fmla="*/ 29 w 60"/>
                  <a:gd name="T5" fmla="*/ 31 h 40"/>
                  <a:gd name="T6" fmla="*/ 27 w 60"/>
                  <a:gd name="T7" fmla="*/ 40 h 40"/>
                  <a:gd name="T8" fmla="*/ 42 w 60"/>
                  <a:gd name="T9" fmla="*/ 39 h 40"/>
                  <a:gd name="T10" fmla="*/ 50 w 60"/>
                  <a:gd name="T11" fmla="*/ 33 h 40"/>
                  <a:gd name="T12" fmla="*/ 60 w 60"/>
                  <a:gd name="T13" fmla="*/ 33 h 40"/>
                  <a:gd name="T14" fmla="*/ 49 w 60"/>
                  <a:gd name="T15" fmla="*/ 12 h 40"/>
                  <a:gd name="T16" fmla="*/ 35 w 60"/>
                  <a:gd name="T17" fmla="*/ 0 h 40"/>
                  <a:gd name="T18" fmla="*/ 19 w 60"/>
                  <a:gd name="T19" fmla="*/ 9 h 40"/>
                  <a:gd name="T20" fmla="*/ 3 w 60"/>
                  <a:gd name="T21" fmla="*/ 19 h 40"/>
                  <a:gd name="T22" fmla="*/ 0 w 60"/>
                  <a:gd name="T23" fmla="*/ 31 h 40"/>
                  <a:gd name="T24" fmla="*/ 9 w 60"/>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40">
                    <a:moveTo>
                      <a:pt x="9" y="32"/>
                    </a:moveTo>
                    <a:lnTo>
                      <a:pt x="25" y="24"/>
                    </a:lnTo>
                    <a:lnTo>
                      <a:pt x="29" y="31"/>
                    </a:lnTo>
                    <a:lnTo>
                      <a:pt x="27" y="40"/>
                    </a:lnTo>
                    <a:lnTo>
                      <a:pt x="42" y="39"/>
                    </a:lnTo>
                    <a:lnTo>
                      <a:pt x="50" y="33"/>
                    </a:lnTo>
                    <a:lnTo>
                      <a:pt x="60" y="33"/>
                    </a:lnTo>
                    <a:lnTo>
                      <a:pt x="49" y="12"/>
                    </a:lnTo>
                    <a:lnTo>
                      <a:pt x="35" y="0"/>
                    </a:lnTo>
                    <a:lnTo>
                      <a:pt x="19" y="9"/>
                    </a:lnTo>
                    <a:lnTo>
                      <a:pt x="3" y="19"/>
                    </a:lnTo>
                    <a:lnTo>
                      <a:pt x="0" y="31"/>
                    </a:lnTo>
                    <a:lnTo>
                      <a:pt x="9" y="3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4" name="Freeform 48">
                <a:extLst>
                  <a:ext uri="{FF2B5EF4-FFF2-40B4-BE49-F238E27FC236}">
                    <a16:creationId xmlns:a16="http://schemas.microsoft.com/office/drawing/2014/main" id="{B86D782C-8B3E-3F29-D6E2-592899B3A50D}"/>
                  </a:ext>
                </a:extLst>
              </p:cNvPr>
              <p:cNvSpPr>
                <a:spLocks/>
              </p:cNvSpPr>
              <p:nvPr/>
            </p:nvSpPr>
            <p:spPr bwMode="auto">
              <a:xfrm>
                <a:off x="4721672" y="2514357"/>
                <a:ext cx="114045" cy="67397"/>
              </a:xfrm>
              <a:custGeom>
                <a:avLst/>
                <a:gdLst>
                  <a:gd name="T0" fmla="*/ 0 w 177"/>
                  <a:gd name="T1" fmla="*/ 82 h 99"/>
                  <a:gd name="T2" fmla="*/ 16 w 177"/>
                  <a:gd name="T3" fmla="*/ 65 h 99"/>
                  <a:gd name="T4" fmla="*/ 14 w 177"/>
                  <a:gd name="T5" fmla="*/ 44 h 99"/>
                  <a:gd name="T6" fmla="*/ 27 w 177"/>
                  <a:gd name="T7" fmla="*/ 33 h 99"/>
                  <a:gd name="T8" fmla="*/ 54 w 177"/>
                  <a:gd name="T9" fmla="*/ 36 h 99"/>
                  <a:gd name="T10" fmla="*/ 81 w 177"/>
                  <a:gd name="T11" fmla="*/ 34 h 99"/>
                  <a:gd name="T12" fmla="*/ 84 w 177"/>
                  <a:gd name="T13" fmla="*/ 15 h 99"/>
                  <a:gd name="T14" fmla="*/ 88 w 177"/>
                  <a:gd name="T15" fmla="*/ 0 h 99"/>
                  <a:gd name="T16" fmla="*/ 105 w 177"/>
                  <a:gd name="T17" fmla="*/ 6 h 99"/>
                  <a:gd name="T18" fmla="*/ 121 w 177"/>
                  <a:gd name="T19" fmla="*/ 12 h 99"/>
                  <a:gd name="T20" fmla="*/ 165 w 177"/>
                  <a:gd name="T21" fmla="*/ 13 h 99"/>
                  <a:gd name="T22" fmla="*/ 175 w 177"/>
                  <a:gd name="T23" fmla="*/ 36 h 99"/>
                  <a:gd name="T24" fmla="*/ 176 w 177"/>
                  <a:gd name="T25" fmla="*/ 62 h 99"/>
                  <a:gd name="T26" fmla="*/ 177 w 177"/>
                  <a:gd name="T27" fmla="*/ 77 h 99"/>
                  <a:gd name="T28" fmla="*/ 97 w 177"/>
                  <a:gd name="T29" fmla="*/ 99 h 99"/>
                  <a:gd name="T30" fmla="*/ 35 w 177"/>
                  <a:gd name="T31" fmla="*/ 93 h 99"/>
                  <a:gd name="T32" fmla="*/ 0 w 177"/>
                  <a:gd name="T33" fmla="*/ 8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7" h="99">
                    <a:moveTo>
                      <a:pt x="0" y="82"/>
                    </a:moveTo>
                    <a:lnTo>
                      <a:pt x="16" y="65"/>
                    </a:lnTo>
                    <a:lnTo>
                      <a:pt x="14" y="44"/>
                    </a:lnTo>
                    <a:lnTo>
                      <a:pt x="27" y="33"/>
                    </a:lnTo>
                    <a:lnTo>
                      <a:pt x="54" y="36"/>
                    </a:lnTo>
                    <a:lnTo>
                      <a:pt x="81" y="34"/>
                    </a:lnTo>
                    <a:lnTo>
                      <a:pt x="84" y="15"/>
                    </a:lnTo>
                    <a:lnTo>
                      <a:pt x="88" y="0"/>
                    </a:lnTo>
                    <a:lnTo>
                      <a:pt x="105" y="6"/>
                    </a:lnTo>
                    <a:lnTo>
                      <a:pt x="121" y="12"/>
                    </a:lnTo>
                    <a:lnTo>
                      <a:pt x="165" y="13"/>
                    </a:lnTo>
                    <a:lnTo>
                      <a:pt x="175" y="36"/>
                    </a:lnTo>
                    <a:lnTo>
                      <a:pt x="176" y="62"/>
                    </a:lnTo>
                    <a:lnTo>
                      <a:pt x="177" y="77"/>
                    </a:lnTo>
                    <a:lnTo>
                      <a:pt x="97" y="99"/>
                    </a:lnTo>
                    <a:lnTo>
                      <a:pt x="35" y="93"/>
                    </a:lnTo>
                    <a:lnTo>
                      <a:pt x="0" y="8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5" name="Freeform 49">
                <a:extLst>
                  <a:ext uri="{FF2B5EF4-FFF2-40B4-BE49-F238E27FC236}">
                    <a16:creationId xmlns:a16="http://schemas.microsoft.com/office/drawing/2014/main" id="{A411C5DC-7AB1-FD72-E3F4-68865EF2B7ED}"/>
                  </a:ext>
                </a:extLst>
              </p:cNvPr>
              <p:cNvSpPr>
                <a:spLocks/>
              </p:cNvSpPr>
              <p:nvPr/>
            </p:nvSpPr>
            <p:spPr bwMode="auto">
              <a:xfrm>
                <a:off x="4763265" y="2424967"/>
                <a:ext cx="203940" cy="166719"/>
              </a:xfrm>
              <a:custGeom>
                <a:avLst/>
                <a:gdLst>
                  <a:gd name="T0" fmla="*/ 25 w 319"/>
                  <a:gd name="T1" fmla="*/ 130 h 246"/>
                  <a:gd name="T2" fmla="*/ 59 w 319"/>
                  <a:gd name="T3" fmla="*/ 145 h 246"/>
                  <a:gd name="T4" fmla="*/ 99 w 319"/>
                  <a:gd name="T5" fmla="*/ 145 h 246"/>
                  <a:gd name="T6" fmla="*/ 111 w 319"/>
                  <a:gd name="T7" fmla="*/ 169 h 246"/>
                  <a:gd name="T8" fmla="*/ 113 w 319"/>
                  <a:gd name="T9" fmla="*/ 206 h 246"/>
                  <a:gd name="T10" fmla="*/ 138 w 319"/>
                  <a:gd name="T11" fmla="*/ 218 h 246"/>
                  <a:gd name="T12" fmla="*/ 154 w 319"/>
                  <a:gd name="T13" fmla="*/ 239 h 246"/>
                  <a:gd name="T14" fmla="*/ 161 w 319"/>
                  <a:gd name="T15" fmla="*/ 246 h 246"/>
                  <a:gd name="T16" fmla="*/ 190 w 319"/>
                  <a:gd name="T17" fmla="*/ 239 h 246"/>
                  <a:gd name="T18" fmla="*/ 209 w 319"/>
                  <a:gd name="T19" fmla="*/ 238 h 246"/>
                  <a:gd name="T20" fmla="*/ 215 w 319"/>
                  <a:gd name="T21" fmla="*/ 233 h 246"/>
                  <a:gd name="T22" fmla="*/ 223 w 319"/>
                  <a:gd name="T23" fmla="*/ 233 h 246"/>
                  <a:gd name="T24" fmla="*/ 228 w 319"/>
                  <a:gd name="T25" fmla="*/ 214 h 246"/>
                  <a:gd name="T26" fmla="*/ 250 w 319"/>
                  <a:gd name="T27" fmla="*/ 200 h 246"/>
                  <a:gd name="T28" fmla="*/ 266 w 319"/>
                  <a:gd name="T29" fmla="*/ 204 h 246"/>
                  <a:gd name="T30" fmla="*/ 275 w 319"/>
                  <a:gd name="T31" fmla="*/ 211 h 246"/>
                  <a:gd name="T32" fmla="*/ 276 w 319"/>
                  <a:gd name="T33" fmla="*/ 197 h 246"/>
                  <a:gd name="T34" fmla="*/ 265 w 319"/>
                  <a:gd name="T35" fmla="*/ 183 h 246"/>
                  <a:gd name="T36" fmla="*/ 271 w 319"/>
                  <a:gd name="T37" fmla="*/ 165 h 246"/>
                  <a:gd name="T38" fmla="*/ 276 w 319"/>
                  <a:gd name="T39" fmla="*/ 149 h 246"/>
                  <a:gd name="T40" fmla="*/ 279 w 319"/>
                  <a:gd name="T41" fmla="*/ 124 h 246"/>
                  <a:gd name="T42" fmla="*/ 301 w 319"/>
                  <a:gd name="T43" fmla="*/ 108 h 246"/>
                  <a:gd name="T44" fmla="*/ 315 w 319"/>
                  <a:gd name="T45" fmla="*/ 106 h 246"/>
                  <a:gd name="T46" fmla="*/ 319 w 319"/>
                  <a:gd name="T47" fmla="*/ 96 h 246"/>
                  <a:gd name="T48" fmla="*/ 298 w 319"/>
                  <a:gd name="T49" fmla="*/ 90 h 246"/>
                  <a:gd name="T50" fmla="*/ 293 w 319"/>
                  <a:gd name="T51" fmla="*/ 74 h 246"/>
                  <a:gd name="T52" fmla="*/ 306 w 319"/>
                  <a:gd name="T53" fmla="*/ 63 h 246"/>
                  <a:gd name="T54" fmla="*/ 306 w 319"/>
                  <a:gd name="T55" fmla="*/ 57 h 246"/>
                  <a:gd name="T56" fmla="*/ 294 w 319"/>
                  <a:gd name="T57" fmla="*/ 53 h 246"/>
                  <a:gd name="T58" fmla="*/ 260 w 319"/>
                  <a:gd name="T59" fmla="*/ 33 h 246"/>
                  <a:gd name="T60" fmla="*/ 233 w 319"/>
                  <a:gd name="T61" fmla="*/ 21 h 246"/>
                  <a:gd name="T62" fmla="*/ 216 w 319"/>
                  <a:gd name="T63" fmla="*/ 13 h 246"/>
                  <a:gd name="T64" fmla="*/ 197 w 319"/>
                  <a:gd name="T65" fmla="*/ 0 h 246"/>
                  <a:gd name="T66" fmla="*/ 183 w 319"/>
                  <a:gd name="T67" fmla="*/ 14 h 246"/>
                  <a:gd name="T68" fmla="*/ 172 w 319"/>
                  <a:gd name="T69" fmla="*/ 22 h 246"/>
                  <a:gd name="T70" fmla="*/ 151 w 319"/>
                  <a:gd name="T71" fmla="*/ 16 h 246"/>
                  <a:gd name="T72" fmla="*/ 128 w 319"/>
                  <a:gd name="T73" fmla="*/ 14 h 246"/>
                  <a:gd name="T74" fmla="*/ 95 w 319"/>
                  <a:gd name="T75" fmla="*/ 18 h 246"/>
                  <a:gd name="T76" fmla="*/ 91 w 319"/>
                  <a:gd name="T77" fmla="*/ 24 h 246"/>
                  <a:gd name="T78" fmla="*/ 79 w 319"/>
                  <a:gd name="T79" fmla="*/ 18 h 246"/>
                  <a:gd name="T80" fmla="*/ 51 w 319"/>
                  <a:gd name="T81" fmla="*/ 29 h 246"/>
                  <a:gd name="T82" fmla="*/ 24 w 319"/>
                  <a:gd name="T83" fmla="*/ 43 h 246"/>
                  <a:gd name="T84" fmla="*/ 11 w 319"/>
                  <a:gd name="T85" fmla="*/ 59 h 246"/>
                  <a:gd name="T86" fmla="*/ 0 w 319"/>
                  <a:gd name="T87" fmla="*/ 62 h 246"/>
                  <a:gd name="T88" fmla="*/ 6 w 319"/>
                  <a:gd name="T89" fmla="*/ 84 h 246"/>
                  <a:gd name="T90" fmla="*/ 11 w 319"/>
                  <a:gd name="T91" fmla="*/ 108 h 246"/>
                  <a:gd name="T92" fmla="*/ 15 w 319"/>
                  <a:gd name="T93" fmla="*/ 124 h 246"/>
                  <a:gd name="T94" fmla="*/ 25 w 319"/>
                  <a:gd name="T95" fmla="*/ 13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9" h="246">
                    <a:moveTo>
                      <a:pt x="25" y="130"/>
                    </a:moveTo>
                    <a:lnTo>
                      <a:pt x="59" y="145"/>
                    </a:lnTo>
                    <a:lnTo>
                      <a:pt x="99" y="145"/>
                    </a:lnTo>
                    <a:lnTo>
                      <a:pt x="111" y="169"/>
                    </a:lnTo>
                    <a:lnTo>
                      <a:pt x="113" y="206"/>
                    </a:lnTo>
                    <a:lnTo>
                      <a:pt x="138" y="218"/>
                    </a:lnTo>
                    <a:lnTo>
                      <a:pt x="154" y="239"/>
                    </a:lnTo>
                    <a:lnTo>
                      <a:pt x="161" y="246"/>
                    </a:lnTo>
                    <a:lnTo>
                      <a:pt x="190" y="239"/>
                    </a:lnTo>
                    <a:lnTo>
                      <a:pt x="209" y="238"/>
                    </a:lnTo>
                    <a:lnTo>
                      <a:pt x="215" y="233"/>
                    </a:lnTo>
                    <a:lnTo>
                      <a:pt x="223" y="233"/>
                    </a:lnTo>
                    <a:lnTo>
                      <a:pt x="228" y="214"/>
                    </a:lnTo>
                    <a:lnTo>
                      <a:pt x="250" y="200"/>
                    </a:lnTo>
                    <a:lnTo>
                      <a:pt x="266" y="204"/>
                    </a:lnTo>
                    <a:lnTo>
                      <a:pt x="275" y="211"/>
                    </a:lnTo>
                    <a:lnTo>
                      <a:pt x="276" y="197"/>
                    </a:lnTo>
                    <a:lnTo>
                      <a:pt x="265" y="183"/>
                    </a:lnTo>
                    <a:lnTo>
                      <a:pt x="271" y="165"/>
                    </a:lnTo>
                    <a:lnTo>
                      <a:pt x="276" y="149"/>
                    </a:lnTo>
                    <a:lnTo>
                      <a:pt x="279" y="124"/>
                    </a:lnTo>
                    <a:lnTo>
                      <a:pt x="301" y="108"/>
                    </a:lnTo>
                    <a:lnTo>
                      <a:pt x="315" y="106"/>
                    </a:lnTo>
                    <a:lnTo>
                      <a:pt x="319" y="96"/>
                    </a:lnTo>
                    <a:lnTo>
                      <a:pt x="298" y="90"/>
                    </a:lnTo>
                    <a:lnTo>
                      <a:pt x="293" y="74"/>
                    </a:lnTo>
                    <a:lnTo>
                      <a:pt x="306" y="63"/>
                    </a:lnTo>
                    <a:lnTo>
                      <a:pt x="306" y="57"/>
                    </a:lnTo>
                    <a:lnTo>
                      <a:pt x="294" y="53"/>
                    </a:lnTo>
                    <a:lnTo>
                      <a:pt x="260" y="33"/>
                    </a:lnTo>
                    <a:lnTo>
                      <a:pt x="233" y="21"/>
                    </a:lnTo>
                    <a:lnTo>
                      <a:pt x="216" y="13"/>
                    </a:lnTo>
                    <a:lnTo>
                      <a:pt x="197" y="0"/>
                    </a:lnTo>
                    <a:lnTo>
                      <a:pt x="183" y="14"/>
                    </a:lnTo>
                    <a:lnTo>
                      <a:pt x="172" y="22"/>
                    </a:lnTo>
                    <a:lnTo>
                      <a:pt x="151" y="16"/>
                    </a:lnTo>
                    <a:lnTo>
                      <a:pt x="128" y="14"/>
                    </a:lnTo>
                    <a:lnTo>
                      <a:pt x="95" y="18"/>
                    </a:lnTo>
                    <a:lnTo>
                      <a:pt x="91" y="24"/>
                    </a:lnTo>
                    <a:lnTo>
                      <a:pt x="79" y="18"/>
                    </a:lnTo>
                    <a:lnTo>
                      <a:pt x="51" y="29"/>
                    </a:lnTo>
                    <a:lnTo>
                      <a:pt x="24" y="43"/>
                    </a:lnTo>
                    <a:lnTo>
                      <a:pt x="11" y="59"/>
                    </a:lnTo>
                    <a:lnTo>
                      <a:pt x="0" y="62"/>
                    </a:lnTo>
                    <a:lnTo>
                      <a:pt x="6" y="84"/>
                    </a:lnTo>
                    <a:lnTo>
                      <a:pt x="11" y="108"/>
                    </a:lnTo>
                    <a:lnTo>
                      <a:pt x="15" y="124"/>
                    </a:lnTo>
                    <a:lnTo>
                      <a:pt x="25" y="13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6" name="Freeform 50">
                <a:extLst>
                  <a:ext uri="{FF2B5EF4-FFF2-40B4-BE49-F238E27FC236}">
                    <a16:creationId xmlns:a16="http://schemas.microsoft.com/office/drawing/2014/main" id="{800D2E3A-7BBE-B40B-6238-875A4D6CF49B}"/>
                  </a:ext>
                </a:extLst>
              </p:cNvPr>
              <p:cNvSpPr>
                <a:spLocks/>
              </p:cNvSpPr>
              <p:nvPr/>
            </p:nvSpPr>
            <p:spPr bwMode="auto">
              <a:xfrm>
                <a:off x="4750518" y="2494492"/>
                <a:ext cx="16771" cy="42567"/>
              </a:xfrm>
              <a:custGeom>
                <a:avLst/>
                <a:gdLst>
                  <a:gd name="T0" fmla="*/ 0 w 26"/>
                  <a:gd name="T1" fmla="*/ 63 h 63"/>
                  <a:gd name="T2" fmla="*/ 14 w 26"/>
                  <a:gd name="T3" fmla="*/ 47 h 63"/>
                  <a:gd name="T4" fmla="*/ 21 w 26"/>
                  <a:gd name="T5" fmla="*/ 35 h 63"/>
                  <a:gd name="T6" fmla="*/ 26 w 26"/>
                  <a:gd name="T7" fmla="*/ 8 h 63"/>
                  <a:gd name="T8" fmla="*/ 26 w 26"/>
                  <a:gd name="T9" fmla="*/ 0 h 63"/>
                </a:gdLst>
                <a:ahLst/>
                <a:cxnLst>
                  <a:cxn ang="0">
                    <a:pos x="T0" y="T1"/>
                  </a:cxn>
                  <a:cxn ang="0">
                    <a:pos x="T2" y="T3"/>
                  </a:cxn>
                  <a:cxn ang="0">
                    <a:pos x="T4" y="T5"/>
                  </a:cxn>
                  <a:cxn ang="0">
                    <a:pos x="T6" y="T7"/>
                  </a:cxn>
                  <a:cxn ang="0">
                    <a:pos x="T8" y="T9"/>
                  </a:cxn>
                </a:cxnLst>
                <a:rect l="0" t="0" r="r" b="b"/>
                <a:pathLst>
                  <a:path w="26" h="63">
                    <a:moveTo>
                      <a:pt x="0" y="63"/>
                    </a:moveTo>
                    <a:lnTo>
                      <a:pt x="14" y="47"/>
                    </a:lnTo>
                    <a:lnTo>
                      <a:pt x="21" y="35"/>
                    </a:lnTo>
                    <a:lnTo>
                      <a:pt x="26" y="8"/>
                    </a:lnTo>
                    <a:lnTo>
                      <a:pt x="26"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7" name="Freeform 51">
                <a:extLst>
                  <a:ext uri="{FF2B5EF4-FFF2-40B4-BE49-F238E27FC236}">
                    <a16:creationId xmlns:a16="http://schemas.microsoft.com/office/drawing/2014/main" id="{57A70618-1B46-CF0E-06CE-2851BD964685}"/>
                  </a:ext>
                </a:extLst>
              </p:cNvPr>
              <p:cNvSpPr>
                <a:spLocks/>
              </p:cNvSpPr>
              <p:nvPr/>
            </p:nvSpPr>
            <p:spPr bwMode="auto">
              <a:xfrm>
                <a:off x="4821629" y="2213553"/>
                <a:ext cx="161005" cy="132666"/>
              </a:xfrm>
              <a:custGeom>
                <a:avLst/>
                <a:gdLst>
                  <a:gd name="T0" fmla="*/ 64 w 252"/>
                  <a:gd name="T1" fmla="*/ 183 h 196"/>
                  <a:gd name="T2" fmla="*/ 82 w 252"/>
                  <a:gd name="T3" fmla="*/ 170 h 196"/>
                  <a:gd name="T4" fmla="*/ 104 w 252"/>
                  <a:gd name="T5" fmla="*/ 162 h 196"/>
                  <a:gd name="T6" fmla="*/ 119 w 252"/>
                  <a:gd name="T7" fmla="*/ 161 h 196"/>
                  <a:gd name="T8" fmla="*/ 132 w 252"/>
                  <a:gd name="T9" fmla="*/ 169 h 196"/>
                  <a:gd name="T10" fmla="*/ 146 w 252"/>
                  <a:gd name="T11" fmla="*/ 169 h 196"/>
                  <a:gd name="T12" fmla="*/ 162 w 252"/>
                  <a:gd name="T13" fmla="*/ 184 h 196"/>
                  <a:gd name="T14" fmla="*/ 183 w 252"/>
                  <a:gd name="T15" fmla="*/ 196 h 196"/>
                  <a:gd name="T16" fmla="*/ 216 w 252"/>
                  <a:gd name="T17" fmla="*/ 181 h 196"/>
                  <a:gd name="T18" fmla="*/ 223 w 252"/>
                  <a:gd name="T19" fmla="*/ 180 h 196"/>
                  <a:gd name="T20" fmla="*/ 225 w 252"/>
                  <a:gd name="T21" fmla="*/ 146 h 196"/>
                  <a:gd name="T22" fmla="*/ 235 w 252"/>
                  <a:gd name="T23" fmla="*/ 150 h 196"/>
                  <a:gd name="T24" fmla="*/ 244 w 252"/>
                  <a:gd name="T25" fmla="*/ 158 h 196"/>
                  <a:gd name="T26" fmla="*/ 252 w 252"/>
                  <a:gd name="T27" fmla="*/ 153 h 196"/>
                  <a:gd name="T28" fmla="*/ 252 w 252"/>
                  <a:gd name="T29" fmla="*/ 138 h 196"/>
                  <a:gd name="T30" fmla="*/ 243 w 252"/>
                  <a:gd name="T31" fmla="*/ 130 h 196"/>
                  <a:gd name="T32" fmla="*/ 232 w 252"/>
                  <a:gd name="T33" fmla="*/ 127 h 196"/>
                  <a:gd name="T34" fmla="*/ 213 w 252"/>
                  <a:gd name="T35" fmla="*/ 129 h 196"/>
                  <a:gd name="T36" fmla="*/ 211 w 252"/>
                  <a:gd name="T37" fmla="*/ 118 h 196"/>
                  <a:gd name="T38" fmla="*/ 222 w 252"/>
                  <a:gd name="T39" fmla="*/ 108 h 196"/>
                  <a:gd name="T40" fmla="*/ 227 w 252"/>
                  <a:gd name="T41" fmla="*/ 94 h 196"/>
                  <a:gd name="T42" fmla="*/ 226 w 252"/>
                  <a:gd name="T43" fmla="*/ 88 h 196"/>
                  <a:gd name="T44" fmla="*/ 218 w 252"/>
                  <a:gd name="T45" fmla="*/ 81 h 196"/>
                  <a:gd name="T46" fmla="*/ 219 w 252"/>
                  <a:gd name="T47" fmla="*/ 67 h 196"/>
                  <a:gd name="T48" fmla="*/ 211 w 252"/>
                  <a:gd name="T49" fmla="*/ 50 h 196"/>
                  <a:gd name="T50" fmla="*/ 216 w 252"/>
                  <a:gd name="T51" fmla="*/ 40 h 196"/>
                  <a:gd name="T52" fmla="*/ 219 w 252"/>
                  <a:gd name="T53" fmla="*/ 32 h 196"/>
                  <a:gd name="T54" fmla="*/ 230 w 252"/>
                  <a:gd name="T55" fmla="*/ 16 h 196"/>
                  <a:gd name="T56" fmla="*/ 231 w 252"/>
                  <a:gd name="T57" fmla="*/ 5 h 196"/>
                  <a:gd name="T58" fmla="*/ 223 w 252"/>
                  <a:gd name="T59" fmla="*/ 0 h 196"/>
                  <a:gd name="T60" fmla="*/ 210 w 252"/>
                  <a:gd name="T61" fmla="*/ 0 h 196"/>
                  <a:gd name="T62" fmla="*/ 202 w 252"/>
                  <a:gd name="T63" fmla="*/ 12 h 196"/>
                  <a:gd name="T64" fmla="*/ 182 w 252"/>
                  <a:gd name="T65" fmla="*/ 13 h 196"/>
                  <a:gd name="T66" fmla="*/ 159 w 252"/>
                  <a:gd name="T67" fmla="*/ 19 h 196"/>
                  <a:gd name="T68" fmla="*/ 149 w 252"/>
                  <a:gd name="T69" fmla="*/ 13 h 196"/>
                  <a:gd name="T70" fmla="*/ 132 w 252"/>
                  <a:gd name="T71" fmla="*/ 11 h 196"/>
                  <a:gd name="T72" fmla="*/ 126 w 252"/>
                  <a:gd name="T73" fmla="*/ 11 h 196"/>
                  <a:gd name="T74" fmla="*/ 113 w 252"/>
                  <a:gd name="T75" fmla="*/ 7 h 196"/>
                  <a:gd name="T76" fmla="*/ 101 w 252"/>
                  <a:gd name="T77" fmla="*/ 10 h 196"/>
                  <a:gd name="T78" fmla="*/ 91 w 252"/>
                  <a:gd name="T79" fmla="*/ 16 h 196"/>
                  <a:gd name="T80" fmla="*/ 85 w 252"/>
                  <a:gd name="T81" fmla="*/ 24 h 196"/>
                  <a:gd name="T82" fmla="*/ 71 w 252"/>
                  <a:gd name="T83" fmla="*/ 24 h 196"/>
                  <a:gd name="T84" fmla="*/ 58 w 252"/>
                  <a:gd name="T85" fmla="*/ 24 h 196"/>
                  <a:gd name="T86" fmla="*/ 48 w 252"/>
                  <a:gd name="T87" fmla="*/ 31 h 196"/>
                  <a:gd name="T88" fmla="*/ 38 w 252"/>
                  <a:gd name="T89" fmla="*/ 37 h 196"/>
                  <a:gd name="T90" fmla="*/ 32 w 252"/>
                  <a:gd name="T91" fmla="*/ 43 h 196"/>
                  <a:gd name="T92" fmla="*/ 25 w 252"/>
                  <a:gd name="T93" fmla="*/ 50 h 196"/>
                  <a:gd name="T94" fmla="*/ 20 w 252"/>
                  <a:gd name="T95" fmla="*/ 57 h 196"/>
                  <a:gd name="T96" fmla="*/ 12 w 252"/>
                  <a:gd name="T97" fmla="*/ 60 h 196"/>
                  <a:gd name="T98" fmla="*/ 3 w 252"/>
                  <a:gd name="T99" fmla="*/ 67 h 196"/>
                  <a:gd name="T100" fmla="*/ 0 w 252"/>
                  <a:gd name="T101" fmla="*/ 76 h 196"/>
                  <a:gd name="T102" fmla="*/ 7 w 252"/>
                  <a:gd name="T103" fmla="*/ 96 h 196"/>
                  <a:gd name="T104" fmla="*/ 16 w 252"/>
                  <a:gd name="T105" fmla="*/ 106 h 196"/>
                  <a:gd name="T106" fmla="*/ 8 w 252"/>
                  <a:gd name="T107" fmla="*/ 118 h 196"/>
                  <a:gd name="T108" fmla="*/ 15 w 252"/>
                  <a:gd name="T109" fmla="*/ 125 h 196"/>
                  <a:gd name="T110" fmla="*/ 19 w 252"/>
                  <a:gd name="T111" fmla="*/ 134 h 196"/>
                  <a:gd name="T112" fmla="*/ 21 w 252"/>
                  <a:gd name="T113" fmla="*/ 142 h 196"/>
                  <a:gd name="T114" fmla="*/ 38 w 252"/>
                  <a:gd name="T115" fmla="*/ 145 h 196"/>
                  <a:gd name="T116" fmla="*/ 51 w 252"/>
                  <a:gd name="T117" fmla="*/ 145 h 196"/>
                  <a:gd name="T118" fmla="*/ 61 w 252"/>
                  <a:gd name="T119" fmla="*/ 138 h 196"/>
                  <a:gd name="T120" fmla="*/ 64 w 252"/>
                  <a:gd name="T121" fmla="*/ 147 h 196"/>
                  <a:gd name="T122" fmla="*/ 64 w 252"/>
                  <a:gd name="T123" fmla="*/ 171 h 196"/>
                  <a:gd name="T124" fmla="*/ 64 w 252"/>
                  <a:gd name="T125" fmla="*/ 183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2" h="196">
                    <a:moveTo>
                      <a:pt x="64" y="183"/>
                    </a:moveTo>
                    <a:lnTo>
                      <a:pt x="82" y="170"/>
                    </a:lnTo>
                    <a:lnTo>
                      <a:pt x="104" y="162"/>
                    </a:lnTo>
                    <a:lnTo>
                      <a:pt x="119" y="161"/>
                    </a:lnTo>
                    <a:lnTo>
                      <a:pt x="132" y="169"/>
                    </a:lnTo>
                    <a:lnTo>
                      <a:pt x="146" y="169"/>
                    </a:lnTo>
                    <a:lnTo>
                      <a:pt x="162" y="184"/>
                    </a:lnTo>
                    <a:lnTo>
                      <a:pt x="183" y="196"/>
                    </a:lnTo>
                    <a:lnTo>
                      <a:pt x="216" y="181"/>
                    </a:lnTo>
                    <a:lnTo>
                      <a:pt x="223" y="180"/>
                    </a:lnTo>
                    <a:lnTo>
                      <a:pt x="225" y="146"/>
                    </a:lnTo>
                    <a:lnTo>
                      <a:pt x="235" y="150"/>
                    </a:lnTo>
                    <a:lnTo>
                      <a:pt x="244" y="158"/>
                    </a:lnTo>
                    <a:lnTo>
                      <a:pt x="252" y="153"/>
                    </a:lnTo>
                    <a:lnTo>
                      <a:pt x="252" y="138"/>
                    </a:lnTo>
                    <a:lnTo>
                      <a:pt x="243" y="130"/>
                    </a:lnTo>
                    <a:lnTo>
                      <a:pt x="232" y="127"/>
                    </a:lnTo>
                    <a:lnTo>
                      <a:pt x="213" y="129"/>
                    </a:lnTo>
                    <a:lnTo>
                      <a:pt x="211" y="118"/>
                    </a:lnTo>
                    <a:lnTo>
                      <a:pt x="222" y="108"/>
                    </a:lnTo>
                    <a:lnTo>
                      <a:pt x="227" y="94"/>
                    </a:lnTo>
                    <a:lnTo>
                      <a:pt x="226" y="88"/>
                    </a:lnTo>
                    <a:lnTo>
                      <a:pt x="218" y="81"/>
                    </a:lnTo>
                    <a:lnTo>
                      <a:pt x="219" y="67"/>
                    </a:lnTo>
                    <a:lnTo>
                      <a:pt x="211" y="50"/>
                    </a:lnTo>
                    <a:lnTo>
                      <a:pt x="216" y="40"/>
                    </a:lnTo>
                    <a:lnTo>
                      <a:pt x="219" y="32"/>
                    </a:lnTo>
                    <a:lnTo>
                      <a:pt x="230" y="16"/>
                    </a:lnTo>
                    <a:lnTo>
                      <a:pt x="231" y="5"/>
                    </a:lnTo>
                    <a:lnTo>
                      <a:pt x="223" y="0"/>
                    </a:lnTo>
                    <a:lnTo>
                      <a:pt x="210" y="0"/>
                    </a:lnTo>
                    <a:lnTo>
                      <a:pt x="202" y="12"/>
                    </a:lnTo>
                    <a:lnTo>
                      <a:pt x="182" y="13"/>
                    </a:lnTo>
                    <a:lnTo>
                      <a:pt x="159" y="19"/>
                    </a:lnTo>
                    <a:lnTo>
                      <a:pt x="149" y="13"/>
                    </a:lnTo>
                    <a:lnTo>
                      <a:pt x="132" y="11"/>
                    </a:lnTo>
                    <a:lnTo>
                      <a:pt x="126" y="11"/>
                    </a:lnTo>
                    <a:lnTo>
                      <a:pt x="113" y="7"/>
                    </a:lnTo>
                    <a:lnTo>
                      <a:pt x="101" y="10"/>
                    </a:lnTo>
                    <a:lnTo>
                      <a:pt x="91" y="16"/>
                    </a:lnTo>
                    <a:lnTo>
                      <a:pt x="85" y="24"/>
                    </a:lnTo>
                    <a:lnTo>
                      <a:pt x="71" y="24"/>
                    </a:lnTo>
                    <a:lnTo>
                      <a:pt x="58" y="24"/>
                    </a:lnTo>
                    <a:lnTo>
                      <a:pt x="48" y="31"/>
                    </a:lnTo>
                    <a:lnTo>
                      <a:pt x="38" y="37"/>
                    </a:lnTo>
                    <a:lnTo>
                      <a:pt x="32" y="43"/>
                    </a:lnTo>
                    <a:lnTo>
                      <a:pt x="25" y="50"/>
                    </a:lnTo>
                    <a:lnTo>
                      <a:pt x="20" y="57"/>
                    </a:lnTo>
                    <a:lnTo>
                      <a:pt x="12" y="60"/>
                    </a:lnTo>
                    <a:lnTo>
                      <a:pt x="3" y="67"/>
                    </a:lnTo>
                    <a:lnTo>
                      <a:pt x="0" y="76"/>
                    </a:lnTo>
                    <a:lnTo>
                      <a:pt x="7" y="96"/>
                    </a:lnTo>
                    <a:lnTo>
                      <a:pt x="16" y="106"/>
                    </a:lnTo>
                    <a:lnTo>
                      <a:pt x="8" y="118"/>
                    </a:lnTo>
                    <a:lnTo>
                      <a:pt x="15" y="125"/>
                    </a:lnTo>
                    <a:lnTo>
                      <a:pt x="19" y="134"/>
                    </a:lnTo>
                    <a:lnTo>
                      <a:pt x="21" y="142"/>
                    </a:lnTo>
                    <a:lnTo>
                      <a:pt x="38" y="145"/>
                    </a:lnTo>
                    <a:lnTo>
                      <a:pt x="51" y="145"/>
                    </a:lnTo>
                    <a:lnTo>
                      <a:pt x="61" y="138"/>
                    </a:lnTo>
                    <a:lnTo>
                      <a:pt x="64" y="147"/>
                    </a:lnTo>
                    <a:lnTo>
                      <a:pt x="64" y="171"/>
                    </a:lnTo>
                    <a:lnTo>
                      <a:pt x="64" y="18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8" name="Freeform 52">
                <a:extLst>
                  <a:ext uri="{FF2B5EF4-FFF2-40B4-BE49-F238E27FC236}">
                    <a16:creationId xmlns:a16="http://schemas.microsoft.com/office/drawing/2014/main" id="{F0DC5940-C361-20C8-899B-015BA15BA1B6}"/>
                  </a:ext>
                </a:extLst>
              </p:cNvPr>
              <p:cNvSpPr>
                <a:spLocks/>
              </p:cNvSpPr>
              <p:nvPr/>
            </p:nvSpPr>
            <p:spPr bwMode="auto">
              <a:xfrm>
                <a:off x="3614091" y="1516881"/>
                <a:ext cx="255596" cy="244048"/>
              </a:xfrm>
              <a:custGeom>
                <a:avLst/>
                <a:gdLst>
                  <a:gd name="T0" fmla="*/ 95 w 399"/>
                  <a:gd name="T1" fmla="*/ 328 h 360"/>
                  <a:gd name="T2" fmla="*/ 137 w 399"/>
                  <a:gd name="T3" fmla="*/ 352 h 360"/>
                  <a:gd name="T4" fmla="*/ 168 w 399"/>
                  <a:gd name="T5" fmla="*/ 351 h 360"/>
                  <a:gd name="T6" fmla="*/ 192 w 399"/>
                  <a:gd name="T7" fmla="*/ 342 h 360"/>
                  <a:gd name="T8" fmla="*/ 222 w 399"/>
                  <a:gd name="T9" fmla="*/ 354 h 360"/>
                  <a:gd name="T10" fmla="*/ 270 w 399"/>
                  <a:gd name="T11" fmla="*/ 346 h 360"/>
                  <a:gd name="T12" fmla="*/ 295 w 399"/>
                  <a:gd name="T13" fmla="*/ 348 h 360"/>
                  <a:gd name="T14" fmla="*/ 318 w 399"/>
                  <a:gd name="T15" fmla="*/ 350 h 360"/>
                  <a:gd name="T16" fmla="*/ 337 w 399"/>
                  <a:gd name="T17" fmla="*/ 322 h 360"/>
                  <a:gd name="T18" fmla="*/ 375 w 399"/>
                  <a:gd name="T19" fmla="*/ 313 h 360"/>
                  <a:gd name="T20" fmla="*/ 382 w 399"/>
                  <a:gd name="T21" fmla="*/ 281 h 360"/>
                  <a:gd name="T22" fmla="*/ 392 w 399"/>
                  <a:gd name="T23" fmla="*/ 258 h 360"/>
                  <a:gd name="T24" fmla="*/ 373 w 399"/>
                  <a:gd name="T25" fmla="*/ 234 h 360"/>
                  <a:gd name="T26" fmla="*/ 371 w 399"/>
                  <a:gd name="T27" fmla="*/ 201 h 360"/>
                  <a:gd name="T28" fmla="*/ 399 w 399"/>
                  <a:gd name="T29" fmla="*/ 176 h 360"/>
                  <a:gd name="T30" fmla="*/ 354 w 399"/>
                  <a:gd name="T31" fmla="*/ 166 h 360"/>
                  <a:gd name="T32" fmla="*/ 337 w 399"/>
                  <a:gd name="T33" fmla="*/ 133 h 360"/>
                  <a:gd name="T34" fmla="*/ 308 w 399"/>
                  <a:gd name="T35" fmla="*/ 155 h 360"/>
                  <a:gd name="T36" fmla="*/ 278 w 399"/>
                  <a:gd name="T37" fmla="*/ 142 h 360"/>
                  <a:gd name="T38" fmla="*/ 257 w 399"/>
                  <a:gd name="T39" fmla="*/ 158 h 360"/>
                  <a:gd name="T40" fmla="*/ 236 w 399"/>
                  <a:gd name="T41" fmla="*/ 115 h 360"/>
                  <a:gd name="T42" fmla="*/ 205 w 399"/>
                  <a:gd name="T43" fmla="*/ 127 h 360"/>
                  <a:gd name="T44" fmla="*/ 188 w 399"/>
                  <a:gd name="T45" fmla="*/ 93 h 360"/>
                  <a:gd name="T46" fmla="*/ 165 w 399"/>
                  <a:gd name="T47" fmla="*/ 133 h 360"/>
                  <a:gd name="T48" fmla="*/ 147 w 399"/>
                  <a:gd name="T49" fmla="*/ 131 h 360"/>
                  <a:gd name="T50" fmla="*/ 121 w 399"/>
                  <a:gd name="T51" fmla="*/ 142 h 360"/>
                  <a:gd name="T52" fmla="*/ 133 w 399"/>
                  <a:gd name="T53" fmla="*/ 96 h 360"/>
                  <a:gd name="T54" fmla="*/ 156 w 399"/>
                  <a:gd name="T55" fmla="*/ 72 h 360"/>
                  <a:gd name="T56" fmla="*/ 144 w 399"/>
                  <a:gd name="T57" fmla="*/ 11 h 360"/>
                  <a:gd name="T58" fmla="*/ 120 w 399"/>
                  <a:gd name="T59" fmla="*/ 7 h 360"/>
                  <a:gd name="T60" fmla="*/ 123 w 399"/>
                  <a:gd name="T61" fmla="*/ 24 h 360"/>
                  <a:gd name="T62" fmla="*/ 116 w 399"/>
                  <a:gd name="T63" fmla="*/ 60 h 360"/>
                  <a:gd name="T64" fmla="*/ 103 w 399"/>
                  <a:gd name="T65" fmla="*/ 33 h 360"/>
                  <a:gd name="T66" fmla="*/ 97 w 399"/>
                  <a:gd name="T67" fmla="*/ 12 h 360"/>
                  <a:gd name="T68" fmla="*/ 69 w 399"/>
                  <a:gd name="T69" fmla="*/ 33 h 360"/>
                  <a:gd name="T70" fmla="*/ 67 w 399"/>
                  <a:gd name="T71" fmla="*/ 57 h 360"/>
                  <a:gd name="T72" fmla="*/ 56 w 399"/>
                  <a:gd name="T73" fmla="*/ 42 h 360"/>
                  <a:gd name="T74" fmla="*/ 38 w 399"/>
                  <a:gd name="T75" fmla="*/ 37 h 360"/>
                  <a:gd name="T76" fmla="*/ 46 w 399"/>
                  <a:gd name="T77" fmla="*/ 60 h 360"/>
                  <a:gd name="T78" fmla="*/ 76 w 399"/>
                  <a:gd name="T79" fmla="*/ 77 h 360"/>
                  <a:gd name="T80" fmla="*/ 103 w 399"/>
                  <a:gd name="T81" fmla="*/ 90 h 360"/>
                  <a:gd name="T82" fmla="*/ 102 w 399"/>
                  <a:gd name="T83" fmla="*/ 113 h 360"/>
                  <a:gd name="T84" fmla="*/ 87 w 399"/>
                  <a:gd name="T85" fmla="*/ 128 h 360"/>
                  <a:gd name="T86" fmla="*/ 90 w 399"/>
                  <a:gd name="T87" fmla="*/ 141 h 360"/>
                  <a:gd name="T88" fmla="*/ 35 w 399"/>
                  <a:gd name="T89" fmla="*/ 116 h 360"/>
                  <a:gd name="T90" fmla="*/ 19 w 399"/>
                  <a:gd name="T91" fmla="*/ 126 h 360"/>
                  <a:gd name="T92" fmla="*/ 58 w 399"/>
                  <a:gd name="T93" fmla="*/ 144 h 360"/>
                  <a:gd name="T94" fmla="*/ 60 w 399"/>
                  <a:gd name="T95" fmla="*/ 180 h 360"/>
                  <a:gd name="T96" fmla="*/ 44 w 399"/>
                  <a:gd name="T97" fmla="*/ 197 h 360"/>
                  <a:gd name="T98" fmla="*/ 16 w 399"/>
                  <a:gd name="T99" fmla="*/ 212 h 360"/>
                  <a:gd name="T100" fmla="*/ 2 w 399"/>
                  <a:gd name="T101" fmla="*/ 227 h 360"/>
                  <a:gd name="T102" fmla="*/ 62 w 399"/>
                  <a:gd name="T103" fmla="*/ 269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9" h="360">
                    <a:moveTo>
                      <a:pt x="75" y="309"/>
                    </a:moveTo>
                    <a:lnTo>
                      <a:pt x="86" y="314"/>
                    </a:lnTo>
                    <a:lnTo>
                      <a:pt x="95" y="328"/>
                    </a:lnTo>
                    <a:lnTo>
                      <a:pt x="104" y="341"/>
                    </a:lnTo>
                    <a:lnTo>
                      <a:pt x="116" y="350"/>
                    </a:lnTo>
                    <a:lnTo>
                      <a:pt x="137" y="352"/>
                    </a:lnTo>
                    <a:lnTo>
                      <a:pt x="145" y="360"/>
                    </a:lnTo>
                    <a:lnTo>
                      <a:pt x="156" y="349"/>
                    </a:lnTo>
                    <a:lnTo>
                      <a:pt x="168" y="351"/>
                    </a:lnTo>
                    <a:lnTo>
                      <a:pt x="180" y="345"/>
                    </a:lnTo>
                    <a:lnTo>
                      <a:pt x="187" y="349"/>
                    </a:lnTo>
                    <a:lnTo>
                      <a:pt x="192" y="342"/>
                    </a:lnTo>
                    <a:lnTo>
                      <a:pt x="198" y="340"/>
                    </a:lnTo>
                    <a:lnTo>
                      <a:pt x="213" y="353"/>
                    </a:lnTo>
                    <a:lnTo>
                      <a:pt x="222" y="354"/>
                    </a:lnTo>
                    <a:lnTo>
                      <a:pt x="238" y="352"/>
                    </a:lnTo>
                    <a:lnTo>
                      <a:pt x="254" y="346"/>
                    </a:lnTo>
                    <a:lnTo>
                      <a:pt x="270" y="346"/>
                    </a:lnTo>
                    <a:lnTo>
                      <a:pt x="281" y="338"/>
                    </a:lnTo>
                    <a:lnTo>
                      <a:pt x="288" y="332"/>
                    </a:lnTo>
                    <a:lnTo>
                      <a:pt x="295" y="348"/>
                    </a:lnTo>
                    <a:lnTo>
                      <a:pt x="293" y="360"/>
                    </a:lnTo>
                    <a:lnTo>
                      <a:pt x="304" y="352"/>
                    </a:lnTo>
                    <a:lnTo>
                      <a:pt x="318" y="350"/>
                    </a:lnTo>
                    <a:lnTo>
                      <a:pt x="326" y="341"/>
                    </a:lnTo>
                    <a:lnTo>
                      <a:pt x="332" y="331"/>
                    </a:lnTo>
                    <a:lnTo>
                      <a:pt x="337" y="322"/>
                    </a:lnTo>
                    <a:lnTo>
                      <a:pt x="348" y="322"/>
                    </a:lnTo>
                    <a:lnTo>
                      <a:pt x="365" y="323"/>
                    </a:lnTo>
                    <a:lnTo>
                      <a:pt x="375" y="313"/>
                    </a:lnTo>
                    <a:lnTo>
                      <a:pt x="389" y="300"/>
                    </a:lnTo>
                    <a:lnTo>
                      <a:pt x="381" y="292"/>
                    </a:lnTo>
                    <a:cubicBezTo>
                      <a:pt x="381" y="288"/>
                      <a:pt x="381" y="285"/>
                      <a:pt x="382" y="281"/>
                    </a:cubicBezTo>
                    <a:cubicBezTo>
                      <a:pt x="382" y="280"/>
                      <a:pt x="384" y="280"/>
                      <a:pt x="385" y="279"/>
                    </a:cubicBezTo>
                    <a:cubicBezTo>
                      <a:pt x="387" y="276"/>
                      <a:pt x="390" y="270"/>
                      <a:pt x="390" y="270"/>
                    </a:cubicBezTo>
                    <a:lnTo>
                      <a:pt x="392" y="258"/>
                    </a:lnTo>
                    <a:lnTo>
                      <a:pt x="388" y="249"/>
                    </a:lnTo>
                    <a:lnTo>
                      <a:pt x="379" y="249"/>
                    </a:lnTo>
                    <a:lnTo>
                      <a:pt x="373" y="234"/>
                    </a:lnTo>
                    <a:lnTo>
                      <a:pt x="361" y="223"/>
                    </a:lnTo>
                    <a:lnTo>
                      <a:pt x="377" y="209"/>
                    </a:lnTo>
                    <a:lnTo>
                      <a:pt x="371" y="201"/>
                    </a:lnTo>
                    <a:lnTo>
                      <a:pt x="366" y="192"/>
                    </a:lnTo>
                    <a:lnTo>
                      <a:pt x="381" y="181"/>
                    </a:lnTo>
                    <a:lnTo>
                      <a:pt x="399" y="176"/>
                    </a:lnTo>
                    <a:lnTo>
                      <a:pt x="388" y="173"/>
                    </a:lnTo>
                    <a:lnTo>
                      <a:pt x="357" y="176"/>
                    </a:lnTo>
                    <a:lnTo>
                      <a:pt x="354" y="166"/>
                    </a:lnTo>
                    <a:lnTo>
                      <a:pt x="357" y="149"/>
                    </a:lnTo>
                    <a:lnTo>
                      <a:pt x="354" y="136"/>
                    </a:lnTo>
                    <a:lnTo>
                      <a:pt x="337" y="133"/>
                    </a:lnTo>
                    <a:lnTo>
                      <a:pt x="332" y="150"/>
                    </a:lnTo>
                    <a:lnTo>
                      <a:pt x="319" y="163"/>
                    </a:lnTo>
                    <a:lnTo>
                      <a:pt x="308" y="155"/>
                    </a:lnTo>
                    <a:lnTo>
                      <a:pt x="298" y="146"/>
                    </a:lnTo>
                    <a:lnTo>
                      <a:pt x="287" y="152"/>
                    </a:lnTo>
                    <a:lnTo>
                      <a:pt x="278" y="142"/>
                    </a:lnTo>
                    <a:lnTo>
                      <a:pt x="271" y="126"/>
                    </a:lnTo>
                    <a:lnTo>
                      <a:pt x="264" y="133"/>
                    </a:lnTo>
                    <a:lnTo>
                      <a:pt x="257" y="158"/>
                    </a:lnTo>
                    <a:lnTo>
                      <a:pt x="248" y="164"/>
                    </a:lnTo>
                    <a:lnTo>
                      <a:pt x="254" y="132"/>
                    </a:lnTo>
                    <a:lnTo>
                      <a:pt x="236" y="115"/>
                    </a:lnTo>
                    <a:lnTo>
                      <a:pt x="222" y="116"/>
                    </a:lnTo>
                    <a:lnTo>
                      <a:pt x="212" y="131"/>
                    </a:lnTo>
                    <a:lnTo>
                      <a:pt x="205" y="127"/>
                    </a:lnTo>
                    <a:lnTo>
                      <a:pt x="207" y="100"/>
                    </a:lnTo>
                    <a:lnTo>
                      <a:pt x="199" y="85"/>
                    </a:lnTo>
                    <a:lnTo>
                      <a:pt x="188" y="93"/>
                    </a:lnTo>
                    <a:lnTo>
                      <a:pt x="180" y="113"/>
                    </a:lnTo>
                    <a:lnTo>
                      <a:pt x="172" y="128"/>
                    </a:lnTo>
                    <a:lnTo>
                      <a:pt x="165" y="133"/>
                    </a:lnTo>
                    <a:lnTo>
                      <a:pt x="163" y="117"/>
                    </a:lnTo>
                    <a:lnTo>
                      <a:pt x="151" y="121"/>
                    </a:lnTo>
                    <a:lnTo>
                      <a:pt x="147" y="131"/>
                    </a:lnTo>
                    <a:lnTo>
                      <a:pt x="143" y="137"/>
                    </a:lnTo>
                    <a:lnTo>
                      <a:pt x="131" y="140"/>
                    </a:lnTo>
                    <a:lnTo>
                      <a:pt x="121" y="142"/>
                    </a:lnTo>
                    <a:lnTo>
                      <a:pt x="130" y="122"/>
                    </a:lnTo>
                    <a:lnTo>
                      <a:pt x="138" y="112"/>
                    </a:lnTo>
                    <a:lnTo>
                      <a:pt x="133" y="96"/>
                    </a:lnTo>
                    <a:lnTo>
                      <a:pt x="142" y="90"/>
                    </a:lnTo>
                    <a:lnTo>
                      <a:pt x="149" y="82"/>
                    </a:lnTo>
                    <a:lnTo>
                      <a:pt x="156" y="72"/>
                    </a:lnTo>
                    <a:lnTo>
                      <a:pt x="151" y="61"/>
                    </a:lnTo>
                    <a:lnTo>
                      <a:pt x="147" y="30"/>
                    </a:lnTo>
                    <a:lnTo>
                      <a:pt x="144" y="11"/>
                    </a:lnTo>
                    <a:lnTo>
                      <a:pt x="135" y="4"/>
                    </a:lnTo>
                    <a:lnTo>
                      <a:pt x="124" y="0"/>
                    </a:lnTo>
                    <a:lnTo>
                      <a:pt x="120" y="7"/>
                    </a:lnTo>
                    <a:lnTo>
                      <a:pt x="126" y="13"/>
                    </a:lnTo>
                    <a:lnTo>
                      <a:pt x="131" y="21"/>
                    </a:lnTo>
                    <a:lnTo>
                      <a:pt x="123" y="24"/>
                    </a:lnTo>
                    <a:lnTo>
                      <a:pt x="127" y="37"/>
                    </a:lnTo>
                    <a:lnTo>
                      <a:pt x="129" y="53"/>
                    </a:lnTo>
                    <a:lnTo>
                      <a:pt x="116" y="60"/>
                    </a:lnTo>
                    <a:lnTo>
                      <a:pt x="111" y="52"/>
                    </a:lnTo>
                    <a:lnTo>
                      <a:pt x="107" y="43"/>
                    </a:lnTo>
                    <a:lnTo>
                      <a:pt x="103" y="33"/>
                    </a:lnTo>
                    <a:lnTo>
                      <a:pt x="109" y="28"/>
                    </a:lnTo>
                    <a:lnTo>
                      <a:pt x="102" y="18"/>
                    </a:lnTo>
                    <a:lnTo>
                      <a:pt x="97" y="12"/>
                    </a:lnTo>
                    <a:lnTo>
                      <a:pt x="85" y="20"/>
                    </a:lnTo>
                    <a:lnTo>
                      <a:pt x="84" y="30"/>
                    </a:lnTo>
                    <a:lnTo>
                      <a:pt x="69" y="33"/>
                    </a:lnTo>
                    <a:lnTo>
                      <a:pt x="85" y="43"/>
                    </a:lnTo>
                    <a:lnTo>
                      <a:pt x="81" y="54"/>
                    </a:lnTo>
                    <a:lnTo>
                      <a:pt x="67" y="57"/>
                    </a:lnTo>
                    <a:lnTo>
                      <a:pt x="65" y="44"/>
                    </a:lnTo>
                    <a:lnTo>
                      <a:pt x="60" y="33"/>
                    </a:lnTo>
                    <a:lnTo>
                      <a:pt x="56" y="42"/>
                    </a:lnTo>
                    <a:lnTo>
                      <a:pt x="47" y="55"/>
                    </a:lnTo>
                    <a:lnTo>
                      <a:pt x="44" y="45"/>
                    </a:lnTo>
                    <a:lnTo>
                      <a:pt x="38" y="37"/>
                    </a:lnTo>
                    <a:lnTo>
                      <a:pt x="27" y="42"/>
                    </a:lnTo>
                    <a:lnTo>
                      <a:pt x="38" y="52"/>
                    </a:lnTo>
                    <a:lnTo>
                      <a:pt x="46" y="60"/>
                    </a:lnTo>
                    <a:lnTo>
                      <a:pt x="52" y="69"/>
                    </a:lnTo>
                    <a:lnTo>
                      <a:pt x="69" y="73"/>
                    </a:lnTo>
                    <a:lnTo>
                      <a:pt x="76" y="77"/>
                    </a:lnTo>
                    <a:lnTo>
                      <a:pt x="91" y="70"/>
                    </a:lnTo>
                    <a:lnTo>
                      <a:pt x="100" y="81"/>
                    </a:lnTo>
                    <a:lnTo>
                      <a:pt x="103" y="90"/>
                    </a:lnTo>
                    <a:lnTo>
                      <a:pt x="107" y="100"/>
                    </a:lnTo>
                    <a:lnTo>
                      <a:pt x="116" y="107"/>
                    </a:lnTo>
                    <a:lnTo>
                      <a:pt x="102" y="113"/>
                    </a:lnTo>
                    <a:lnTo>
                      <a:pt x="80" y="110"/>
                    </a:lnTo>
                    <a:lnTo>
                      <a:pt x="79" y="118"/>
                    </a:lnTo>
                    <a:lnTo>
                      <a:pt x="87" y="128"/>
                    </a:lnTo>
                    <a:lnTo>
                      <a:pt x="95" y="132"/>
                    </a:lnTo>
                    <a:lnTo>
                      <a:pt x="103" y="134"/>
                    </a:lnTo>
                    <a:lnTo>
                      <a:pt x="90" y="141"/>
                    </a:lnTo>
                    <a:lnTo>
                      <a:pt x="73" y="135"/>
                    </a:lnTo>
                    <a:lnTo>
                      <a:pt x="51" y="117"/>
                    </a:lnTo>
                    <a:lnTo>
                      <a:pt x="35" y="116"/>
                    </a:lnTo>
                    <a:lnTo>
                      <a:pt x="18" y="107"/>
                    </a:lnTo>
                    <a:lnTo>
                      <a:pt x="5" y="115"/>
                    </a:lnTo>
                    <a:lnTo>
                      <a:pt x="19" y="126"/>
                    </a:lnTo>
                    <a:lnTo>
                      <a:pt x="39" y="129"/>
                    </a:lnTo>
                    <a:lnTo>
                      <a:pt x="44" y="139"/>
                    </a:lnTo>
                    <a:lnTo>
                      <a:pt x="58" y="144"/>
                    </a:lnTo>
                    <a:lnTo>
                      <a:pt x="58" y="157"/>
                    </a:lnTo>
                    <a:lnTo>
                      <a:pt x="54" y="169"/>
                    </a:lnTo>
                    <a:lnTo>
                      <a:pt x="60" y="180"/>
                    </a:lnTo>
                    <a:lnTo>
                      <a:pt x="64" y="188"/>
                    </a:lnTo>
                    <a:lnTo>
                      <a:pt x="51" y="195"/>
                    </a:lnTo>
                    <a:lnTo>
                      <a:pt x="44" y="197"/>
                    </a:lnTo>
                    <a:lnTo>
                      <a:pt x="51" y="209"/>
                    </a:lnTo>
                    <a:lnTo>
                      <a:pt x="31" y="212"/>
                    </a:lnTo>
                    <a:lnTo>
                      <a:pt x="16" y="212"/>
                    </a:lnTo>
                    <a:lnTo>
                      <a:pt x="5" y="203"/>
                    </a:lnTo>
                    <a:lnTo>
                      <a:pt x="0" y="213"/>
                    </a:lnTo>
                    <a:lnTo>
                      <a:pt x="2" y="227"/>
                    </a:lnTo>
                    <a:lnTo>
                      <a:pt x="24" y="238"/>
                    </a:lnTo>
                    <a:lnTo>
                      <a:pt x="49" y="257"/>
                    </a:lnTo>
                    <a:lnTo>
                      <a:pt x="62" y="269"/>
                    </a:lnTo>
                    <a:lnTo>
                      <a:pt x="68" y="290"/>
                    </a:lnTo>
                    <a:lnTo>
                      <a:pt x="75" y="309"/>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19" name="Oval 53">
                <a:extLst>
                  <a:ext uri="{FF2B5EF4-FFF2-40B4-BE49-F238E27FC236}">
                    <a16:creationId xmlns:a16="http://schemas.microsoft.com/office/drawing/2014/main" id="{CB98FB68-0A9A-7E1B-17B2-2085B931C852}"/>
                  </a:ext>
                </a:extLst>
              </p:cNvPr>
              <p:cNvSpPr>
                <a:spLocks noChangeArrowheads="1"/>
              </p:cNvSpPr>
              <p:nvPr/>
            </p:nvSpPr>
            <p:spPr bwMode="auto">
              <a:xfrm>
                <a:off x="3632875" y="1665864"/>
                <a:ext cx="10734" cy="1206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algn="ctr" defTabSz="914400" eaLnBrk="0" hangingPunct="0">
                  <a:defRPr/>
                </a:pPr>
                <a:endParaRPr lang="en-US" sz="1200" kern="0">
                  <a:solidFill>
                    <a:sysClr val="windowText" lastClr="000000"/>
                  </a:solidFill>
                </a:endParaRPr>
              </a:p>
            </p:txBody>
          </p:sp>
          <p:sp>
            <p:nvSpPr>
              <p:cNvPr id="2020" name="Oval 54">
                <a:extLst>
                  <a:ext uri="{FF2B5EF4-FFF2-40B4-BE49-F238E27FC236}">
                    <a16:creationId xmlns:a16="http://schemas.microsoft.com/office/drawing/2014/main" id="{926F44CB-54CB-26B0-F006-ABC1FC345F59}"/>
                  </a:ext>
                </a:extLst>
              </p:cNvPr>
              <p:cNvSpPr>
                <a:spLocks noChangeArrowheads="1"/>
              </p:cNvSpPr>
              <p:nvPr/>
            </p:nvSpPr>
            <p:spPr bwMode="auto">
              <a:xfrm>
                <a:off x="3424910" y="3418186"/>
                <a:ext cx="10734"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1" name="Freeform 55">
                <a:extLst>
                  <a:ext uri="{FF2B5EF4-FFF2-40B4-BE49-F238E27FC236}">
                    <a16:creationId xmlns:a16="http://schemas.microsoft.com/office/drawing/2014/main" id="{D85641E3-4D5E-D34E-D9DA-2D93E7EE13FB}"/>
                  </a:ext>
                </a:extLst>
              </p:cNvPr>
              <p:cNvSpPr>
                <a:spLocks/>
              </p:cNvSpPr>
              <p:nvPr/>
            </p:nvSpPr>
            <p:spPr bwMode="auto">
              <a:xfrm>
                <a:off x="4192367" y="2831477"/>
                <a:ext cx="29518" cy="45404"/>
              </a:xfrm>
              <a:custGeom>
                <a:avLst/>
                <a:gdLst>
                  <a:gd name="T0" fmla="*/ 0 w 46"/>
                  <a:gd name="T1" fmla="*/ 56 h 67"/>
                  <a:gd name="T2" fmla="*/ 27 w 46"/>
                  <a:gd name="T3" fmla="*/ 55 h 67"/>
                  <a:gd name="T4" fmla="*/ 42 w 46"/>
                  <a:gd name="T5" fmla="*/ 67 h 67"/>
                  <a:gd name="T6" fmla="*/ 44 w 46"/>
                  <a:gd name="T7" fmla="*/ 55 h 67"/>
                  <a:gd name="T8" fmla="*/ 46 w 46"/>
                  <a:gd name="T9" fmla="*/ 31 h 67"/>
                  <a:gd name="T10" fmla="*/ 35 w 46"/>
                  <a:gd name="T11" fmla="*/ 22 h 67"/>
                  <a:gd name="T12" fmla="*/ 42 w 46"/>
                  <a:gd name="T13" fmla="*/ 7 h 67"/>
                  <a:gd name="T14" fmla="*/ 22 w 46"/>
                  <a:gd name="T15" fmla="*/ 0 h 67"/>
                  <a:gd name="T16" fmla="*/ 7 w 46"/>
                  <a:gd name="T17" fmla="*/ 11 h 67"/>
                  <a:gd name="T18" fmla="*/ 3 w 46"/>
                  <a:gd name="T19" fmla="*/ 28 h 67"/>
                  <a:gd name="T20" fmla="*/ 0 w 46"/>
                  <a:gd name="T21" fmla="*/ 44 h 67"/>
                  <a:gd name="T22" fmla="*/ 0 w 46"/>
                  <a:gd name="T23" fmla="*/ 5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 h="67">
                    <a:moveTo>
                      <a:pt x="0" y="56"/>
                    </a:moveTo>
                    <a:lnTo>
                      <a:pt x="27" y="55"/>
                    </a:lnTo>
                    <a:lnTo>
                      <a:pt x="42" y="67"/>
                    </a:lnTo>
                    <a:lnTo>
                      <a:pt x="44" y="55"/>
                    </a:lnTo>
                    <a:lnTo>
                      <a:pt x="46" y="31"/>
                    </a:lnTo>
                    <a:lnTo>
                      <a:pt x="35" y="22"/>
                    </a:lnTo>
                    <a:lnTo>
                      <a:pt x="42" y="7"/>
                    </a:lnTo>
                    <a:lnTo>
                      <a:pt x="22" y="0"/>
                    </a:lnTo>
                    <a:lnTo>
                      <a:pt x="7" y="11"/>
                    </a:lnTo>
                    <a:lnTo>
                      <a:pt x="3" y="28"/>
                    </a:lnTo>
                    <a:lnTo>
                      <a:pt x="0" y="44"/>
                    </a:lnTo>
                    <a:lnTo>
                      <a:pt x="0" y="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2" name="Oval 56">
                <a:extLst>
                  <a:ext uri="{FF2B5EF4-FFF2-40B4-BE49-F238E27FC236}">
                    <a16:creationId xmlns:a16="http://schemas.microsoft.com/office/drawing/2014/main" id="{65E95ABA-86A0-7B13-1FA6-34EBB2F9EB50}"/>
                  </a:ext>
                </a:extLst>
              </p:cNvPr>
              <p:cNvSpPr>
                <a:spLocks noChangeArrowheads="1"/>
              </p:cNvSpPr>
              <p:nvPr/>
            </p:nvSpPr>
            <p:spPr bwMode="auto">
              <a:xfrm>
                <a:off x="4205785" y="2858436"/>
                <a:ext cx="10734"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3" name="Oval 57">
                <a:extLst>
                  <a:ext uri="{FF2B5EF4-FFF2-40B4-BE49-F238E27FC236}">
                    <a16:creationId xmlns:a16="http://schemas.microsoft.com/office/drawing/2014/main" id="{E3C9AD15-E72C-C456-CD3B-192C936A3BB3}"/>
                  </a:ext>
                </a:extLst>
              </p:cNvPr>
              <p:cNvSpPr>
                <a:spLocks noChangeArrowheads="1"/>
              </p:cNvSpPr>
              <p:nvPr/>
            </p:nvSpPr>
            <p:spPr bwMode="auto">
              <a:xfrm>
                <a:off x="4168217" y="2705906"/>
                <a:ext cx="10734"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4" name="Freeform 58">
                <a:extLst>
                  <a:ext uri="{FF2B5EF4-FFF2-40B4-BE49-F238E27FC236}">
                    <a16:creationId xmlns:a16="http://schemas.microsoft.com/office/drawing/2014/main" id="{4069EB0B-DFC3-BBE0-90AC-98C5BB43D7E6}"/>
                  </a:ext>
                </a:extLst>
              </p:cNvPr>
              <p:cNvSpPr>
                <a:spLocks/>
              </p:cNvSpPr>
              <p:nvPr/>
            </p:nvSpPr>
            <p:spPr bwMode="auto">
              <a:xfrm>
                <a:off x="4046792" y="3468556"/>
                <a:ext cx="18784" cy="15608"/>
              </a:xfrm>
              <a:custGeom>
                <a:avLst/>
                <a:gdLst>
                  <a:gd name="T0" fmla="*/ 11 w 30"/>
                  <a:gd name="T1" fmla="*/ 16 h 23"/>
                  <a:gd name="T2" fmla="*/ 23 w 30"/>
                  <a:gd name="T3" fmla="*/ 23 h 23"/>
                  <a:gd name="T4" fmla="*/ 30 w 30"/>
                  <a:gd name="T5" fmla="*/ 11 h 23"/>
                  <a:gd name="T6" fmla="*/ 16 w 30"/>
                  <a:gd name="T7" fmla="*/ 0 h 23"/>
                  <a:gd name="T8" fmla="*/ 0 w 30"/>
                  <a:gd name="T9" fmla="*/ 6 h 23"/>
                  <a:gd name="T10" fmla="*/ 11 w 30"/>
                  <a:gd name="T11" fmla="*/ 16 h 23"/>
                </a:gdLst>
                <a:ahLst/>
                <a:cxnLst>
                  <a:cxn ang="0">
                    <a:pos x="T0" y="T1"/>
                  </a:cxn>
                  <a:cxn ang="0">
                    <a:pos x="T2" y="T3"/>
                  </a:cxn>
                  <a:cxn ang="0">
                    <a:pos x="T4" y="T5"/>
                  </a:cxn>
                  <a:cxn ang="0">
                    <a:pos x="T6" y="T7"/>
                  </a:cxn>
                  <a:cxn ang="0">
                    <a:pos x="T8" y="T9"/>
                  </a:cxn>
                  <a:cxn ang="0">
                    <a:pos x="T10" y="T11"/>
                  </a:cxn>
                </a:cxnLst>
                <a:rect l="0" t="0" r="r" b="b"/>
                <a:pathLst>
                  <a:path w="30" h="23">
                    <a:moveTo>
                      <a:pt x="11" y="16"/>
                    </a:moveTo>
                    <a:lnTo>
                      <a:pt x="23" y="23"/>
                    </a:lnTo>
                    <a:lnTo>
                      <a:pt x="30" y="11"/>
                    </a:lnTo>
                    <a:lnTo>
                      <a:pt x="16" y="0"/>
                    </a:lnTo>
                    <a:lnTo>
                      <a:pt x="0" y="6"/>
                    </a:lnTo>
                    <a:lnTo>
                      <a:pt x="11" y="1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5" name="Freeform 59">
                <a:extLst>
                  <a:ext uri="{FF2B5EF4-FFF2-40B4-BE49-F238E27FC236}">
                    <a16:creationId xmlns:a16="http://schemas.microsoft.com/office/drawing/2014/main" id="{F9DDCF32-63BD-5585-729E-BE193EAB2CB5}"/>
                  </a:ext>
                </a:extLst>
              </p:cNvPr>
              <p:cNvSpPr>
                <a:spLocks/>
              </p:cNvSpPr>
              <p:nvPr/>
            </p:nvSpPr>
            <p:spPr bwMode="auto">
              <a:xfrm>
                <a:off x="3919330" y="3511832"/>
                <a:ext cx="16101" cy="20574"/>
              </a:xfrm>
              <a:custGeom>
                <a:avLst/>
                <a:gdLst>
                  <a:gd name="T0" fmla="*/ 0 w 25"/>
                  <a:gd name="T1" fmla="*/ 23 h 30"/>
                  <a:gd name="T2" fmla="*/ 10 w 25"/>
                  <a:gd name="T3" fmla="*/ 30 h 30"/>
                  <a:gd name="T4" fmla="*/ 18 w 25"/>
                  <a:gd name="T5" fmla="*/ 19 h 30"/>
                  <a:gd name="T6" fmla="*/ 25 w 25"/>
                  <a:gd name="T7" fmla="*/ 7 h 30"/>
                  <a:gd name="T8" fmla="*/ 16 w 25"/>
                  <a:gd name="T9" fmla="*/ 0 h 30"/>
                  <a:gd name="T10" fmla="*/ 5 w 25"/>
                  <a:gd name="T11" fmla="*/ 8 h 30"/>
                  <a:gd name="T12" fmla="*/ 0 w 25"/>
                  <a:gd name="T13" fmla="*/ 23 h 30"/>
                </a:gdLst>
                <a:ahLst/>
                <a:cxnLst>
                  <a:cxn ang="0">
                    <a:pos x="T0" y="T1"/>
                  </a:cxn>
                  <a:cxn ang="0">
                    <a:pos x="T2" y="T3"/>
                  </a:cxn>
                  <a:cxn ang="0">
                    <a:pos x="T4" y="T5"/>
                  </a:cxn>
                  <a:cxn ang="0">
                    <a:pos x="T6" y="T7"/>
                  </a:cxn>
                  <a:cxn ang="0">
                    <a:pos x="T8" y="T9"/>
                  </a:cxn>
                  <a:cxn ang="0">
                    <a:pos x="T10" y="T11"/>
                  </a:cxn>
                  <a:cxn ang="0">
                    <a:pos x="T12" y="T13"/>
                  </a:cxn>
                </a:cxnLst>
                <a:rect l="0" t="0" r="r" b="b"/>
                <a:pathLst>
                  <a:path w="25" h="30">
                    <a:moveTo>
                      <a:pt x="0" y="23"/>
                    </a:moveTo>
                    <a:lnTo>
                      <a:pt x="10" y="30"/>
                    </a:lnTo>
                    <a:lnTo>
                      <a:pt x="18" y="19"/>
                    </a:lnTo>
                    <a:lnTo>
                      <a:pt x="25" y="7"/>
                    </a:lnTo>
                    <a:lnTo>
                      <a:pt x="16" y="0"/>
                    </a:lnTo>
                    <a:lnTo>
                      <a:pt x="5" y="8"/>
                    </a:lnTo>
                    <a:lnTo>
                      <a:pt x="0"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6" name="Freeform 60">
                <a:extLst>
                  <a:ext uri="{FF2B5EF4-FFF2-40B4-BE49-F238E27FC236}">
                    <a16:creationId xmlns:a16="http://schemas.microsoft.com/office/drawing/2014/main" id="{5A5EF6C2-1771-BC8B-BA74-24C07EF65C83}"/>
                  </a:ext>
                </a:extLst>
              </p:cNvPr>
              <p:cNvSpPr>
                <a:spLocks/>
              </p:cNvSpPr>
              <p:nvPr/>
            </p:nvSpPr>
            <p:spPr bwMode="auto">
              <a:xfrm>
                <a:off x="3978365" y="3468556"/>
                <a:ext cx="47631" cy="44695"/>
              </a:xfrm>
              <a:custGeom>
                <a:avLst/>
                <a:gdLst>
                  <a:gd name="T0" fmla="*/ 4 w 74"/>
                  <a:gd name="T1" fmla="*/ 40 h 66"/>
                  <a:gd name="T2" fmla="*/ 28 w 74"/>
                  <a:gd name="T3" fmla="*/ 43 h 66"/>
                  <a:gd name="T4" fmla="*/ 50 w 74"/>
                  <a:gd name="T5" fmla="*/ 66 h 66"/>
                  <a:gd name="T6" fmla="*/ 72 w 74"/>
                  <a:gd name="T7" fmla="*/ 40 h 66"/>
                  <a:gd name="T8" fmla="*/ 74 w 74"/>
                  <a:gd name="T9" fmla="*/ 32 h 66"/>
                  <a:gd name="T10" fmla="*/ 62 w 74"/>
                  <a:gd name="T11" fmla="*/ 23 h 66"/>
                  <a:gd name="T12" fmla="*/ 57 w 74"/>
                  <a:gd name="T13" fmla="*/ 14 h 66"/>
                  <a:gd name="T14" fmla="*/ 56 w 74"/>
                  <a:gd name="T15" fmla="*/ 0 h 66"/>
                  <a:gd name="T16" fmla="*/ 17 w 74"/>
                  <a:gd name="T17" fmla="*/ 18 h 66"/>
                  <a:gd name="T18" fmla="*/ 0 w 74"/>
                  <a:gd name="T19" fmla="*/ 31 h 66"/>
                  <a:gd name="T20" fmla="*/ 4 w 74"/>
                  <a:gd name="T21" fmla="*/ 4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66">
                    <a:moveTo>
                      <a:pt x="4" y="40"/>
                    </a:moveTo>
                    <a:lnTo>
                      <a:pt x="28" y="43"/>
                    </a:lnTo>
                    <a:lnTo>
                      <a:pt x="50" y="66"/>
                    </a:lnTo>
                    <a:lnTo>
                      <a:pt x="72" y="40"/>
                    </a:lnTo>
                    <a:lnTo>
                      <a:pt x="74" y="32"/>
                    </a:lnTo>
                    <a:lnTo>
                      <a:pt x="62" y="23"/>
                    </a:lnTo>
                    <a:lnTo>
                      <a:pt x="57" y="14"/>
                    </a:lnTo>
                    <a:lnTo>
                      <a:pt x="56" y="0"/>
                    </a:lnTo>
                    <a:lnTo>
                      <a:pt x="17" y="18"/>
                    </a:lnTo>
                    <a:lnTo>
                      <a:pt x="0" y="31"/>
                    </a:lnTo>
                    <a:lnTo>
                      <a:pt x="4"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7" name="Freeform 61">
                <a:extLst>
                  <a:ext uri="{FF2B5EF4-FFF2-40B4-BE49-F238E27FC236}">
                    <a16:creationId xmlns:a16="http://schemas.microsoft.com/office/drawing/2014/main" id="{B31185DB-22A5-642D-311D-0882E59799FD}"/>
                  </a:ext>
                </a:extLst>
              </p:cNvPr>
              <p:cNvSpPr>
                <a:spLocks/>
              </p:cNvSpPr>
              <p:nvPr/>
            </p:nvSpPr>
            <p:spPr bwMode="auto">
              <a:xfrm>
                <a:off x="4274883" y="3322411"/>
                <a:ext cx="44947" cy="102160"/>
              </a:xfrm>
              <a:custGeom>
                <a:avLst/>
                <a:gdLst>
                  <a:gd name="T0" fmla="*/ 60 w 70"/>
                  <a:gd name="T1" fmla="*/ 0 h 151"/>
                  <a:gd name="T2" fmla="*/ 44 w 70"/>
                  <a:gd name="T3" fmla="*/ 20 h 151"/>
                  <a:gd name="T4" fmla="*/ 32 w 70"/>
                  <a:gd name="T5" fmla="*/ 25 h 151"/>
                  <a:gd name="T6" fmla="*/ 22 w 70"/>
                  <a:gd name="T7" fmla="*/ 35 h 151"/>
                  <a:gd name="T8" fmla="*/ 10 w 70"/>
                  <a:gd name="T9" fmla="*/ 35 h 151"/>
                  <a:gd name="T10" fmla="*/ 2 w 70"/>
                  <a:gd name="T11" fmla="*/ 48 h 151"/>
                  <a:gd name="T12" fmla="*/ 0 w 70"/>
                  <a:gd name="T13" fmla="*/ 73 h 151"/>
                  <a:gd name="T14" fmla="*/ 6 w 70"/>
                  <a:gd name="T15" fmla="*/ 87 h 151"/>
                  <a:gd name="T16" fmla="*/ 8 w 70"/>
                  <a:gd name="T17" fmla="*/ 119 h 151"/>
                  <a:gd name="T18" fmla="*/ 22 w 70"/>
                  <a:gd name="T19" fmla="*/ 137 h 151"/>
                  <a:gd name="T20" fmla="*/ 40 w 70"/>
                  <a:gd name="T21" fmla="*/ 151 h 151"/>
                  <a:gd name="T22" fmla="*/ 38 w 70"/>
                  <a:gd name="T23" fmla="*/ 151 h 151"/>
                  <a:gd name="T24" fmla="*/ 52 w 70"/>
                  <a:gd name="T25" fmla="*/ 125 h 151"/>
                  <a:gd name="T26" fmla="*/ 64 w 70"/>
                  <a:gd name="T27" fmla="*/ 89 h 151"/>
                  <a:gd name="T28" fmla="*/ 70 w 70"/>
                  <a:gd name="T29" fmla="*/ 68 h 151"/>
                  <a:gd name="T30" fmla="*/ 59 w 70"/>
                  <a:gd name="T31" fmla="*/ 36 h 151"/>
                  <a:gd name="T32" fmla="*/ 60 w 70"/>
                  <a:gd name="T33"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151">
                    <a:moveTo>
                      <a:pt x="60" y="0"/>
                    </a:moveTo>
                    <a:lnTo>
                      <a:pt x="44" y="20"/>
                    </a:lnTo>
                    <a:lnTo>
                      <a:pt x="32" y="25"/>
                    </a:lnTo>
                    <a:lnTo>
                      <a:pt x="22" y="35"/>
                    </a:lnTo>
                    <a:lnTo>
                      <a:pt x="10" y="35"/>
                    </a:lnTo>
                    <a:lnTo>
                      <a:pt x="2" y="48"/>
                    </a:lnTo>
                    <a:lnTo>
                      <a:pt x="0" y="73"/>
                    </a:lnTo>
                    <a:lnTo>
                      <a:pt x="6" y="87"/>
                    </a:lnTo>
                    <a:lnTo>
                      <a:pt x="8" y="119"/>
                    </a:lnTo>
                    <a:lnTo>
                      <a:pt x="22" y="137"/>
                    </a:lnTo>
                    <a:lnTo>
                      <a:pt x="40" y="151"/>
                    </a:lnTo>
                    <a:lnTo>
                      <a:pt x="38" y="151"/>
                    </a:lnTo>
                    <a:lnTo>
                      <a:pt x="52" y="125"/>
                    </a:lnTo>
                    <a:lnTo>
                      <a:pt x="64" y="89"/>
                    </a:lnTo>
                    <a:lnTo>
                      <a:pt x="70" y="68"/>
                    </a:lnTo>
                    <a:lnTo>
                      <a:pt x="59" y="36"/>
                    </a:lnTo>
                    <a:lnTo>
                      <a:pt x="60"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8" name="Freeform 62">
                <a:extLst>
                  <a:ext uri="{FF2B5EF4-FFF2-40B4-BE49-F238E27FC236}">
                    <a16:creationId xmlns:a16="http://schemas.microsoft.com/office/drawing/2014/main" id="{DC939F3D-2491-5BDD-DE9B-5F5F42226133}"/>
                  </a:ext>
                </a:extLst>
              </p:cNvPr>
              <p:cNvSpPr>
                <a:spLocks/>
              </p:cNvSpPr>
              <p:nvPr/>
            </p:nvSpPr>
            <p:spPr bwMode="auto">
              <a:xfrm>
                <a:off x="4246707" y="3433793"/>
                <a:ext cx="73123" cy="151821"/>
              </a:xfrm>
              <a:custGeom>
                <a:avLst/>
                <a:gdLst>
                  <a:gd name="T0" fmla="*/ 7 w 114"/>
                  <a:gd name="T1" fmla="*/ 23 h 224"/>
                  <a:gd name="T2" fmla="*/ 26 w 114"/>
                  <a:gd name="T3" fmla="*/ 35 h 224"/>
                  <a:gd name="T4" fmla="*/ 52 w 114"/>
                  <a:gd name="T5" fmla="*/ 16 h 224"/>
                  <a:gd name="T6" fmla="*/ 70 w 114"/>
                  <a:gd name="T7" fmla="*/ 4 h 224"/>
                  <a:gd name="T8" fmla="*/ 84 w 114"/>
                  <a:gd name="T9" fmla="*/ 0 h 224"/>
                  <a:gd name="T10" fmla="*/ 106 w 114"/>
                  <a:gd name="T11" fmla="*/ 25 h 224"/>
                  <a:gd name="T12" fmla="*/ 108 w 114"/>
                  <a:gd name="T13" fmla="*/ 47 h 224"/>
                  <a:gd name="T14" fmla="*/ 114 w 114"/>
                  <a:gd name="T15" fmla="*/ 71 h 224"/>
                  <a:gd name="T16" fmla="*/ 103 w 114"/>
                  <a:gd name="T17" fmla="*/ 89 h 224"/>
                  <a:gd name="T18" fmla="*/ 106 w 114"/>
                  <a:gd name="T19" fmla="*/ 109 h 224"/>
                  <a:gd name="T20" fmla="*/ 104 w 114"/>
                  <a:gd name="T21" fmla="*/ 160 h 224"/>
                  <a:gd name="T22" fmla="*/ 99 w 114"/>
                  <a:gd name="T23" fmla="*/ 183 h 224"/>
                  <a:gd name="T24" fmla="*/ 88 w 114"/>
                  <a:gd name="T25" fmla="*/ 200 h 224"/>
                  <a:gd name="T26" fmla="*/ 68 w 114"/>
                  <a:gd name="T27" fmla="*/ 196 h 224"/>
                  <a:gd name="T28" fmla="*/ 50 w 114"/>
                  <a:gd name="T29" fmla="*/ 213 h 224"/>
                  <a:gd name="T30" fmla="*/ 31 w 114"/>
                  <a:gd name="T31" fmla="*/ 224 h 224"/>
                  <a:gd name="T32" fmla="*/ 16 w 114"/>
                  <a:gd name="T33" fmla="*/ 199 h 224"/>
                  <a:gd name="T34" fmla="*/ 12 w 114"/>
                  <a:gd name="T35" fmla="*/ 184 h 224"/>
                  <a:gd name="T36" fmla="*/ 10 w 114"/>
                  <a:gd name="T37" fmla="*/ 161 h 224"/>
                  <a:gd name="T38" fmla="*/ 10 w 114"/>
                  <a:gd name="T39" fmla="*/ 144 h 224"/>
                  <a:gd name="T40" fmla="*/ 19 w 114"/>
                  <a:gd name="T41" fmla="*/ 123 h 224"/>
                  <a:gd name="T42" fmla="*/ 22 w 114"/>
                  <a:gd name="T43" fmla="*/ 93 h 224"/>
                  <a:gd name="T44" fmla="*/ 18 w 114"/>
                  <a:gd name="T45" fmla="*/ 68 h 224"/>
                  <a:gd name="T46" fmla="*/ 11 w 114"/>
                  <a:gd name="T47" fmla="*/ 55 h 224"/>
                  <a:gd name="T48" fmla="*/ 0 w 114"/>
                  <a:gd name="T49" fmla="*/ 45 h 224"/>
                  <a:gd name="T50" fmla="*/ 7 w 114"/>
                  <a:gd name="T51" fmla="*/ 23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4" h="224">
                    <a:moveTo>
                      <a:pt x="7" y="23"/>
                    </a:moveTo>
                    <a:lnTo>
                      <a:pt x="26" y="35"/>
                    </a:lnTo>
                    <a:lnTo>
                      <a:pt x="52" y="16"/>
                    </a:lnTo>
                    <a:lnTo>
                      <a:pt x="70" y="4"/>
                    </a:lnTo>
                    <a:lnTo>
                      <a:pt x="84" y="0"/>
                    </a:lnTo>
                    <a:lnTo>
                      <a:pt x="106" y="25"/>
                    </a:lnTo>
                    <a:lnTo>
                      <a:pt x="108" y="47"/>
                    </a:lnTo>
                    <a:lnTo>
                      <a:pt x="114" y="71"/>
                    </a:lnTo>
                    <a:lnTo>
                      <a:pt x="103" y="89"/>
                    </a:lnTo>
                    <a:lnTo>
                      <a:pt x="106" y="109"/>
                    </a:lnTo>
                    <a:lnTo>
                      <a:pt x="104" y="160"/>
                    </a:lnTo>
                    <a:lnTo>
                      <a:pt x="99" y="183"/>
                    </a:lnTo>
                    <a:lnTo>
                      <a:pt x="88" y="200"/>
                    </a:lnTo>
                    <a:lnTo>
                      <a:pt x="68" y="196"/>
                    </a:lnTo>
                    <a:lnTo>
                      <a:pt x="50" y="213"/>
                    </a:lnTo>
                    <a:lnTo>
                      <a:pt x="31" y="224"/>
                    </a:lnTo>
                    <a:lnTo>
                      <a:pt x="16" y="199"/>
                    </a:lnTo>
                    <a:lnTo>
                      <a:pt x="12" y="184"/>
                    </a:lnTo>
                    <a:lnTo>
                      <a:pt x="10" y="161"/>
                    </a:lnTo>
                    <a:lnTo>
                      <a:pt x="10" y="144"/>
                    </a:lnTo>
                    <a:lnTo>
                      <a:pt x="19" y="123"/>
                    </a:lnTo>
                    <a:lnTo>
                      <a:pt x="22" y="93"/>
                    </a:lnTo>
                    <a:lnTo>
                      <a:pt x="18" y="68"/>
                    </a:lnTo>
                    <a:lnTo>
                      <a:pt x="11" y="55"/>
                    </a:lnTo>
                    <a:lnTo>
                      <a:pt x="0" y="45"/>
                    </a:lnTo>
                    <a:lnTo>
                      <a:pt x="7"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29" name="Freeform 63">
                <a:extLst>
                  <a:ext uri="{FF2B5EF4-FFF2-40B4-BE49-F238E27FC236}">
                    <a16:creationId xmlns:a16="http://schemas.microsoft.com/office/drawing/2014/main" id="{F40AE1CC-7205-3643-ACCD-537CC48FB884}"/>
                  </a:ext>
                </a:extLst>
              </p:cNvPr>
              <p:cNvSpPr>
                <a:spLocks/>
              </p:cNvSpPr>
              <p:nvPr/>
            </p:nvSpPr>
            <p:spPr bwMode="auto">
              <a:xfrm>
                <a:off x="3766375" y="2395170"/>
                <a:ext cx="87882" cy="100741"/>
              </a:xfrm>
              <a:custGeom>
                <a:avLst/>
                <a:gdLst>
                  <a:gd name="T0" fmla="*/ 0 w 137"/>
                  <a:gd name="T1" fmla="*/ 62 h 148"/>
                  <a:gd name="T2" fmla="*/ 12 w 137"/>
                  <a:gd name="T3" fmla="*/ 73 h 148"/>
                  <a:gd name="T4" fmla="*/ 17 w 137"/>
                  <a:gd name="T5" fmla="*/ 88 h 148"/>
                  <a:gd name="T6" fmla="*/ 19 w 137"/>
                  <a:gd name="T7" fmla="*/ 101 h 148"/>
                  <a:gd name="T8" fmla="*/ 26 w 137"/>
                  <a:gd name="T9" fmla="*/ 109 h 148"/>
                  <a:gd name="T10" fmla="*/ 37 w 137"/>
                  <a:gd name="T11" fmla="*/ 104 h 148"/>
                  <a:gd name="T12" fmla="*/ 49 w 137"/>
                  <a:gd name="T13" fmla="*/ 96 h 148"/>
                  <a:gd name="T14" fmla="*/ 63 w 137"/>
                  <a:gd name="T15" fmla="*/ 93 h 148"/>
                  <a:gd name="T16" fmla="*/ 81 w 137"/>
                  <a:gd name="T17" fmla="*/ 98 h 148"/>
                  <a:gd name="T18" fmla="*/ 92 w 137"/>
                  <a:gd name="T19" fmla="*/ 108 h 148"/>
                  <a:gd name="T20" fmla="*/ 90 w 137"/>
                  <a:gd name="T21" fmla="*/ 119 h 148"/>
                  <a:gd name="T22" fmla="*/ 85 w 137"/>
                  <a:gd name="T23" fmla="*/ 133 h 148"/>
                  <a:gd name="T24" fmla="*/ 80 w 137"/>
                  <a:gd name="T25" fmla="*/ 143 h 148"/>
                  <a:gd name="T26" fmla="*/ 87 w 137"/>
                  <a:gd name="T27" fmla="*/ 148 h 148"/>
                  <a:gd name="T28" fmla="*/ 95 w 137"/>
                  <a:gd name="T29" fmla="*/ 140 h 148"/>
                  <a:gd name="T30" fmla="*/ 104 w 137"/>
                  <a:gd name="T31" fmla="*/ 143 h 148"/>
                  <a:gd name="T32" fmla="*/ 108 w 137"/>
                  <a:gd name="T33" fmla="*/ 128 h 148"/>
                  <a:gd name="T34" fmla="*/ 123 w 137"/>
                  <a:gd name="T35" fmla="*/ 134 h 148"/>
                  <a:gd name="T36" fmla="*/ 127 w 137"/>
                  <a:gd name="T37" fmla="*/ 127 h 148"/>
                  <a:gd name="T38" fmla="*/ 126 w 137"/>
                  <a:gd name="T39" fmla="*/ 113 h 148"/>
                  <a:gd name="T40" fmla="*/ 136 w 137"/>
                  <a:gd name="T41" fmla="*/ 109 h 148"/>
                  <a:gd name="T42" fmla="*/ 137 w 137"/>
                  <a:gd name="T43" fmla="*/ 97 h 148"/>
                  <a:gd name="T44" fmla="*/ 117 w 137"/>
                  <a:gd name="T45" fmla="*/ 87 h 148"/>
                  <a:gd name="T46" fmla="*/ 120 w 137"/>
                  <a:gd name="T47" fmla="*/ 77 h 148"/>
                  <a:gd name="T48" fmla="*/ 129 w 137"/>
                  <a:gd name="T49" fmla="*/ 77 h 148"/>
                  <a:gd name="T50" fmla="*/ 130 w 137"/>
                  <a:gd name="T51" fmla="*/ 58 h 148"/>
                  <a:gd name="T52" fmla="*/ 123 w 137"/>
                  <a:gd name="T53" fmla="*/ 45 h 148"/>
                  <a:gd name="T54" fmla="*/ 119 w 137"/>
                  <a:gd name="T55" fmla="*/ 32 h 148"/>
                  <a:gd name="T56" fmla="*/ 102 w 137"/>
                  <a:gd name="T57" fmla="*/ 26 h 148"/>
                  <a:gd name="T58" fmla="*/ 81 w 137"/>
                  <a:gd name="T59" fmla="*/ 28 h 148"/>
                  <a:gd name="T60" fmla="*/ 70 w 137"/>
                  <a:gd name="T61" fmla="*/ 28 h 148"/>
                  <a:gd name="T62" fmla="*/ 65 w 137"/>
                  <a:gd name="T63" fmla="*/ 20 h 148"/>
                  <a:gd name="T64" fmla="*/ 71 w 137"/>
                  <a:gd name="T65" fmla="*/ 12 h 148"/>
                  <a:gd name="T66" fmla="*/ 68 w 137"/>
                  <a:gd name="T67" fmla="*/ 0 h 148"/>
                  <a:gd name="T68" fmla="*/ 61 w 137"/>
                  <a:gd name="T69" fmla="*/ 4 h 148"/>
                  <a:gd name="T70" fmla="*/ 51 w 137"/>
                  <a:gd name="T71" fmla="*/ 16 h 148"/>
                  <a:gd name="T72" fmla="*/ 46 w 137"/>
                  <a:gd name="T73" fmla="*/ 30 h 148"/>
                  <a:gd name="T74" fmla="*/ 38 w 137"/>
                  <a:gd name="T75" fmla="*/ 43 h 148"/>
                  <a:gd name="T76" fmla="*/ 29 w 137"/>
                  <a:gd name="T77" fmla="*/ 50 h 148"/>
                  <a:gd name="T78" fmla="*/ 23 w 137"/>
                  <a:gd name="T79" fmla="*/ 49 h 148"/>
                  <a:gd name="T80" fmla="*/ 11 w 137"/>
                  <a:gd name="T81" fmla="*/ 59 h 148"/>
                  <a:gd name="T82" fmla="*/ 0 w 137"/>
                  <a:gd name="T83" fmla="*/ 6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37" h="148">
                    <a:moveTo>
                      <a:pt x="0" y="62"/>
                    </a:moveTo>
                    <a:lnTo>
                      <a:pt x="12" y="73"/>
                    </a:lnTo>
                    <a:lnTo>
                      <a:pt x="17" y="88"/>
                    </a:lnTo>
                    <a:lnTo>
                      <a:pt x="19" y="101"/>
                    </a:lnTo>
                    <a:lnTo>
                      <a:pt x="26" y="109"/>
                    </a:lnTo>
                    <a:lnTo>
                      <a:pt x="37" y="104"/>
                    </a:lnTo>
                    <a:lnTo>
                      <a:pt x="49" y="96"/>
                    </a:lnTo>
                    <a:lnTo>
                      <a:pt x="63" y="93"/>
                    </a:lnTo>
                    <a:lnTo>
                      <a:pt x="81" y="98"/>
                    </a:lnTo>
                    <a:lnTo>
                      <a:pt x="92" y="108"/>
                    </a:lnTo>
                    <a:lnTo>
                      <a:pt x="90" y="119"/>
                    </a:lnTo>
                    <a:lnTo>
                      <a:pt x="85" y="133"/>
                    </a:lnTo>
                    <a:lnTo>
                      <a:pt x="80" y="143"/>
                    </a:lnTo>
                    <a:lnTo>
                      <a:pt x="87" y="148"/>
                    </a:lnTo>
                    <a:lnTo>
                      <a:pt x="95" y="140"/>
                    </a:lnTo>
                    <a:lnTo>
                      <a:pt x="104" y="143"/>
                    </a:lnTo>
                    <a:lnTo>
                      <a:pt x="108" y="128"/>
                    </a:lnTo>
                    <a:lnTo>
                      <a:pt x="123" y="134"/>
                    </a:lnTo>
                    <a:lnTo>
                      <a:pt x="127" y="127"/>
                    </a:lnTo>
                    <a:lnTo>
                      <a:pt x="126" y="113"/>
                    </a:lnTo>
                    <a:lnTo>
                      <a:pt x="136" y="109"/>
                    </a:lnTo>
                    <a:lnTo>
                      <a:pt x="137" y="97"/>
                    </a:lnTo>
                    <a:lnTo>
                      <a:pt x="117" y="87"/>
                    </a:lnTo>
                    <a:lnTo>
                      <a:pt x="120" y="77"/>
                    </a:lnTo>
                    <a:lnTo>
                      <a:pt x="129" y="77"/>
                    </a:lnTo>
                    <a:lnTo>
                      <a:pt x="130" y="58"/>
                    </a:lnTo>
                    <a:lnTo>
                      <a:pt x="123" y="45"/>
                    </a:lnTo>
                    <a:lnTo>
                      <a:pt x="119" y="32"/>
                    </a:lnTo>
                    <a:lnTo>
                      <a:pt x="102" y="26"/>
                    </a:lnTo>
                    <a:lnTo>
                      <a:pt x="81" y="28"/>
                    </a:lnTo>
                    <a:lnTo>
                      <a:pt x="70" y="28"/>
                    </a:lnTo>
                    <a:lnTo>
                      <a:pt x="65" y="20"/>
                    </a:lnTo>
                    <a:lnTo>
                      <a:pt x="71" y="12"/>
                    </a:lnTo>
                    <a:lnTo>
                      <a:pt x="68" y="0"/>
                    </a:lnTo>
                    <a:lnTo>
                      <a:pt x="61" y="4"/>
                    </a:lnTo>
                    <a:lnTo>
                      <a:pt x="51" y="16"/>
                    </a:lnTo>
                    <a:lnTo>
                      <a:pt x="46" y="30"/>
                    </a:lnTo>
                    <a:lnTo>
                      <a:pt x="38" y="43"/>
                    </a:lnTo>
                    <a:lnTo>
                      <a:pt x="29" y="50"/>
                    </a:lnTo>
                    <a:lnTo>
                      <a:pt x="23" y="49"/>
                    </a:lnTo>
                    <a:lnTo>
                      <a:pt x="11" y="59"/>
                    </a:lnTo>
                    <a:lnTo>
                      <a:pt x="0" y="6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0" name="Freeform 64">
                <a:extLst>
                  <a:ext uri="{FF2B5EF4-FFF2-40B4-BE49-F238E27FC236}">
                    <a16:creationId xmlns:a16="http://schemas.microsoft.com/office/drawing/2014/main" id="{6CBAE9F9-4735-D7CF-0781-4747044B8921}"/>
                  </a:ext>
                </a:extLst>
              </p:cNvPr>
              <p:cNvSpPr>
                <a:spLocks/>
              </p:cNvSpPr>
              <p:nvPr/>
            </p:nvSpPr>
            <p:spPr bwMode="auto">
              <a:xfrm>
                <a:off x="3935430" y="1966668"/>
                <a:ext cx="31530" cy="41857"/>
              </a:xfrm>
              <a:custGeom>
                <a:avLst/>
                <a:gdLst>
                  <a:gd name="T0" fmla="*/ 24 w 50"/>
                  <a:gd name="T1" fmla="*/ 62 h 62"/>
                  <a:gd name="T2" fmla="*/ 33 w 50"/>
                  <a:gd name="T3" fmla="*/ 52 h 62"/>
                  <a:gd name="T4" fmla="*/ 32 w 50"/>
                  <a:gd name="T5" fmla="*/ 39 h 62"/>
                  <a:gd name="T6" fmla="*/ 35 w 50"/>
                  <a:gd name="T7" fmla="*/ 32 h 62"/>
                  <a:gd name="T8" fmla="*/ 42 w 50"/>
                  <a:gd name="T9" fmla="*/ 25 h 62"/>
                  <a:gd name="T10" fmla="*/ 49 w 50"/>
                  <a:gd name="T11" fmla="*/ 18 h 62"/>
                  <a:gd name="T12" fmla="*/ 50 w 50"/>
                  <a:gd name="T13" fmla="*/ 0 h 62"/>
                  <a:gd name="T14" fmla="*/ 36 w 50"/>
                  <a:gd name="T15" fmla="*/ 7 h 62"/>
                  <a:gd name="T16" fmla="*/ 34 w 50"/>
                  <a:gd name="T17" fmla="*/ 0 h 62"/>
                  <a:gd name="T18" fmla="*/ 25 w 50"/>
                  <a:gd name="T19" fmla="*/ 2 h 62"/>
                  <a:gd name="T20" fmla="*/ 12 w 50"/>
                  <a:gd name="T21" fmla="*/ 5 h 62"/>
                  <a:gd name="T22" fmla="*/ 5 w 50"/>
                  <a:gd name="T23" fmla="*/ 9 h 62"/>
                  <a:gd name="T24" fmla="*/ 0 w 50"/>
                  <a:gd name="T25" fmla="*/ 16 h 62"/>
                  <a:gd name="T26" fmla="*/ 6 w 50"/>
                  <a:gd name="T27" fmla="*/ 25 h 62"/>
                  <a:gd name="T28" fmla="*/ 16 w 50"/>
                  <a:gd name="T29" fmla="*/ 26 h 62"/>
                  <a:gd name="T30" fmla="*/ 21 w 50"/>
                  <a:gd name="T31" fmla="*/ 36 h 62"/>
                  <a:gd name="T32" fmla="*/ 22 w 50"/>
                  <a:gd name="T33" fmla="*/ 44 h 62"/>
                  <a:gd name="T34" fmla="*/ 25 w 50"/>
                  <a:gd name="T35" fmla="*/ 5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62">
                    <a:moveTo>
                      <a:pt x="24" y="62"/>
                    </a:moveTo>
                    <a:lnTo>
                      <a:pt x="33" y="52"/>
                    </a:lnTo>
                    <a:lnTo>
                      <a:pt x="32" y="39"/>
                    </a:lnTo>
                    <a:lnTo>
                      <a:pt x="35" y="32"/>
                    </a:lnTo>
                    <a:lnTo>
                      <a:pt x="42" y="25"/>
                    </a:lnTo>
                    <a:lnTo>
                      <a:pt x="49" y="18"/>
                    </a:lnTo>
                    <a:lnTo>
                      <a:pt x="50" y="0"/>
                    </a:lnTo>
                    <a:lnTo>
                      <a:pt x="36" y="7"/>
                    </a:lnTo>
                    <a:lnTo>
                      <a:pt x="34" y="0"/>
                    </a:lnTo>
                    <a:lnTo>
                      <a:pt x="25" y="2"/>
                    </a:lnTo>
                    <a:lnTo>
                      <a:pt x="12" y="5"/>
                    </a:lnTo>
                    <a:lnTo>
                      <a:pt x="5" y="9"/>
                    </a:lnTo>
                    <a:lnTo>
                      <a:pt x="0" y="16"/>
                    </a:lnTo>
                    <a:lnTo>
                      <a:pt x="6" y="25"/>
                    </a:lnTo>
                    <a:lnTo>
                      <a:pt x="16" y="26"/>
                    </a:lnTo>
                    <a:lnTo>
                      <a:pt x="21" y="36"/>
                    </a:lnTo>
                    <a:lnTo>
                      <a:pt x="22" y="44"/>
                    </a:lnTo>
                    <a:lnTo>
                      <a:pt x="25"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1" name="Freeform 65">
                <a:extLst>
                  <a:ext uri="{FF2B5EF4-FFF2-40B4-BE49-F238E27FC236}">
                    <a16:creationId xmlns:a16="http://schemas.microsoft.com/office/drawing/2014/main" id="{861C5ADE-839D-261D-A006-9323236F77C2}"/>
                  </a:ext>
                </a:extLst>
              </p:cNvPr>
              <p:cNvSpPr>
                <a:spLocks/>
              </p:cNvSpPr>
              <p:nvPr/>
            </p:nvSpPr>
            <p:spPr bwMode="auto">
              <a:xfrm>
                <a:off x="3938114" y="2007815"/>
                <a:ext cx="8050" cy="17027"/>
              </a:xfrm>
              <a:custGeom>
                <a:avLst/>
                <a:gdLst>
                  <a:gd name="T0" fmla="*/ 1 w 12"/>
                  <a:gd name="T1" fmla="*/ 1 h 25"/>
                  <a:gd name="T2" fmla="*/ 0 w 12"/>
                  <a:gd name="T3" fmla="*/ 13 h 25"/>
                  <a:gd name="T4" fmla="*/ 0 w 12"/>
                  <a:gd name="T5" fmla="*/ 25 h 25"/>
                  <a:gd name="T6" fmla="*/ 11 w 12"/>
                  <a:gd name="T7" fmla="*/ 21 h 25"/>
                  <a:gd name="T8" fmla="*/ 12 w 12"/>
                  <a:gd name="T9" fmla="*/ 11 h 25"/>
                  <a:gd name="T10" fmla="*/ 9 w 12"/>
                  <a:gd name="T11" fmla="*/ 0 h 25"/>
                  <a:gd name="T12" fmla="*/ 1 w 12"/>
                  <a:gd name="T13" fmla="*/ 1 h 25"/>
                </a:gdLst>
                <a:ahLst/>
                <a:cxnLst>
                  <a:cxn ang="0">
                    <a:pos x="T0" y="T1"/>
                  </a:cxn>
                  <a:cxn ang="0">
                    <a:pos x="T2" y="T3"/>
                  </a:cxn>
                  <a:cxn ang="0">
                    <a:pos x="T4" y="T5"/>
                  </a:cxn>
                  <a:cxn ang="0">
                    <a:pos x="T6" y="T7"/>
                  </a:cxn>
                  <a:cxn ang="0">
                    <a:pos x="T8" y="T9"/>
                  </a:cxn>
                  <a:cxn ang="0">
                    <a:pos x="T10" y="T11"/>
                  </a:cxn>
                  <a:cxn ang="0">
                    <a:pos x="T12" y="T13"/>
                  </a:cxn>
                </a:cxnLst>
                <a:rect l="0" t="0" r="r" b="b"/>
                <a:pathLst>
                  <a:path w="12" h="25">
                    <a:moveTo>
                      <a:pt x="1" y="1"/>
                    </a:moveTo>
                    <a:lnTo>
                      <a:pt x="0" y="13"/>
                    </a:lnTo>
                    <a:lnTo>
                      <a:pt x="0" y="25"/>
                    </a:lnTo>
                    <a:lnTo>
                      <a:pt x="11" y="21"/>
                    </a:lnTo>
                    <a:lnTo>
                      <a:pt x="12" y="11"/>
                    </a:lnTo>
                    <a:lnTo>
                      <a:pt x="9" y="0"/>
                    </a:lnTo>
                    <a:lnTo>
                      <a:pt x="1" y="1"/>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2" name="Freeform 66">
                <a:extLst>
                  <a:ext uri="{FF2B5EF4-FFF2-40B4-BE49-F238E27FC236}">
                    <a16:creationId xmlns:a16="http://schemas.microsoft.com/office/drawing/2014/main" id="{8E2560CE-E9D8-99E2-51EE-0C426FFC3722}"/>
                  </a:ext>
                </a:extLst>
              </p:cNvPr>
              <p:cNvSpPr>
                <a:spLocks/>
              </p:cNvSpPr>
              <p:nvPr/>
            </p:nvSpPr>
            <p:spPr bwMode="auto">
              <a:xfrm>
                <a:off x="4067589" y="2120616"/>
                <a:ext cx="18113" cy="48951"/>
              </a:xfrm>
              <a:custGeom>
                <a:avLst/>
                <a:gdLst>
                  <a:gd name="T0" fmla="*/ 0 w 28"/>
                  <a:gd name="T1" fmla="*/ 72 h 72"/>
                  <a:gd name="T2" fmla="*/ 4 w 28"/>
                  <a:gd name="T3" fmla="*/ 63 h 72"/>
                  <a:gd name="T4" fmla="*/ 5 w 28"/>
                  <a:gd name="T5" fmla="*/ 54 h 72"/>
                  <a:gd name="T6" fmla="*/ 7 w 28"/>
                  <a:gd name="T7" fmla="*/ 45 h 72"/>
                  <a:gd name="T8" fmla="*/ 0 w 28"/>
                  <a:gd name="T9" fmla="*/ 40 h 72"/>
                  <a:gd name="T10" fmla="*/ 4 w 28"/>
                  <a:gd name="T11" fmla="*/ 31 h 72"/>
                  <a:gd name="T12" fmla="*/ 7 w 28"/>
                  <a:gd name="T13" fmla="*/ 24 h 72"/>
                  <a:gd name="T14" fmla="*/ 7 w 28"/>
                  <a:gd name="T15" fmla="*/ 15 h 72"/>
                  <a:gd name="T16" fmla="*/ 13 w 28"/>
                  <a:gd name="T17" fmla="*/ 5 h 72"/>
                  <a:gd name="T18" fmla="*/ 22 w 28"/>
                  <a:gd name="T19" fmla="*/ 0 h 72"/>
                  <a:gd name="T20" fmla="*/ 24 w 28"/>
                  <a:gd name="T21" fmla="*/ 13 h 72"/>
                  <a:gd name="T22" fmla="*/ 24 w 28"/>
                  <a:gd name="T23" fmla="*/ 20 h 72"/>
                  <a:gd name="T24" fmla="*/ 28 w 28"/>
                  <a:gd name="T25" fmla="*/ 30 h 72"/>
                  <a:gd name="T26" fmla="*/ 25 w 28"/>
                  <a:gd name="T27" fmla="*/ 43 h 72"/>
                  <a:gd name="T28" fmla="*/ 24 w 28"/>
                  <a:gd name="T29" fmla="*/ 51 h 72"/>
                  <a:gd name="T30" fmla="*/ 21 w 28"/>
                  <a:gd name="T31" fmla="*/ 58 h 72"/>
                  <a:gd name="T32" fmla="*/ 13 w 28"/>
                  <a:gd name="T33" fmla="*/ 67 h 72"/>
                  <a:gd name="T34" fmla="*/ 6 w 28"/>
                  <a:gd name="T3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72">
                    <a:moveTo>
                      <a:pt x="0" y="72"/>
                    </a:moveTo>
                    <a:lnTo>
                      <a:pt x="4" y="63"/>
                    </a:lnTo>
                    <a:lnTo>
                      <a:pt x="5" y="54"/>
                    </a:lnTo>
                    <a:lnTo>
                      <a:pt x="7" y="45"/>
                    </a:lnTo>
                    <a:lnTo>
                      <a:pt x="0" y="40"/>
                    </a:lnTo>
                    <a:lnTo>
                      <a:pt x="4" y="31"/>
                    </a:lnTo>
                    <a:lnTo>
                      <a:pt x="7" y="24"/>
                    </a:lnTo>
                    <a:lnTo>
                      <a:pt x="7" y="15"/>
                    </a:lnTo>
                    <a:lnTo>
                      <a:pt x="13" y="5"/>
                    </a:lnTo>
                    <a:lnTo>
                      <a:pt x="22" y="0"/>
                    </a:lnTo>
                    <a:lnTo>
                      <a:pt x="24" y="13"/>
                    </a:lnTo>
                    <a:lnTo>
                      <a:pt x="24" y="20"/>
                    </a:lnTo>
                    <a:lnTo>
                      <a:pt x="28" y="30"/>
                    </a:lnTo>
                    <a:lnTo>
                      <a:pt x="25" y="43"/>
                    </a:lnTo>
                    <a:lnTo>
                      <a:pt x="24" y="51"/>
                    </a:lnTo>
                    <a:lnTo>
                      <a:pt x="21" y="58"/>
                    </a:lnTo>
                    <a:lnTo>
                      <a:pt x="13" y="67"/>
                    </a:lnTo>
                    <a:lnTo>
                      <a:pt x="6" y="7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3" name="Freeform 67">
                <a:extLst>
                  <a:ext uri="{FF2B5EF4-FFF2-40B4-BE49-F238E27FC236}">
                    <a16:creationId xmlns:a16="http://schemas.microsoft.com/office/drawing/2014/main" id="{7761A00E-A115-6201-BD02-B60BBCAD9DDC}"/>
                  </a:ext>
                </a:extLst>
              </p:cNvPr>
              <p:cNvSpPr>
                <a:spLocks/>
              </p:cNvSpPr>
              <p:nvPr/>
            </p:nvSpPr>
            <p:spPr bwMode="auto">
              <a:xfrm>
                <a:off x="3991111" y="2196527"/>
                <a:ext cx="26163" cy="26249"/>
              </a:xfrm>
              <a:custGeom>
                <a:avLst/>
                <a:gdLst>
                  <a:gd name="T0" fmla="*/ 8 w 40"/>
                  <a:gd name="T1" fmla="*/ 38 h 38"/>
                  <a:gd name="T2" fmla="*/ 14 w 40"/>
                  <a:gd name="T3" fmla="*/ 33 h 38"/>
                  <a:gd name="T4" fmla="*/ 19 w 40"/>
                  <a:gd name="T5" fmla="*/ 25 h 38"/>
                  <a:gd name="T6" fmla="*/ 25 w 40"/>
                  <a:gd name="T7" fmla="*/ 27 h 38"/>
                  <a:gd name="T8" fmla="*/ 30 w 40"/>
                  <a:gd name="T9" fmla="*/ 35 h 38"/>
                  <a:gd name="T10" fmla="*/ 37 w 40"/>
                  <a:gd name="T11" fmla="*/ 35 h 38"/>
                  <a:gd name="T12" fmla="*/ 40 w 40"/>
                  <a:gd name="T13" fmla="*/ 28 h 38"/>
                  <a:gd name="T14" fmla="*/ 32 w 40"/>
                  <a:gd name="T15" fmla="*/ 18 h 38"/>
                  <a:gd name="T16" fmla="*/ 25 w 40"/>
                  <a:gd name="T17" fmla="*/ 6 h 38"/>
                  <a:gd name="T18" fmla="*/ 18 w 40"/>
                  <a:gd name="T19" fmla="*/ 0 h 38"/>
                  <a:gd name="T20" fmla="*/ 12 w 40"/>
                  <a:gd name="T21" fmla="*/ 6 h 38"/>
                  <a:gd name="T22" fmla="*/ 9 w 40"/>
                  <a:gd name="T23" fmla="*/ 13 h 38"/>
                  <a:gd name="T24" fmla="*/ 10 w 40"/>
                  <a:gd name="T25" fmla="*/ 21 h 38"/>
                  <a:gd name="T26" fmla="*/ 0 w 40"/>
                  <a:gd name="T27" fmla="*/ 30 h 38"/>
                  <a:gd name="T28" fmla="*/ 8 w 40"/>
                  <a:gd name="T2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38">
                    <a:moveTo>
                      <a:pt x="8" y="38"/>
                    </a:moveTo>
                    <a:lnTo>
                      <a:pt x="14" y="33"/>
                    </a:lnTo>
                    <a:lnTo>
                      <a:pt x="19" y="25"/>
                    </a:lnTo>
                    <a:lnTo>
                      <a:pt x="25" y="27"/>
                    </a:lnTo>
                    <a:lnTo>
                      <a:pt x="30" y="35"/>
                    </a:lnTo>
                    <a:lnTo>
                      <a:pt x="37" y="35"/>
                    </a:lnTo>
                    <a:lnTo>
                      <a:pt x="40" y="28"/>
                    </a:lnTo>
                    <a:lnTo>
                      <a:pt x="32" y="18"/>
                    </a:lnTo>
                    <a:lnTo>
                      <a:pt x="25" y="6"/>
                    </a:lnTo>
                    <a:lnTo>
                      <a:pt x="18" y="0"/>
                    </a:lnTo>
                    <a:lnTo>
                      <a:pt x="12" y="6"/>
                    </a:lnTo>
                    <a:lnTo>
                      <a:pt x="9" y="13"/>
                    </a:lnTo>
                    <a:lnTo>
                      <a:pt x="10" y="21"/>
                    </a:lnTo>
                    <a:lnTo>
                      <a:pt x="0" y="30"/>
                    </a:lnTo>
                    <a:lnTo>
                      <a:pt x="8" y="3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4" name="Freeform 68">
                <a:extLst>
                  <a:ext uri="{FF2B5EF4-FFF2-40B4-BE49-F238E27FC236}">
                    <a16:creationId xmlns:a16="http://schemas.microsoft.com/office/drawing/2014/main" id="{AF6891C1-A518-6526-9987-3A79DA167F2D}"/>
                  </a:ext>
                </a:extLst>
              </p:cNvPr>
              <p:cNvSpPr>
                <a:spLocks/>
              </p:cNvSpPr>
              <p:nvPr/>
            </p:nvSpPr>
            <p:spPr bwMode="auto">
              <a:xfrm>
                <a:off x="3848219" y="2249025"/>
                <a:ext cx="10734" cy="15608"/>
              </a:xfrm>
              <a:custGeom>
                <a:avLst/>
                <a:gdLst>
                  <a:gd name="T0" fmla="*/ 13 w 17"/>
                  <a:gd name="T1" fmla="*/ 23 h 23"/>
                  <a:gd name="T2" fmla="*/ 16 w 17"/>
                  <a:gd name="T3" fmla="*/ 16 h 23"/>
                  <a:gd name="T4" fmla="*/ 17 w 17"/>
                  <a:gd name="T5" fmla="*/ 5 h 23"/>
                  <a:gd name="T6" fmla="*/ 9 w 17"/>
                  <a:gd name="T7" fmla="*/ 0 h 23"/>
                  <a:gd name="T8" fmla="*/ 1 w 17"/>
                  <a:gd name="T9" fmla="*/ 1 h 23"/>
                  <a:gd name="T10" fmla="*/ 0 w 17"/>
                  <a:gd name="T11" fmla="*/ 8 h 23"/>
                  <a:gd name="T12" fmla="*/ 5 w 17"/>
                  <a:gd name="T13" fmla="*/ 14 h 23"/>
                  <a:gd name="T14" fmla="*/ 13 w 17"/>
                  <a:gd name="T15" fmla="*/ 23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3">
                    <a:moveTo>
                      <a:pt x="13" y="23"/>
                    </a:moveTo>
                    <a:lnTo>
                      <a:pt x="16" y="16"/>
                    </a:lnTo>
                    <a:lnTo>
                      <a:pt x="17" y="5"/>
                    </a:lnTo>
                    <a:lnTo>
                      <a:pt x="9" y="0"/>
                    </a:lnTo>
                    <a:lnTo>
                      <a:pt x="1" y="1"/>
                    </a:lnTo>
                    <a:lnTo>
                      <a:pt x="0" y="8"/>
                    </a:lnTo>
                    <a:lnTo>
                      <a:pt x="5" y="14"/>
                    </a:lnTo>
                    <a:lnTo>
                      <a:pt x="13" y="23"/>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5" name="Freeform 69">
                <a:extLst>
                  <a:ext uri="{FF2B5EF4-FFF2-40B4-BE49-F238E27FC236}">
                    <a16:creationId xmlns:a16="http://schemas.microsoft.com/office/drawing/2014/main" id="{03F3FC32-DB20-1819-1019-2F20ECD5875B}"/>
                  </a:ext>
                </a:extLst>
              </p:cNvPr>
              <p:cNvSpPr>
                <a:spLocks/>
              </p:cNvSpPr>
              <p:nvPr/>
            </p:nvSpPr>
            <p:spPr bwMode="auto">
              <a:xfrm>
                <a:off x="3864990" y="2213553"/>
                <a:ext cx="39580" cy="38310"/>
              </a:xfrm>
              <a:custGeom>
                <a:avLst/>
                <a:gdLst>
                  <a:gd name="T0" fmla="*/ 4 w 61"/>
                  <a:gd name="T1" fmla="*/ 56 h 56"/>
                  <a:gd name="T2" fmla="*/ 16 w 61"/>
                  <a:gd name="T3" fmla="*/ 49 h 56"/>
                  <a:gd name="T4" fmla="*/ 22 w 61"/>
                  <a:gd name="T5" fmla="*/ 39 h 56"/>
                  <a:gd name="T6" fmla="*/ 36 w 61"/>
                  <a:gd name="T7" fmla="*/ 42 h 56"/>
                  <a:gd name="T8" fmla="*/ 41 w 61"/>
                  <a:gd name="T9" fmla="*/ 34 h 56"/>
                  <a:gd name="T10" fmla="*/ 43 w 61"/>
                  <a:gd name="T11" fmla="*/ 22 h 56"/>
                  <a:gd name="T12" fmla="*/ 55 w 61"/>
                  <a:gd name="T13" fmla="*/ 21 h 56"/>
                  <a:gd name="T14" fmla="*/ 52 w 61"/>
                  <a:gd name="T15" fmla="*/ 7 h 56"/>
                  <a:gd name="T16" fmla="*/ 61 w 61"/>
                  <a:gd name="T17" fmla="*/ 3 h 56"/>
                  <a:gd name="T18" fmla="*/ 41 w 61"/>
                  <a:gd name="T19" fmla="*/ 0 h 56"/>
                  <a:gd name="T20" fmla="*/ 35 w 61"/>
                  <a:gd name="T21" fmla="*/ 5 h 56"/>
                  <a:gd name="T22" fmla="*/ 28 w 61"/>
                  <a:gd name="T23" fmla="*/ 5 h 56"/>
                  <a:gd name="T24" fmla="*/ 22 w 61"/>
                  <a:gd name="T25" fmla="*/ 17 h 56"/>
                  <a:gd name="T26" fmla="*/ 12 w 61"/>
                  <a:gd name="T27" fmla="*/ 10 h 56"/>
                  <a:gd name="T28" fmla="*/ 10 w 61"/>
                  <a:gd name="T29" fmla="*/ 20 h 56"/>
                  <a:gd name="T30" fmla="*/ 4 w 61"/>
                  <a:gd name="T31" fmla="*/ 29 h 56"/>
                  <a:gd name="T32" fmla="*/ 8 w 61"/>
                  <a:gd name="T33" fmla="*/ 40 h 56"/>
                  <a:gd name="T34" fmla="*/ 0 w 61"/>
                  <a:gd name="T35" fmla="*/ 47 h 56"/>
                  <a:gd name="T36" fmla="*/ 4 w 61"/>
                  <a:gd name="T3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56">
                    <a:moveTo>
                      <a:pt x="4" y="56"/>
                    </a:moveTo>
                    <a:lnTo>
                      <a:pt x="16" y="49"/>
                    </a:lnTo>
                    <a:lnTo>
                      <a:pt x="22" y="39"/>
                    </a:lnTo>
                    <a:lnTo>
                      <a:pt x="36" y="42"/>
                    </a:lnTo>
                    <a:lnTo>
                      <a:pt x="41" y="34"/>
                    </a:lnTo>
                    <a:lnTo>
                      <a:pt x="43" y="22"/>
                    </a:lnTo>
                    <a:lnTo>
                      <a:pt x="55" y="21"/>
                    </a:lnTo>
                    <a:lnTo>
                      <a:pt x="52" y="7"/>
                    </a:lnTo>
                    <a:lnTo>
                      <a:pt x="61" y="3"/>
                    </a:lnTo>
                    <a:lnTo>
                      <a:pt x="41" y="0"/>
                    </a:lnTo>
                    <a:lnTo>
                      <a:pt x="35" y="5"/>
                    </a:lnTo>
                    <a:lnTo>
                      <a:pt x="28" y="5"/>
                    </a:lnTo>
                    <a:lnTo>
                      <a:pt x="22" y="17"/>
                    </a:lnTo>
                    <a:lnTo>
                      <a:pt x="12" y="10"/>
                    </a:lnTo>
                    <a:lnTo>
                      <a:pt x="10" y="20"/>
                    </a:lnTo>
                    <a:lnTo>
                      <a:pt x="4" y="29"/>
                    </a:lnTo>
                    <a:lnTo>
                      <a:pt x="8" y="40"/>
                    </a:lnTo>
                    <a:lnTo>
                      <a:pt x="0" y="47"/>
                    </a:lnTo>
                    <a:lnTo>
                      <a:pt x="4" y="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6" name="Freeform 70">
                <a:extLst>
                  <a:ext uri="{FF2B5EF4-FFF2-40B4-BE49-F238E27FC236}">
                    <a16:creationId xmlns:a16="http://schemas.microsoft.com/office/drawing/2014/main" id="{58645892-3C18-C8F4-D157-F91E951D0190}"/>
                  </a:ext>
                </a:extLst>
              </p:cNvPr>
              <p:cNvSpPr>
                <a:spLocks/>
              </p:cNvSpPr>
              <p:nvPr/>
            </p:nvSpPr>
            <p:spPr bwMode="auto">
              <a:xfrm>
                <a:off x="3867003" y="2259667"/>
                <a:ext cx="21467" cy="37600"/>
              </a:xfrm>
              <a:custGeom>
                <a:avLst/>
                <a:gdLst>
                  <a:gd name="T0" fmla="*/ 14 w 33"/>
                  <a:gd name="T1" fmla="*/ 55 h 55"/>
                  <a:gd name="T2" fmla="*/ 33 w 33"/>
                  <a:gd name="T3" fmla="*/ 55 h 55"/>
                  <a:gd name="T4" fmla="*/ 32 w 33"/>
                  <a:gd name="T5" fmla="*/ 12 h 55"/>
                  <a:gd name="T6" fmla="*/ 22 w 33"/>
                  <a:gd name="T7" fmla="*/ 0 h 55"/>
                  <a:gd name="T8" fmla="*/ 15 w 33"/>
                  <a:gd name="T9" fmla="*/ 12 h 55"/>
                  <a:gd name="T10" fmla="*/ 5 w 33"/>
                  <a:gd name="T11" fmla="*/ 9 h 55"/>
                  <a:gd name="T12" fmla="*/ 0 w 33"/>
                  <a:gd name="T13" fmla="*/ 17 h 55"/>
                  <a:gd name="T14" fmla="*/ 4 w 33"/>
                  <a:gd name="T15" fmla="*/ 25 h 55"/>
                  <a:gd name="T16" fmla="*/ 11 w 33"/>
                  <a:gd name="T17" fmla="*/ 31 h 55"/>
                  <a:gd name="T18" fmla="*/ 14 w 33"/>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 h="55">
                    <a:moveTo>
                      <a:pt x="14" y="55"/>
                    </a:moveTo>
                    <a:lnTo>
                      <a:pt x="33" y="55"/>
                    </a:lnTo>
                    <a:lnTo>
                      <a:pt x="32" y="12"/>
                    </a:lnTo>
                    <a:lnTo>
                      <a:pt x="22" y="0"/>
                    </a:lnTo>
                    <a:lnTo>
                      <a:pt x="15" y="12"/>
                    </a:lnTo>
                    <a:lnTo>
                      <a:pt x="5" y="9"/>
                    </a:lnTo>
                    <a:lnTo>
                      <a:pt x="0" y="17"/>
                    </a:lnTo>
                    <a:lnTo>
                      <a:pt x="4" y="25"/>
                    </a:lnTo>
                    <a:lnTo>
                      <a:pt x="11" y="31"/>
                    </a:lnTo>
                    <a:lnTo>
                      <a:pt x="14" y="5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7" name="Freeform 71">
                <a:extLst>
                  <a:ext uri="{FF2B5EF4-FFF2-40B4-BE49-F238E27FC236}">
                    <a16:creationId xmlns:a16="http://schemas.microsoft.com/office/drawing/2014/main" id="{B09EDD45-0D8F-8951-D96F-E02A720D305F}"/>
                  </a:ext>
                </a:extLst>
              </p:cNvPr>
              <p:cNvSpPr>
                <a:spLocks/>
              </p:cNvSpPr>
              <p:nvPr/>
            </p:nvSpPr>
            <p:spPr bwMode="auto">
              <a:xfrm>
                <a:off x="3850903" y="2329902"/>
                <a:ext cx="22809" cy="23412"/>
              </a:xfrm>
              <a:custGeom>
                <a:avLst/>
                <a:gdLst>
                  <a:gd name="T0" fmla="*/ 23 w 35"/>
                  <a:gd name="T1" fmla="*/ 0 h 35"/>
                  <a:gd name="T2" fmla="*/ 35 w 35"/>
                  <a:gd name="T3" fmla="*/ 16 h 35"/>
                  <a:gd name="T4" fmla="*/ 35 w 35"/>
                  <a:gd name="T5" fmla="*/ 27 h 35"/>
                  <a:gd name="T6" fmla="*/ 23 w 35"/>
                  <a:gd name="T7" fmla="*/ 35 h 35"/>
                  <a:gd name="T8" fmla="*/ 6 w 35"/>
                  <a:gd name="T9" fmla="*/ 32 h 35"/>
                  <a:gd name="T10" fmla="*/ 0 w 35"/>
                  <a:gd name="T11" fmla="*/ 26 h 35"/>
                  <a:gd name="T12" fmla="*/ 16 w 35"/>
                  <a:gd name="T13" fmla="*/ 27 h 35"/>
                  <a:gd name="T14" fmla="*/ 22 w 35"/>
                  <a:gd name="T15" fmla="*/ 18 h 35"/>
                  <a:gd name="T16" fmla="*/ 17 w 35"/>
                  <a:gd name="T17" fmla="*/ 9 h 35"/>
                  <a:gd name="T18" fmla="*/ 23 w 35"/>
                  <a:gd name="T19"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5">
                    <a:moveTo>
                      <a:pt x="23" y="0"/>
                    </a:moveTo>
                    <a:lnTo>
                      <a:pt x="35" y="16"/>
                    </a:lnTo>
                    <a:lnTo>
                      <a:pt x="35" y="27"/>
                    </a:lnTo>
                    <a:lnTo>
                      <a:pt x="23" y="35"/>
                    </a:lnTo>
                    <a:lnTo>
                      <a:pt x="6" y="32"/>
                    </a:lnTo>
                    <a:lnTo>
                      <a:pt x="0" y="26"/>
                    </a:lnTo>
                    <a:lnTo>
                      <a:pt x="16" y="27"/>
                    </a:lnTo>
                    <a:lnTo>
                      <a:pt x="22" y="18"/>
                    </a:lnTo>
                    <a:lnTo>
                      <a:pt x="17" y="9"/>
                    </a:lnTo>
                    <a:lnTo>
                      <a:pt x="23" y="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8" name="Freeform 72">
                <a:extLst>
                  <a:ext uri="{FF2B5EF4-FFF2-40B4-BE49-F238E27FC236}">
                    <a16:creationId xmlns:a16="http://schemas.microsoft.com/office/drawing/2014/main" id="{79E41829-5ED5-5FC5-0249-DCF66726915D}"/>
                  </a:ext>
                </a:extLst>
              </p:cNvPr>
              <p:cNvSpPr>
                <a:spLocks/>
              </p:cNvSpPr>
              <p:nvPr/>
            </p:nvSpPr>
            <p:spPr bwMode="auto">
              <a:xfrm>
                <a:off x="3856269" y="2380272"/>
                <a:ext cx="30859" cy="38310"/>
              </a:xfrm>
              <a:custGeom>
                <a:avLst/>
                <a:gdLst>
                  <a:gd name="T0" fmla="*/ 30 w 48"/>
                  <a:gd name="T1" fmla="*/ 5 h 56"/>
                  <a:gd name="T2" fmla="*/ 15 w 48"/>
                  <a:gd name="T3" fmla="*/ 24 h 56"/>
                  <a:gd name="T4" fmla="*/ 6 w 48"/>
                  <a:gd name="T5" fmla="*/ 37 h 56"/>
                  <a:gd name="T6" fmla="*/ 0 w 48"/>
                  <a:gd name="T7" fmla="*/ 48 h 56"/>
                  <a:gd name="T8" fmla="*/ 5 w 48"/>
                  <a:gd name="T9" fmla="*/ 56 h 56"/>
                  <a:gd name="T10" fmla="*/ 16 w 48"/>
                  <a:gd name="T11" fmla="*/ 49 h 56"/>
                  <a:gd name="T12" fmla="*/ 23 w 48"/>
                  <a:gd name="T13" fmla="*/ 39 h 56"/>
                  <a:gd name="T14" fmla="*/ 28 w 48"/>
                  <a:gd name="T15" fmla="*/ 32 h 56"/>
                  <a:gd name="T16" fmla="*/ 29 w 48"/>
                  <a:gd name="T17" fmla="*/ 39 h 56"/>
                  <a:gd name="T18" fmla="*/ 29 w 48"/>
                  <a:gd name="T19" fmla="*/ 49 h 56"/>
                  <a:gd name="T20" fmla="*/ 43 w 48"/>
                  <a:gd name="T21" fmla="*/ 43 h 56"/>
                  <a:gd name="T22" fmla="*/ 48 w 48"/>
                  <a:gd name="T23" fmla="*/ 29 h 56"/>
                  <a:gd name="T24" fmla="*/ 40 w 48"/>
                  <a:gd name="T25" fmla="*/ 21 h 56"/>
                  <a:gd name="T26" fmla="*/ 37 w 48"/>
                  <a:gd name="T27" fmla="*/ 12 h 56"/>
                  <a:gd name="T28" fmla="*/ 37 w 48"/>
                  <a:gd name="T2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56">
                    <a:moveTo>
                      <a:pt x="30" y="5"/>
                    </a:moveTo>
                    <a:lnTo>
                      <a:pt x="15" y="24"/>
                    </a:lnTo>
                    <a:lnTo>
                      <a:pt x="6" y="37"/>
                    </a:lnTo>
                    <a:lnTo>
                      <a:pt x="0" y="48"/>
                    </a:lnTo>
                    <a:lnTo>
                      <a:pt x="5" y="56"/>
                    </a:lnTo>
                    <a:lnTo>
                      <a:pt x="16" y="49"/>
                    </a:lnTo>
                    <a:lnTo>
                      <a:pt x="23" y="39"/>
                    </a:lnTo>
                    <a:lnTo>
                      <a:pt x="28" y="32"/>
                    </a:lnTo>
                    <a:lnTo>
                      <a:pt x="29" y="39"/>
                    </a:lnTo>
                    <a:lnTo>
                      <a:pt x="29" y="49"/>
                    </a:lnTo>
                    <a:lnTo>
                      <a:pt x="43" y="43"/>
                    </a:lnTo>
                    <a:lnTo>
                      <a:pt x="48" y="29"/>
                    </a:lnTo>
                    <a:lnTo>
                      <a:pt x="40" y="21"/>
                    </a:lnTo>
                    <a:lnTo>
                      <a:pt x="37" y="12"/>
                    </a:lnTo>
                    <a:lnTo>
                      <a:pt x="37" y="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39" name="Freeform 73">
                <a:extLst>
                  <a:ext uri="{FF2B5EF4-FFF2-40B4-BE49-F238E27FC236}">
                    <a16:creationId xmlns:a16="http://schemas.microsoft.com/office/drawing/2014/main" id="{A5E603D9-2715-D101-0C0F-61930DFF5BFD}"/>
                  </a:ext>
                </a:extLst>
              </p:cNvPr>
              <p:cNvSpPr>
                <a:spLocks/>
              </p:cNvSpPr>
              <p:nvPr/>
            </p:nvSpPr>
            <p:spPr bwMode="auto">
              <a:xfrm>
                <a:off x="3838156" y="2366083"/>
                <a:ext cx="32201" cy="26959"/>
              </a:xfrm>
              <a:custGeom>
                <a:avLst/>
                <a:gdLst>
                  <a:gd name="T0" fmla="*/ 13 w 50"/>
                  <a:gd name="T1" fmla="*/ 40 h 40"/>
                  <a:gd name="T2" fmla="*/ 17 w 50"/>
                  <a:gd name="T3" fmla="*/ 34 h 40"/>
                  <a:gd name="T4" fmla="*/ 24 w 50"/>
                  <a:gd name="T5" fmla="*/ 34 h 40"/>
                  <a:gd name="T6" fmla="*/ 28 w 50"/>
                  <a:gd name="T7" fmla="*/ 22 h 40"/>
                  <a:gd name="T8" fmla="*/ 38 w 50"/>
                  <a:gd name="T9" fmla="*/ 22 h 40"/>
                  <a:gd name="T10" fmla="*/ 47 w 50"/>
                  <a:gd name="T11" fmla="*/ 8 h 40"/>
                  <a:gd name="T12" fmla="*/ 50 w 50"/>
                  <a:gd name="T13" fmla="*/ 0 h 40"/>
                  <a:gd name="T14" fmla="*/ 40 w 50"/>
                  <a:gd name="T15" fmla="*/ 3 h 40"/>
                  <a:gd name="T16" fmla="*/ 27 w 50"/>
                  <a:gd name="T17" fmla="*/ 16 h 40"/>
                  <a:gd name="T18" fmla="*/ 23 w 50"/>
                  <a:gd name="T19" fmla="*/ 8 h 40"/>
                  <a:gd name="T20" fmla="*/ 16 w 50"/>
                  <a:gd name="T21" fmla="*/ 13 h 40"/>
                  <a:gd name="T22" fmla="*/ 5 w 50"/>
                  <a:gd name="T23" fmla="*/ 12 h 40"/>
                  <a:gd name="T24" fmla="*/ 0 w 50"/>
                  <a:gd name="T25" fmla="*/ 20 h 40"/>
                  <a:gd name="T26" fmla="*/ 2 w 50"/>
                  <a:gd name="T27" fmla="*/ 27 h 40"/>
                  <a:gd name="T28" fmla="*/ 8 w 50"/>
                  <a:gd name="T29" fmla="*/ 29 h 40"/>
                  <a:gd name="T30" fmla="*/ 13 w 5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40">
                    <a:moveTo>
                      <a:pt x="13" y="40"/>
                    </a:moveTo>
                    <a:lnTo>
                      <a:pt x="17" y="34"/>
                    </a:lnTo>
                    <a:lnTo>
                      <a:pt x="24" y="34"/>
                    </a:lnTo>
                    <a:lnTo>
                      <a:pt x="28" y="22"/>
                    </a:lnTo>
                    <a:lnTo>
                      <a:pt x="38" y="22"/>
                    </a:lnTo>
                    <a:lnTo>
                      <a:pt x="47" y="8"/>
                    </a:lnTo>
                    <a:lnTo>
                      <a:pt x="50" y="0"/>
                    </a:lnTo>
                    <a:lnTo>
                      <a:pt x="40" y="3"/>
                    </a:lnTo>
                    <a:lnTo>
                      <a:pt x="27" y="16"/>
                    </a:lnTo>
                    <a:lnTo>
                      <a:pt x="23" y="8"/>
                    </a:lnTo>
                    <a:lnTo>
                      <a:pt x="16" y="13"/>
                    </a:lnTo>
                    <a:lnTo>
                      <a:pt x="5" y="12"/>
                    </a:lnTo>
                    <a:lnTo>
                      <a:pt x="0" y="20"/>
                    </a:lnTo>
                    <a:lnTo>
                      <a:pt x="2" y="27"/>
                    </a:lnTo>
                    <a:lnTo>
                      <a:pt x="8" y="29"/>
                    </a:lnTo>
                    <a:lnTo>
                      <a:pt x="13"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0" name="Freeform 74">
                <a:extLst>
                  <a:ext uri="{FF2B5EF4-FFF2-40B4-BE49-F238E27FC236}">
                    <a16:creationId xmlns:a16="http://schemas.microsoft.com/office/drawing/2014/main" id="{717C54FE-0594-010B-0CC1-3D2813AB3759}"/>
                  </a:ext>
                </a:extLst>
              </p:cNvPr>
              <p:cNvSpPr>
                <a:spLocks/>
              </p:cNvSpPr>
              <p:nvPr/>
            </p:nvSpPr>
            <p:spPr bwMode="auto">
              <a:xfrm>
                <a:off x="3869686" y="2487398"/>
                <a:ext cx="18784" cy="20574"/>
              </a:xfrm>
              <a:custGeom>
                <a:avLst/>
                <a:gdLst>
                  <a:gd name="T0" fmla="*/ 2 w 29"/>
                  <a:gd name="T1" fmla="*/ 30 h 30"/>
                  <a:gd name="T2" fmla="*/ 11 w 29"/>
                  <a:gd name="T3" fmla="*/ 21 h 30"/>
                  <a:gd name="T4" fmla="*/ 21 w 29"/>
                  <a:gd name="T5" fmla="*/ 23 h 30"/>
                  <a:gd name="T6" fmla="*/ 28 w 29"/>
                  <a:gd name="T7" fmla="*/ 15 h 30"/>
                  <a:gd name="T8" fmla="*/ 29 w 29"/>
                  <a:gd name="T9" fmla="*/ 0 h 30"/>
                  <a:gd name="T10" fmla="*/ 14 w 29"/>
                  <a:gd name="T11" fmla="*/ 4 h 30"/>
                  <a:gd name="T12" fmla="*/ 4 w 29"/>
                  <a:gd name="T13" fmla="*/ 12 h 30"/>
                  <a:gd name="T14" fmla="*/ 0 w 29"/>
                  <a:gd name="T15" fmla="*/ 18 h 30"/>
                  <a:gd name="T16" fmla="*/ 2 w 2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30">
                    <a:moveTo>
                      <a:pt x="2" y="30"/>
                    </a:moveTo>
                    <a:lnTo>
                      <a:pt x="11" y="21"/>
                    </a:lnTo>
                    <a:lnTo>
                      <a:pt x="21" y="23"/>
                    </a:lnTo>
                    <a:lnTo>
                      <a:pt x="28" y="15"/>
                    </a:lnTo>
                    <a:lnTo>
                      <a:pt x="29" y="0"/>
                    </a:lnTo>
                    <a:lnTo>
                      <a:pt x="14" y="4"/>
                    </a:lnTo>
                    <a:lnTo>
                      <a:pt x="4" y="12"/>
                    </a:lnTo>
                    <a:lnTo>
                      <a:pt x="0" y="18"/>
                    </a:lnTo>
                    <a:lnTo>
                      <a:pt x="2" y="3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1" name="Freeform 75">
                <a:extLst>
                  <a:ext uri="{FF2B5EF4-FFF2-40B4-BE49-F238E27FC236}">
                    <a16:creationId xmlns:a16="http://schemas.microsoft.com/office/drawing/2014/main" id="{A98219BC-AFA0-ABF5-28F1-3117D24F38CA}"/>
                  </a:ext>
                </a:extLst>
              </p:cNvPr>
              <p:cNvSpPr>
                <a:spLocks/>
              </p:cNvSpPr>
              <p:nvPr/>
            </p:nvSpPr>
            <p:spPr bwMode="auto">
              <a:xfrm>
                <a:off x="4658611" y="2356861"/>
                <a:ext cx="26834" cy="62431"/>
              </a:xfrm>
              <a:custGeom>
                <a:avLst/>
                <a:gdLst>
                  <a:gd name="T0" fmla="*/ 6 w 42"/>
                  <a:gd name="T1" fmla="*/ 92 h 92"/>
                  <a:gd name="T2" fmla="*/ 40 w 42"/>
                  <a:gd name="T3" fmla="*/ 40 h 92"/>
                  <a:gd name="T4" fmla="*/ 36 w 42"/>
                  <a:gd name="T5" fmla="*/ 18 h 92"/>
                  <a:gd name="T6" fmla="*/ 42 w 42"/>
                  <a:gd name="T7" fmla="*/ 2 h 92"/>
                  <a:gd name="T8" fmla="*/ 22 w 42"/>
                  <a:gd name="T9" fmla="*/ 0 h 92"/>
                  <a:gd name="T10" fmla="*/ 4 w 42"/>
                  <a:gd name="T11" fmla="*/ 24 h 92"/>
                  <a:gd name="T12" fmla="*/ 0 w 42"/>
                  <a:gd name="T13" fmla="*/ 52 h 92"/>
                  <a:gd name="T14" fmla="*/ 0 w 42"/>
                  <a:gd name="T15" fmla="*/ 68 h 92"/>
                  <a:gd name="T16" fmla="*/ 6 w 42"/>
                  <a:gd name="T17"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92">
                    <a:moveTo>
                      <a:pt x="6" y="92"/>
                    </a:moveTo>
                    <a:lnTo>
                      <a:pt x="40" y="40"/>
                    </a:lnTo>
                    <a:lnTo>
                      <a:pt x="36" y="18"/>
                    </a:lnTo>
                    <a:lnTo>
                      <a:pt x="42" y="2"/>
                    </a:lnTo>
                    <a:lnTo>
                      <a:pt x="22" y="0"/>
                    </a:lnTo>
                    <a:lnTo>
                      <a:pt x="4" y="24"/>
                    </a:lnTo>
                    <a:lnTo>
                      <a:pt x="0" y="52"/>
                    </a:lnTo>
                    <a:lnTo>
                      <a:pt x="0" y="68"/>
                    </a:lnTo>
                    <a:lnTo>
                      <a:pt x="6" y="9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2" name="Freeform 76">
                <a:extLst>
                  <a:ext uri="{FF2B5EF4-FFF2-40B4-BE49-F238E27FC236}">
                    <a16:creationId xmlns:a16="http://schemas.microsoft.com/office/drawing/2014/main" id="{C6CF4398-8515-6A9D-5B63-13A888F82618}"/>
                  </a:ext>
                </a:extLst>
              </p:cNvPr>
              <p:cNvSpPr>
                <a:spLocks/>
              </p:cNvSpPr>
              <p:nvPr/>
            </p:nvSpPr>
            <p:spPr bwMode="auto">
              <a:xfrm>
                <a:off x="4776682" y="2298686"/>
                <a:ext cx="42264" cy="43276"/>
              </a:xfrm>
              <a:custGeom>
                <a:avLst/>
                <a:gdLst>
                  <a:gd name="T0" fmla="*/ 14 w 66"/>
                  <a:gd name="T1" fmla="*/ 64 h 64"/>
                  <a:gd name="T2" fmla="*/ 28 w 66"/>
                  <a:gd name="T3" fmla="*/ 30 h 64"/>
                  <a:gd name="T4" fmla="*/ 46 w 66"/>
                  <a:gd name="T5" fmla="*/ 36 h 64"/>
                  <a:gd name="T6" fmla="*/ 66 w 66"/>
                  <a:gd name="T7" fmla="*/ 10 h 64"/>
                  <a:gd name="T8" fmla="*/ 54 w 66"/>
                  <a:gd name="T9" fmla="*/ 0 h 64"/>
                  <a:gd name="T10" fmla="*/ 54 w 66"/>
                  <a:gd name="T11" fmla="*/ 0 h 64"/>
                  <a:gd name="T12" fmla="*/ 38 w 66"/>
                  <a:gd name="T13" fmla="*/ 0 h 64"/>
                  <a:gd name="T14" fmla="*/ 22 w 66"/>
                  <a:gd name="T15" fmla="*/ 0 h 64"/>
                  <a:gd name="T16" fmla="*/ 14 w 66"/>
                  <a:gd name="T17" fmla="*/ 10 h 64"/>
                  <a:gd name="T18" fmla="*/ 0 w 66"/>
                  <a:gd name="T19" fmla="*/ 16 h 64"/>
                  <a:gd name="T20" fmla="*/ 4 w 66"/>
                  <a:gd name="T21" fmla="*/ 36 h 64"/>
                  <a:gd name="T22" fmla="*/ 18 w 66"/>
                  <a:gd name="T23" fmla="*/ 50 h 64"/>
                  <a:gd name="T24" fmla="*/ 14 w 66"/>
                  <a:gd name="T2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64">
                    <a:moveTo>
                      <a:pt x="14" y="64"/>
                    </a:moveTo>
                    <a:lnTo>
                      <a:pt x="28" y="30"/>
                    </a:lnTo>
                    <a:lnTo>
                      <a:pt x="46" y="36"/>
                    </a:lnTo>
                    <a:lnTo>
                      <a:pt x="66" y="10"/>
                    </a:lnTo>
                    <a:lnTo>
                      <a:pt x="54" y="0"/>
                    </a:lnTo>
                    <a:lnTo>
                      <a:pt x="54" y="0"/>
                    </a:lnTo>
                    <a:lnTo>
                      <a:pt x="38" y="0"/>
                    </a:lnTo>
                    <a:lnTo>
                      <a:pt x="22" y="0"/>
                    </a:lnTo>
                    <a:lnTo>
                      <a:pt x="14" y="10"/>
                    </a:lnTo>
                    <a:lnTo>
                      <a:pt x="0" y="16"/>
                    </a:lnTo>
                    <a:lnTo>
                      <a:pt x="4" y="36"/>
                    </a:lnTo>
                    <a:lnTo>
                      <a:pt x="18" y="50"/>
                    </a:lnTo>
                    <a:lnTo>
                      <a:pt x="14" y="6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3" name="Freeform 77">
                <a:extLst>
                  <a:ext uri="{FF2B5EF4-FFF2-40B4-BE49-F238E27FC236}">
                    <a16:creationId xmlns:a16="http://schemas.microsoft.com/office/drawing/2014/main" id="{4E8D7776-3D52-FFFB-2B18-B90717180C78}"/>
                  </a:ext>
                </a:extLst>
              </p:cNvPr>
              <p:cNvSpPr>
                <a:spLocks/>
              </p:cNvSpPr>
              <p:nvPr/>
            </p:nvSpPr>
            <p:spPr bwMode="auto">
              <a:xfrm>
                <a:off x="4780036" y="2267471"/>
                <a:ext cx="27505" cy="28378"/>
              </a:xfrm>
              <a:custGeom>
                <a:avLst/>
                <a:gdLst>
                  <a:gd name="T0" fmla="*/ 0 w 42"/>
                  <a:gd name="T1" fmla="*/ 22 h 42"/>
                  <a:gd name="T2" fmla="*/ 18 w 42"/>
                  <a:gd name="T3" fmla="*/ 30 h 42"/>
                  <a:gd name="T4" fmla="*/ 24 w 42"/>
                  <a:gd name="T5" fmla="*/ 42 h 42"/>
                  <a:gd name="T6" fmla="*/ 40 w 42"/>
                  <a:gd name="T7" fmla="*/ 23 h 42"/>
                  <a:gd name="T8" fmla="*/ 42 w 42"/>
                  <a:gd name="T9" fmla="*/ 9 h 42"/>
                  <a:gd name="T10" fmla="*/ 20 w 42"/>
                  <a:gd name="T11" fmla="*/ 0 h 42"/>
                  <a:gd name="T12" fmla="*/ 12 w 42"/>
                  <a:gd name="T13" fmla="*/ 12 h 42"/>
                  <a:gd name="T14" fmla="*/ 0 w 42"/>
                  <a:gd name="T15" fmla="*/ 22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2" h="42">
                    <a:moveTo>
                      <a:pt x="0" y="22"/>
                    </a:moveTo>
                    <a:lnTo>
                      <a:pt x="18" y="30"/>
                    </a:lnTo>
                    <a:lnTo>
                      <a:pt x="24" y="42"/>
                    </a:lnTo>
                    <a:lnTo>
                      <a:pt x="40" y="23"/>
                    </a:lnTo>
                    <a:lnTo>
                      <a:pt x="42" y="9"/>
                    </a:lnTo>
                    <a:lnTo>
                      <a:pt x="20" y="0"/>
                    </a:lnTo>
                    <a:lnTo>
                      <a:pt x="12" y="12"/>
                    </a:lnTo>
                    <a:lnTo>
                      <a:pt x="0" y="2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4" name="Freeform 78">
                <a:extLst>
                  <a:ext uri="{FF2B5EF4-FFF2-40B4-BE49-F238E27FC236}">
                    <a16:creationId xmlns:a16="http://schemas.microsoft.com/office/drawing/2014/main" id="{13336546-574C-CAF5-8017-6667E26A02FB}"/>
                  </a:ext>
                </a:extLst>
              </p:cNvPr>
              <p:cNvSpPr>
                <a:spLocks/>
              </p:cNvSpPr>
              <p:nvPr/>
            </p:nvSpPr>
            <p:spPr bwMode="auto">
              <a:xfrm>
                <a:off x="4699533" y="2192980"/>
                <a:ext cx="14088" cy="22702"/>
              </a:xfrm>
              <a:custGeom>
                <a:avLst/>
                <a:gdLst>
                  <a:gd name="T0" fmla="*/ 22 w 22"/>
                  <a:gd name="T1" fmla="*/ 34 h 34"/>
                  <a:gd name="T2" fmla="*/ 12 w 22"/>
                  <a:gd name="T3" fmla="*/ 24 h 34"/>
                  <a:gd name="T4" fmla="*/ 18 w 22"/>
                  <a:gd name="T5" fmla="*/ 12 h 34"/>
                  <a:gd name="T6" fmla="*/ 12 w 22"/>
                  <a:gd name="T7" fmla="*/ 0 h 34"/>
                  <a:gd name="T8" fmla="*/ 2 w 22"/>
                  <a:gd name="T9" fmla="*/ 12 h 34"/>
                  <a:gd name="T10" fmla="*/ 0 w 22"/>
                  <a:gd name="T11" fmla="*/ 28 h 34"/>
                  <a:gd name="T12" fmla="*/ 22 w 22"/>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22" h="34">
                    <a:moveTo>
                      <a:pt x="22" y="34"/>
                    </a:moveTo>
                    <a:lnTo>
                      <a:pt x="12" y="24"/>
                    </a:lnTo>
                    <a:lnTo>
                      <a:pt x="18" y="12"/>
                    </a:lnTo>
                    <a:lnTo>
                      <a:pt x="12" y="0"/>
                    </a:lnTo>
                    <a:lnTo>
                      <a:pt x="2" y="12"/>
                    </a:lnTo>
                    <a:lnTo>
                      <a:pt x="0" y="28"/>
                    </a:lnTo>
                    <a:lnTo>
                      <a:pt x="22" y="3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5" name="Freeform 79">
                <a:extLst>
                  <a:ext uri="{FF2B5EF4-FFF2-40B4-BE49-F238E27FC236}">
                    <a16:creationId xmlns:a16="http://schemas.microsoft.com/office/drawing/2014/main" id="{FAAC3BF2-7939-D880-1661-322EFBA7EA4C}"/>
                  </a:ext>
                </a:extLst>
              </p:cNvPr>
              <p:cNvSpPr>
                <a:spLocks/>
              </p:cNvSpPr>
              <p:nvPr/>
            </p:nvSpPr>
            <p:spPr bwMode="auto">
              <a:xfrm>
                <a:off x="4324526" y="2365374"/>
                <a:ext cx="96603" cy="180198"/>
              </a:xfrm>
              <a:custGeom>
                <a:avLst/>
                <a:gdLst>
                  <a:gd name="T0" fmla="*/ 28 w 150"/>
                  <a:gd name="T1" fmla="*/ 256 h 266"/>
                  <a:gd name="T2" fmla="*/ 57 w 150"/>
                  <a:gd name="T3" fmla="*/ 266 h 266"/>
                  <a:gd name="T4" fmla="*/ 64 w 150"/>
                  <a:gd name="T5" fmla="*/ 263 h 266"/>
                  <a:gd name="T6" fmla="*/ 70 w 150"/>
                  <a:gd name="T7" fmla="*/ 253 h 266"/>
                  <a:gd name="T8" fmla="*/ 58 w 150"/>
                  <a:gd name="T9" fmla="*/ 245 h 266"/>
                  <a:gd name="T10" fmla="*/ 76 w 150"/>
                  <a:gd name="T11" fmla="*/ 233 h 266"/>
                  <a:gd name="T12" fmla="*/ 73 w 150"/>
                  <a:gd name="T13" fmla="*/ 208 h 266"/>
                  <a:gd name="T14" fmla="*/ 85 w 150"/>
                  <a:gd name="T15" fmla="*/ 201 h 266"/>
                  <a:gd name="T16" fmla="*/ 86 w 150"/>
                  <a:gd name="T17" fmla="*/ 185 h 266"/>
                  <a:gd name="T18" fmla="*/ 99 w 150"/>
                  <a:gd name="T19" fmla="*/ 185 h 266"/>
                  <a:gd name="T20" fmla="*/ 100 w 150"/>
                  <a:gd name="T21" fmla="*/ 172 h 266"/>
                  <a:gd name="T22" fmla="*/ 117 w 150"/>
                  <a:gd name="T23" fmla="*/ 174 h 266"/>
                  <a:gd name="T24" fmla="*/ 116 w 150"/>
                  <a:gd name="T25" fmla="*/ 146 h 266"/>
                  <a:gd name="T26" fmla="*/ 129 w 150"/>
                  <a:gd name="T27" fmla="*/ 151 h 266"/>
                  <a:gd name="T28" fmla="*/ 134 w 150"/>
                  <a:gd name="T29" fmla="*/ 142 h 266"/>
                  <a:gd name="T30" fmla="*/ 148 w 150"/>
                  <a:gd name="T31" fmla="*/ 136 h 266"/>
                  <a:gd name="T32" fmla="*/ 150 w 150"/>
                  <a:gd name="T33" fmla="*/ 117 h 266"/>
                  <a:gd name="T34" fmla="*/ 132 w 150"/>
                  <a:gd name="T35" fmla="*/ 118 h 266"/>
                  <a:gd name="T36" fmla="*/ 124 w 150"/>
                  <a:gd name="T37" fmla="*/ 125 h 266"/>
                  <a:gd name="T38" fmla="*/ 113 w 150"/>
                  <a:gd name="T39" fmla="*/ 123 h 266"/>
                  <a:gd name="T40" fmla="*/ 115 w 150"/>
                  <a:gd name="T41" fmla="*/ 113 h 266"/>
                  <a:gd name="T42" fmla="*/ 118 w 150"/>
                  <a:gd name="T43" fmla="*/ 101 h 266"/>
                  <a:gd name="T44" fmla="*/ 117 w 150"/>
                  <a:gd name="T45" fmla="*/ 94 h 266"/>
                  <a:gd name="T46" fmla="*/ 118 w 150"/>
                  <a:gd name="T47" fmla="*/ 86 h 266"/>
                  <a:gd name="T48" fmla="*/ 121 w 150"/>
                  <a:gd name="T49" fmla="*/ 64 h 266"/>
                  <a:gd name="T50" fmla="*/ 127 w 150"/>
                  <a:gd name="T51" fmla="*/ 59 h 266"/>
                  <a:gd name="T52" fmla="*/ 133 w 150"/>
                  <a:gd name="T53" fmla="*/ 50 h 266"/>
                  <a:gd name="T54" fmla="*/ 136 w 150"/>
                  <a:gd name="T55" fmla="*/ 42 h 266"/>
                  <a:gd name="T56" fmla="*/ 135 w 150"/>
                  <a:gd name="T57" fmla="*/ 0 h 266"/>
                  <a:gd name="T58" fmla="*/ 116 w 150"/>
                  <a:gd name="T59" fmla="*/ 11 h 266"/>
                  <a:gd name="T60" fmla="*/ 92 w 150"/>
                  <a:gd name="T61" fmla="*/ 26 h 266"/>
                  <a:gd name="T62" fmla="*/ 88 w 150"/>
                  <a:gd name="T63" fmla="*/ 43 h 266"/>
                  <a:gd name="T64" fmla="*/ 74 w 150"/>
                  <a:gd name="T65" fmla="*/ 49 h 266"/>
                  <a:gd name="T66" fmla="*/ 39 w 150"/>
                  <a:gd name="T67" fmla="*/ 52 h 266"/>
                  <a:gd name="T68" fmla="*/ 29 w 150"/>
                  <a:gd name="T69" fmla="*/ 62 h 266"/>
                  <a:gd name="T70" fmla="*/ 23 w 150"/>
                  <a:gd name="T71" fmla="*/ 72 h 266"/>
                  <a:gd name="T72" fmla="*/ 18 w 150"/>
                  <a:gd name="T73" fmla="*/ 87 h 266"/>
                  <a:gd name="T74" fmla="*/ 12 w 150"/>
                  <a:gd name="T75" fmla="*/ 91 h 266"/>
                  <a:gd name="T76" fmla="*/ 9 w 150"/>
                  <a:gd name="T77" fmla="*/ 107 h 266"/>
                  <a:gd name="T78" fmla="*/ 5 w 150"/>
                  <a:gd name="T79" fmla="*/ 114 h 266"/>
                  <a:gd name="T80" fmla="*/ 2 w 150"/>
                  <a:gd name="T81" fmla="*/ 129 h 266"/>
                  <a:gd name="T82" fmla="*/ 0 w 150"/>
                  <a:gd name="T83" fmla="*/ 193 h 266"/>
                  <a:gd name="T84" fmla="*/ 14 w 150"/>
                  <a:gd name="T85" fmla="*/ 197 h 266"/>
                  <a:gd name="T86" fmla="*/ 15 w 150"/>
                  <a:gd name="T87" fmla="*/ 208 h 266"/>
                  <a:gd name="T88" fmla="*/ 25 w 150"/>
                  <a:gd name="T89" fmla="*/ 214 h 266"/>
                  <a:gd name="T90" fmla="*/ 28 w 150"/>
                  <a:gd name="T91" fmla="*/ 25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0" h="266">
                    <a:moveTo>
                      <a:pt x="28" y="256"/>
                    </a:moveTo>
                    <a:lnTo>
                      <a:pt x="57" y="266"/>
                    </a:lnTo>
                    <a:lnTo>
                      <a:pt x="64" y="263"/>
                    </a:lnTo>
                    <a:lnTo>
                      <a:pt x="70" y="253"/>
                    </a:lnTo>
                    <a:lnTo>
                      <a:pt x="58" y="245"/>
                    </a:lnTo>
                    <a:lnTo>
                      <a:pt x="76" y="233"/>
                    </a:lnTo>
                    <a:lnTo>
                      <a:pt x="73" y="208"/>
                    </a:lnTo>
                    <a:lnTo>
                      <a:pt x="85" y="201"/>
                    </a:lnTo>
                    <a:lnTo>
                      <a:pt x="86" y="185"/>
                    </a:lnTo>
                    <a:lnTo>
                      <a:pt x="99" y="185"/>
                    </a:lnTo>
                    <a:lnTo>
                      <a:pt x="100" y="172"/>
                    </a:lnTo>
                    <a:lnTo>
                      <a:pt x="117" y="174"/>
                    </a:lnTo>
                    <a:lnTo>
                      <a:pt x="116" y="146"/>
                    </a:lnTo>
                    <a:lnTo>
                      <a:pt x="129" y="151"/>
                    </a:lnTo>
                    <a:lnTo>
                      <a:pt x="134" y="142"/>
                    </a:lnTo>
                    <a:lnTo>
                      <a:pt x="148" y="136"/>
                    </a:lnTo>
                    <a:lnTo>
                      <a:pt x="150" y="117"/>
                    </a:lnTo>
                    <a:lnTo>
                      <a:pt x="132" y="118"/>
                    </a:lnTo>
                    <a:lnTo>
                      <a:pt x="124" y="125"/>
                    </a:lnTo>
                    <a:lnTo>
                      <a:pt x="113" y="123"/>
                    </a:lnTo>
                    <a:lnTo>
                      <a:pt x="115" y="113"/>
                    </a:lnTo>
                    <a:lnTo>
                      <a:pt x="118" y="101"/>
                    </a:lnTo>
                    <a:lnTo>
                      <a:pt x="117" y="94"/>
                    </a:lnTo>
                    <a:lnTo>
                      <a:pt x="118" y="86"/>
                    </a:lnTo>
                    <a:lnTo>
                      <a:pt x="121" y="64"/>
                    </a:lnTo>
                    <a:lnTo>
                      <a:pt x="127" y="59"/>
                    </a:lnTo>
                    <a:lnTo>
                      <a:pt x="133" y="50"/>
                    </a:lnTo>
                    <a:lnTo>
                      <a:pt x="136" y="42"/>
                    </a:lnTo>
                    <a:lnTo>
                      <a:pt x="135" y="0"/>
                    </a:lnTo>
                    <a:lnTo>
                      <a:pt x="116" y="11"/>
                    </a:lnTo>
                    <a:lnTo>
                      <a:pt x="92" y="26"/>
                    </a:lnTo>
                    <a:lnTo>
                      <a:pt x="88" y="43"/>
                    </a:lnTo>
                    <a:lnTo>
                      <a:pt x="74" y="49"/>
                    </a:lnTo>
                    <a:lnTo>
                      <a:pt x="39" y="52"/>
                    </a:lnTo>
                    <a:lnTo>
                      <a:pt x="29" y="62"/>
                    </a:lnTo>
                    <a:lnTo>
                      <a:pt x="23" y="72"/>
                    </a:lnTo>
                    <a:lnTo>
                      <a:pt x="18" y="87"/>
                    </a:lnTo>
                    <a:lnTo>
                      <a:pt x="12" y="91"/>
                    </a:lnTo>
                    <a:lnTo>
                      <a:pt x="9" y="107"/>
                    </a:lnTo>
                    <a:lnTo>
                      <a:pt x="5" y="114"/>
                    </a:lnTo>
                    <a:lnTo>
                      <a:pt x="2" y="129"/>
                    </a:lnTo>
                    <a:lnTo>
                      <a:pt x="0" y="193"/>
                    </a:lnTo>
                    <a:lnTo>
                      <a:pt x="14" y="197"/>
                    </a:lnTo>
                    <a:lnTo>
                      <a:pt x="15" y="208"/>
                    </a:lnTo>
                    <a:lnTo>
                      <a:pt x="25" y="214"/>
                    </a:lnTo>
                    <a:lnTo>
                      <a:pt x="28" y="25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6" name="Freeform 80">
                <a:extLst>
                  <a:ext uri="{FF2B5EF4-FFF2-40B4-BE49-F238E27FC236}">
                    <a16:creationId xmlns:a16="http://schemas.microsoft.com/office/drawing/2014/main" id="{CD39EBC7-C0CF-B897-0599-764FB10316FD}"/>
                  </a:ext>
                </a:extLst>
              </p:cNvPr>
              <p:cNvSpPr>
                <a:spLocks/>
              </p:cNvSpPr>
              <p:nvPr/>
            </p:nvSpPr>
            <p:spPr bwMode="auto">
              <a:xfrm>
                <a:off x="4423141" y="2472500"/>
                <a:ext cx="63060" cy="70944"/>
              </a:xfrm>
              <a:custGeom>
                <a:avLst/>
                <a:gdLst>
                  <a:gd name="T0" fmla="*/ 98 w 98"/>
                  <a:gd name="T1" fmla="*/ 37 h 105"/>
                  <a:gd name="T2" fmla="*/ 84 w 98"/>
                  <a:gd name="T3" fmla="*/ 38 h 105"/>
                  <a:gd name="T4" fmla="*/ 73 w 98"/>
                  <a:gd name="T5" fmla="*/ 52 h 105"/>
                  <a:gd name="T6" fmla="*/ 71 w 98"/>
                  <a:gd name="T7" fmla="*/ 62 h 105"/>
                  <a:gd name="T8" fmla="*/ 79 w 98"/>
                  <a:gd name="T9" fmla="*/ 77 h 105"/>
                  <a:gd name="T10" fmla="*/ 63 w 98"/>
                  <a:gd name="T11" fmla="*/ 85 h 105"/>
                  <a:gd name="T12" fmla="*/ 62 w 98"/>
                  <a:gd name="T13" fmla="*/ 103 h 105"/>
                  <a:gd name="T14" fmla="*/ 54 w 98"/>
                  <a:gd name="T15" fmla="*/ 105 h 105"/>
                  <a:gd name="T16" fmla="*/ 40 w 98"/>
                  <a:gd name="T17" fmla="*/ 98 h 105"/>
                  <a:gd name="T18" fmla="*/ 35 w 98"/>
                  <a:gd name="T19" fmla="*/ 86 h 105"/>
                  <a:gd name="T20" fmla="*/ 18 w 98"/>
                  <a:gd name="T21" fmla="*/ 85 h 105"/>
                  <a:gd name="T22" fmla="*/ 12 w 98"/>
                  <a:gd name="T23" fmla="*/ 76 h 105"/>
                  <a:gd name="T24" fmla="*/ 7 w 98"/>
                  <a:gd name="T25" fmla="*/ 68 h 105"/>
                  <a:gd name="T26" fmla="*/ 13 w 98"/>
                  <a:gd name="T27" fmla="*/ 57 h 105"/>
                  <a:gd name="T28" fmla="*/ 11 w 98"/>
                  <a:gd name="T29" fmla="*/ 47 h 105"/>
                  <a:gd name="T30" fmla="*/ 0 w 98"/>
                  <a:gd name="T31" fmla="*/ 35 h 105"/>
                  <a:gd name="T32" fmla="*/ 8 w 98"/>
                  <a:gd name="T33" fmla="*/ 30 h 105"/>
                  <a:gd name="T34" fmla="*/ 19 w 98"/>
                  <a:gd name="T35" fmla="*/ 32 h 105"/>
                  <a:gd name="T36" fmla="*/ 27 w 98"/>
                  <a:gd name="T37" fmla="*/ 24 h 105"/>
                  <a:gd name="T38" fmla="*/ 26 w 98"/>
                  <a:gd name="T39" fmla="*/ 7 h 105"/>
                  <a:gd name="T40" fmla="*/ 47 w 98"/>
                  <a:gd name="T41" fmla="*/ 13 h 105"/>
                  <a:gd name="T42" fmla="*/ 46 w 98"/>
                  <a:gd name="T43" fmla="*/ 20 h 105"/>
                  <a:gd name="T44" fmla="*/ 45 w 98"/>
                  <a:gd name="T45" fmla="*/ 34 h 105"/>
                  <a:gd name="T46" fmla="*/ 54 w 98"/>
                  <a:gd name="T47" fmla="*/ 32 h 105"/>
                  <a:gd name="T48" fmla="*/ 60 w 98"/>
                  <a:gd name="T49" fmla="*/ 30 h 105"/>
                  <a:gd name="T50" fmla="*/ 57 w 98"/>
                  <a:gd name="T51" fmla="*/ 7 h 105"/>
                  <a:gd name="T52" fmla="*/ 68 w 98"/>
                  <a:gd name="T53" fmla="*/ 0 h 105"/>
                  <a:gd name="T54" fmla="*/ 77 w 98"/>
                  <a:gd name="T55" fmla="*/ 1 h 105"/>
                  <a:gd name="T56" fmla="*/ 98 w 98"/>
                  <a:gd name="T57" fmla="*/ 3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105">
                    <a:moveTo>
                      <a:pt x="98" y="37"/>
                    </a:moveTo>
                    <a:lnTo>
                      <a:pt x="84" y="38"/>
                    </a:lnTo>
                    <a:lnTo>
                      <a:pt x="73" y="52"/>
                    </a:lnTo>
                    <a:lnTo>
                      <a:pt x="71" y="62"/>
                    </a:lnTo>
                    <a:lnTo>
                      <a:pt x="79" y="77"/>
                    </a:lnTo>
                    <a:lnTo>
                      <a:pt x="63" y="85"/>
                    </a:lnTo>
                    <a:lnTo>
                      <a:pt x="62" y="103"/>
                    </a:lnTo>
                    <a:lnTo>
                      <a:pt x="54" y="105"/>
                    </a:lnTo>
                    <a:lnTo>
                      <a:pt x="40" y="98"/>
                    </a:lnTo>
                    <a:lnTo>
                      <a:pt x="35" y="86"/>
                    </a:lnTo>
                    <a:lnTo>
                      <a:pt x="18" y="85"/>
                    </a:lnTo>
                    <a:lnTo>
                      <a:pt x="12" y="76"/>
                    </a:lnTo>
                    <a:lnTo>
                      <a:pt x="7" y="68"/>
                    </a:lnTo>
                    <a:lnTo>
                      <a:pt x="13" y="57"/>
                    </a:lnTo>
                    <a:lnTo>
                      <a:pt x="11" y="47"/>
                    </a:lnTo>
                    <a:lnTo>
                      <a:pt x="0" y="35"/>
                    </a:lnTo>
                    <a:lnTo>
                      <a:pt x="8" y="30"/>
                    </a:lnTo>
                    <a:lnTo>
                      <a:pt x="19" y="32"/>
                    </a:lnTo>
                    <a:lnTo>
                      <a:pt x="27" y="24"/>
                    </a:lnTo>
                    <a:lnTo>
                      <a:pt x="26" y="7"/>
                    </a:lnTo>
                    <a:lnTo>
                      <a:pt x="47" y="13"/>
                    </a:lnTo>
                    <a:lnTo>
                      <a:pt x="46" y="20"/>
                    </a:lnTo>
                    <a:lnTo>
                      <a:pt x="45" y="34"/>
                    </a:lnTo>
                    <a:lnTo>
                      <a:pt x="54" y="32"/>
                    </a:lnTo>
                    <a:lnTo>
                      <a:pt x="60" y="30"/>
                    </a:lnTo>
                    <a:lnTo>
                      <a:pt x="57" y="7"/>
                    </a:lnTo>
                    <a:lnTo>
                      <a:pt x="68" y="0"/>
                    </a:lnTo>
                    <a:lnTo>
                      <a:pt x="77" y="1"/>
                    </a:lnTo>
                    <a:lnTo>
                      <a:pt x="98" y="3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7" name="Freeform 81">
                <a:extLst>
                  <a:ext uri="{FF2B5EF4-FFF2-40B4-BE49-F238E27FC236}">
                    <a16:creationId xmlns:a16="http://schemas.microsoft.com/office/drawing/2014/main" id="{AD4BF8AF-2F16-9EAB-3D97-63AF32B3A1DC}"/>
                  </a:ext>
                </a:extLst>
              </p:cNvPr>
              <p:cNvSpPr>
                <a:spLocks/>
              </p:cNvSpPr>
              <p:nvPr/>
            </p:nvSpPr>
            <p:spPr bwMode="auto">
              <a:xfrm>
                <a:off x="4449305" y="2543444"/>
                <a:ext cx="14088" cy="27668"/>
              </a:xfrm>
              <a:custGeom>
                <a:avLst/>
                <a:gdLst>
                  <a:gd name="T0" fmla="*/ 10 w 22"/>
                  <a:gd name="T1" fmla="*/ 40 h 40"/>
                  <a:gd name="T2" fmla="*/ 13 w 22"/>
                  <a:gd name="T3" fmla="*/ 21 h 40"/>
                  <a:gd name="T4" fmla="*/ 22 w 22"/>
                  <a:gd name="T5" fmla="*/ 18 h 40"/>
                  <a:gd name="T6" fmla="*/ 16 w 22"/>
                  <a:gd name="T7" fmla="*/ 8 h 40"/>
                  <a:gd name="T8" fmla="*/ 10 w 22"/>
                  <a:gd name="T9" fmla="*/ 0 h 40"/>
                  <a:gd name="T10" fmla="*/ 0 w 22"/>
                  <a:gd name="T11" fmla="*/ 4 h 40"/>
                  <a:gd name="T12" fmla="*/ 3 w 22"/>
                  <a:gd name="T13" fmla="*/ 14 h 40"/>
                  <a:gd name="T14" fmla="*/ 1 w 22"/>
                  <a:gd name="T15" fmla="*/ 22 h 40"/>
                  <a:gd name="T16" fmla="*/ 10 w 22"/>
                  <a:gd name="T1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40">
                    <a:moveTo>
                      <a:pt x="10" y="40"/>
                    </a:moveTo>
                    <a:lnTo>
                      <a:pt x="13" y="21"/>
                    </a:lnTo>
                    <a:lnTo>
                      <a:pt x="22" y="18"/>
                    </a:lnTo>
                    <a:lnTo>
                      <a:pt x="16" y="8"/>
                    </a:lnTo>
                    <a:lnTo>
                      <a:pt x="10" y="0"/>
                    </a:lnTo>
                    <a:lnTo>
                      <a:pt x="0" y="4"/>
                    </a:lnTo>
                    <a:lnTo>
                      <a:pt x="3" y="14"/>
                    </a:lnTo>
                    <a:lnTo>
                      <a:pt x="1" y="22"/>
                    </a:lnTo>
                    <a:lnTo>
                      <a:pt x="10" y="4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8" name="Freeform 82">
                <a:extLst>
                  <a:ext uri="{FF2B5EF4-FFF2-40B4-BE49-F238E27FC236}">
                    <a16:creationId xmlns:a16="http://schemas.microsoft.com/office/drawing/2014/main" id="{1B651018-B884-B4D3-0610-39B2A7F2B8EE}"/>
                  </a:ext>
                </a:extLst>
              </p:cNvPr>
              <p:cNvSpPr>
                <a:spLocks/>
              </p:cNvSpPr>
              <p:nvPr/>
            </p:nvSpPr>
            <p:spPr bwMode="auto">
              <a:xfrm>
                <a:off x="4425154" y="2544863"/>
                <a:ext cx="24822" cy="24121"/>
              </a:xfrm>
              <a:custGeom>
                <a:avLst/>
                <a:gdLst>
                  <a:gd name="T0" fmla="*/ 39 w 39"/>
                  <a:gd name="T1" fmla="*/ 26 h 35"/>
                  <a:gd name="T2" fmla="*/ 29 w 39"/>
                  <a:gd name="T3" fmla="*/ 28 h 35"/>
                  <a:gd name="T4" fmla="*/ 19 w 39"/>
                  <a:gd name="T5" fmla="*/ 35 h 35"/>
                  <a:gd name="T6" fmla="*/ 12 w 39"/>
                  <a:gd name="T7" fmla="*/ 26 h 35"/>
                  <a:gd name="T8" fmla="*/ 0 w 39"/>
                  <a:gd name="T9" fmla="*/ 21 h 35"/>
                  <a:gd name="T10" fmla="*/ 0 w 39"/>
                  <a:gd name="T11" fmla="*/ 7 h 35"/>
                  <a:gd name="T12" fmla="*/ 13 w 39"/>
                  <a:gd name="T13" fmla="*/ 0 h 35"/>
                  <a:gd name="T14" fmla="*/ 20 w 39"/>
                  <a:gd name="T15" fmla="*/ 9 h 35"/>
                  <a:gd name="T16" fmla="*/ 32 w 39"/>
                  <a:gd name="T17" fmla="*/ 9 h 35"/>
                  <a:gd name="T18" fmla="*/ 39 w 39"/>
                  <a:gd name="T19" fmla="*/ 16 h 35"/>
                  <a:gd name="T20" fmla="*/ 39 w 39"/>
                  <a:gd name="T21" fmla="*/ 2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35">
                    <a:moveTo>
                      <a:pt x="39" y="26"/>
                    </a:moveTo>
                    <a:lnTo>
                      <a:pt x="29" y="28"/>
                    </a:lnTo>
                    <a:lnTo>
                      <a:pt x="19" y="35"/>
                    </a:lnTo>
                    <a:lnTo>
                      <a:pt x="12" y="26"/>
                    </a:lnTo>
                    <a:lnTo>
                      <a:pt x="0" y="21"/>
                    </a:lnTo>
                    <a:lnTo>
                      <a:pt x="0" y="7"/>
                    </a:lnTo>
                    <a:lnTo>
                      <a:pt x="13" y="0"/>
                    </a:lnTo>
                    <a:lnTo>
                      <a:pt x="20" y="9"/>
                    </a:lnTo>
                    <a:lnTo>
                      <a:pt x="32" y="9"/>
                    </a:lnTo>
                    <a:lnTo>
                      <a:pt x="39" y="16"/>
                    </a:lnTo>
                    <a:lnTo>
                      <a:pt x="39" y="2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49" name="Freeform 83">
                <a:extLst>
                  <a:ext uri="{FF2B5EF4-FFF2-40B4-BE49-F238E27FC236}">
                    <a16:creationId xmlns:a16="http://schemas.microsoft.com/office/drawing/2014/main" id="{0D29B5B6-957D-62BA-FD71-B63F3108703F}"/>
                  </a:ext>
                </a:extLst>
              </p:cNvPr>
              <p:cNvSpPr>
                <a:spLocks/>
              </p:cNvSpPr>
              <p:nvPr/>
            </p:nvSpPr>
            <p:spPr bwMode="auto">
              <a:xfrm>
                <a:off x="4380878" y="2502296"/>
                <a:ext cx="40251" cy="58174"/>
              </a:xfrm>
              <a:custGeom>
                <a:avLst/>
                <a:gdLst>
                  <a:gd name="T0" fmla="*/ 51 w 63"/>
                  <a:gd name="T1" fmla="*/ 86 h 86"/>
                  <a:gd name="T2" fmla="*/ 57 w 63"/>
                  <a:gd name="T3" fmla="*/ 71 h 86"/>
                  <a:gd name="T4" fmla="*/ 57 w 63"/>
                  <a:gd name="T5" fmla="*/ 61 h 86"/>
                  <a:gd name="T6" fmla="*/ 63 w 63"/>
                  <a:gd name="T7" fmla="*/ 59 h 86"/>
                  <a:gd name="T8" fmla="*/ 60 w 63"/>
                  <a:gd name="T9" fmla="*/ 37 h 86"/>
                  <a:gd name="T10" fmla="*/ 55 w 63"/>
                  <a:gd name="T11" fmla="*/ 30 h 86"/>
                  <a:gd name="T12" fmla="*/ 50 w 63"/>
                  <a:gd name="T13" fmla="*/ 15 h 86"/>
                  <a:gd name="T14" fmla="*/ 53 w 63"/>
                  <a:gd name="T15" fmla="*/ 7 h 86"/>
                  <a:gd name="T16" fmla="*/ 44 w 63"/>
                  <a:gd name="T17" fmla="*/ 1 h 86"/>
                  <a:gd name="T18" fmla="*/ 35 w 63"/>
                  <a:gd name="T19" fmla="*/ 3 h 86"/>
                  <a:gd name="T20" fmla="*/ 20 w 63"/>
                  <a:gd name="T21" fmla="*/ 0 h 86"/>
                  <a:gd name="T22" fmla="*/ 13 w 63"/>
                  <a:gd name="T23" fmla="*/ 6 h 86"/>
                  <a:gd name="T24" fmla="*/ 1 w 63"/>
                  <a:gd name="T25" fmla="*/ 5 h 86"/>
                  <a:gd name="T26" fmla="*/ 0 w 63"/>
                  <a:gd name="T27" fmla="*/ 22 h 86"/>
                  <a:gd name="T28" fmla="*/ 5 w 63"/>
                  <a:gd name="T29" fmla="*/ 29 h 86"/>
                  <a:gd name="T30" fmla="*/ 7 w 63"/>
                  <a:gd name="T31" fmla="*/ 35 h 86"/>
                  <a:gd name="T32" fmla="*/ 19 w 63"/>
                  <a:gd name="T33" fmla="*/ 42 h 86"/>
                  <a:gd name="T34" fmla="*/ 19 w 63"/>
                  <a:gd name="T35" fmla="*/ 51 h 86"/>
                  <a:gd name="T36" fmla="*/ 35 w 63"/>
                  <a:gd name="T37" fmla="*/ 50 h 86"/>
                  <a:gd name="T38" fmla="*/ 45 w 63"/>
                  <a:gd name="T39" fmla="*/ 54 h 86"/>
                  <a:gd name="T40" fmla="*/ 53 w 63"/>
                  <a:gd name="T41" fmla="*/ 55 h 86"/>
                  <a:gd name="T42" fmla="*/ 46 w 63"/>
                  <a:gd name="T43" fmla="*/ 70 h 86"/>
                  <a:gd name="T44" fmla="*/ 51 w 63"/>
                  <a:gd name="T4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3" h="86">
                    <a:moveTo>
                      <a:pt x="51" y="86"/>
                    </a:moveTo>
                    <a:lnTo>
                      <a:pt x="57" y="71"/>
                    </a:lnTo>
                    <a:lnTo>
                      <a:pt x="57" y="61"/>
                    </a:lnTo>
                    <a:lnTo>
                      <a:pt x="63" y="59"/>
                    </a:lnTo>
                    <a:lnTo>
                      <a:pt x="60" y="37"/>
                    </a:lnTo>
                    <a:lnTo>
                      <a:pt x="55" y="30"/>
                    </a:lnTo>
                    <a:lnTo>
                      <a:pt x="50" y="15"/>
                    </a:lnTo>
                    <a:lnTo>
                      <a:pt x="53" y="7"/>
                    </a:lnTo>
                    <a:lnTo>
                      <a:pt x="44" y="1"/>
                    </a:lnTo>
                    <a:lnTo>
                      <a:pt x="35" y="3"/>
                    </a:lnTo>
                    <a:lnTo>
                      <a:pt x="20" y="0"/>
                    </a:lnTo>
                    <a:lnTo>
                      <a:pt x="13" y="6"/>
                    </a:lnTo>
                    <a:lnTo>
                      <a:pt x="1" y="5"/>
                    </a:lnTo>
                    <a:lnTo>
                      <a:pt x="0" y="22"/>
                    </a:lnTo>
                    <a:lnTo>
                      <a:pt x="5" y="29"/>
                    </a:lnTo>
                    <a:lnTo>
                      <a:pt x="7" y="35"/>
                    </a:lnTo>
                    <a:lnTo>
                      <a:pt x="19" y="42"/>
                    </a:lnTo>
                    <a:lnTo>
                      <a:pt x="19" y="51"/>
                    </a:lnTo>
                    <a:lnTo>
                      <a:pt x="35" y="50"/>
                    </a:lnTo>
                    <a:lnTo>
                      <a:pt x="45" y="54"/>
                    </a:lnTo>
                    <a:lnTo>
                      <a:pt x="53" y="55"/>
                    </a:lnTo>
                    <a:lnTo>
                      <a:pt x="46" y="70"/>
                    </a:lnTo>
                    <a:lnTo>
                      <a:pt x="51" y="86"/>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0" name="Oval 84">
                <a:extLst>
                  <a:ext uri="{FF2B5EF4-FFF2-40B4-BE49-F238E27FC236}">
                    <a16:creationId xmlns:a16="http://schemas.microsoft.com/office/drawing/2014/main" id="{E3A1A26E-8106-3A3D-AF87-55C0D53EE3E6}"/>
                  </a:ext>
                </a:extLst>
              </p:cNvPr>
              <p:cNvSpPr>
                <a:spLocks noChangeArrowheads="1"/>
              </p:cNvSpPr>
              <p:nvPr/>
            </p:nvSpPr>
            <p:spPr bwMode="auto">
              <a:xfrm>
                <a:off x="4472785" y="2500168"/>
                <a:ext cx="10734"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1" name="Freeform 85">
                <a:extLst>
                  <a:ext uri="{FF2B5EF4-FFF2-40B4-BE49-F238E27FC236}">
                    <a16:creationId xmlns:a16="http://schemas.microsoft.com/office/drawing/2014/main" id="{DF61F8DD-AFBB-8196-ACD0-07E98FE48A37}"/>
                  </a:ext>
                </a:extLst>
              </p:cNvPr>
              <p:cNvSpPr>
                <a:spLocks/>
              </p:cNvSpPr>
              <p:nvPr/>
            </p:nvSpPr>
            <p:spPr bwMode="auto">
              <a:xfrm>
                <a:off x="4600247" y="2391623"/>
                <a:ext cx="26834" cy="69525"/>
              </a:xfrm>
              <a:custGeom>
                <a:avLst/>
                <a:gdLst>
                  <a:gd name="T0" fmla="*/ 0 w 42"/>
                  <a:gd name="T1" fmla="*/ 75 h 102"/>
                  <a:gd name="T2" fmla="*/ 7 w 42"/>
                  <a:gd name="T3" fmla="*/ 89 h 102"/>
                  <a:gd name="T4" fmla="*/ 5 w 42"/>
                  <a:gd name="T5" fmla="*/ 102 h 102"/>
                  <a:gd name="T6" fmla="*/ 22 w 42"/>
                  <a:gd name="T7" fmla="*/ 82 h 102"/>
                  <a:gd name="T8" fmla="*/ 24 w 42"/>
                  <a:gd name="T9" fmla="*/ 58 h 102"/>
                  <a:gd name="T10" fmla="*/ 29 w 42"/>
                  <a:gd name="T11" fmla="*/ 44 h 102"/>
                  <a:gd name="T12" fmla="*/ 33 w 42"/>
                  <a:gd name="T13" fmla="*/ 29 h 102"/>
                  <a:gd name="T14" fmla="*/ 42 w 42"/>
                  <a:gd name="T15" fmla="*/ 9 h 102"/>
                  <a:gd name="T16" fmla="*/ 35 w 42"/>
                  <a:gd name="T17" fmla="*/ 0 h 102"/>
                  <a:gd name="T18" fmla="*/ 25 w 42"/>
                  <a:gd name="T19" fmla="*/ 24 h 102"/>
                  <a:gd name="T20" fmla="*/ 16 w 42"/>
                  <a:gd name="T21" fmla="*/ 44 h 102"/>
                  <a:gd name="T22" fmla="*/ 9 w 42"/>
                  <a:gd name="T23" fmla="*/ 56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02">
                    <a:moveTo>
                      <a:pt x="0" y="75"/>
                    </a:moveTo>
                    <a:lnTo>
                      <a:pt x="7" y="89"/>
                    </a:lnTo>
                    <a:lnTo>
                      <a:pt x="5" y="102"/>
                    </a:lnTo>
                    <a:lnTo>
                      <a:pt x="22" y="82"/>
                    </a:lnTo>
                    <a:lnTo>
                      <a:pt x="24" y="58"/>
                    </a:lnTo>
                    <a:lnTo>
                      <a:pt x="29" y="44"/>
                    </a:lnTo>
                    <a:lnTo>
                      <a:pt x="33" y="29"/>
                    </a:lnTo>
                    <a:lnTo>
                      <a:pt x="42" y="9"/>
                    </a:lnTo>
                    <a:lnTo>
                      <a:pt x="35" y="0"/>
                    </a:lnTo>
                    <a:lnTo>
                      <a:pt x="25" y="24"/>
                    </a:lnTo>
                    <a:lnTo>
                      <a:pt x="16" y="44"/>
                    </a:lnTo>
                    <a:lnTo>
                      <a:pt x="9"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2" name="Freeform 86">
                <a:extLst>
                  <a:ext uri="{FF2B5EF4-FFF2-40B4-BE49-F238E27FC236}">
                    <a16:creationId xmlns:a16="http://schemas.microsoft.com/office/drawing/2014/main" id="{1EDAF756-9AB5-1576-216C-53750872AEC1}"/>
                  </a:ext>
                </a:extLst>
              </p:cNvPr>
              <p:cNvSpPr>
                <a:spLocks/>
              </p:cNvSpPr>
              <p:nvPr/>
            </p:nvSpPr>
            <p:spPr bwMode="auto">
              <a:xfrm>
                <a:off x="4540541" y="1633230"/>
                <a:ext cx="63060" cy="70235"/>
              </a:xfrm>
              <a:custGeom>
                <a:avLst/>
                <a:gdLst>
                  <a:gd name="T0" fmla="*/ 77 w 98"/>
                  <a:gd name="T1" fmla="*/ 65 h 104"/>
                  <a:gd name="T2" fmla="*/ 68 w 98"/>
                  <a:gd name="T3" fmla="*/ 75 h 104"/>
                  <a:gd name="T4" fmla="*/ 53 w 98"/>
                  <a:gd name="T5" fmla="*/ 89 h 104"/>
                  <a:gd name="T6" fmla="*/ 42 w 98"/>
                  <a:gd name="T7" fmla="*/ 84 h 104"/>
                  <a:gd name="T8" fmla="*/ 29 w 98"/>
                  <a:gd name="T9" fmla="*/ 96 h 104"/>
                  <a:gd name="T10" fmla="*/ 18 w 98"/>
                  <a:gd name="T11" fmla="*/ 98 h 104"/>
                  <a:gd name="T12" fmla="*/ 0 w 98"/>
                  <a:gd name="T13" fmla="*/ 104 h 104"/>
                  <a:gd name="T14" fmla="*/ 8 w 98"/>
                  <a:gd name="T15" fmla="*/ 85 h 104"/>
                  <a:gd name="T16" fmla="*/ 22 w 98"/>
                  <a:gd name="T17" fmla="*/ 80 h 104"/>
                  <a:gd name="T18" fmla="*/ 37 w 98"/>
                  <a:gd name="T19" fmla="*/ 75 h 104"/>
                  <a:gd name="T20" fmla="*/ 31 w 98"/>
                  <a:gd name="T21" fmla="*/ 64 h 104"/>
                  <a:gd name="T22" fmla="*/ 15 w 98"/>
                  <a:gd name="T23" fmla="*/ 64 h 104"/>
                  <a:gd name="T24" fmla="*/ 9 w 98"/>
                  <a:gd name="T25" fmla="*/ 51 h 104"/>
                  <a:gd name="T26" fmla="*/ 24 w 98"/>
                  <a:gd name="T27" fmla="*/ 33 h 104"/>
                  <a:gd name="T28" fmla="*/ 37 w 98"/>
                  <a:gd name="T29" fmla="*/ 31 h 104"/>
                  <a:gd name="T30" fmla="*/ 49 w 98"/>
                  <a:gd name="T31" fmla="*/ 47 h 104"/>
                  <a:gd name="T32" fmla="*/ 53 w 98"/>
                  <a:gd name="T33" fmla="*/ 35 h 104"/>
                  <a:gd name="T34" fmla="*/ 55 w 98"/>
                  <a:gd name="T35" fmla="*/ 5 h 104"/>
                  <a:gd name="T36" fmla="*/ 64 w 98"/>
                  <a:gd name="T37" fmla="*/ 0 h 104"/>
                  <a:gd name="T38" fmla="*/ 75 w 98"/>
                  <a:gd name="T39" fmla="*/ 11 h 104"/>
                  <a:gd name="T40" fmla="*/ 64 w 98"/>
                  <a:gd name="T41" fmla="*/ 29 h 104"/>
                  <a:gd name="T42" fmla="*/ 77 w 98"/>
                  <a:gd name="T43" fmla="*/ 36 h 104"/>
                  <a:gd name="T44" fmla="*/ 89 w 98"/>
                  <a:gd name="T45" fmla="*/ 44 h 104"/>
                  <a:gd name="T46" fmla="*/ 98 w 98"/>
                  <a:gd name="T47" fmla="*/ 5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104">
                    <a:moveTo>
                      <a:pt x="77" y="65"/>
                    </a:moveTo>
                    <a:lnTo>
                      <a:pt x="68" y="75"/>
                    </a:lnTo>
                    <a:lnTo>
                      <a:pt x="53" y="89"/>
                    </a:lnTo>
                    <a:lnTo>
                      <a:pt x="42" y="84"/>
                    </a:lnTo>
                    <a:lnTo>
                      <a:pt x="29" y="96"/>
                    </a:lnTo>
                    <a:lnTo>
                      <a:pt x="18" y="98"/>
                    </a:lnTo>
                    <a:lnTo>
                      <a:pt x="0" y="104"/>
                    </a:lnTo>
                    <a:lnTo>
                      <a:pt x="8" y="85"/>
                    </a:lnTo>
                    <a:lnTo>
                      <a:pt x="22" y="80"/>
                    </a:lnTo>
                    <a:lnTo>
                      <a:pt x="37" y="75"/>
                    </a:lnTo>
                    <a:lnTo>
                      <a:pt x="31" y="64"/>
                    </a:lnTo>
                    <a:lnTo>
                      <a:pt x="15" y="64"/>
                    </a:lnTo>
                    <a:lnTo>
                      <a:pt x="9" y="51"/>
                    </a:lnTo>
                    <a:lnTo>
                      <a:pt x="24" y="33"/>
                    </a:lnTo>
                    <a:lnTo>
                      <a:pt x="37" y="31"/>
                    </a:lnTo>
                    <a:lnTo>
                      <a:pt x="49" y="47"/>
                    </a:lnTo>
                    <a:lnTo>
                      <a:pt x="53" y="35"/>
                    </a:lnTo>
                    <a:lnTo>
                      <a:pt x="55" y="5"/>
                    </a:lnTo>
                    <a:lnTo>
                      <a:pt x="64" y="0"/>
                    </a:lnTo>
                    <a:lnTo>
                      <a:pt x="75" y="11"/>
                    </a:lnTo>
                    <a:lnTo>
                      <a:pt x="64" y="29"/>
                    </a:lnTo>
                    <a:cubicBezTo>
                      <a:pt x="71" y="48"/>
                      <a:pt x="65" y="36"/>
                      <a:pt x="77" y="36"/>
                    </a:cubicBezTo>
                    <a:lnTo>
                      <a:pt x="89" y="44"/>
                    </a:lnTo>
                    <a:lnTo>
                      <a:pt x="98" y="56"/>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3" name="Freeform 87">
                <a:extLst>
                  <a:ext uri="{FF2B5EF4-FFF2-40B4-BE49-F238E27FC236}">
                    <a16:creationId xmlns:a16="http://schemas.microsoft.com/office/drawing/2014/main" id="{9014E486-02E9-1A86-D489-FACCDC63E734}"/>
                  </a:ext>
                </a:extLst>
              </p:cNvPr>
              <p:cNvSpPr>
                <a:spLocks/>
              </p:cNvSpPr>
              <p:nvPr/>
            </p:nvSpPr>
            <p:spPr bwMode="auto">
              <a:xfrm>
                <a:off x="4705571" y="1527523"/>
                <a:ext cx="18113" cy="17736"/>
              </a:xfrm>
              <a:custGeom>
                <a:avLst/>
                <a:gdLst>
                  <a:gd name="T0" fmla="*/ 7 w 29"/>
                  <a:gd name="T1" fmla="*/ 27 h 27"/>
                  <a:gd name="T2" fmla="*/ 27 w 29"/>
                  <a:gd name="T3" fmla="*/ 20 h 27"/>
                  <a:gd name="T4" fmla="*/ 29 w 29"/>
                  <a:gd name="T5" fmla="*/ 1 h 27"/>
                  <a:gd name="T6" fmla="*/ 14 w 29"/>
                  <a:gd name="T7" fmla="*/ 0 h 27"/>
                  <a:gd name="T8" fmla="*/ 0 w 29"/>
                  <a:gd name="T9" fmla="*/ 11 h 27"/>
                  <a:gd name="T10" fmla="*/ 7 w 29"/>
                  <a:gd name="T11" fmla="*/ 27 h 27"/>
                </a:gdLst>
                <a:ahLst/>
                <a:cxnLst>
                  <a:cxn ang="0">
                    <a:pos x="T0" y="T1"/>
                  </a:cxn>
                  <a:cxn ang="0">
                    <a:pos x="T2" y="T3"/>
                  </a:cxn>
                  <a:cxn ang="0">
                    <a:pos x="T4" y="T5"/>
                  </a:cxn>
                  <a:cxn ang="0">
                    <a:pos x="T6" y="T7"/>
                  </a:cxn>
                  <a:cxn ang="0">
                    <a:pos x="T8" y="T9"/>
                  </a:cxn>
                  <a:cxn ang="0">
                    <a:pos x="T10" y="T11"/>
                  </a:cxn>
                </a:cxnLst>
                <a:rect l="0" t="0" r="r" b="b"/>
                <a:pathLst>
                  <a:path w="29" h="27">
                    <a:moveTo>
                      <a:pt x="7" y="27"/>
                    </a:moveTo>
                    <a:lnTo>
                      <a:pt x="27" y="20"/>
                    </a:lnTo>
                    <a:lnTo>
                      <a:pt x="29" y="1"/>
                    </a:lnTo>
                    <a:lnTo>
                      <a:pt x="14" y="0"/>
                    </a:lnTo>
                    <a:lnTo>
                      <a:pt x="0" y="11"/>
                    </a:lnTo>
                    <a:lnTo>
                      <a:pt x="7" y="27"/>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4" name="Freeform 88">
                <a:extLst>
                  <a:ext uri="{FF2B5EF4-FFF2-40B4-BE49-F238E27FC236}">
                    <a16:creationId xmlns:a16="http://schemas.microsoft.com/office/drawing/2014/main" id="{BBE959E0-5DFE-0A8D-173A-2D576ABD23E9}"/>
                  </a:ext>
                </a:extLst>
              </p:cNvPr>
              <p:cNvSpPr>
                <a:spLocks/>
              </p:cNvSpPr>
              <p:nvPr/>
            </p:nvSpPr>
            <p:spPr bwMode="auto">
              <a:xfrm>
                <a:off x="4762594" y="1494179"/>
                <a:ext cx="14088" cy="17027"/>
              </a:xfrm>
              <a:custGeom>
                <a:avLst/>
                <a:gdLst>
                  <a:gd name="T0" fmla="*/ 18 w 22"/>
                  <a:gd name="T1" fmla="*/ 25 h 25"/>
                  <a:gd name="T2" fmla="*/ 22 w 22"/>
                  <a:gd name="T3" fmla="*/ 12 h 25"/>
                  <a:gd name="T4" fmla="*/ 12 w 22"/>
                  <a:gd name="T5" fmla="*/ 0 h 25"/>
                  <a:gd name="T6" fmla="*/ 0 w 22"/>
                  <a:gd name="T7" fmla="*/ 9 h 25"/>
                  <a:gd name="T8" fmla="*/ 18 w 22"/>
                  <a:gd name="T9" fmla="*/ 25 h 25"/>
                </a:gdLst>
                <a:ahLst/>
                <a:cxnLst>
                  <a:cxn ang="0">
                    <a:pos x="T0" y="T1"/>
                  </a:cxn>
                  <a:cxn ang="0">
                    <a:pos x="T2" y="T3"/>
                  </a:cxn>
                  <a:cxn ang="0">
                    <a:pos x="T4" y="T5"/>
                  </a:cxn>
                  <a:cxn ang="0">
                    <a:pos x="T6" y="T7"/>
                  </a:cxn>
                  <a:cxn ang="0">
                    <a:pos x="T8" y="T9"/>
                  </a:cxn>
                </a:cxnLst>
                <a:rect l="0" t="0" r="r" b="b"/>
                <a:pathLst>
                  <a:path w="22" h="25">
                    <a:moveTo>
                      <a:pt x="18" y="25"/>
                    </a:moveTo>
                    <a:lnTo>
                      <a:pt x="22" y="12"/>
                    </a:lnTo>
                    <a:lnTo>
                      <a:pt x="12" y="0"/>
                    </a:lnTo>
                    <a:lnTo>
                      <a:pt x="0" y="9"/>
                    </a:lnTo>
                    <a:lnTo>
                      <a:pt x="18" y="25"/>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5" name="Freeform 89">
                <a:extLst>
                  <a:ext uri="{FF2B5EF4-FFF2-40B4-BE49-F238E27FC236}">
                    <a16:creationId xmlns:a16="http://schemas.microsoft.com/office/drawing/2014/main" id="{61869E7E-4A17-8E91-D1F5-5F123C74EB36}"/>
                  </a:ext>
                </a:extLst>
              </p:cNvPr>
              <p:cNvSpPr>
                <a:spLocks/>
              </p:cNvSpPr>
              <p:nvPr/>
            </p:nvSpPr>
            <p:spPr bwMode="auto">
              <a:xfrm>
                <a:off x="4693496" y="1561576"/>
                <a:ext cx="14759" cy="20574"/>
              </a:xfrm>
              <a:custGeom>
                <a:avLst/>
                <a:gdLst>
                  <a:gd name="T0" fmla="*/ 24 w 24"/>
                  <a:gd name="T1" fmla="*/ 1 h 30"/>
                  <a:gd name="T2" fmla="*/ 0 w 24"/>
                  <a:gd name="T3" fmla="*/ 0 h 30"/>
                  <a:gd name="T4" fmla="*/ 6 w 24"/>
                  <a:gd name="T5" fmla="*/ 14 h 30"/>
                  <a:gd name="T6" fmla="*/ 15 w 24"/>
                  <a:gd name="T7" fmla="*/ 21 h 30"/>
                  <a:gd name="T8" fmla="*/ 19 w 24"/>
                  <a:gd name="T9" fmla="*/ 30 h 30"/>
                </a:gdLst>
                <a:ahLst/>
                <a:cxnLst>
                  <a:cxn ang="0">
                    <a:pos x="T0" y="T1"/>
                  </a:cxn>
                  <a:cxn ang="0">
                    <a:pos x="T2" y="T3"/>
                  </a:cxn>
                  <a:cxn ang="0">
                    <a:pos x="T4" y="T5"/>
                  </a:cxn>
                  <a:cxn ang="0">
                    <a:pos x="T6" y="T7"/>
                  </a:cxn>
                  <a:cxn ang="0">
                    <a:pos x="T8" y="T9"/>
                  </a:cxn>
                </a:cxnLst>
                <a:rect l="0" t="0" r="r" b="b"/>
                <a:pathLst>
                  <a:path w="24" h="30">
                    <a:moveTo>
                      <a:pt x="24" y="1"/>
                    </a:moveTo>
                    <a:lnTo>
                      <a:pt x="0" y="0"/>
                    </a:lnTo>
                    <a:lnTo>
                      <a:pt x="6" y="14"/>
                    </a:lnTo>
                    <a:lnTo>
                      <a:pt x="15" y="21"/>
                    </a:lnTo>
                    <a:lnTo>
                      <a:pt x="19" y="3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6" name="Freeform 90">
                <a:extLst>
                  <a:ext uri="{FF2B5EF4-FFF2-40B4-BE49-F238E27FC236}">
                    <a16:creationId xmlns:a16="http://schemas.microsoft.com/office/drawing/2014/main" id="{11D72CA1-9438-F7C3-6F68-BA83A29ACE40}"/>
                  </a:ext>
                </a:extLst>
              </p:cNvPr>
              <p:cNvSpPr>
                <a:spLocks/>
              </p:cNvSpPr>
              <p:nvPr/>
            </p:nvSpPr>
            <p:spPr bwMode="auto">
              <a:xfrm>
                <a:off x="4674041" y="1563705"/>
                <a:ext cx="7379" cy="13479"/>
              </a:xfrm>
              <a:custGeom>
                <a:avLst/>
                <a:gdLst>
                  <a:gd name="T0" fmla="*/ 5 w 12"/>
                  <a:gd name="T1" fmla="*/ 20 h 20"/>
                  <a:gd name="T2" fmla="*/ 12 w 12"/>
                  <a:gd name="T3" fmla="*/ 7 h 20"/>
                  <a:gd name="T4" fmla="*/ 0 w 12"/>
                  <a:gd name="T5" fmla="*/ 0 h 20"/>
                  <a:gd name="T6" fmla="*/ 5 w 12"/>
                  <a:gd name="T7" fmla="*/ 20 h 20"/>
                </a:gdLst>
                <a:ahLst/>
                <a:cxnLst>
                  <a:cxn ang="0">
                    <a:pos x="T0" y="T1"/>
                  </a:cxn>
                  <a:cxn ang="0">
                    <a:pos x="T2" y="T3"/>
                  </a:cxn>
                  <a:cxn ang="0">
                    <a:pos x="T4" y="T5"/>
                  </a:cxn>
                  <a:cxn ang="0">
                    <a:pos x="T6" y="T7"/>
                  </a:cxn>
                </a:cxnLst>
                <a:rect l="0" t="0" r="r" b="b"/>
                <a:pathLst>
                  <a:path w="12" h="20">
                    <a:moveTo>
                      <a:pt x="5" y="20"/>
                    </a:moveTo>
                    <a:lnTo>
                      <a:pt x="12" y="7"/>
                    </a:lnTo>
                    <a:lnTo>
                      <a:pt x="0" y="0"/>
                    </a:lnTo>
                    <a:lnTo>
                      <a:pt x="5" y="2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7" name="Freeform 91">
                <a:extLst>
                  <a:ext uri="{FF2B5EF4-FFF2-40B4-BE49-F238E27FC236}">
                    <a16:creationId xmlns:a16="http://schemas.microsoft.com/office/drawing/2014/main" id="{F4EC49F3-A963-9BF6-8A95-0BA8E430FE25}"/>
                  </a:ext>
                </a:extLst>
              </p:cNvPr>
              <p:cNvSpPr>
                <a:spLocks/>
              </p:cNvSpPr>
              <p:nvPr/>
            </p:nvSpPr>
            <p:spPr bwMode="auto">
              <a:xfrm>
                <a:off x="4655928" y="1566542"/>
                <a:ext cx="10734" cy="13479"/>
              </a:xfrm>
              <a:custGeom>
                <a:avLst/>
                <a:gdLst>
                  <a:gd name="T0" fmla="*/ 17 w 17"/>
                  <a:gd name="T1" fmla="*/ 18 h 20"/>
                  <a:gd name="T2" fmla="*/ 0 w 17"/>
                  <a:gd name="T3" fmla="*/ 0 h 20"/>
                  <a:gd name="T4" fmla="*/ 2 w 17"/>
                  <a:gd name="T5" fmla="*/ 20 h 20"/>
                  <a:gd name="T6" fmla="*/ 17 w 17"/>
                  <a:gd name="T7" fmla="*/ 18 h 20"/>
                </a:gdLst>
                <a:ahLst/>
                <a:cxnLst>
                  <a:cxn ang="0">
                    <a:pos x="T0" y="T1"/>
                  </a:cxn>
                  <a:cxn ang="0">
                    <a:pos x="T2" y="T3"/>
                  </a:cxn>
                  <a:cxn ang="0">
                    <a:pos x="T4" y="T5"/>
                  </a:cxn>
                  <a:cxn ang="0">
                    <a:pos x="T6" y="T7"/>
                  </a:cxn>
                </a:cxnLst>
                <a:rect l="0" t="0" r="r" b="b"/>
                <a:pathLst>
                  <a:path w="17" h="20">
                    <a:moveTo>
                      <a:pt x="17" y="18"/>
                    </a:moveTo>
                    <a:lnTo>
                      <a:pt x="0" y="0"/>
                    </a:lnTo>
                    <a:lnTo>
                      <a:pt x="2" y="20"/>
                    </a:lnTo>
                    <a:lnTo>
                      <a:pt x="17" y="18"/>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8" name="Freeform 92">
                <a:extLst>
                  <a:ext uri="{FF2B5EF4-FFF2-40B4-BE49-F238E27FC236}">
                    <a16:creationId xmlns:a16="http://schemas.microsoft.com/office/drawing/2014/main" id="{EB861232-E07E-50D6-E1B5-216196432319}"/>
                  </a:ext>
                </a:extLst>
              </p:cNvPr>
              <p:cNvSpPr>
                <a:spLocks/>
              </p:cNvSpPr>
              <p:nvPr/>
            </p:nvSpPr>
            <p:spPr bwMode="auto">
              <a:xfrm>
                <a:off x="4382219" y="1980856"/>
                <a:ext cx="30188" cy="21283"/>
              </a:xfrm>
              <a:custGeom>
                <a:avLst/>
                <a:gdLst>
                  <a:gd name="T0" fmla="*/ 0 w 47"/>
                  <a:gd name="T1" fmla="*/ 32 h 32"/>
                  <a:gd name="T2" fmla="*/ 4 w 47"/>
                  <a:gd name="T3" fmla="*/ 14 h 32"/>
                  <a:gd name="T4" fmla="*/ 18 w 47"/>
                  <a:gd name="T5" fmla="*/ 0 h 32"/>
                  <a:gd name="T6" fmla="*/ 29 w 47"/>
                  <a:gd name="T7" fmla="*/ 2 h 32"/>
                  <a:gd name="T8" fmla="*/ 35 w 47"/>
                  <a:gd name="T9" fmla="*/ 11 h 32"/>
                  <a:gd name="T10" fmla="*/ 47 w 47"/>
                  <a:gd name="T11" fmla="*/ 23 h 32"/>
                </a:gdLst>
                <a:ahLst/>
                <a:cxnLst>
                  <a:cxn ang="0">
                    <a:pos x="T0" y="T1"/>
                  </a:cxn>
                  <a:cxn ang="0">
                    <a:pos x="T2" y="T3"/>
                  </a:cxn>
                  <a:cxn ang="0">
                    <a:pos x="T4" y="T5"/>
                  </a:cxn>
                  <a:cxn ang="0">
                    <a:pos x="T6" y="T7"/>
                  </a:cxn>
                  <a:cxn ang="0">
                    <a:pos x="T8" y="T9"/>
                  </a:cxn>
                  <a:cxn ang="0">
                    <a:pos x="T10" y="T11"/>
                  </a:cxn>
                </a:cxnLst>
                <a:rect l="0" t="0" r="r" b="b"/>
                <a:pathLst>
                  <a:path w="47" h="32">
                    <a:moveTo>
                      <a:pt x="0" y="32"/>
                    </a:moveTo>
                    <a:lnTo>
                      <a:pt x="4" y="14"/>
                    </a:lnTo>
                    <a:lnTo>
                      <a:pt x="18" y="0"/>
                    </a:lnTo>
                    <a:lnTo>
                      <a:pt x="29" y="2"/>
                    </a:lnTo>
                    <a:lnTo>
                      <a:pt x="35" y="11"/>
                    </a:lnTo>
                    <a:lnTo>
                      <a:pt x="47" y="23"/>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59" name="Freeform 93">
                <a:extLst>
                  <a:ext uri="{FF2B5EF4-FFF2-40B4-BE49-F238E27FC236}">
                    <a16:creationId xmlns:a16="http://schemas.microsoft.com/office/drawing/2014/main" id="{4ECA329B-AF30-91C8-CD9F-4EEA6DFC523C}"/>
                  </a:ext>
                </a:extLst>
              </p:cNvPr>
              <p:cNvSpPr>
                <a:spLocks/>
              </p:cNvSpPr>
              <p:nvPr/>
            </p:nvSpPr>
            <p:spPr bwMode="auto">
              <a:xfrm>
                <a:off x="5420702" y="3676423"/>
                <a:ext cx="103982" cy="90099"/>
              </a:xfrm>
              <a:custGeom>
                <a:avLst/>
                <a:gdLst>
                  <a:gd name="T0" fmla="*/ 0 w 163"/>
                  <a:gd name="T1" fmla="*/ 104 h 133"/>
                  <a:gd name="T2" fmla="*/ 10 w 163"/>
                  <a:gd name="T3" fmla="*/ 116 h 133"/>
                  <a:gd name="T4" fmla="*/ 27 w 163"/>
                  <a:gd name="T5" fmla="*/ 133 h 133"/>
                  <a:gd name="T6" fmla="*/ 70 w 163"/>
                  <a:gd name="T7" fmla="*/ 132 h 133"/>
                  <a:gd name="T8" fmla="*/ 78 w 163"/>
                  <a:gd name="T9" fmla="*/ 118 h 133"/>
                  <a:gd name="T10" fmla="*/ 88 w 163"/>
                  <a:gd name="T11" fmla="*/ 113 h 133"/>
                  <a:gd name="T12" fmla="*/ 99 w 163"/>
                  <a:gd name="T13" fmla="*/ 113 h 133"/>
                  <a:gd name="T14" fmla="*/ 107 w 163"/>
                  <a:gd name="T15" fmla="*/ 102 h 133"/>
                  <a:gd name="T16" fmla="*/ 112 w 163"/>
                  <a:gd name="T17" fmla="*/ 93 h 133"/>
                  <a:gd name="T18" fmla="*/ 126 w 163"/>
                  <a:gd name="T19" fmla="*/ 86 h 133"/>
                  <a:gd name="T20" fmla="*/ 134 w 163"/>
                  <a:gd name="T21" fmla="*/ 80 h 133"/>
                  <a:gd name="T22" fmla="*/ 135 w 163"/>
                  <a:gd name="T23" fmla="*/ 72 h 133"/>
                  <a:gd name="T24" fmla="*/ 132 w 163"/>
                  <a:gd name="T25" fmla="*/ 60 h 133"/>
                  <a:gd name="T26" fmla="*/ 135 w 163"/>
                  <a:gd name="T27" fmla="*/ 52 h 133"/>
                  <a:gd name="T28" fmla="*/ 147 w 163"/>
                  <a:gd name="T29" fmla="*/ 34 h 133"/>
                  <a:gd name="T30" fmla="*/ 155 w 163"/>
                  <a:gd name="T31" fmla="*/ 25 h 133"/>
                  <a:gd name="T32" fmla="*/ 162 w 163"/>
                  <a:gd name="T33" fmla="*/ 17 h 133"/>
                  <a:gd name="T34" fmla="*/ 163 w 163"/>
                  <a:gd name="T35" fmla="*/ 0 h 133"/>
                  <a:gd name="T36" fmla="*/ 148 w 163"/>
                  <a:gd name="T37" fmla="*/ 5 h 133"/>
                  <a:gd name="T38" fmla="*/ 142 w 163"/>
                  <a:gd name="T39" fmla="*/ 16 h 133"/>
                  <a:gd name="T40" fmla="*/ 131 w 163"/>
                  <a:gd name="T41" fmla="*/ 26 h 133"/>
                  <a:gd name="T42" fmla="*/ 120 w 163"/>
                  <a:gd name="T43" fmla="*/ 33 h 133"/>
                  <a:gd name="T44" fmla="*/ 106 w 163"/>
                  <a:gd name="T45" fmla="*/ 41 h 133"/>
                  <a:gd name="T46" fmla="*/ 94 w 163"/>
                  <a:gd name="T47" fmla="*/ 46 h 133"/>
                  <a:gd name="T48" fmla="*/ 79 w 163"/>
                  <a:gd name="T49" fmla="*/ 54 h 133"/>
                  <a:gd name="T50" fmla="*/ 67 w 163"/>
                  <a:gd name="T51" fmla="*/ 57 h 133"/>
                  <a:gd name="T52" fmla="*/ 51 w 163"/>
                  <a:gd name="T53" fmla="*/ 60 h 133"/>
                  <a:gd name="T54" fmla="*/ 42 w 163"/>
                  <a:gd name="T55" fmla="*/ 81 h 133"/>
                  <a:gd name="T56" fmla="*/ 34 w 163"/>
                  <a:gd name="T57" fmla="*/ 84 h 133"/>
                  <a:gd name="T58" fmla="*/ 22 w 163"/>
                  <a:gd name="T59" fmla="*/ 86 h 133"/>
                  <a:gd name="T60" fmla="*/ 14 w 163"/>
                  <a:gd name="T61" fmla="*/ 94 h 133"/>
                  <a:gd name="T62" fmla="*/ 0 w 163"/>
                  <a:gd name="T63"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3" h="133">
                    <a:moveTo>
                      <a:pt x="0" y="104"/>
                    </a:moveTo>
                    <a:lnTo>
                      <a:pt x="10" y="116"/>
                    </a:lnTo>
                    <a:lnTo>
                      <a:pt x="27" y="133"/>
                    </a:lnTo>
                    <a:lnTo>
                      <a:pt x="70" y="132"/>
                    </a:lnTo>
                    <a:lnTo>
                      <a:pt x="78" y="118"/>
                    </a:lnTo>
                    <a:lnTo>
                      <a:pt x="88" y="113"/>
                    </a:lnTo>
                    <a:lnTo>
                      <a:pt x="99" y="113"/>
                    </a:lnTo>
                    <a:lnTo>
                      <a:pt x="107" y="102"/>
                    </a:lnTo>
                    <a:lnTo>
                      <a:pt x="112" y="93"/>
                    </a:lnTo>
                    <a:lnTo>
                      <a:pt x="126" y="86"/>
                    </a:lnTo>
                    <a:lnTo>
                      <a:pt x="134" y="80"/>
                    </a:lnTo>
                    <a:lnTo>
                      <a:pt x="135" y="72"/>
                    </a:lnTo>
                    <a:lnTo>
                      <a:pt x="132" y="60"/>
                    </a:lnTo>
                    <a:lnTo>
                      <a:pt x="135" y="52"/>
                    </a:lnTo>
                    <a:lnTo>
                      <a:pt x="147" y="34"/>
                    </a:lnTo>
                    <a:lnTo>
                      <a:pt x="155" y="25"/>
                    </a:lnTo>
                    <a:lnTo>
                      <a:pt x="162" y="17"/>
                    </a:lnTo>
                    <a:lnTo>
                      <a:pt x="163" y="0"/>
                    </a:lnTo>
                    <a:lnTo>
                      <a:pt x="148" y="5"/>
                    </a:lnTo>
                    <a:lnTo>
                      <a:pt x="142" y="16"/>
                    </a:lnTo>
                    <a:lnTo>
                      <a:pt x="131" y="26"/>
                    </a:lnTo>
                    <a:lnTo>
                      <a:pt x="120" y="33"/>
                    </a:lnTo>
                    <a:lnTo>
                      <a:pt x="106" y="41"/>
                    </a:lnTo>
                    <a:lnTo>
                      <a:pt x="94" y="46"/>
                    </a:lnTo>
                    <a:lnTo>
                      <a:pt x="79" y="54"/>
                    </a:lnTo>
                    <a:lnTo>
                      <a:pt x="67" y="57"/>
                    </a:lnTo>
                    <a:lnTo>
                      <a:pt x="51" y="60"/>
                    </a:lnTo>
                    <a:lnTo>
                      <a:pt x="42" y="81"/>
                    </a:lnTo>
                    <a:lnTo>
                      <a:pt x="34" y="84"/>
                    </a:lnTo>
                    <a:lnTo>
                      <a:pt x="22" y="86"/>
                    </a:lnTo>
                    <a:lnTo>
                      <a:pt x="14" y="94"/>
                    </a:lnTo>
                    <a:lnTo>
                      <a:pt x="0" y="104"/>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0" name="Oval 94">
                <a:extLst>
                  <a:ext uri="{FF2B5EF4-FFF2-40B4-BE49-F238E27FC236}">
                    <a16:creationId xmlns:a16="http://schemas.microsoft.com/office/drawing/2014/main" id="{B2BC0459-540F-A13E-C0B0-DE015DC4B737}"/>
                  </a:ext>
                </a:extLst>
              </p:cNvPr>
              <p:cNvSpPr>
                <a:spLocks noChangeArrowheads="1"/>
              </p:cNvSpPr>
              <p:nvPr/>
            </p:nvSpPr>
            <p:spPr bwMode="auto">
              <a:xfrm>
                <a:off x="4843096" y="2173115"/>
                <a:ext cx="10734" cy="1135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1" name="Freeform 95">
                <a:extLst>
                  <a:ext uri="{FF2B5EF4-FFF2-40B4-BE49-F238E27FC236}">
                    <a16:creationId xmlns:a16="http://schemas.microsoft.com/office/drawing/2014/main" id="{08D3C1EF-C840-0674-B7F4-B0E6AE6FDD41}"/>
                  </a:ext>
                </a:extLst>
              </p:cNvPr>
              <p:cNvSpPr>
                <a:spLocks/>
              </p:cNvSpPr>
              <p:nvPr/>
            </p:nvSpPr>
            <p:spPr bwMode="auto">
              <a:xfrm>
                <a:off x="4678066" y="1552353"/>
                <a:ext cx="334756" cy="670423"/>
              </a:xfrm>
              <a:custGeom>
                <a:avLst/>
                <a:gdLst>
                  <a:gd name="T0" fmla="*/ 188 w 523"/>
                  <a:gd name="T1" fmla="*/ 413 h 989"/>
                  <a:gd name="T2" fmla="*/ 210 w 523"/>
                  <a:gd name="T3" fmla="*/ 435 h 989"/>
                  <a:gd name="T4" fmla="*/ 226 w 523"/>
                  <a:gd name="T5" fmla="*/ 451 h 989"/>
                  <a:gd name="T6" fmla="*/ 230 w 523"/>
                  <a:gd name="T7" fmla="*/ 479 h 989"/>
                  <a:gd name="T8" fmla="*/ 234 w 523"/>
                  <a:gd name="T9" fmla="*/ 501 h 989"/>
                  <a:gd name="T10" fmla="*/ 204 w 523"/>
                  <a:gd name="T11" fmla="*/ 517 h 989"/>
                  <a:gd name="T12" fmla="*/ 190 w 523"/>
                  <a:gd name="T13" fmla="*/ 559 h 989"/>
                  <a:gd name="T14" fmla="*/ 172 w 523"/>
                  <a:gd name="T15" fmla="*/ 587 h 989"/>
                  <a:gd name="T16" fmla="*/ 154 w 523"/>
                  <a:gd name="T17" fmla="*/ 627 h 989"/>
                  <a:gd name="T18" fmla="*/ 136 w 523"/>
                  <a:gd name="T19" fmla="*/ 663 h 989"/>
                  <a:gd name="T20" fmla="*/ 100 w 523"/>
                  <a:gd name="T21" fmla="*/ 668 h 989"/>
                  <a:gd name="T22" fmla="*/ 104 w 523"/>
                  <a:gd name="T23" fmla="*/ 694 h 989"/>
                  <a:gd name="T24" fmla="*/ 87 w 523"/>
                  <a:gd name="T25" fmla="*/ 707 h 989"/>
                  <a:gd name="T26" fmla="*/ 79 w 523"/>
                  <a:gd name="T27" fmla="*/ 745 h 989"/>
                  <a:gd name="T28" fmla="*/ 89 w 523"/>
                  <a:gd name="T29" fmla="*/ 780 h 989"/>
                  <a:gd name="T30" fmla="*/ 103 w 523"/>
                  <a:gd name="T31" fmla="*/ 803 h 989"/>
                  <a:gd name="T32" fmla="*/ 110 w 523"/>
                  <a:gd name="T33" fmla="*/ 828 h 989"/>
                  <a:gd name="T34" fmla="*/ 104 w 523"/>
                  <a:gd name="T35" fmla="*/ 844 h 989"/>
                  <a:gd name="T36" fmla="*/ 104 w 523"/>
                  <a:gd name="T37" fmla="*/ 896 h 989"/>
                  <a:gd name="T38" fmla="*/ 123 w 523"/>
                  <a:gd name="T39" fmla="*/ 919 h 989"/>
                  <a:gd name="T40" fmla="*/ 166 w 523"/>
                  <a:gd name="T41" fmla="*/ 936 h 989"/>
                  <a:gd name="T42" fmla="*/ 167 w 523"/>
                  <a:gd name="T43" fmla="*/ 952 h 989"/>
                  <a:gd name="T44" fmla="*/ 174 w 523"/>
                  <a:gd name="T45" fmla="*/ 968 h 989"/>
                  <a:gd name="T46" fmla="*/ 194 w 523"/>
                  <a:gd name="T47" fmla="*/ 968 h 989"/>
                  <a:gd name="T48" fmla="*/ 203 w 523"/>
                  <a:gd name="T49" fmla="*/ 989 h 989"/>
                  <a:gd name="T50" fmla="*/ 218 w 523"/>
                  <a:gd name="T51" fmla="*/ 961 h 989"/>
                  <a:gd name="T52" fmla="*/ 232 w 523"/>
                  <a:gd name="T53" fmla="*/ 966 h 989"/>
                  <a:gd name="T54" fmla="*/ 273 w 523"/>
                  <a:gd name="T55" fmla="*/ 945 h 989"/>
                  <a:gd name="T56" fmla="*/ 305 w 523"/>
                  <a:gd name="T57" fmla="*/ 925 h 989"/>
                  <a:gd name="T58" fmla="*/ 343 w 523"/>
                  <a:gd name="T59" fmla="*/ 906 h 989"/>
                  <a:gd name="T60" fmla="*/ 399 w 523"/>
                  <a:gd name="T61" fmla="*/ 893 h 989"/>
                  <a:gd name="T62" fmla="*/ 436 w 523"/>
                  <a:gd name="T63" fmla="*/ 843 h 989"/>
                  <a:gd name="T64" fmla="*/ 468 w 523"/>
                  <a:gd name="T65" fmla="*/ 788 h 989"/>
                  <a:gd name="T66" fmla="*/ 513 w 523"/>
                  <a:gd name="T67" fmla="*/ 692 h 989"/>
                  <a:gd name="T68" fmla="*/ 508 w 523"/>
                  <a:gd name="T69" fmla="*/ 613 h 989"/>
                  <a:gd name="T70" fmla="*/ 466 w 523"/>
                  <a:gd name="T71" fmla="*/ 584 h 989"/>
                  <a:gd name="T72" fmla="*/ 453 w 523"/>
                  <a:gd name="T73" fmla="*/ 511 h 989"/>
                  <a:gd name="T74" fmla="*/ 426 w 523"/>
                  <a:gd name="T75" fmla="*/ 470 h 989"/>
                  <a:gd name="T76" fmla="*/ 403 w 523"/>
                  <a:gd name="T77" fmla="*/ 445 h 989"/>
                  <a:gd name="T78" fmla="*/ 399 w 523"/>
                  <a:gd name="T79" fmla="*/ 420 h 989"/>
                  <a:gd name="T80" fmla="*/ 407 w 523"/>
                  <a:gd name="T81" fmla="*/ 378 h 989"/>
                  <a:gd name="T82" fmla="*/ 358 w 523"/>
                  <a:gd name="T83" fmla="*/ 307 h 989"/>
                  <a:gd name="T84" fmla="*/ 348 w 523"/>
                  <a:gd name="T85" fmla="*/ 253 h 989"/>
                  <a:gd name="T86" fmla="*/ 342 w 523"/>
                  <a:gd name="T87" fmla="*/ 183 h 989"/>
                  <a:gd name="T88" fmla="*/ 293 w 523"/>
                  <a:gd name="T89" fmla="*/ 164 h 989"/>
                  <a:gd name="T90" fmla="*/ 286 w 523"/>
                  <a:gd name="T91" fmla="*/ 123 h 989"/>
                  <a:gd name="T92" fmla="*/ 292 w 523"/>
                  <a:gd name="T93" fmla="*/ 85 h 989"/>
                  <a:gd name="T94" fmla="*/ 290 w 523"/>
                  <a:gd name="T95" fmla="*/ 62 h 989"/>
                  <a:gd name="T96" fmla="*/ 271 w 523"/>
                  <a:gd name="T97" fmla="*/ 16 h 989"/>
                  <a:gd name="T98" fmla="*/ 224 w 523"/>
                  <a:gd name="T99" fmla="*/ 0 h 989"/>
                  <a:gd name="T100" fmla="*/ 190 w 523"/>
                  <a:gd name="T101" fmla="*/ 20 h 989"/>
                  <a:gd name="T102" fmla="*/ 175 w 523"/>
                  <a:gd name="T103" fmla="*/ 85 h 989"/>
                  <a:gd name="T104" fmla="*/ 164 w 523"/>
                  <a:gd name="T105" fmla="*/ 133 h 989"/>
                  <a:gd name="T106" fmla="*/ 127 w 523"/>
                  <a:gd name="T107" fmla="*/ 134 h 989"/>
                  <a:gd name="T108" fmla="*/ 78 w 523"/>
                  <a:gd name="T109" fmla="*/ 150 h 989"/>
                  <a:gd name="T110" fmla="*/ 21 w 523"/>
                  <a:gd name="T111" fmla="*/ 104 h 989"/>
                  <a:gd name="T112" fmla="*/ 0 w 523"/>
                  <a:gd name="T113" fmla="*/ 124 h 989"/>
                  <a:gd name="T114" fmla="*/ 61 w 523"/>
                  <a:gd name="T115" fmla="*/ 177 h 989"/>
                  <a:gd name="T116" fmla="*/ 125 w 523"/>
                  <a:gd name="T117" fmla="*/ 228 h 989"/>
                  <a:gd name="T118" fmla="*/ 128 w 523"/>
                  <a:gd name="T119" fmla="*/ 275 h 989"/>
                  <a:gd name="T120" fmla="*/ 161 w 523"/>
                  <a:gd name="T121" fmla="*/ 346 h 989"/>
                  <a:gd name="T122" fmla="*/ 170 w 523"/>
                  <a:gd name="T123" fmla="*/ 410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3" h="989">
                    <a:moveTo>
                      <a:pt x="166" y="415"/>
                    </a:moveTo>
                    <a:lnTo>
                      <a:pt x="188" y="413"/>
                    </a:lnTo>
                    <a:lnTo>
                      <a:pt x="188" y="425"/>
                    </a:lnTo>
                    <a:lnTo>
                      <a:pt x="210" y="435"/>
                    </a:lnTo>
                    <a:lnTo>
                      <a:pt x="216" y="445"/>
                    </a:lnTo>
                    <a:lnTo>
                      <a:pt x="226" y="451"/>
                    </a:lnTo>
                    <a:lnTo>
                      <a:pt x="230" y="465"/>
                    </a:lnTo>
                    <a:lnTo>
                      <a:pt x="230" y="479"/>
                    </a:lnTo>
                    <a:lnTo>
                      <a:pt x="242" y="489"/>
                    </a:lnTo>
                    <a:lnTo>
                      <a:pt x="234" y="501"/>
                    </a:lnTo>
                    <a:lnTo>
                      <a:pt x="216" y="505"/>
                    </a:lnTo>
                    <a:lnTo>
                      <a:pt x="204" y="517"/>
                    </a:lnTo>
                    <a:lnTo>
                      <a:pt x="204" y="541"/>
                    </a:lnTo>
                    <a:lnTo>
                      <a:pt x="190" y="559"/>
                    </a:lnTo>
                    <a:lnTo>
                      <a:pt x="180" y="573"/>
                    </a:lnTo>
                    <a:lnTo>
                      <a:pt x="172" y="587"/>
                    </a:lnTo>
                    <a:lnTo>
                      <a:pt x="160" y="607"/>
                    </a:lnTo>
                    <a:lnTo>
                      <a:pt x="154" y="627"/>
                    </a:lnTo>
                    <a:lnTo>
                      <a:pt x="146" y="643"/>
                    </a:lnTo>
                    <a:lnTo>
                      <a:pt x="136" y="663"/>
                    </a:lnTo>
                    <a:lnTo>
                      <a:pt x="122" y="673"/>
                    </a:lnTo>
                    <a:lnTo>
                      <a:pt x="100" y="668"/>
                    </a:lnTo>
                    <a:lnTo>
                      <a:pt x="101" y="683"/>
                    </a:lnTo>
                    <a:lnTo>
                      <a:pt x="104" y="694"/>
                    </a:lnTo>
                    <a:lnTo>
                      <a:pt x="90" y="696"/>
                    </a:lnTo>
                    <a:lnTo>
                      <a:pt x="87" y="707"/>
                    </a:lnTo>
                    <a:lnTo>
                      <a:pt x="78" y="714"/>
                    </a:lnTo>
                    <a:lnTo>
                      <a:pt x="79" y="745"/>
                    </a:lnTo>
                    <a:lnTo>
                      <a:pt x="86" y="760"/>
                    </a:lnTo>
                    <a:lnTo>
                      <a:pt x="89" y="780"/>
                    </a:lnTo>
                    <a:lnTo>
                      <a:pt x="89" y="794"/>
                    </a:lnTo>
                    <a:lnTo>
                      <a:pt x="103" y="803"/>
                    </a:lnTo>
                    <a:lnTo>
                      <a:pt x="101" y="819"/>
                    </a:lnTo>
                    <a:lnTo>
                      <a:pt x="110" y="828"/>
                    </a:lnTo>
                    <a:lnTo>
                      <a:pt x="119" y="837"/>
                    </a:lnTo>
                    <a:lnTo>
                      <a:pt x="104" y="844"/>
                    </a:lnTo>
                    <a:lnTo>
                      <a:pt x="108" y="869"/>
                    </a:lnTo>
                    <a:lnTo>
                      <a:pt x="104" y="896"/>
                    </a:lnTo>
                    <a:lnTo>
                      <a:pt x="110" y="912"/>
                    </a:lnTo>
                    <a:lnTo>
                      <a:pt x="123" y="919"/>
                    </a:lnTo>
                    <a:lnTo>
                      <a:pt x="141" y="928"/>
                    </a:lnTo>
                    <a:lnTo>
                      <a:pt x="166" y="936"/>
                    </a:lnTo>
                    <a:lnTo>
                      <a:pt x="180" y="939"/>
                    </a:lnTo>
                    <a:lnTo>
                      <a:pt x="167" y="952"/>
                    </a:lnTo>
                    <a:lnTo>
                      <a:pt x="160" y="963"/>
                    </a:lnTo>
                    <a:lnTo>
                      <a:pt x="174" y="968"/>
                    </a:lnTo>
                    <a:lnTo>
                      <a:pt x="185" y="947"/>
                    </a:lnTo>
                    <a:lnTo>
                      <a:pt x="194" y="968"/>
                    </a:lnTo>
                    <a:lnTo>
                      <a:pt x="193" y="982"/>
                    </a:lnTo>
                    <a:lnTo>
                      <a:pt x="203" y="989"/>
                    </a:lnTo>
                    <a:lnTo>
                      <a:pt x="207" y="970"/>
                    </a:lnTo>
                    <a:lnTo>
                      <a:pt x="218" y="961"/>
                    </a:lnTo>
                    <a:lnTo>
                      <a:pt x="217" y="979"/>
                    </a:lnTo>
                    <a:lnTo>
                      <a:pt x="232" y="966"/>
                    </a:lnTo>
                    <a:lnTo>
                      <a:pt x="241" y="958"/>
                    </a:lnTo>
                    <a:lnTo>
                      <a:pt x="273" y="945"/>
                    </a:lnTo>
                    <a:lnTo>
                      <a:pt x="290" y="940"/>
                    </a:lnTo>
                    <a:lnTo>
                      <a:pt x="305" y="925"/>
                    </a:lnTo>
                    <a:lnTo>
                      <a:pt x="326" y="914"/>
                    </a:lnTo>
                    <a:lnTo>
                      <a:pt x="343" y="906"/>
                    </a:lnTo>
                    <a:lnTo>
                      <a:pt x="366" y="895"/>
                    </a:lnTo>
                    <a:lnTo>
                      <a:pt x="399" y="893"/>
                    </a:lnTo>
                    <a:lnTo>
                      <a:pt x="407" y="877"/>
                    </a:lnTo>
                    <a:lnTo>
                      <a:pt x="436" y="843"/>
                    </a:lnTo>
                    <a:lnTo>
                      <a:pt x="456" y="808"/>
                    </a:lnTo>
                    <a:lnTo>
                      <a:pt x="468" y="788"/>
                    </a:lnTo>
                    <a:lnTo>
                      <a:pt x="492" y="743"/>
                    </a:lnTo>
                    <a:lnTo>
                      <a:pt x="513" y="692"/>
                    </a:lnTo>
                    <a:lnTo>
                      <a:pt x="523" y="641"/>
                    </a:lnTo>
                    <a:lnTo>
                      <a:pt x="508" y="613"/>
                    </a:lnTo>
                    <a:lnTo>
                      <a:pt x="490" y="592"/>
                    </a:lnTo>
                    <a:lnTo>
                      <a:pt x="466" y="584"/>
                    </a:lnTo>
                    <a:lnTo>
                      <a:pt x="450" y="558"/>
                    </a:lnTo>
                    <a:lnTo>
                      <a:pt x="453" y="511"/>
                    </a:lnTo>
                    <a:lnTo>
                      <a:pt x="431" y="497"/>
                    </a:lnTo>
                    <a:lnTo>
                      <a:pt x="426" y="470"/>
                    </a:lnTo>
                    <a:lnTo>
                      <a:pt x="405" y="467"/>
                    </a:lnTo>
                    <a:lnTo>
                      <a:pt x="403" y="445"/>
                    </a:lnTo>
                    <a:lnTo>
                      <a:pt x="408" y="434"/>
                    </a:lnTo>
                    <a:lnTo>
                      <a:pt x="399" y="420"/>
                    </a:lnTo>
                    <a:lnTo>
                      <a:pt x="398" y="395"/>
                    </a:lnTo>
                    <a:lnTo>
                      <a:pt x="407" y="378"/>
                    </a:lnTo>
                    <a:lnTo>
                      <a:pt x="388" y="349"/>
                    </a:lnTo>
                    <a:lnTo>
                      <a:pt x="358" y="307"/>
                    </a:lnTo>
                    <a:lnTo>
                      <a:pt x="343" y="284"/>
                    </a:lnTo>
                    <a:lnTo>
                      <a:pt x="348" y="253"/>
                    </a:lnTo>
                    <a:lnTo>
                      <a:pt x="356" y="211"/>
                    </a:lnTo>
                    <a:lnTo>
                      <a:pt x="342" y="183"/>
                    </a:lnTo>
                    <a:lnTo>
                      <a:pt x="313" y="163"/>
                    </a:lnTo>
                    <a:lnTo>
                      <a:pt x="293" y="164"/>
                    </a:lnTo>
                    <a:lnTo>
                      <a:pt x="285" y="137"/>
                    </a:lnTo>
                    <a:lnTo>
                      <a:pt x="286" y="123"/>
                    </a:lnTo>
                    <a:lnTo>
                      <a:pt x="286" y="110"/>
                    </a:lnTo>
                    <a:lnTo>
                      <a:pt x="292" y="85"/>
                    </a:lnTo>
                    <a:lnTo>
                      <a:pt x="299" y="66"/>
                    </a:lnTo>
                    <a:lnTo>
                      <a:pt x="290" y="62"/>
                    </a:lnTo>
                    <a:lnTo>
                      <a:pt x="292" y="40"/>
                    </a:lnTo>
                    <a:lnTo>
                      <a:pt x="271" y="16"/>
                    </a:lnTo>
                    <a:lnTo>
                      <a:pt x="241" y="0"/>
                    </a:lnTo>
                    <a:lnTo>
                      <a:pt x="224" y="0"/>
                    </a:lnTo>
                    <a:lnTo>
                      <a:pt x="208" y="16"/>
                    </a:lnTo>
                    <a:lnTo>
                      <a:pt x="190" y="20"/>
                    </a:lnTo>
                    <a:lnTo>
                      <a:pt x="174" y="41"/>
                    </a:lnTo>
                    <a:lnTo>
                      <a:pt x="175" y="85"/>
                    </a:lnTo>
                    <a:lnTo>
                      <a:pt x="173" y="116"/>
                    </a:lnTo>
                    <a:lnTo>
                      <a:pt x="164" y="133"/>
                    </a:lnTo>
                    <a:lnTo>
                      <a:pt x="143" y="153"/>
                    </a:lnTo>
                    <a:lnTo>
                      <a:pt x="127" y="134"/>
                    </a:lnTo>
                    <a:lnTo>
                      <a:pt x="113" y="159"/>
                    </a:lnTo>
                    <a:lnTo>
                      <a:pt x="78" y="150"/>
                    </a:lnTo>
                    <a:lnTo>
                      <a:pt x="34" y="97"/>
                    </a:lnTo>
                    <a:lnTo>
                      <a:pt x="21" y="104"/>
                    </a:lnTo>
                    <a:lnTo>
                      <a:pt x="21" y="123"/>
                    </a:lnTo>
                    <a:lnTo>
                      <a:pt x="0" y="124"/>
                    </a:lnTo>
                    <a:lnTo>
                      <a:pt x="31" y="153"/>
                    </a:lnTo>
                    <a:lnTo>
                      <a:pt x="61" y="177"/>
                    </a:lnTo>
                    <a:lnTo>
                      <a:pt x="99" y="187"/>
                    </a:lnTo>
                    <a:lnTo>
                      <a:pt x="125" y="228"/>
                    </a:lnTo>
                    <a:lnTo>
                      <a:pt x="117" y="256"/>
                    </a:lnTo>
                    <a:lnTo>
                      <a:pt x="128" y="275"/>
                    </a:lnTo>
                    <a:lnTo>
                      <a:pt x="130" y="300"/>
                    </a:lnTo>
                    <a:lnTo>
                      <a:pt x="161" y="346"/>
                    </a:lnTo>
                    <a:lnTo>
                      <a:pt x="147" y="380"/>
                    </a:lnTo>
                    <a:lnTo>
                      <a:pt x="170" y="410"/>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2" name="Freeform 96">
                <a:extLst>
                  <a:ext uri="{FF2B5EF4-FFF2-40B4-BE49-F238E27FC236}">
                    <a16:creationId xmlns:a16="http://schemas.microsoft.com/office/drawing/2014/main" id="{EC35A9A9-2895-6451-4B40-D3DEAC513D0B}"/>
                  </a:ext>
                </a:extLst>
              </p:cNvPr>
              <p:cNvSpPr>
                <a:spLocks/>
              </p:cNvSpPr>
              <p:nvPr/>
            </p:nvSpPr>
            <p:spPr bwMode="auto">
              <a:xfrm>
                <a:off x="5069845" y="3331634"/>
                <a:ext cx="136854" cy="134794"/>
              </a:xfrm>
              <a:custGeom>
                <a:avLst/>
                <a:gdLst>
                  <a:gd name="T0" fmla="*/ 0 w 213"/>
                  <a:gd name="T1" fmla="*/ 142 h 199"/>
                  <a:gd name="T2" fmla="*/ 8 w 213"/>
                  <a:gd name="T3" fmla="*/ 129 h 199"/>
                  <a:gd name="T4" fmla="*/ 12 w 213"/>
                  <a:gd name="T5" fmla="*/ 80 h 199"/>
                  <a:gd name="T6" fmla="*/ 21 w 213"/>
                  <a:gd name="T7" fmla="*/ 67 h 199"/>
                  <a:gd name="T8" fmla="*/ 25 w 213"/>
                  <a:gd name="T9" fmla="*/ 50 h 199"/>
                  <a:gd name="T10" fmla="*/ 15 w 213"/>
                  <a:gd name="T11" fmla="*/ 44 h 199"/>
                  <a:gd name="T12" fmla="*/ 12 w 213"/>
                  <a:gd name="T13" fmla="*/ 34 h 199"/>
                  <a:gd name="T14" fmla="*/ 3 w 213"/>
                  <a:gd name="T15" fmla="*/ 33 h 199"/>
                  <a:gd name="T16" fmla="*/ 21 w 213"/>
                  <a:gd name="T17" fmla="*/ 20 h 199"/>
                  <a:gd name="T18" fmla="*/ 35 w 213"/>
                  <a:gd name="T19" fmla="*/ 19 h 199"/>
                  <a:gd name="T20" fmla="*/ 64 w 213"/>
                  <a:gd name="T21" fmla="*/ 0 h 199"/>
                  <a:gd name="T22" fmla="*/ 78 w 213"/>
                  <a:gd name="T23" fmla="*/ 10 h 199"/>
                  <a:gd name="T24" fmla="*/ 96 w 213"/>
                  <a:gd name="T25" fmla="*/ 11 h 199"/>
                  <a:gd name="T26" fmla="*/ 120 w 213"/>
                  <a:gd name="T27" fmla="*/ 5 h 199"/>
                  <a:gd name="T28" fmla="*/ 126 w 213"/>
                  <a:gd name="T29" fmla="*/ 4 h 199"/>
                  <a:gd name="T30" fmla="*/ 127 w 213"/>
                  <a:gd name="T31" fmla="*/ 24 h 199"/>
                  <a:gd name="T32" fmla="*/ 134 w 213"/>
                  <a:gd name="T33" fmla="*/ 33 h 199"/>
                  <a:gd name="T34" fmla="*/ 139 w 213"/>
                  <a:gd name="T35" fmla="*/ 43 h 199"/>
                  <a:gd name="T36" fmla="*/ 152 w 213"/>
                  <a:gd name="T37" fmla="*/ 45 h 199"/>
                  <a:gd name="T38" fmla="*/ 166 w 213"/>
                  <a:gd name="T39" fmla="*/ 51 h 199"/>
                  <a:gd name="T40" fmla="*/ 195 w 213"/>
                  <a:gd name="T41" fmla="*/ 53 h 199"/>
                  <a:gd name="T42" fmla="*/ 205 w 213"/>
                  <a:gd name="T43" fmla="*/ 54 h 199"/>
                  <a:gd name="T44" fmla="*/ 213 w 213"/>
                  <a:gd name="T45" fmla="*/ 59 h 199"/>
                  <a:gd name="T46" fmla="*/ 213 w 213"/>
                  <a:gd name="T47" fmla="*/ 73 h 199"/>
                  <a:gd name="T48" fmla="*/ 201 w 213"/>
                  <a:gd name="T49" fmla="*/ 84 h 199"/>
                  <a:gd name="T50" fmla="*/ 185 w 213"/>
                  <a:gd name="T51" fmla="*/ 89 h 199"/>
                  <a:gd name="T52" fmla="*/ 153 w 213"/>
                  <a:gd name="T53" fmla="*/ 85 h 199"/>
                  <a:gd name="T54" fmla="*/ 133 w 213"/>
                  <a:gd name="T55" fmla="*/ 92 h 199"/>
                  <a:gd name="T56" fmla="*/ 124 w 213"/>
                  <a:gd name="T57" fmla="*/ 96 h 199"/>
                  <a:gd name="T58" fmla="*/ 105 w 213"/>
                  <a:gd name="T59" fmla="*/ 97 h 199"/>
                  <a:gd name="T60" fmla="*/ 96 w 213"/>
                  <a:gd name="T61" fmla="*/ 114 h 199"/>
                  <a:gd name="T62" fmla="*/ 78 w 213"/>
                  <a:gd name="T63" fmla="*/ 131 h 199"/>
                  <a:gd name="T64" fmla="*/ 68 w 213"/>
                  <a:gd name="T65" fmla="*/ 145 h 199"/>
                  <a:gd name="T66" fmla="*/ 53 w 213"/>
                  <a:gd name="T67" fmla="*/ 154 h 199"/>
                  <a:gd name="T68" fmla="*/ 37 w 213"/>
                  <a:gd name="T69" fmla="*/ 171 h 199"/>
                  <a:gd name="T70" fmla="*/ 27 w 213"/>
                  <a:gd name="T71" fmla="*/ 190 h 199"/>
                  <a:gd name="T72" fmla="*/ 15 w 213"/>
                  <a:gd name="T73" fmla="*/ 199 h 199"/>
                  <a:gd name="T74" fmla="*/ 13 w 213"/>
                  <a:gd name="T75" fmla="*/ 184 h 199"/>
                  <a:gd name="T76" fmla="*/ 10 w 213"/>
                  <a:gd name="T77" fmla="*/ 171 h 199"/>
                  <a:gd name="T78" fmla="*/ 28 w 213"/>
                  <a:gd name="T79" fmla="*/ 160 h 199"/>
                  <a:gd name="T80" fmla="*/ 47 w 213"/>
                  <a:gd name="T81" fmla="*/ 151 h 199"/>
                  <a:gd name="T82" fmla="*/ 57 w 213"/>
                  <a:gd name="T83" fmla="*/ 140 h 199"/>
                  <a:gd name="T84" fmla="*/ 47 w 213"/>
                  <a:gd name="T85" fmla="*/ 135 h 199"/>
                  <a:gd name="T86" fmla="*/ 40 w 213"/>
                  <a:gd name="T87" fmla="*/ 144 h 199"/>
                  <a:gd name="T88" fmla="*/ 26 w 213"/>
                  <a:gd name="T89" fmla="*/ 144 h 199"/>
                  <a:gd name="T90" fmla="*/ 14 w 213"/>
                  <a:gd name="T91" fmla="*/ 150 h 199"/>
                  <a:gd name="T92" fmla="*/ 0 w 213"/>
                  <a:gd name="T93" fmla="*/ 142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199">
                    <a:moveTo>
                      <a:pt x="0" y="142"/>
                    </a:moveTo>
                    <a:lnTo>
                      <a:pt x="8" y="129"/>
                    </a:lnTo>
                    <a:lnTo>
                      <a:pt x="12" y="80"/>
                    </a:lnTo>
                    <a:lnTo>
                      <a:pt x="21" y="67"/>
                    </a:lnTo>
                    <a:lnTo>
                      <a:pt x="25" y="50"/>
                    </a:lnTo>
                    <a:lnTo>
                      <a:pt x="15" y="44"/>
                    </a:lnTo>
                    <a:lnTo>
                      <a:pt x="12" y="34"/>
                    </a:lnTo>
                    <a:lnTo>
                      <a:pt x="3" y="33"/>
                    </a:lnTo>
                    <a:lnTo>
                      <a:pt x="21" y="20"/>
                    </a:lnTo>
                    <a:lnTo>
                      <a:pt x="35" y="19"/>
                    </a:lnTo>
                    <a:lnTo>
                      <a:pt x="64" y="0"/>
                    </a:lnTo>
                    <a:lnTo>
                      <a:pt x="78" y="10"/>
                    </a:lnTo>
                    <a:lnTo>
                      <a:pt x="96" y="11"/>
                    </a:lnTo>
                    <a:lnTo>
                      <a:pt x="120" y="5"/>
                    </a:lnTo>
                    <a:lnTo>
                      <a:pt x="126" y="4"/>
                    </a:lnTo>
                    <a:lnTo>
                      <a:pt x="127" y="24"/>
                    </a:lnTo>
                    <a:lnTo>
                      <a:pt x="134" y="33"/>
                    </a:lnTo>
                    <a:lnTo>
                      <a:pt x="139" y="43"/>
                    </a:lnTo>
                    <a:lnTo>
                      <a:pt x="152" y="45"/>
                    </a:lnTo>
                    <a:lnTo>
                      <a:pt x="166" y="51"/>
                    </a:lnTo>
                    <a:lnTo>
                      <a:pt x="195" y="53"/>
                    </a:lnTo>
                    <a:lnTo>
                      <a:pt x="205" y="54"/>
                    </a:lnTo>
                    <a:lnTo>
                      <a:pt x="213" y="59"/>
                    </a:lnTo>
                    <a:lnTo>
                      <a:pt x="213" y="73"/>
                    </a:lnTo>
                    <a:lnTo>
                      <a:pt x="201" y="84"/>
                    </a:lnTo>
                    <a:lnTo>
                      <a:pt x="185" y="89"/>
                    </a:lnTo>
                    <a:lnTo>
                      <a:pt x="153" y="85"/>
                    </a:lnTo>
                    <a:lnTo>
                      <a:pt x="133" y="92"/>
                    </a:lnTo>
                    <a:lnTo>
                      <a:pt x="124" y="96"/>
                    </a:lnTo>
                    <a:lnTo>
                      <a:pt x="105" y="97"/>
                    </a:lnTo>
                    <a:lnTo>
                      <a:pt x="96" y="114"/>
                    </a:lnTo>
                    <a:lnTo>
                      <a:pt x="78" y="131"/>
                    </a:lnTo>
                    <a:lnTo>
                      <a:pt x="68" y="145"/>
                    </a:lnTo>
                    <a:lnTo>
                      <a:pt x="53" y="154"/>
                    </a:lnTo>
                    <a:lnTo>
                      <a:pt x="37" y="171"/>
                    </a:lnTo>
                    <a:lnTo>
                      <a:pt x="27" y="190"/>
                    </a:lnTo>
                    <a:lnTo>
                      <a:pt x="15" y="199"/>
                    </a:lnTo>
                    <a:lnTo>
                      <a:pt x="13" y="184"/>
                    </a:lnTo>
                    <a:lnTo>
                      <a:pt x="10" y="171"/>
                    </a:lnTo>
                    <a:lnTo>
                      <a:pt x="28" y="160"/>
                    </a:lnTo>
                    <a:lnTo>
                      <a:pt x="47" y="151"/>
                    </a:lnTo>
                    <a:lnTo>
                      <a:pt x="57" y="140"/>
                    </a:lnTo>
                    <a:lnTo>
                      <a:pt x="47" y="135"/>
                    </a:lnTo>
                    <a:lnTo>
                      <a:pt x="40" y="144"/>
                    </a:lnTo>
                    <a:lnTo>
                      <a:pt x="26" y="144"/>
                    </a:lnTo>
                    <a:lnTo>
                      <a:pt x="14" y="150"/>
                    </a:lnTo>
                    <a:lnTo>
                      <a:pt x="0" y="142"/>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3" name="Freeform 97">
                <a:extLst>
                  <a:ext uri="{FF2B5EF4-FFF2-40B4-BE49-F238E27FC236}">
                    <a16:creationId xmlns:a16="http://schemas.microsoft.com/office/drawing/2014/main" id="{269F79A9-279A-2B3F-FD08-D566D4A5C513}"/>
                  </a:ext>
                </a:extLst>
              </p:cNvPr>
              <p:cNvSpPr>
                <a:spLocks/>
              </p:cNvSpPr>
              <p:nvPr/>
            </p:nvSpPr>
            <p:spPr bwMode="auto">
              <a:xfrm>
                <a:off x="5086616" y="3176975"/>
                <a:ext cx="894249" cy="520021"/>
              </a:xfrm>
              <a:custGeom>
                <a:avLst/>
                <a:gdLst>
                  <a:gd name="T0" fmla="*/ 234 w 1395"/>
                  <a:gd name="T1" fmla="*/ 327 h 767"/>
                  <a:gd name="T2" fmla="*/ 224 w 1395"/>
                  <a:gd name="T3" fmla="*/ 334 h 767"/>
                  <a:gd name="T4" fmla="*/ 183 w 1395"/>
                  <a:gd name="T5" fmla="*/ 355 h 767"/>
                  <a:gd name="T6" fmla="*/ 151 w 1395"/>
                  <a:gd name="T7" fmla="*/ 369 h 767"/>
                  <a:gd name="T8" fmla="*/ 116 w 1395"/>
                  <a:gd name="T9" fmla="*/ 371 h 767"/>
                  <a:gd name="T10" fmla="*/ 73 w 1395"/>
                  <a:gd name="T11" fmla="*/ 385 h 767"/>
                  <a:gd name="T12" fmla="*/ 30 w 1395"/>
                  <a:gd name="T13" fmla="*/ 397 h 767"/>
                  <a:gd name="T14" fmla="*/ 10 w 1395"/>
                  <a:gd name="T15" fmla="*/ 430 h 767"/>
                  <a:gd name="T16" fmla="*/ 5 w 1395"/>
                  <a:gd name="T17" fmla="*/ 468 h 767"/>
                  <a:gd name="T18" fmla="*/ 39 w 1395"/>
                  <a:gd name="T19" fmla="*/ 476 h 767"/>
                  <a:gd name="T20" fmla="*/ 47 w 1395"/>
                  <a:gd name="T21" fmla="*/ 504 h 767"/>
                  <a:gd name="T22" fmla="*/ 61 w 1395"/>
                  <a:gd name="T23" fmla="*/ 552 h 767"/>
                  <a:gd name="T24" fmla="*/ 59 w 1395"/>
                  <a:gd name="T25" fmla="*/ 583 h 767"/>
                  <a:gd name="T26" fmla="*/ 32 w 1395"/>
                  <a:gd name="T27" fmla="*/ 572 h 767"/>
                  <a:gd name="T28" fmla="*/ 35 w 1395"/>
                  <a:gd name="T29" fmla="*/ 606 h 767"/>
                  <a:gd name="T30" fmla="*/ 90 w 1395"/>
                  <a:gd name="T31" fmla="*/ 613 h 767"/>
                  <a:gd name="T32" fmla="*/ 94 w 1395"/>
                  <a:gd name="T33" fmla="*/ 647 h 767"/>
                  <a:gd name="T34" fmla="*/ 112 w 1395"/>
                  <a:gd name="T35" fmla="*/ 670 h 767"/>
                  <a:gd name="T36" fmla="*/ 129 w 1395"/>
                  <a:gd name="T37" fmla="*/ 696 h 767"/>
                  <a:gd name="T38" fmla="*/ 180 w 1395"/>
                  <a:gd name="T39" fmla="*/ 698 h 767"/>
                  <a:gd name="T40" fmla="*/ 160 w 1395"/>
                  <a:gd name="T41" fmla="*/ 722 h 767"/>
                  <a:gd name="T42" fmla="*/ 149 w 1395"/>
                  <a:gd name="T43" fmla="*/ 743 h 767"/>
                  <a:gd name="T44" fmla="*/ 183 w 1395"/>
                  <a:gd name="T45" fmla="*/ 734 h 767"/>
                  <a:gd name="T46" fmla="*/ 215 w 1395"/>
                  <a:gd name="T47" fmla="*/ 716 h 767"/>
                  <a:gd name="T48" fmla="*/ 250 w 1395"/>
                  <a:gd name="T49" fmla="*/ 717 h 767"/>
                  <a:gd name="T50" fmla="*/ 268 w 1395"/>
                  <a:gd name="T51" fmla="*/ 749 h 767"/>
                  <a:gd name="T52" fmla="*/ 309 w 1395"/>
                  <a:gd name="T53" fmla="*/ 767 h 767"/>
                  <a:gd name="T54" fmla="*/ 348 w 1395"/>
                  <a:gd name="T55" fmla="*/ 749 h 767"/>
                  <a:gd name="T56" fmla="*/ 370 w 1395"/>
                  <a:gd name="T57" fmla="*/ 715 h 767"/>
                  <a:gd name="T58" fmla="*/ 427 w 1395"/>
                  <a:gd name="T59" fmla="*/ 681 h 767"/>
                  <a:gd name="T60" fmla="*/ 492 w 1395"/>
                  <a:gd name="T61" fmla="*/ 706 h 767"/>
                  <a:gd name="T62" fmla="*/ 554 w 1395"/>
                  <a:gd name="T63" fmla="*/ 733 h 767"/>
                  <a:gd name="T64" fmla="*/ 591 w 1395"/>
                  <a:gd name="T65" fmla="*/ 715 h 767"/>
                  <a:gd name="T66" fmla="*/ 633 w 1395"/>
                  <a:gd name="T67" fmla="*/ 678 h 767"/>
                  <a:gd name="T68" fmla="*/ 681 w 1395"/>
                  <a:gd name="T69" fmla="*/ 628 h 767"/>
                  <a:gd name="T70" fmla="*/ 744 w 1395"/>
                  <a:gd name="T71" fmla="*/ 643 h 767"/>
                  <a:gd name="T72" fmla="*/ 776 w 1395"/>
                  <a:gd name="T73" fmla="*/ 630 h 767"/>
                  <a:gd name="T74" fmla="*/ 785 w 1395"/>
                  <a:gd name="T75" fmla="*/ 691 h 767"/>
                  <a:gd name="T76" fmla="*/ 813 w 1395"/>
                  <a:gd name="T77" fmla="*/ 655 h 767"/>
                  <a:gd name="T78" fmla="*/ 814 w 1395"/>
                  <a:gd name="T79" fmla="*/ 632 h 767"/>
                  <a:gd name="T80" fmla="*/ 870 w 1395"/>
                  <a:gd name="T81" fmla="*/ 596 h 767"/>
                  <a:gd name="T82" fmla="*/ 937 w 1395"/>
                  <a:gd name="T83" fmla="*/ 545 h 767"/>
                  <a:gd name="T84" fmla="*/ 993 w 1395"/>
                  <a:gd name="T85" fmla="*/ 560 h 767"/>
                  <a:gd name="T86" fmla="*/ 1084 w 1395"/>
                  <a:gd name="T87" fmla="*/ 488 h 767"/>
                  <a:gd name="T88" fmla="*/ 1193 w 1395"/>
                  <a:gd name="T89" fmla="*/ 441 h 767"/>
                  <a:gd name="T90" fmla="*/ 1293 w 1395"/>
                  <a:gd name="T91" fmla="*/ 388 h 767"/>
                  <a:gd name="T92" fmla="*/ 1371 w 1395"/>
                  <a:gd name="T93" fmla="*/ 385 h 767"/>
                  <a:gd name="T94" fmla="*/ 1363 w 1395"/>
                  <a:gd name="T95" fmla="*/ 324 h 767"/>
                  <a:gd name="T96" fmla="*/ 1310 w 1395"/>
                  <a:gd name="T97" fmla="*/ 216 h 767"/>
                  <a:gd name="T98" fmla="*/ 1297 w 1395"/>
                  <a:gd name="T99" fmla="*/ 135 h 767"/>
                  <a:gd name="T100" fmla="*/ 1228 w 1395"/>
                  <a:gd name="T101" fmla="*/ 101 h 767"/>
                  <a:gd name="T102" fmla="*/ 1144 w 1395"/>
                  <a:gd name="T103" fmla="*/ 19 h 767"/>
                  <a:gd name="T104" fmla="*/ 1059 w 1395"/>
                  <a:gd name="T105" fmla="*/ 28 h 767"/>
                  <a:gd name="T106" fmla="*/ 958 w 1395"/>
                  <a:gd name="T107" fmla="*/ 125 h 767"/>
                  <a:gd name="T108" fmla="*/ 827 w 1395"/>
                  <a:gd name="T109" fmla="*/ 165 h 767"/>
                  <a:gd name="T110" fmla="*/ 714 w 1395"/>
                  <a:gd name="T111" fmla="*/ 162 h 767"/>
                  <a:gd name="T112" fmla="*/ 610 w 1395"/>
                  <a:gd name="T113" fmla="*/ 138 h 767"/>
                  <a:gd name="T114" fmla="*/ 488 w 1395"/>
                  <a:gd name="T115" fmla="*/ 147 h 767"/>
                  <a:gd name="T116" fmla="*/ 349 w 1395"/>
                  <a:gd name="T117" fmla="*/ 247 h 767"/>
                  <a:gd name="T118" fmla="*/ 221 w 1395"/>
                  <a:gd name="T119" fmla="*/ 287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5" h="767">
                    <a:moveTo>
                      <a:pt x="192" y="311"/>
                    </a:moveTo>
                    <a:lnTo>
                      <a:pt x="210" y="328"/>
                    </a:lnTo>
                    <a:lnTo>
                      <a:pt x="225" y="328"/>
                    </a:lnTo>
                    <a:lnTo>
                      <a:pt x="234" y="327"/>
                    </a:lnTo>
                    <a:lnTo>
                      <a:pt x="243" y="320"/>
                    </a:lnTo>
                    <a:lnTo>
                      <a:pt x="253" y="331"/>
                    </a:lnTo>
                    <a:lnTo>
                      <a:pt x="241" y="336"/>
                    </a:lnTo>
                    <a:lnTo>
                      <a:pt x="224" y="334"/>
                    </a:lnTo>
                    <a:lnTo>
                      <a:pt x="213" y="339"/>
                    </a:lnTo>
                    <a:lnTo>
                      <a:pt x="194" y="340"/>
                    </a:lnTo>
                    <a:lnTo>
                      <a:pt x="187" y="345"/>
                    </a:lnTo>
                    <a:lnTo>
                      <a:pt x="183" y="355"/>
                    </a:lnTo>
                    <a:lnTo>
                      <a:pt x="193" y="360"/>
                    </a:lnTo>
                    <a:lnTo>
                      <a:pt x="199" y="371"/>
                    </a:lnTo>
                    <a:lnTo>
                      <a:pt x="192" y="372"/>
                    </a:lnTo>
                    <a:lnTo>
                      <a:pt x="151" y="369"/>
                    </a:lnTo>
                    <a:lnTo>
                      <a:pt x="143" y="377"/>
                    </a:lnTo>
                    <a:lnTo>
                      <a:pt x="137" y="379"/>
                    </a:lnTo>
                    <a:lnTo>
                      <a:pt x="128" y="383"/>
                    </a:lnTo>
                    <a:lnTo>
                      <a:pt x="116" y="371"/>
                    </a:lnTo>
                    <a:lnTo>
                      <a:pt x="101" y="370"/>
                    </a:lnTo>
                    <a:lnTo>
                      <a:pt x="98" y="385"/>
                    </a:lnTo>
                    <a:lnTo>
                      <a:pt x="86" y="392"/>
                    </a:lnTo>
                    <a:lnTo>
                      <a:pt x="73" y="385"/>
                    </a:lnTo>
                    <a:lnTo>
                      <a:pt x="61" y="382"/>
                    </a:lnTo>
                    <a:lnTo>
                      <a:pt x="53" y="393"/>
                    </a:lnTo>
                    <a:lnTo>
                      <a:pt x="39" y="395"/>
                    </a:lnTo>
                    <a:lnTo>
                      <a:pt x="30" y="397"/>
                    </a:lnTo>
                    <a:lnTo>
                      <a:pt x="27" y="405"/>
                    </a:lnTo>
                    <a:lnTo>
                      <a:pt x="20" y="414"/>
                    </a:lnTo>
                    <a:lnTo>
                      <a:pt x="16" y="422"/>
                    </a:lnTo>
                    <a:lnTo>
                      <a:pt x="10" y="430"/>
                    </a:lnTo>
                    <a:lnTo>
                      <a:pt x="4" y="435"/>
                    </a:lnTo>
                    <a:lnTo>
                      <a:pt x="0" y="441"/>
                    </a:lnTo>
                    <a:lnTo>
                      <a:pt x="1" y="452"/>
                    </a:lnTo>
                    <a:lnTo>
                      <a:pt x="5" y="468"/>
                    </a:lnTo>
                    <a:lnTo>
                      <a:pt x="3" y="480"/>
                    </a:lnTo>
                    <a:lnTo>
                      <a:pt x="12" y="485"/>
                    </a:lnTo>
                    <a:lnTo>
                      <a:pt x="28" y="483"/>
                    </a:lnTo>
                    <a:lnTo>
                      <a:pt x="39" y="476"/>
                    </a:lnTo>
                    <a:lnTo>
                      <a:pt x="56" y="474"/>
                    </a:lnTo>
                    <a:lnTo>
                      <a:pt x="56" y="484"/>
                    </a:lnTo>
                    <a:lnTo>
                      <a:pt x="49" y="495"/>
                    </a:lnTo>
                    <a:lnTo>
                      <a:pt x="47" y="504"/>
                    </a:lnTo>
                    <a:lnTo>
                      <a:pt x="57" y="521"/>
                    </a:lnTo>
                    <a:lnTo>
                      <a:pt x="69" y="533"/>
                    </a:lnTo>
                    <a:lnTo>
                      <a:pt x="72" y="540"/>
                    </a:lnTo>
                    <a:lnTo>
                      <a:pt x="61" y="552"/>
                    </a:lnTo>
                    <a:lnTo>
                      <a:pt x="63" y="563"/>
                    </a:lnTo>
                    <a:lnTo>
                      <a:pt x="74" y="574"/>
                    </a:lnTo>
                    <a:lnTo>
                      <a:pt x="65" y="583"/>
                    </a:lnTo>
                    <a:lnTo>
                      <a:pt x="59" y="583"/>
                    </a:lnTo>
                    <a:lnTo>
                      <a:pt x="49" y="578"/>
                    </a:lnTo>
                    <a:lnTo>
                      <a:pt x="45" y="570"/>
                    </a:lnTo>
                    <a:lnTo>
                      <a:pt x="41" y="561"/>
                    </a:lnTo>
                    <a:lnTo>
                      <a:pt x="32" y="572"/>
                    </a:lnTo>
                    <a:lnTo>
                      <a:pt x="36" y="584"/>
                    </a:lnTo>
                    <a:lnTo>
                      <a:pt x="31" y="591"/>
                    </a:lnTo>
                    <a:lnTo>
                      <a:pt x="26" y="596"/>
                    </a:lnTo>
                    <a:lnTo>
                      <a:pt x="35" y="606"/>
                    </a:lnTo>
                    <a:lnTo>
                      <a:pt x="50" y="610"/>
                    </a:lnTo>
                    <a:lnTo>
                      <a:pt x="60" y="604"/>
                    </a:lnTo>
                    <a:lnTo>
                      <a:pt x="71" y="613"/>
                    </a:lnTo>
                    <a:lnTo>
                      <a:pt x="90" y="613"/>
                    </a:lnTo>
                    <a:lnTo>
                      <a:pt x="99" y="617"/>
                    </a:lnTo>
                    <a:lnTo>
                      <a:pt x="103" y="630"/>
                    </a:lnTo>
                    <a:lnTo>
                      <a:pt x="104" y="639"/>
                    </a:lnTo>
                    <a:lnTo>
                      <a:pt x="94" y="647"/>
                    </a:lnTo>
                    <a:lnTo>
                      <a:pt x="101" y="658"/>
                    </a:lnTo>
                    <a:lnTo>
                      <a:pt x="109" y="653"/>
                    </a:lnTo>
                    <a:lnTo>
                      <a:pt x="120" y="653"/>
                    </a:lnTo>
                    <a:lnTo>
                      <a:pt x="112" y="670"/>
                    </a:lnTo>
                    <a:lnTo>
                      <a:pt x="117" y="677"/>
                    </a:lnTo>
                    <a:lnTo>
                      <a:pt x="134" y="680"/>
                    </a:lnTo>
                    <a:lnTo>
                      <a:pt x="134" y="691"/>
                    </a:lnTo>
                    <a:lnTo>
                      <a:pt x="129" y="696"/>
                    </a:lnTo>
                    <a:lnTo>
                      <a:pt x="126" y="710"/>
                    </a:lnTo>
                    <a:lnTo>
                      <a:pt x="136" y="711"/>
                    </a:lnTo>
                    <a:lnTo>
                      <a:pt x="160" y="705"/>
                    </a:lnTo>
                    <a:lnTo>
                      <a:pt x="180" y="698"/>
                    </a:lnTo>
                    <a:lnTo>
                      <a:pt x="197" y="694"/>
                    </a:lnTo>
                    <a:lnTo>
                      <a:pt x="188" y="709"/>
                    </a:lnTo>
                    <a:lnTo>
                      <a:pt x="176" y="716"/>
                    </a:lnTo>
                    <a:lnTo>
                      <a:pt x="160" y="722"/>
                    </a:lnTo>
                    <a:lnTo>
                      <a:pt x="147" y="725"/>
                    </a:lnTo>
                    <a:lnTo>
                      <a:pt x="138" y="732"/>
                    </a:lnTo>
                    <a:lnTo>
                      <a:pt x="132" y="743"/>
                    </a:lnTo>
                    <a:lnTo>
                      <a:pt x="149" y="743"/>
                    </a:lnTo>
                    <a:lnTo>
                      <a:pt x="162" y="737"/>
                    </a:lnTo>
                    <a:lnTo>
                      <a:pt x="169" y="732"/>
                    </a:lnTo>
                    <a:lnTo>
                      <a:pt x="178" y="728"/>
                    </a:lnTo>
                    <a:lnTo>
                      <a:pt x="183" y="734"/>
                    </a:lnTo>
                    <a:lnTo>
                      <a:pt x="183" y="740"/>
                    </a:lnTo>
                    <a:lnTo>
                      <a:pt x="196" y="737"/>
                    </a:lnTo>
                    <a:lnTo>
                      <a:pt x="204" y="722"/>
                    </a:lnTo>
                    <a:lnTo>
                      <a:pt x="215" y="716"/>
                    </a:lnTo>
                    <a:lnTo>
                      <a:pt x="225" y="724"/>
                    </a:lnTo>
                    <a:lnTo>
                      <a:pt x="234" y="728"/>
                    </a:lnTo>
                    <a:lnTo>
                      <a:pt x="243" y="729"/>
                    </a:lnTo>
                    <a:lnTo>
                      <a:pt x="250" y="717"/>
                    </a:lnTo>
                    <a:lnTo>
                      <a:pt x="259" y="719"/>
                    </a:lnTo>
                    <a:lnTo>
                      <a:pt x="257" y="732"/>
                    </a:lnTo>
                    <a:lnTo>
                      <a:pt x="268" y="740"/>
                    </a:lnTo>
                    <a:lnTo>
                      <a:pt x="268" y="749"/>
                    </a:lnTo>
                    <a:lnTo>
                      <a:pt x="280" y="755"/>
                    </a:lnTo>
                    <a:lnTo>
                      <a:pt x="288" y="763"/>
                    </a:lnTo>
                    <a:lnTo>
                      <a:pt x="303" y="766"/>
                    </a:lnTo>
                    <a:lnTo>
                      <a:pt x="309" y="767"/>
                    </a:lnTo>
                    <a:lnTo>
                      <a:pt x="322" y="757"/>
                    </a:lnTo>
                    <a:lnTo>
                      <a:pt x="325" y="765"/>
                    </a:lnTo>
                    <a:lnTo>
                      <a:pt x="334" y="758"/>
                    </a:lnTo>
                    <a:lnTo>
                      <a:pt x="348" y="749"/>
                    </a:lnTo>
                    <a:lnTo>
                      <a:pt x="352" y="749"/>
                    </a:lnTo>
                    <a:lnTo>
                      <a:pt x="364" y="737"/>
                    </a:lnTo>
                    <a:lnTo>
                      <a:pt x="366" y="727"/>
                    </a:lnTo>
                    <a:lnTo>
                      <a:pt x="370" y="715"/>
                    </a:lnTo>
                    <a:lnTo>
                      <a:pt x="374" y="681"/>
                    </a:lnTo>
                    <a:lnTo>
                      <a:pt x="382" y="686"/>
                    </a:lnTo>
                    <a:lnTo>
                      <a:pt x="402" y="671"/>
                    </a:lnTo>
                    <a:lnTo>
                      <a:pt x="427" y="681"/>
                    </a:lnTo>
                    <a:lnTo>
                      <a:pt x="439" y="687"/>
                    </a:lnTo>
                    <a:lnTo>
                      <a:pt x="458" y="693"/>
                    </a:lnTo>
                    <a:lnTo>
                      <a:pt x="476" y="699"/>
                    </a:lnTo>
                    <a:lnTo>
                      <a:pt x="492" y="706"/>
                    </a:lnTo>
                    <a:lnTo>
                      <a:pt x="507" y="715"/>
                    </a:lnTo>
                    <a:lnTo>
                      <a:pt x="521" y="730"/>
                    </a:lnTo>
                    <a:lnTo>
                      <a:pt x="532" y="733"/>
                    </a:lnTo>
                    <a:lnTo>
                      <a:pt x="554" y="733"/>
                    </a:lnTo>
                    <a:lnTo>
                      <a:pt x="570" y="717"/>
                    </a:lnTo>
                    <a:lnTo>
                      <a:pt x="579" y="721"/>
                    </a:lnTo>
                    <a:lnTo>
                      <a:pt x="585" y="717"/>
                    </a:lnTo>
                    <a:lnTo>
                      <a:pt x="591" y="715"/>
                    </a:lnTo>
                    <a:lnTo>
                      <a:pt x="597" y="711"/>
                    </a:lnTo>
                    <a:lnTo>
                      <a:pt x="607" y="706"/>
                    </a:lnTo>
                    <a:lnTo>
                      <a:pt x="619" y="692"/>
                    </a:lnTo>
                    <a:lnTo>
                      <a:pt x="633" y="678"/>
                    </a:lnTo>
                    <a:lnTo>
                      <a:pt x="643" y="658"/>
                    </a:lnTo>
                    <a:lnTo>
                      <a:pt x="656" y="636"/>
                    </a:lnTo>
                    <a:lnTo>
                      <a:pt x="672" y="626"/>
                    </a:lnTo>
                    <a:lnTo>
                      <a:pt x="681" y="628"/>
                    </a:lnTo>
                    <a:lnTo>
                      <a:pt x="700" y="633"/>
                    </a:lnTo>
                    <a:lnTo>
                      <a:pt x="715" y="640"/>
                    </a:lnTo>
                    <a:lnTo>
                      <a:pt x="726" y="644"/>
                    </a:lnTo>
                    <a:lnTo>
                      <a:pt x="744" y="643"/>
                    </a:lnTo>
                    <a:lnTo>
                      <a:pt x="751" y="620"/>
                    </a:lnTo>
                    <a:lnTo>
                      <a:pt x="757" y="604"/>
                    </a:lnTo>
                    <a:lnTo>
                      <a:pt x="777" y="608"/>
                    </a:lnTo>
                    <a:lnTo>
                      <a:pt x="776" y="630"/>
                    </a:lnTo>
                    <a:lnTo>
                      <a:pt x="775" y="647"/>
                    </a:lnTo>
                    <a:lnTo>
                      <a:pt x="776" y="662"/>
                    </a:lnTo>
                    <a:lnTo>
                      <a:pt x="778" y="684"/>
                    </a:lnTo>
                    <a:lnTo>
                      <a:pt x="785" y="691"/>
                    </a:lnTo>
                    <a:lnTo>
                      <a:pt x="803" y="690"/>
                    </a:lnTo>
                    <a:lnTo>
                      <a:pt x="807" y="672"/>
                    </a:lnTo>
                    <a:lnTo>
                      <a:pt x="809" y="661"/>
                    </a:lnTo>
                    <a:lnTo>
                      <a:pt x="813" y="655"/>
                    </a:lnTo>
                    <a:lnTo>
                      <a:pt x="825" y="650"/>
                    </a:lnTo>
                    <a:lnTo>
                      <a:pt x="833" y="648"/>
                    </a:lnTo>
                    <a:lnTo>
                      <a:pt x="832" y="642"/>
                    </a:lnTo>
                    <a:lnTo>
                      <a:pt x="814" y="632"/>
                    </a:lnTo>
                    <a:lnTo>
                      <a:pt x="812" y="586"/>
                    </a:lnTo>
                    <a:lnTo>
                      <a:pt x="851" y="592"/>
                    </a:lnTo>
                    <a:lnTo>
                      <a:pt x="855" y="601"/>
                    </a:lnTo>
                    <a:lnTo>
                      <a:pt x="870" y="596"/>
                    </a:lnTo>
                    <a:lnTo>
                      <a:pt x="889" y="578"/>
                    </a:lnTo>
                    <a:lnTo>
                      <a:pt x="908" y="572"/>
                    </a:lnTo>
                    <a:lnTo>
                      <a:pt x="917" y="554"/>
                    </a:lnTo>
                    <a:lnTo>
                      <a:pt x="937" y="545"/>
                    </a:lnTo>
                    <a:lnTo>
                      <a:pt x="950" y="552"/>
                    </a:lnTo>
                    <a:lnTo>
                      <a:pt x="967" y="555"/>
                    </a:lnTo>
                    <a:lnTo>
                      <a:pt x="979" y="559"/>
                    </a:lnTo>
                    <a:lnTo>
                      <a:pt x="993" y="560"/>
                    </a:lnTo>
                    <a:lnTo>
                      <a:pt x="1003" y="554"/>
                    </a:lnTo>
                    <a:lnTo>
                      <a:pt x="1040" y="533"/>
                    </a:lnTo>
                    <a:lnTo>
                      <a:pt x="1068" y="513"/>
                    </a:lnTo>
                    <a:lnTo>
                      <a:pt x="1084" y="488"/>
                    </a:lnTo>
                    <a:lnTo>
                      <a:pt x="1100" y="485"/>
                    </a:lnTo>
                    <a:lnTo>
                      <a:pt x="1121" y="466"/>
                    </a:lnTo>
                    <a:lnTo>
                      <a:pt x="1161" y="460"/>
                    </a:lnTo>
                    <a:lnTo>
                      <a:pt x="1193" y="441"/>
                    </a:lnTo>
                    <a:lnTo>
                      <a:pt x="1205" y="421"/>
                    </a:lnTo>
                    <a:lnTo>
                      <a:pt x="1232" y="432"/>
                    </a:lnTo>
                    <a:lnTo>
                      <a:pt x="1253" y="386"/>
                    </a:lnTo>
                    <a:lnTo>
                      <a:pt x="1293" y="388"/>
                    </a:lnTo>
                    <a:lnTo>
                      <a:pt x="1317" y="378"/>
                    </a:lnTo>
                    <a:lnTo>
                      <a:pt x="1339" y="369"/>
                    </a:lnTo>
                    <a:lnTo>
                      <a:pt x="1359" y="372"/>
                    </a:lnTo>
                    <a:lnTo>
                      <a:pt x="1371" y="385"/>
                    </a:lnTo>
                    <a:lnTo>
                      <a:pt x="1383" y="369"/>
                    </a:lnTo>
                    <a:lnTo>
                      <a:pt x="1395" y="362"/>
                    </a:lnTo>
                    <a:lnTo>
                      <a:pt x="1386" y="340"/>
                    </a:lnTo>
                    <a:lnTo>
                      <a:pt x="1363" y="324"/>
                    </a:lnTo>
                    <a:lnTo>
                      <a:pt x="1340" y="318"/>
                    </a:lnTo>
                    <a:lnTo>
                      <a:pt x="1335" y="286"/>
                    </a:lnTo>
                    <a:lnTo>
                      <a:pt x="1321" y="252"/>
                    </a:lnTo>
                    <a:lnTo>
                      <a:pt x="1310" y="216"/>
                    </a:lnTo>
                    <a:lnTo>
                      <a:pt x="1292" y="193"/>
                    </a:lnTo>
                    <a:lnTo>
                      <a:pt x="1280" y="175"/>
                    </a:lnTo>
                    <a:lnTo>
                      <a:pt x="1290" y="159"/>
                    </a:lnTo>
                    <a:lnTo>
                      <a:pt x="1297" y="135"/>
                    </a:lnTo>
                    <a:lnTo>
                      <a:pt x="1299" y="118"/>
                    </a:lnTo>
                    <a:lnTo>
                      <a:pt x="1273" y="112"/>
                    </a:lnTo>
                    <a:lnTo>
                      <a:pt x="1250" y="102"/>
                    </a:lnTo>
                    <a:lnTo>
                      <a:pt x="1228" y="101"/>
                    </a:lnTo>
                    <a:lnTo>
                      <a:pt x="1208" y="76"/>
                    </a:lnTo>
                    <a:lnTo>
                      <a:pt x="1193" y="39"/>
                    </a:lnTo>
                    <a:lnTo>
                      <a:pt x="1171" y="26"/>
                    </a:lnTo>
                    <a:lnTo>
                      <a:pt x="1144" y="19"/>
                    </a:lnTo>
                    <a:lnTo>
                      <a:pt x="1131" y="7"/>
                    </a:lnTo>
                    <a:lnTo>
                      <a:pt x="1104" y="0"/>
                    </a:lnTo>
                    <a:lnTo>
                      <a:pt x="1097" y="25"/>
                    </a:lnTo>
                    <a:lnTo>
                      <a:pt x="1059" y="28"/>
                    </a:lnTo>
                    <a:lnTo>
                      <a:pt x="1033" y="38"/>
                    </a:lnTo>
                    <a:lnTo>
                      <a:pt x="1011" y="56"/>
                    </a:lnTo>
                    <a:lnTo>
                      <a:pt x="988" y="93"/>
                    </a:lnTo>
                    <a:lnTo>
                      <a:pt x="958" y="125"/>
                    </a:lnTo>
                    <a:lnTo>
                      <a:pt x="931" y="124"/>
                    </a:lnTo>
                    <a:lnTo>
                      <a:pt x="891" y="128"/>
                    </a:lnTo>
                    <a:lnTo>
                      <a:pt x="851" y="149"/>
                    </a:lnTo>
                    <a:lnTo>
                      <a:pt x="827" y="165"/>
                    </a:lnTo>
                    <a:lnTo>
                      <a:pt x="792" y="164"/>
                    </a:lnTo>
                    <a:lnTo>
                      <a:pt x="773" y="181"/>
                    </a:lnTo>
                    <a:lnTo>
                      <a:pt x="744" y="169"/>
                    </a:lnTo>
                    <a:lnTo>
                      <a:pt x="714" y="162"/>
                    </a:lnTo>
                    <a:lnTo>
                      <a:pt x="689" y="170"/>
                    </a:lnTo>
                    <a:lnTo>
                      <a:pt x="664" y="128"/>
                    </a:lnTo>
                    <a:lnTo>
                      <a:pt x="642" y="148"/>
                    </a:lnTo>
                    <a:lnTo>
                      <a:pt x="610" y="138"/>
                    </a:lnTo>
                    <a:lnTo>
                      <a:pt x="586" y="116"/>
                    </a:lnTo>
                    <a:lnTo>
                      <a:pt x="574" y="123"/>
                    </a:lnTo>
                    <a:lnTo>
                      <a:pt x="535" y="139"/>
                    </a:lnTo>
                    <a:lnTo>
                      <a:pt x="488" y="147"/>
                    </a:lnTo>
                    <a:lnTo>
                      <a:pt x="439" y="164"/>
                    </a:lnTo>
                    <a:lnTo>
                      <a:pt x="398" y="199"/>
                    </a:lnTo>
                    <a:lnTo>
                      <a:pt x="373" y="221"/>
                    </a:lnTo>
                    <a:lnTo>
                      <a:pt x="349" y="247"/>
                    </a:lnTo>
                    <a:lnTo>
                      <a:pt x="348" y="267"/>
                    </a:lnTo>
                    <a:lnTo>
                      <a:pt x="326" y="278"/>
                    </a:lnTo>
                    <a:lnTo>
                      <a:pt x="271" y="281"/>
                    </a:lnTo>
                    <a:lnTo>
                      <a:pt x="221" y="287"/>
                    </a:lnTo>
                    <a:lnTo>
                      <a:pt x="199" y="290"/>
                    </a:lnTo>
                    <a:lnTo>
                      <a:pt x="188" y="293"/>
                    </a:lnTo>
                    <a:lnTo>
                      <a:pt x="188" y="312"/>
                    </a:lnTo>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4" name="Oval 98">
                <a:extLst>
                  <a:ext uri="{FF2B5EF4-FFF2-40B4-BE49-F238E27FC236}">
                    <a16:creationId xmlns:a16="http://schemas.microsoft.com/office/drawing/2014/main" id="{E13D5BAE-B190-035B-5510-99CE142612A1}"/>
                  </a:ext>
                </a:extLst>
              </p:cNvPr>
              <p:cNvSpPr>
                <a:spLocks noChangeArrowheads="1"/>
              </p:cNvSpPr>
              <p:nvPr/>
            </p:nvSpPr>
            <p:spPr bwMode="auto">
              <a:xfrm>
                <a:off x="4531820" y="3766522"/>
                <a:ext cx="10734" cy="12061"/>
              </a:xfrm>
              <a:prstGeom prst="ellipse">
                <a:avLst/>
              </a:prstGeom>
              <a:grpFill/>
              <a:ln w="3175">
                <a:solidFill>
                  <a:schemeClr val="bg1"/>
                </a:solidFill>
                <a:round/>
                <a:headEnd/>
                <a:tailEn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sp>
            <p:nvSpPr>
              <p:cNvPr id="2065" name="Freeform 99">
                <a:extLst>
                  <a:ext uri="{FF2B5EF4-FFF2-40B4-BE49-F238E27FC236}">
                    <a16:creationId xmlns:a16="http://schemas.microsoft.com/office/drawing/2014/main" id="{B1575DE7-ACCC-7F12-FC7D-0FD2B2E164C7}"/>
                  </a:ext>
                </a:extLst>
              </p:cNvPr>
              <p:cNvSpPr>
                <a:spLocks/>
              </p:cNvSpPr>
              <p:nvPr/>
            </p:nvSpPr>
            <p:spPr bwMode="auto">
              <a:xfrm>
                <a:off x="4091739" y="1419688"/>
                <a:ext cx="30859" cy="18445"/>
              </a:xfrm>
              <a:custGeom>
                <a:avLst/>
                <a:gdLst>
                  <a:gd name="T0" fmla="*/ 0 w 48"/>
                  <a:gd name="T1" fmla="*/ 20 h 28"/>
                  <a:gd name="T2" fmla="*/ 7 w 48"/>
                  <a:gd name="T3" fmla="*/ 28 h 28"/>
                  <a:gd name="T4" fmla="*/ 16 w 48"/>
                  <a:gd name="T5" fmla="*/ 19 h 28"/>
                  <a:gd name="T6" fmla="*/ 35 w 48"/>
                  <a:gd name="T7" fmla="*/ 19 h 28"/>
                  <a:gd name="T8" fmla="*/ 45 w 48"/>
                  <a:gd name="T9" fmla="*/ 11 h 28"/>
                  <a:gd name="T10" fmla="*/ 48 w 48"/>
                  <a:gd name="T11" fmla="*/ 2 h 28"/>
                  <a:gd name="T12" fmla="*/ 28 w 48"/>
                  <a:gd name="T13" fmla="*/ 0 h 28"/>
                  <a:gd name="T14" fmla="*/ 23 w 48"/>
                  <a:gd name="T15" fmla="*/ 7 h 28"/>
                  <a:gd name="T16" fmla="*/ 8 w 48"/>
                  <a:gd name="T17" fmla="*/ 8 h 28"/>
                  <a:gd name="T18" fmla="*/ 0 w 48"/>
                  <a:gd name="T1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8">
                    <a:moveTo>
                      <a:pt x="0" y="20"/>
                    </a:moveTo>
                    <a:lnTo>
                      <a:pt x="7" y="28"/>
                    </a:lnTo>
                    <a:lnTo>
                      <a:pt x="16" y="19"/>
                    </a:lnTo>
                    <a:lnTo>
                      <a:pt x="35" y="19"/>
                    </a:lnTo>
                    <a:lnTo>
                      <a:pt x="45" y="11"/>
                    </a:lnTo>
                    <a:lnTo>
                      <a:pt x="48" y="2"/>
                    </a:lnTo>
                    <a:lnTo>
                      <a:pt x="28" y="0"/>
                    </a:lnTo>
                    <a:lnTo>
                      <a:pt x="23" y="7"/>
                    </a:lnTo>
                    <a:lnTo>
                      <a:pt x="8" y="8"/>
                    </a:lnTo>
                    <a:lnTo>
                      <a:pt x="0" y="20"/>
                    </a:lnTo>
                    <a:close/>
                  </a:path>
                </a:pathLst>
              </a:custGeom>
              <a:grpFill/>
              <a:ln w="3175" cap="flat" cmpd="sng">
                <a:solidFill>
                  <a:schemeClr val="bg1"/>
                </a:solidFill>
                <a:prstDash val="solid"/>
                <a:round/>
                <a:headEnd type="none" w="med" len="med"/>
                <a:tailEnd type="none" w="med" len="med"/>
              </a:ln>
              <a:effectLst/>
              <a:extLst>
                <a:ext uri="{AF507438-7753-43e0-B8FC-AC1667EBCBE1}">
                  <a14:hiddenEffects xmlns:p14="http://schemas.microsoft.com/office/powerpoint/2010/main" xmlns:mc="http://schemas.openxmlformats.org/markup-compatibility/2006" xmlns:v="urn:schemas-microsoft-com:vml" xmlns:a16="http://schemas.microsoft.com/office/drawing/2014/main" xmlns:a14="http://schemas.microsoft.com/office/drawing/2010/main" xmlns="">
                    <a:effectLst>
                      <a:outerShdw dist="35921" dir="2700000" algn="ctr" rotWithShape="0">
                        <a:schemeClr val="bg2"/>
                      </a:outerShdw>
                    </a:effectLst>
                  </a14:hiddenEffects>
                </a:ext>
              </a:extLst>
            </p:spPr>
            <p:txBody>
              <a:bodyPr wrap="none" anchor="ctr"/>
              <a:lstStyle/>
              <a:p>
                <a:pPr defTabSz="914400">
                  <a:defRPr/>
                </a:pPr>
                <a:endParaRPr lang="en-US" kern="0">
                  <a:solidFill>
                    <a:sysClr val="windowText" lastClr="000000"/>
                  </a:solidFill>
                </a:endParaRPr>
              </a:p>
            </p:txBody>
          </p:sp>
        </p:grpSp>
        <p:grpSp>
          <p:nvGrpSpPr>
            <p:cNvPr id="1936" name="Gruppieren 1935">
              <a:extLst>
                <a:ext uri="{FF2B5EF4-FFF2-40B4-BE49-F238E27FC236}">
                  <a16:creationId xmlns:a16="http://schemas.microsoft.com/office/drawing/2014/main" id="{D9180443-BF6A-005F-4484-A8695DD20841}"/>
                </a:ext>
              </a:extLst>
            </p:cNvPr>
            <p:cNvGrpSpPr/>
            <p:nvPr/>
          </p:nvGrpSpPr>
          <p:grpSpPr>
            <a:xfrm>
              <a:off x="4964625" y="2259871"/>
              <a:ext cx="1963510" cy="1181530"/>
              <a:chOff x="4964625" y="2259871"/>
              <a:chExt cx="1963510" cy="1181530"/>
            </a:xfrm>
          </p:grpSpPr>
          <p:grpSp>
            <p:nvGrpSpPr>
              <p:cNvPr id="1937" name="Gruppieren 1936">
                <a:extLst>
                  <a:ext uri="{FF2B5EF4-FFF2-40B4-BE49-F238E27FC236}">
                    <a16:creationId xmlns:a16="http://schemas.microsoft.com/office/drawing/2014/main" id="{39398E32-A2BE-FB6A-6598-6D0879BCC0AF}"/>
                  </a:ext>
                </a:extLst>
              </p:cNvPr>
              <p:cNvGrpSpPr/>
              <p:nvPr/>
            </p:nvGrpSpPr>
            <p:grpSpPr>
              <a:xfrm>
                <a:off x="4964625" y="2259871"/>
                <a:ext cx="1963510" cy="1181530"/>
                <a:chOff x="4964625" y="2259871"/>
                <a:chExt cx="1963510" cy="1181530"/>
              </a:xfrm>
            </p:grpSpPr>
            <p:sp>
              <p:nvSpPr>
                <p:cNvPr id="1954" name="Rechteck 1953">
                  <a:extLst>
                    <a:ext uri="{FF2B5EF4-FFF2-40B4-BE49-F238E27FC236}">
                      <a16:creationId xmlns:a16="http://schemas.microsoft.com/office/drawing/2014/main" id="{F70097E4-8969-34BA-62F5-2237CD64D2E4}"/>
                    </a:ext>
                  </a:extLst>
                </p:cNvPr>
                <p:cNvSpPr/>
                <p:nvPr/>
              </p:nvSpPr>
              <p:spPr>
                <a:xfrm flipH="1">
                  <a:off x="5250421" y="3347582"/>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5" name="Rechteck 1954">
                  <a:extLst>
                    <a:ext uri="{FF2B5EF4-FFF2-40B4-BE49-F238E27FC236}">
                      <a16:creationId xmlns:a16="http://schemas.microsoft.com/office/drawing/2014/main" id="{97D81F4A-1276-1F14-AD27-4774F92798C8}"/>
                    </a:ext>
                  </a:extLst>
                </p:cNvPr>
                <p:cNvSpPr/>
                <p:nvPr/>
              </p:nvSpPr>
              <p:spPr>
                <a:xfrm flipH="1">
                  <a:off x="5565708" y="2934805"/>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6" name="Rechteck 1955">
                  <a:extLst>
                    <a:ext uri="{FF2B5EF4-FFF2-40B4-BE49-F238E27FC236}">
                      <a16:creationId xmlns:a16="http://schemas.microsoft.com/office/drawing/2014/main" id="{AD97E57B-DC28-42FF-EE27-7B5A641708F5}"/>
                    </a:ext>
                  </a:extLst>
                </p:cNvPr>
                <p:cNvSpPr/>
                <p:nvPr/>
              </p:nvSpPr>
              <p:spPr>
                <a:xfrm flipH="1">
                  <a:off x="5913463" y="3128577"/>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7" name="Rechteck 1956">
                  <a:extLst>
                    <a:ext uri="{FF2B5EF4-FFF2-40B4-BE49-F238E27FC236}">
                      <a16:creationId xmlns:a16="http://schemas.microsoft.com/office/drawing/2014/main" id="{01399D75-0F0B-FE72-E281-D058D0B46D67}"/>
                    </a:ext>
                  </a:extLst>
                </p:cNvPr>
                <p:cNvSpPr/>
                <p:nvPr/>
              </p:nvSpPr>
              <p:spPr>
                <a:xfrm flipH="1">
                  <a:off x="5514737" y="2606891"/>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8" name="Rechteck 1957">
                  <a:extLst>
                    <a:ext uri="{FF2B5EF4-FFF2-40B4-BE49-F238E27FC236}">
                      <a16:creationId xmlns:a16="http://schemas.microsoft.com/office/drawing/2014/main" id="{9A95D1C8-B686-B343-BFA3-EBF4AA980DA7}"/>
                    </a:ext>
                  </a:extLst>
                </p:cNvPr>
                <p:cNvSpPr/>
                <p:nvPr/>
              </p:nvSpPr>
              <p:spPr>
                <a:xfrm flipH="1">
                  <a:off x="5711223" y="2677783"/>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9" name="Rechteck 1958">
                  <a:extLst>
                    <a:ext uri="{FF2B5EF4-FFF2-40B4-BE49-F238E27FC236}">
                      <a16:creationId xmlns:a16="http://schemas.microsoft.com/office/drawing/2014/main" id="{E4A20AB2-5DB0-272C-7367-009E9A55940C}"/>
                    </a:ext>
                  </a:extLst>
                </p:cNvPr>
                <p:cNvSpPr/>
                <p:nvPr/>
              </p:nvSpPr>
              <p:spPr>
                <a:xfrm flipH="1">
                  <a:off x="5961751" y="239463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0" name="Rechteck 1959">
                  <a:extLst>
                    <a:ext uri="{FF2B5EF4-FFF2-40B4-BE49-F238E27FC236}">
                      <a16:creationId xmlns:a16="http://schemas.microsoft.com/office/drawing/2014/main" id="{8DA2B841-63C4-592A-0DC4-2E6D523D41B4}"/>
                    </a:ext>
                  </a:extLst>
                </p:cNvPr>
                <p:cNvSpPr/>
                <p:nvPr/>
              </p:nvSpPr>
              <p:spPr>
                <a:xfrm flipH="1">
                  <a:off x="6875435" y="2259871"/>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1" name="Rechteck 1960">
                  <a:extLst>
                    <a:ext uri="{FF2B5EF4-FFF2-40B4-BE49-F238E27FC236}">
                      <a16:creationId xmlns:a16="http://schemas.microsoft.com/office/drawing/2014/main" id="{50E99A9B-8BB5-A4A6-4776-A6AE903ED2A7}"/>
                    </a:ext>
                  </a:extLst>
                </p:cNvPr>
                <p:cNvSpPr/>
                <p:nvPr/>
              </p:nvSpPr>
              <p:spPr>
                <a:xfrm flipH="1">
                  <a:off x="5810878" y="3132409"/>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2" name="Rechteck 1961">
                  <a:extLst>
                    <a:ext uri="{FF2B5EF4-FFF2-40B4-BE49-F238E27FC236}">
                      <a16:creationId xmlns:a16="http://schemas.microsoft.com/office/drawing/2014/main" id="{486B3E57-81D1-9185-5007-75E14C06915A}"/>
                    </a:ext>
                  </a:extLst>
                </p:cNvPr>
                <p:cNvSpPr/>
                <p:nvPr/>
              </p:nvSpPr>
              <p:spPr>
                <a:xfrm flipH="1">
                  <a:off x="6294703" y="292693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3" name="Rechteck 1962">
                  <a:extLst>
                    <a:ext uri="{FF2B5EF4-FFF2-40B4-BE49-F238E27FC236}">
                      <a16:creationId xmlns:a16="http://schemas.microsoft.com/office/drawing/2014/main" id="{AF81C980-D1ED-DCEE-468B-76B714DAE39D}"/>
                    </a:ext>
                  </a:extLst>
                </p:cNvPr>
                <p:cNvSpPr/>
                <p:nvPr/>
              </p:nvSpPr>
              <p:spPr>
                <a:xfrm flipH="1">
                  <a:off x="6224093" y="303199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4" name="Rechteck 1963">
                  <a:extLst>
                    <a:ext uri="{FF2B5EF4-FFF2-40B4-BE49-F238E27FC236}">
                      <a16:creationId xmlns:a16="http://schemas.microsoft.com/office/drawing/2014/main" id="{F70F773B-DAB8-1CBA-3CC8-0F883E1B156D}"/>
                    </a:ext>
                  </a:extLst>
                </p:cNvPr>
                <p:cNvSpPr/>
                <p:nvPr/>
              </p:nvSpPr>
              <p:spPr>
                <a:xfrm flipH="1">
                  <a:off x="6271638" y="2686738"/>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5" name="Rechteck 1964">
                  <a:extLst>
                    <a:ext uri="{FF2B5EF4-FFF2-40B4-BE49-F238E27FC236}">
                      <a16:creationId xmlns:a16="http://schemas.microsoft.com/office/drawing/2014/main" id="{2737CF1F-0D99-EF4B-7916-0F3B33372CCC}"/>
                    </a:ext>
                  </a:extLst>
                </p:cNvPr>
                <p:cNvSpPr/>
                <p:nvPr/>
              </p:nvSpPr>
              <p:spPr>
                <a:xfrm flipH="1">
                  <a:off x="5991715" y="2856572"/>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6" name="Rechteck 1965">
                  <a:extLst>
                    <a:ext uri="{FF2B5EF4-FFF2-40B4-BE49-F238E27FC236}">
                      <a16:creationId xmlns:a16="http://schemas.microsoft.com/office/drawing/2014/main" id="{1F6D2841-494B-B198-AA0F-FA06E9E8003C}"/>
                    </a:ext>
                  </a:extLst>
                </p:cNvPr>
                <p:cNvSpPr/>
                <p:nvPr/>
              </p:nvSpPr>
              <p:spPr>
                <a:xfrm flipH="1">
                  <a:off x="6684850" y="3343885"/>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7" name="Rechteck 1966">
                  <a:extLst>
                    <a:ext uri="{FF2B5EF4-FFF2-40B4-BE49-F238E27FC236}">
                      <a16:creationId xmlns:a16="http://schemas.microsoft.com/office/drawing/2014/main" id="{A5948BA3-FCD8-9011-4E0A-24B0C2CF2570}"/>
                    </a:ext>
                  </a:extLst>
                </p:cNvPr>
                <p:cNvSpPr/>
                <p:nvPr/>
              </p:nvSpPr>
              <p:spPr>
                <a:xfrm flipH="1">
                  <a:off x="6468369" y="3206926"/>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8" name="Rechteck 1967">
                  <a:extLst>
                    <a:ext uri="{FF2B5EF4-FFF2-40B4-BE49-F238E27FC236}">
                      <a16:creationId xmlns:a16="http://schemas.microsoft.com/office/drawing/2014/main" id="{A9A813FF-510A-B96B-34CE-E3A666037EBC}"/>
                    </a:ext>
                  </a:extLst>
                </p:cNvPr>
                <p:cNvSpPr/>
                <p:nvPr/>
              </p:nvSpPr>
              <p:spPr>
                <a:xfrm flipH="1">
                  <a:off x="6397759" y="3311986"/>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69" name="Rechteck 1968">
                  <a:extLst>
                    <a:ext uri="{FF2B5EF4-FFF2-40B4-BE49-F238E27FC236}">
                      <a16:creationId xmlns:a16="http://schemas.microsoft.com/office/drawing/2014/main" id="{B8276A0C-0F66-05BF-F4E3-9398C47F2F0E}"/>
                    </a:ext>
                  </a:extLst>
                </p:cNvPr>
                <p:cNvSpPr/>
                <p:nvPr/>
              </p:nvSpPr>
              <p:spPr>
                <a:xfrm flipH="1">
                  <a:off x="4964625" y="3385670"/>
                  <a:ext cx="52700" cy="55731"/>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grpSp>
          <p:grpSp>
            <p:nvGrpSpPr>
              <p:cNvPr id="1938" name="Gruppieren 1937">
                <a:extLst>
                  <a:ext uri="{FF2B5EF4-FFF2-40B4-BE49-F238E27FC236}">
                    <a16:creationId xmlns:a16="http://schemas.microsoft.com/office/drawing/2014/main" id="{9B95518D-3013-BCF5-9AAA-D6A7F49BA958}"/>
                  </a:ext>
                </a:extLst>
              </p:cNvPr>
              <p:cNvGrpSpPr/>
              <p:nvPr/>
            </p:nvGrpSpPr>
            <p:grpSpPr>
              <a:xfrm>
                <a:off x="5472626" y="2638969"/>
                <a:ext cx="906028" cy="589783"/>
                <a:chOff x="5472626" y="2638969"/>
                <a:chExt cx="906028" cy="589783"/>
              </a:xfrm>
            </p:grpSpPr>
            <p:sp>
              <p:nvSpPr>
                <p:cNvPr id="1939" name="Rechteck 1938">
                  <a:extLst>
                    <a:ext uri="{FF2B5EF4-FFF2-40B4-BE49-F238E27FC236}">
                      <a16:creationId xmlns:a16="http://schemas.microsoft.com/office/drawing/2014/main" id="{87AA4EA5-BA0A-7EA9-17DD-D4A7584D01F8}"/>
                    </a:ext>
                  </a:extLst>
                </p:cNvPr>
                <p:cNvSpPr/>
                <p:nvPr/>
              </p:nvSpPr>
              <p:spPr>
                <a:xfrm>
                  <a:off x="5472626" y="267220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0" name="Rechteck 1939">
                  <a:extLst>
                    <a:ext uri="{FF2B5EF4-FFF2-40B4-BE49-F238E27FC236}">
                      <a16:creationId xmlns:a16="http://schemas.microsoft.com/office/drawing/2014/main" id="{9EF9FAD2-37D1-50C0-A148-0D3262D2C3B2}"/>
                    </a:ext>
                  </a:extLst>
                </p:cNvPr>
                <p:cNvSpPr/>
                <p:nvPr/>
              </p:nvSpPr>
              <p:spPr>
                <a:xfrm>
                  <a:off x="5701043" y="2857737"/>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1" name="Rechteck 1940">
                  <a:extLst>
                    <a:ext uri="{FF2B5EF4-FFF2-40B4-BE49-F238E27FC236}">
                      <a16:creationId xmlns:a16="http://schemas.microsoft.com/office/drawing/2014/main" id="{3C40B81D-FE44-AAD3-75EF-E0059A8B8DFC}"/>
                    </a:ext>
                  </a:extLst>
                </p:cNvPr>
                <p:cNvSpPr/>
                <p:nvPr/>
              </p:nvSpPr>
              <p:spPr>
                <a:xfrm>
                  <a:off x="5754894" y="298498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2" name="Rechteck 1941">
                  <a:extLst>
                    <a:ext uri="{FF2B5EF4-FFF2-40B4-BE49-F238E27FC236}">
                      <a16:creationId xmlns:a16="http://schemas.microsoft.com/office/drawing/2014/main" id="{52E243C0-7F56-7A8A-4C1D-154AB19011D5}"/>
                    </a:ext>
                  </a:extLst>
                </p:cNvPr>
                <p:cNvSpPr/>
                <p:nvPr/>
              </p:nvSpPr>
              <p:spPr>
                <a:xfrm>
                  <a:off x="5817757" y="2995808"/>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3" name="Rechteck 1942">
                  <a:extLst>
                    <a:ext uri="{FF2B5EF4-FFF2-40B4-BE49-F238E27FC236}">
                      <a16:creationId xmlns:a16="http://schemas.microsoft.com/office/drawing/2014/main" id="{3259ED7C-F1B8-8137-630D-C7C9B913E980}"/>
                    </a:ext>
                  </a:extLst>
                </p:cNvPr>
                <p:cNvSpPr/>
                <p:nvPr/>
              </p:nvSpPr>
              <p:spPr>
                <a:xfrm>
                  <a:off x="6006648" y="290943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4" name="Rechteck 1943">
                  <a:extLst>
                    <a:ext uri="{FF2B5EF4-FFF2-40B4-BE49-F238E27FC236}">
                      <a16:creationId xmlns:a16="http://schemas.microsoft.com/office/drawing/2014/main" id="{4ABDC401-3440-0C09-34F5-E7D5DD875809}"/>
                    </a:ext>
                  </a:extLst>
                </p:cNvPr>
                <p:cNvSpPr/>
                <p:nvPr/>
              </p:nvSpPr>
              <p:spPr>
                <a:xfrm>
                  <a:off x="6009048" y="2778304"/>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5" name="Rechteck 1944">
                  <a:extLst>
                    <a:ext uri="{FF2B5EF4-FFF2-40B4-BE49-F238E27FC236}">
                      <a16:creationId xmlns:a16="http://schemas.microsoft.com/office/drawing/2014/main" id="{E84D020D-A33E-B3D3-6F30-BB887F20B881}"/>
                    </a:ext>
                  </a:extLst>
                </p:cNvPr>
                <p:cNvSpPr/>
                <p:nvPr/>
              </p:nvSpPr>
              <p:spPr>
                <a:xfrm>
                  <a:off x="5903767" y="2827351"/>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6" name="Rechteck 1945">
                  <a:extLst>
                    <a:ext uri="{FF2B5EF4-FFF2-40B4-BE49-F238E27FC236}">
                      <a16:creationId xmlns:a16="http://schemas.microsoft.com/office/drawing/2014/main" id="{A4077426-C52A-937F-4B28-865EA82432BC}"/>
                    </a:ext>
                  </a:extLst>
                </p:cNvPr>
                <p:cNvSpPr/>
                <p:nvPr/>
              </p:nvSpPr>
              <p:spPr>
                <a:xfrm>
                  <a:off x="5988334" y="272091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7" name="Rechteck 1946">
                  <a:extLst>
                    <a:ext uri="{FF2B5EF4-FFF2-40B4-BE49-F238E27FC236}">
                      <a16:creationId xmlns:a16="http://schemas.microsoft.com/office/drawing/2014/main" id="{78222F85-43F1-10B7-4EEF-355990961E2B}"/>
                    </a:ext>
                  </a:extLst>
                </p:cNvPr>
                <p:cNvSpPr/>
                <p:nvPr/>
              </p:nvSpPr>
              <p:spPr>
                <a:xfrm>
                  <a:off x="5808940" y="2853753"/>
                  <a:ext cx="77709" cy="82179"/>
                </a:xfrm>
                <a:prstGeom prst="rect">
                  <a:avLst/>
                </a:prstGeom>
                <a:solidFill>
                  <a:schemeClr val="hlink"/>
                </a:solidFill>
                <a:ln w="25400" cap="flat" cmpd="sng" algn="ctr">
                  <a:noFill/>
                  <a:prstDash val="solid"/>
                </a:ln>
                <a:effectLst/>
              </p:spPr>
              <p:txBody>
                <a:bodyPr rtlCol="0" anchor="ctr"/>
                <a:lstStyle/>
                <a:p>
                  <a:pPr algn="ctr" defTabSz="914400">
                    <a:defRPr/>
                  </a:pPr>
                  <a:endParaRPr lang="en-US" kern="0">
                    <a:solidFill>
                      <a:srgbClr val="FFFFFF"/>
                    </a:solidFill>
                    <a:latin typeface="Arial"/>
                  </a:endParaRPr>
                </a:p>
              </p:txBody>
            </p:sp>
            <p:sp>
              <p:nvSpPr>
                <p:cNvPr id="1948" name="Rechteck 1947">
                  <a:extLst>
                    <a:ext uri="{FF2B5EF4-FFF2-40B4-BE49-F238E27FC236}">
                      <a16:creationId xmlns:a16="http://schemas.microsoft.com/office/drawing/2014/main" id="{DB00AD06-902D-E3DA-7269-6E577C2332D4}"/>
                    </a:ext>
                  </a:extLst>
                </p:cNvPr>
                <p:cNvSpPr/>
                <p:nvPr/>
              </p:nvSpPr>
              <p:spPr>
                <a:xfrm>
                  <a:off x="5799238" y="2889269"/>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49" name="Rechteck 1948">
                  <a:extLst>
                    <a:ext uri="{FF2B5EF4-FFF2-40B4-BE49-F238E27FC236}">
                      <a16:creationId xmlns:a16="http://schemas.microsoft.com/office/drawing/2014/main" id="{F5D4BA82-E77A-9402-7CD6-1E1585FC001A}"/>
                    </a:ext>
                  </a:extLst>
                </p:cNvPr>
                <p:cNvSpPr/>
                <p:nvPr/>
              </p:nvSpPr>
              <p:spPr>
                <a:xfrm>
                  <a:off x="6300945" y="2638969"/>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0" name="Rechteck 1949">
                  <a:extLst>
                    <a:ext uri="{FF2B5EF4-FFF2-40B4-BE49-F238E27FC236}">
                      <a16:creationId xmlns:a16="http://schemas.microsoft.com/office/drawing/2014/main" id="{1279F07B-5441-A7A6-228F-38E4D1F88767}"/>
                    </a:ext>
                  </a:extLst>
                </p:cNvPr>
                <p:cNvSpPr/>
                <p:nvPr/>
              </p:nvSpPr>
              <p:spPr>
                <a:xfrm>
                  <a:off x="5918298" y="2897262"/>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1" name="Rechteck 1950">
                  <a:extLst>
                    <a:ext uri="{FF2B5EF4-FFF2-40B4-BE49-F238E27FC236}">
                      <a16:creationId xmlns:a16="http://schemas.microsoft.com/office/drawing/2014/main" id="{11935D52-023E-493A-FB7C-C69A85DA8F9B}"/>
                    </a:ext>
                  </a:extLst>
                </p:cNvPr>
                <p:cNvSpPr/>
                <p:nvPr/>
              </p:nvSpPr>
              <p:spPr>
                <a:xfrm>
                  <a:off x="5684634" y="2922230"/>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2" name="Rechteck 1951">
                  <a:extLst>
                    <a:ext uri="{FF2B5EF4-FFF2-40B4-BE49-F238E27FC236}">
                      <a16:creationId xmlns:a16="http://schemas.microsoft.com/office/drawing/2014/main" id="{2E8F9ECD-E7FA-5138-E6BF-75488412EF7C}"/>
                    </a:ext>
                  </a:extLst>
                </p:cNvPr>
                <p:cNvSpPr/>
                <p:nvPr/>
              </p:nvSpPr>
              <p:spPr>
                <a:xfrm>
                  <a:off x="5740288" y="3146573"/>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sp>
              <p:nvSpPr>
                <p:cNvPr id="1953" name="Rechteck 1952">
                  <a:extLst>
                    <a:ext uri="{FF2B5EF4-FFF2-40B4-BE49-F238E27FC236}">
                      <a16:creationId xmlns:a16="http://schemas.microsoft.com/office/drawing/2014/main" id="{6CEB0242-39D1-0742-9EB0-2EEC41EF0418}"/>
                    </a:ext>
                  </a:extLst>
                </p:cNvPr>
                <p:cNvSpPr/>
                <p:nvPr/>
              </p:nvSpPr>
              <p:spPr>
                <a:xfrm>
                  <a:off x="5777436" y="2914938"/>
                  <a:ext cx="77709" cy="82179"/>
                </a:xfrm>
                <a:prstGeom prst="rect">
                  <a:avLst/>
                </a:prstGeom>
                <a:solidFill>
                  <a:schemeClr val="hlink"/>
                </a:solidFill>
                <a:ln w="6350" cap="flat" cmpd="sng" algn="ctr">
                  <a:solidFill>
                    <a:schemeClr val="accent2"/>
                  </a:solidFill>
                  <a:prstDash val="solid"/>
                  <a:round/>
                  <a:headEnd type="none" w="med" len="med"/>
                  <a:tailEnd type="none" w="med" len="med"/>
                </a:ln>
                <a:effectLst/>
              </p:spPr>
              <p:txBody>
                <a:bodyPr rtlCol="0" anchor="ctr"/>
                <a:lstStyle/>
                <a:p>
                  <a:pPr algn="ctr" defTabSz="914400">
                    <a:defRPr/>
                  </a:pPr>
                  <a:endParaRPr lang="en-US" kern="0">
                    <a:solidFill>
                      <a:srgbClr val="FFFFFF"/>
                    </a:solidFill>
                    <a:latin typeface="Arial"/>
                  </a:endParaRPr>
                </a:p>
              </p:txBody>
            </p:sp>
          </p:grpSp>
        </p:grpSp>
      </p:grpSp>
      <p:sp>
        <p:nvSpPr>
          <p:cNvPr id="2066" name="Rechteck 2065">
            <a:extLst>
              <a:ext uri="{FF2B5EF4-FFF2-40B4-BE49-F238E27FC236}">
                <a16:creationId xmlns:a16="http://schemas.microsoft.com/office/drawing/2014/main" id="{9FD5619B-EF7B-54FC-B20C-25CCB6456CA6}"/>
              </a:ext>
            </a:extLst>
          </p:cNvPr>
          <p:cNvSpPr/>
          <p:nvPr/>
        </p:nvSpPr>
        <p:spPr>
          <a:xfrm>
            <a:off x="377504" y="1287055"/>
            <a:ext cx="6153473" cy="339463"/>
          </a:xfrm>
          <a:custGeom>
            <a:avLst/>
            <a:gdLst>
              <a:gd name="connsiteX0" fmla="*/ 0 w 6153473"/>
              <a:gd name="connsiteY0" fmla="*/ 0 h 339463"/>
              <a:gd name="connsiteX1" fmla="*/ 682476 w 6153473"/>
              <a:gd name="connsiteY1" fmla="*/ 0 h 339463"/>
              <a:gd name="connsiteX2" fmla="*/ 1180348 w 6153473"/>
              <a:gd name="connsiteY2" fmla="*/ 0 h 339463"/>
              <a:gd name="connsiteX3" fmla="*/ 1739755 w 6153473"/>
              <a:gd name="connsiteY3" fmla="*/ 0 h 339463"/>
              <a:gd name="connsiteX4" fmla="*/ 2360696 w 6153473"/>
              <a:gd name="connsiteY4" fmla="*/ 0 h 339463"/>
              <a:gd name="connsiteX5" fmla="*/ 3043172 w 6153473"/>
              <a:gd name="connsiteY5" fmla="*/ 0 h 339463"/>
              <a:gd name="connsiteX6" fmla="*/ 3725648 w 6153473"/>
              <a:gd name="connsiteY6" fmla="*/ 0 h 339463"/>
              <a:gd name="connsiteX7" fmla="*/ 4161985 w 6153473"/>
              <a:gd name="connsiteY7" fmla="*/ 0 h 339463"/>
              <a:gd name="connsiteX8" fmla="*/ 4536788 w 6153473"/>
              <a:gd name="connsiteY8" fmla="*/ 0 h 339463"/>
              <a:gd name="connsiteX9" fmla="*/ 5219264 w 6153473"/>
              <a:gd name="connsiteY9" fmla="*/ 0 h 339463"/>
              <a:gd name="connsiteX10" fmla="*/ 6153473 w 6153473"/>
              <a:gd name="connsiteY10" fmla="*/ 0 h 339463"/>
              <a:gd name="connsiteX11" fmla="*/ 6153473 w 6153473"/>
              <a:gd name="connsiteY11" fmla="*/ 339463 h 339463"/>
              <a:gd name="connsiteX12" fmla="*/ 5470997 w 6153473"/>
              <a:gd name="connsiteY12" fmla="*/ 339463 h 339463"/>
              <a:gd name="connsiteX13" fmla="*/ 5096194 w 6153473"/>
              <a:gd name="connsiteY13" fmla="*/ 339463 h 339463"/>
              <a:gd name="connsiteX14" fmla="*/ 4413718 w 6153473"/>
              <a:gd name="connsiteY14" fmla="*/ 339463 h 339463"/>
              <a:gd name="connsiteX15" fmla="*/ 3977381 w 6153473"/>
              <a:gd name="connsiteY15" fmla="*/ 339463 h 339463"/>
              <a:gd name="connsiteX16" fmla="*/ 3479509 w 6153473"/>
              <a:gd name="connsiteY16" fmla="*/ 339463 h 339463"/>
              <a:gd name="connsiteX17" fmla="*/ 2797033 w 6153473"/>
              <a:gd name="connsiteY17" fmla="*/ 339463 h 339463"/>
              <a:gd name="connsiteX18" fmla="*/ 2422231 w 6153473"/>
              <a:gd name="connsiteY18" fmla="*/ 339463 h 339463"/>
              <a:gd name="connsiteX19" fmla="*/ 1739755 w 6153473"/>
              <a:gd name="connsiteY19" fmla="*/ 339463 h 339463"/>
              <a:gd name="connsiteX20" fmla="*/ 1180348 w 6153473"/>
              <a:gd name="connsiteY20" fmla="*/ 339463 h 339463"/>
              <a:gd name="connsiteX21" fmla="*/ 682476 w 6153473"/>
              <a:gd name="connsiteY21" fmla="*/ 339463 h 339463"/>
              <a:gd name="connsiteX22" fmla="*/ 0 w 6153473"/>
              <a:gd name="connsiteY22" fmla="*/ 339463 h 339463"/>
              <a:gd name="connsiteX23" fmla="*/ 0 w 6153473"/>
              <a:gd name="connsiteY23" fmla="*/ 0 h 33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153473" h="339463" fill="none" extrusionOk="0">
                <a:moveTo>
                  <a:pt x="0" y="0"/>
                </a:moveTo>
                <a:cubicBezTo>
                  <a:pt x="210531" y="-79837"/>
                  <a:pt x="403944" y="56478"/>
                  <a:pt x="682476" y="0"/>
                </a:cubicBezTo>
                <a:cubicBezTo>
                  <a:pt x="961008" y="-56478"/>
                  <a:pt x="992726" y="29643"/>
                  <a:pt x="1180348" y="0"/>
                </a:cubicBezTo>
                <a:cubicBezTo>
                  <a:pt x="1367970" y="-29643"/>
                  <a:pt x="1480093" y="63725"/>
                  <a:pt x="1739755" y="0"/>
                </a:cubicBezTo>
                <a:cubicBezTo>
                  <a:pt x="1999417" y="-63725"/>
                  <a:pt x="2098470" y="54887"/>
                  <a:pt x="2360696" y="0"/>
                </a:cubicBezTo>
                <a:cubicBezTo>
                  <a:pt x="2622922" y="-54887"/>
                  <a:pt x="2713545" y="61086"/>
                  <a:pt x="3043172" y="0"/>
                </a:cubicBezTo>
                <a:cubicBezTo>
                  <a:pt x="3372799" y="-61086"/>
                  <a:pt x="3535299" y="77665"/>
                  <a:pt x="3725648" y="0"/>
                </a:cubicBezTo>
                <a:cubicBezTo>
                  <a:pt x="3915997" y="-77665"/>
                  <a:pt x="4028635" y="31379"/>
                  <a:pt x="4161985" y="0"/>
                </a:cubicBezTo>
                <a:cubicBezTo>
                  <a:pt x="4295335" y="-31379"/>
                  <a:pt x="4392473" y="19255"/>
                  <a:pt x="4536788" y="0"/>
                </a:cubicBezTo>
                <a:cubicBezTo>
                  <a:pt x="4681103" y="-19255"/>
                  <a:pt x="5005652" y="42800"/>
                  <a:pt x="5219264" y="0"/>
                </a:cubicBezTo>
                <a:cubicBezTo>
                  <a:pt x="5432876" y="-42800"/>
                  <a:pt x="5722334" y="21208"/>
                  <a:pt x="6153473" y="0"/>
                </a:cubicBezTo>
                <a:cubicBezTo>
                  <a:pt x="6183568" y="161367"/>
                  <a:pt x="6144229" y="211588"/>
                  <a:pt x="6153473" y="339463"/>
                </a:cubicBezTo>
                <a:cubicBezTo>
                  <a:pt x="5937134" y="351253"/>
                  <a:pt x="5697490" y="278325"/>
                  <a:pt x="5470997" y="339463"/>
                </a:cubicBezTo>
                <a:cubicBezTo>
                  <a:pt x="5244504" y="400601"/>
                  <a:pt x="5247433" y="296921"/>
                  <a:pt x="5096194" y="339463"/>
                </a:cubicBezTo>
                <a:cubicBezTo>
                  <a:pt x="4944955" y="382005"/>
                  <a:pt x="4571650" y="296255"/>
                  <a:pt x="4413718" y="339463"/>
                </a:cubicBezTo>
                <a:cubicBezTo>
                  <a:pt x="4255786" y="382671"/>
                  <a:pt x="4192565" y="298526"/>
                  <a:pt x="3977381" y="339463"/>
                </a:cubicBezTo>
                <a:cubicBezTo>
                  <a:pt x="3762197" y="380400"/>
                  <a:pt x="3625111" y="307297"/>
                  <a:pt x="3479509" y="339463"/>
                </a:cubicBezTo>
                <a:cubicBezTo>
                  <a:pt x="3333907" y="371629"/>
                  <a:pt x="2974332" y="275548"/>
                  <a:pt x="2797033" y="339463"/>
                </a:cubicBezTo>
                <a:cubicBezTo>
                  <a:pt x="2619734" y="403378"/>
                  <a:pt x="2504009" y="302508"/>
                  <a:pt x="2422231" y="339463"/>
                </a:cubicBezTo>
                <a:cubicBezTo>
                  <a:pt x="2340453" y="376418"/>
                  <a:pt x="2001088" y="315060"/>
                  <a:pt x="1739755" y="339463"/>
                </a:cubicBezTo>
                <a:cubicBezTo>
                  <a:pt x="1478422" y="363866"/>
                  <a:pt x="1422483" y="284359"/>
                  <a:pt x="1180348" y="339463"/>
                </a:cubicBezTo>
                <a:cubicBezTo>
                  <a:pt x="938213" y="394567"/>
                  <a:pt x="877455" y="325822"/>
                  <a:pt x="682476" y="339463"/>
                </a:cubicBezTo>
                <a:cubicBezTo>
                  <a:pt x="487497" y="353104"/>
                  <a:pt x="144676" y="287504"/>
                  <a:pt x="0" y="339463"/>
                </a:cubicBezTo>
                <a:cubicBezTo>
                  <a:pt x="-6018" y="249185"/>
                  <a:pt x="24515" y="168929"/>
                  <a:pt x="0" y="0"/>
                </a:cubicBezTo>
                <a:close/>
              </a:path>
              <a:path w="6153473" h="339463" stroke="0" extrusionOk="0">
                <a:moveTo>
                  <a:pt x="0" y="0"/>
                </a:moveTo>
                <a:cubicBezTo>
                  <a:pt x="231745" y="-27915"/>
                  <a:pt x="263585" y="50715"/>
                  <a:pt x="497872" y="0"/>
                </a:cubicBezTo>
                <a:cubicBezTo>
                  <a:pt x="732159" y="-50715"/>
                  <a:pt x="930428" y="6143"/>
                  <a:pt x="1180348" y="0"/>
                </a:cubicBezTo>
                <a:cubicBezTo>
                  <a:pt x="1430268" y="-6143"/>
                  <a:pt x="1681185" y="26045"/>
                  <a:pt x="1862824" y="0"/>
                </a:cubicBezTo>
                <a:cubicBezTo>
                  <a:pt x="2044463" y="-26045"/>
                  <a:pt x="2121260" y="4352"/>
                  <a:pt x="2360696" y="0"/>
                </a:cubicBezTo>
                <a:cubicBezTo>
                  <a:pt x="2600132" y="-4352"/>
                  <a:pt x="2650657" y="5011"/>
                  <a:pt x="2797033" y="0"/>
                </a:cubicBezTo>
                <a:cubicBezTo>
                  <a:pt x="2943409" y="-5011"/>
                  <a:pt x="2996879" y="25696"/>
                  <a:pt x="3171836" y="0"/>
                </a:cubicBezTo>
                <a:cubicBezTo>
                  <a:pt x="3346793" y="-25696"/>
                  <a:pt x="3478696" y="10368"/>
                  <a:pt x="3608173" y="0"/>
                </a:cubicBezTo>
                <a:cubicBezTo>
                  <a:pt x="3737650" y="-10368"/>
                  <a:pt x="3990481" y="28298"/>
                  <a:pt x="4229114" y="0"/>
                </a:cubicBezTo>
                <a:cubicBezTo>
                  <a:pt x="4467747" y="-28298"/>
                  <a:pt x="4586123" y="55211"/>
                  <a:pt x="4911590" y="0"/>
                </a:cubicBezTo>
                <a:cubicBezTo>
                  <a:pt x="5237057" y="-55211"/>
                  <a:pt x="5200025" y="5093"/>
                  <a:pt x="5286393" y="0"/>
                </a:cubicBezTo>
                <a:cubicBezTo>
                  <a:pt x="5372761" y="-5093"/>
                  <a:pt x="5503358" y="39094"/>
                  <a:pt x="5661195" y="0"/>
                </a:cubicBezTo>
                <a:cubicBezTo>
                  <a:pt x="5819032" y="-39094"/>
                  <a:pt x="6002328" y="10403"/>
                  <a:pt x="6153473" y="0"/>
                </a:cubicBezTo>
                <a:cubicBezTo>
                  <a:pt x="6188514" y="159084"/>
                  <a:pt x="6131880" y="191177"/>
                  <a:pt x="6153473" y="339463"/>
                </a:cubicBezTo>
                <a:cubicBezTo>
                  <a:pt x="5937889" y="340817"/>
                  <a:pt x="5722916" y="267829"/>
                  <a:pt x="5532532" y="339463"/>
                </a:cubicBezTo>
                <a:cubicBezTo>
                  <a:pt x="5342148" y="411097"/>
                  <a:pt x="5292608" y="315562"/>
                  <a:pt x="5096194" y="339463"/>
                </a:cubicBezTo>
                <a:cubicBezTo>
                  <a:pt x="4899780" y="363364"/>
                  <a:pt x="4873285" y="296352"/>
                  <a:pt x="4721392" y="339463"/>
                </a:cubicBezTo>
                <a:cubicBezTo>
                  <a:pt x="4569499" y="382574"/>
                  <a:pt x="4421951" y="284471"/>
                  <a:pt x="4161985" y="339463"/>
                </a:cubicBezTo>
                <a:cubicBezTo>
                  <a:pt x="3902019" y="394455"/>
                  <a:pt x="3847430" y="305091"/>
                  <a:pt x="3664113" y="339463"/>
                </a:cubicBezTo>
                <a:cubicBezTo>
                  <a:pt x="3480796" y="373835"/>
                  <a:pt x="3282684" y="279126"/>
                  <a:pt x="3104707" y="339463"/>
                </a:cubicBezTo>
                <a:cubicBezTo>
                  <a:pt x="2926730" y="399800"/>
                  <a:pt x="2857866" y="337669"/>
                  <a:pt x="2729904" y="339463"/>
                </a:cubicBezTo>
                <a:cubicBezTo>
                  <a:pt x="2601942" y="341257"/>
                  <a:pt x="2509864" y="315409"/>
                  <a:pt x="2355102" y="339463"/>
                </a:cubicBezTo>
                <a:cubicBezTo>
                  <a:pt x="2200340" y="363517"/>
                  <a:pt x="2039699" y="297998"/>
                  <a:pt x="1918765" y="339463"/>
                </a:cubicBezTo>
                <a:cubicBezTo>
                  <a:pt x="1797831" y="380928"/>
                  <a:pt x="1457196" y="287637"/>
                  <a:pt x="1297823" y="339463"/>
                </a:cubicBezTo>
                <a:cubicBezTo>
                  <a:pt x="1138450" y="391289"/>
                  <a:pt x="1021840" y="317380"/>
                  <a:pt x="923021" y="339463"/>
                </a:cubicBezTo>
                <a:cubicBezTo>
                  <a:pt x="824202" y="361546"/>
                  <a:pt x="312291" y="282160"/>
                  <a:pt x="0" y="339463"/>
                </a:cubicBezTo>
                <a:cubicBezTo>
                  <a:pt x="-287" y="211164"/>
                  <a:pt x="12639" y="138224"/>
                  <a:pt x="0" y="0"/>
                </a:cubicBezTo>
                <a:close/>
              </a:path>
            </a:pathLst>
          </a:custGeom>
          <a:solidFill>
            <a:schemeClr val="accent5"/>
          </a:solidFill>
          <a:ln w="12700">
            <a:solidFill>
              <a:schemeClr val="accent5"/>
            </a:solidFill>
            <a:extLst>
              <a:ext uri="{C807C97D-BFC1-408E-A445-0C87EB9F89A2}">
                <ask:lineSketchStyleProps xmlns:ask="http://schemas.microsoft.com/office/drawing/2018/sketchyshapes" sd="4260005278">
                  <a:prstGeom prst="rect">
                    <a:avLst/>
                  </a:prstGeom>
                  <ask:type>
                    <ask:lineSketchScribbl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200"/>
              </a:lnSpc>
            </a:pPr>
            <a:r>
              <a:rPr lang="en-US" sz="1400" b="1" dirty="0"/>
              <a:t>Das TRUMPF Produktions Netzwerk</a:t>
            </a:r>
          </a:p>
        </p:txBody>
      </p:sp>
      <p:sp>
        <p:nvSpPr>
          <p:cNvPr id="2067" name="MIO_TEXTBOX_BODY">
            <a:extLst>
              <a:ext uri="{FF2B5EF4-FFF2-40B4-BE49-F238E27FC236}">
                <a16:creationId xmlns:a16="http://schemas.microsoft.com/office/drawing/2014/main" id="{147B6C36-0908-F793-2584-CDA6F0360A80}"/>
              </a:ext>
            </a:extLst>
          </p:cNvPr>
          <p:cNvSpPr txBox="1">
            <a:spLocks/>
          </p:cNvSpPr>
          <p:nvPr/>
        </p:nvSpPr>
        <p:spPr>
          <a:xfrm>
            <a:off x="409835" y="5234114"/>
            <a:ext cx="5805906" cy="923330"/>
          </a:xfrm>
          <a:prstGeom prst="rect">
            <a:avLst/>
          </a:prstGeom>
          <a:solidFill>
            <a:schemeClr val="bg1"/>
          </a:solidFill>
        </p:spPr>
        <p:txBody>
          <a:bodyPr wrap="square" lIns="0" tIns="0" rIns="0" bIns="0" rtlCol="0">
            <a:spAutoFit/>
          </a:bodyPr>
          <a:lstStyle>
            <a:defPPr>
              <a:defRPr lang="de-DE"/>
            </a:defPPr>
            <a:lvl1pPr marL="171450" indent="-171450">
              <a:buFont typeface="Wingdings" panose="05000000000000000000" pitchFamily="2" charset="2"/>
              <a:buChar char="§"/>
              <a:defRPr sz="1000"/>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r>
              <a:rPr lang="de-DE" b="1" dirty="0"/>
              <a:t>SYNCHRO</a:t>
            </a:r>
            <a:r>
              <a:rPr lang="de-DE" dirty="0"/>
              <a:t> ist unser </a:t>
            </a:r>
            <a:r>
              <a:rPr lang="de-DE" b="1" dirty="0"/>
              <a:t>Lean Management System</a:t>
            </a:r>
            <a:r>
              <a:rPr lang="de-DE" dirty="0"/>
              <a:t>, an </a:t>
            </a:r>
            <a:r>
              <a:rPr lang="de-DE" b="1" dirty="0"/>
              <a:t>jedem</a:t>
            </a:r>
            <a:r>
              <a:rPr lang="de-DE" dirty="0"/>
              <a:t> Standort</a:t>
            </a:r>
          </a:p>
          <a:p>
            <a:r>
              <a:rPr lang="de-DE" dirty="0"/>
              <a:t>Lokale Führungsteams (insbesondere Werksleiter) sind dafür verantwortlich, die lokale </a:t>
            </a:r>
            <a:r>
              <a:rPr lang="de-DE" b="1" dirty="0"/>
              <a:t>SYNCHRO Reife</a:t>
            </a:r>
            <a:r>
              <a:rPr lang="de-DE" dirty="0"/>
              <a:t> voranzutreiben</a:t>
            </a:r>
          </a:p>
          <a:p>
            <a:r>
              <a:rPr lang="de-DE" b="1" dirty="0"/>
              <a:t>SYNCHRO Spezialisten</a:t>
            </a:r>
            <a:r>
              <a:rPr lang="de-DE" dirty="0"/>
              <a:t>, die </a:t>
            </a:r>
            <a:r>
              <a:rPr lang="de-DE" b="1" dirty="0"/>
              <a:t>SYNCHRO</a:t>
            </a:r>
            <a:r>
              <a:rPr lang="de-DE" dirty="0"/>
              <a:t> an ihren Standorten </a:t>
            </a:r>
            <a:r>
              <a:rPr lang="de-DE" b="1" dirty="0"/>
              <a:t>vorantreiben</a:t>
            </a:r>
            <a:r>
              <a:rPr lang="de-DE" dirty="0"/>
              <a:t> - von der Unterstützung des „Organisatorischen Daches“, bis hin zur </a:t>
            </a:r>
            <a:r>
              <a:rPr lang="de-DE" b="1" dirty="0"/>
              <a:t>Leitung</a:t>
            </a:r>
            <a:r>
              <a:rPr lang="de-DE" dirty="0"/>
              <a:t> und </a:t>
            </a:r>
            <a:r>
              <a:rPr lang="de-DE" b="1" dirty="0"/>
              <a:t>Durchführung</a:t>
            </a:r>
            <a:r>
              <a:rPr lang="de-DE" dirty="0"/>
              <a:t> eigener Verbesserungsprojekte</a:t>
            </a:r>
            <a:endParaRPr lang="en-US" dirty="0"/>
          </a:p>
        </p:txBody>
      </p:sp>
      <p:sp>
        <p:nvSpPr>
          <p:cNvPr id="2068" name="Rechteck 2067">
            <a:extLst>
              <a:ext uri="{FF2B5EF4-FFF2-40B4-BE49-F238E27FC236}">
                <a16:creationId xmlns:a16="http://schemas.microsoft.com/office/drawing/2014/main" id="{9985AC06-051F-90A9-C6E9-ABE06544CB58}"/>
              </a:ext>
            </a:extLst>
          </p:cNvPr>
          <p:cNvSpPr/>
          <p:nvPr/>
        </p:nvSpPr>
        <p:spPr>
          <a:xfrm>
            <a:off x="6215741" y="1285588"/>
            <a:ext cx="711759" cy="37862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grpSp>
        <p:nvGrpSpPr>
          <p:cNvPr id="2069" name="Gruppieren 2068">
            <a:extLst>
              <a:ext uri="{FF2B5EF4-FFF2-40B4-BE49-F238E27FC236}">
                <a16:creationId xmlns:a16="http://schemas.microsoft.com/office/drawing/2014/main" id="{C7A85369-EC42-A9B6-72C2-0B96C85AA633}"/>
              </a:ext>
            </a:extLst>
          </p:cNvPr>
          <p:cNvGrpSpPr/>
          <p:nvPr/>
        </p:nvGrpSpPr>
        <p:grpSpPr>
          <a:xfrm>
            <a:off x="5149485" y="4349618"/>
            <a:ext cx="1381493" cy="299278"/>
            <a:chOff x="4704237" y="4554978"/>
            <a:chExt cx="1381493" cy="299278"/>
          </a:xfrm>
        </p:grpSpPr>
        <p:sp>
          <p:nvSpPr>
            <p:cNvPr id="2070" name="Textplatzhalter 6">
              <a:extLst>
                <a:ext uri="{FF2B5EF4-FFF2-40B4-BE49-F238E27FC236}">
                  <a16:creationId xmlns:a16="http://schemas.microsoft.com/office/drawing/2014/main" id="{E6B4B488-3AFD-575D-F956-62A509516555}"/>
                </a:ext>
              </a:extLst>
            </p:cNvPr>
            <p:cNvSpPr txBox="1">
              <a:spLocks/>
            </p:cNvSpPr>
            <p:nvPr/>
          </p:nvSpPr>
          <p:spPr>
            <a:xfrm>
              <a:off x="4871175" y="4731145"/>
              <a:ext cx="1214554" cy="123111"/>
            </a:xfrm>
            <a:prstGeom prst="rect">
              <a:avLst/>
            </a:prstGeom>
          </p:spPr>
          <p:txBody>
            <a:bodyPr vert="horz" wrap="square" lIns="0" tIns="0" rIns="0" bIns="0" rtlCol="0">
              <a:spAutoFit/>
            </a:bodyPr>
            <a:lstStyle>
              <a:lvl1pPr marL="0" indent="0" algn="l" defTabSz="1008035" rtl="0" eaLnBrk="1" latinLnBrk="0" hangingPunct="1">
                <a:lnSpc>
                  <a:spcPct val="110000"/>
                </a:lnSpc>
                <a:spcBef>
                  <a:spcPts val="0"/>
                </a:spcBef>
                <a:spcAft>
                  <a:spcPts val="0"/>
                </a:spcAft>
                <a:buFont typeface="Wingdings" pitchFamily="2" charset="2"/>
                <a:buNone/>
                <a:defRPr sz="1600" kern="2000" baseline="0">
                  <a:solidFill>
                    <a:schemeClr val="tx1"/>
                  </a:solidFill>
                  <a:latin typeface="+mn-lt"/>
                  <a:ea typeface="+mn-ea"/>
                  <a:cs typeface="+mn-cs"/>
                </a:defRPr>
              </a:lvl1pPr>
              <a:lvl2pPr marL="203200" indent="-203200"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2pPr>
              <a:lvl3pPr marL="596900" indent="-207963"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3pPr>
              <a:lvl4pPr marL="990600" indent="-184150" algn="l" defTabSz="1008035" rtl="0" eaLnBrk="1" latinLnBrk="0" hangingPunct="1">
                <a:lnSpc>
                  <a:spcPct val="110000"/>
                </a:lnSpc>
                <a:spcBef>
                  <a:spcPts val="0"/>
                </a:spcBef>
                <a:spcAft>
                  <a:spcPts val="0"/>
                </a:spcAft>
                <a:buFont typeface="Wingdings" pitchFamily="2" charset="2"/>
                <a:buChar char="§"/>
                <a:defRPr sz="1600" kern="2000" baseline="0">
                  <a:solidFill>
                    <a:schemeClr val="tx1"/>
                  </a:solidFill>
                  <a:latin typeface="+mn-lt"/>
                  <a:ea typeface="+mn-ea"/>
                  <a:cs typeface="+mn-cs"/>
                </a:defRPr>
              </a:lvl4pPr>
              <a:lvl5pPr marL="898525" indent="-196850" algn="l" defTabSz="1008035" rtl="0" eaLnBrk="1" latinLnBrk="0" hangingPunct="1">
                <a:lnSpc>
                  <a:spcPct val="110000"/>
                </a:lnSpc>
                <a:spcBef>
                  <a:spcPct val="20000"/>
                </a:spcBef>
                <a:spcAft>
                  <a:spcPts val="0"/>
                </a:spcAft>
                <a:buFont typeface="Wingdings" pitchFamily="2" charset="2"/>
                <a:buChar char="§"/>
                <a:defRPr sz="1400" kern="2000" baseline="0">
                  <a:solidFill>
                    <a:schemeClr val="tx2"/>
                  </a:solidFill>
                  <a:latin typeface="+mn-lt"/>
                  <a:ea typeface="+mn-ea"/>
                  <a:cs typeface="+mn-cs"/>
                </a:defRPr>
              </a:lvl5pPr>
              <a:lvl6pPr marL="2772095"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6112"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80130"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84147"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a:lnSpc>
                  <a:spcPct val="100000"/>
                </a:lnSpc>
                <a:defRPr/>
              </a:pPr>
              <a:r>
                <a:rPr lang="en-US" sz="800" dirty="0">
                  <a:latin typeface="Arial"/>
                </a:rPr>
                <a:t>Sales and Service</a:t>
              </a:r>
            </a:p>
          </p:txBody>
        </p:sp>
        <p:sp>
          <p:nvSpPr>
            <p:cNvPr id="2071" name="Rechteck 2070">
              <a:extLst>
                <a:ext uri="{FF2B5EF4-FFF2-40B4-BE49-F238E27FC236}">
                  <a16:creationId xmlns:a16="http://schemas.microsoft.com/office/drawing/2014/main" id="{F8ADAB84-B6E8-939A-66FD-47D3E904EC91}"/>
                </a:ext>
              </a:extLst>
            </p:cNvPr>
            <p:cNvSpPr/>
            <p:nvPr/>
          </p:nvSpPr>
          <p:spPr>
            <a:xfrm>
              <a:off x="4704237" y="4766057"/>
              <a:ext cx="86400" cy="86400"/>
            </a:xfrm>
            <a:prstGeom prst="rect">
              <a:avLst/>
            </a:prstGeom>
            <a:solidFill>
              <a:schemeClr val="accent6"/>
            </a:solidFill>
            <a:ln w="9525" cap="flat" cmpd="sng" algn="ctr">
              <a:noFill/>
              <a:prstDash val="solid"/>
            </a:ln>
            <a:effectLst/>
          </p:spPr>
          <p:txBody>
            <a:bodyPr rtlCol="0" anchor="ctr"/>
            <a:lstStyle/>
            <a:p>
              <a:pPr algn="ctr" defTabSz="914400">
                <a:defRPr/>
              </a:pPr>
              <a:endParaRPr lang="en-US" sz="800" kern="0">
                <a:latin typeface="Arial"/>
              </a:endParaRPr>
            </a:p>
          </p:txBody>
        </p:sp>
        <p:sp>
          <p:nvSpPr>
            <p:cNvPr id="2072" name="Rechteck 2071">
              <a:extLst>
                <a:ext uri="{FF2B5EF4-FFF2-40B4-BE49-F238E27FC236}">
                  <a16:creationId xmlns:a16="http://schemas.microsoft.com/office/drawing/2014/main" id="{AE2F5C88-E379-C3C0-3200-BEE8E17D0B00}"/>
                </a:ext>
              </a:extLst>
            </p:cNvPr>
            <p:cNvSpPr/>
            <p:nvPr/>
          </p:nvSpPr>
          <p:spPr>
            <a:xfrm>
              <a:off x="4704239" y="4589533"/>
              <a:ext cx="86400" cy="86400"/>
            </a:xfrm>
            <a:prstGeom prst="rect">
              <a:avLst/>
            </a:prstGeom>
            <a:solidFill>
              <a:schemeClr val="hlink"/>
            </a:solidFill>
            <a:ln w="6350" cap="flat" cmpd="sng" algn="ctr">
              <a:noFill/>
              <a:prstDash val="solid"/>
            </a:ln>
            <a:effectLst/>
          </p:spPr>
          <p:txBody>
            <a:bodyPr rtlCol="0" anchor="ctr"/>
            <a:lstStyle/>
            <a:p>
              <a:pPr algn="ctr" defTabSz="914400">
                <a:defRPr/>
              </a:pPr>
              <a:endParaRPr lang="en-US" sz="800" kern="0">
                <a:latin typeface="Arial"/>
              </a:endParaRPr>
            </a:p>
          </p:txBody>
        </p:sp>
        <p:sp>
          <p:nvSpPr>
            <p:cNvPr id="2073" name="Textplatzhalter 6">
              <a:extLst>
                <a:ext uri="{FF2B5EF4-FFF2-40B4-BE49-F238E27FC236}">
                  <a16:creationId xmlns:a16="http://schemas.microsoft.com/office/drawing/2014/main" id="{0D653C77-6F77-8FE7-234C-472D8B2D859A}"/>
                </a:ext>
              </a:extLst>
            </p:cNvPr>
            <p:cNvSpPr txBox="1">
              <a:spLocks/>
            </p:cNvSpPr>
            <p:nvPr/>
          </p:nvSpPr>
          <p:spPr>
            <a:xfrm>
              <a:off x="4871177" y="4554978"/>
              <a:ext cx="1214553" cy="123111"/>
            </a:xfrm>
            <a:prstGeom prst="rect">
              <a:avLst/>
            </a:prstGeom>
          </p:spPr>
          <p:txBody>
            <a:bodyPr vert="horz" wrap="square" lIns="0" tIns="0" rIns="0" bIns="0" rtlCol="0">
              <a:spAutoFit/>
            </a:bodyPr>
            <a:lstStyle>
              <a:lvl1pPr marL="0" indent="0" algn="l" defTabSz="1008035" rtl="0" eaLnBrk="1" latinLnBrk="0" hangingPunct="1">
                <a:lnSpc>
                  <a:spcPts val="2200"/>
                </a:lnSpc>
                <a:spcBef>
                  <a:spcPts val="0"/>
                </a:spcBef>
                <a:spcAft>
                  <a:spcPts val="1200"/>
                </a:spcAft>
                <a:buFont typeface="Wingdings" pitchFamily="2" charset="2"/>
                <a:buNone/>
                <a:defRPr sz="1600" kern="0" spc="20" baseline="0">
                  <a:solidFill>
                    <a:schemeClr val="tx1"/>
                  </a:solidFill>
                  <a:latin typeface="+mn-lt"/>
                  <a:ea typeface="+mn-ea"/>
                  <a:cs typeface="+mn-cs"/>
                </a:defRPr>
              </a:lvl1pPr>
              <a:lvl2pPr marL="203200" indent="-203200"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2pPr>
              <a:lvl3pPr marL="596900" indent="-207963"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3pPr>
              <a:lvl4pPr marL="990600" indent="-184150" algn="l" defTabSz="1008035" rtl="0" eaLnBrk="1" latinLnBrk="0" hangingPunct="1">
                <a:lnSpc>
                  <a:spcPts val="2200"/>
                </a:lnSpc>
                <a:spcBef>
                  <a:spcPts val="0"/>
                </a:spcBef>
                <a:spcAft>
                  <a:spcPts val="0"/>
                </a:spcAft>
                <a:buFont typeface="Wingdings" pitchFamily="2" charset="2"/>
                <a:buChar char="§"/>
                <a:defRPr sz="1600" kern="0" spc="20" baseline="0">
                  <a:solidFill>
                    <a:schemeClr val="tx1"/>
                  </a:solidFill>
                  <a:latin typeface="+mn-lt"/>
                  <a:ea typeface="+mn-ea"/>
                  <a:cs typeface="+mn-cs"/>
                </a:defRPr>
              </a:lvl4pPr>
              <a:lvl5pPr marL="701675" indent="0" algn="l" defTabSz="1008035" rtl="0" eaLnBrk="1" latinLnBrk="0" hangingPunct="1">
                <a:lnSpc>
                  <a:spcPct val="110000"/>
                </a:lnSpc>
                <a:spcBef>
                  <a:spcPct val="20000"/>
                </a:spcBef>
                <a:spcAft>
                  <a:spcPts val="0"/>
                </a:spcAft>
                <a:buFont typeface="Wingdings" pitchFamily="2" charset="2"/>
                <a:buNone/>
                <a:defRPr sz="1400" kern="2000" baseline="0">
                  <a:solidFill>
                    <a:schemeClr val="tx2"/>
                  </a:solidFill>
                  <a:latin typeface="+mn-lt"/>
                  <a:ea typeface="+mn-ea"/>
                  <a:cs typeface="+mn-cs"/>
                </a:defRPr>
              </a:lvl5pPr>
              <a:lvl6pPr marL="2772095"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76112"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80130"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84147" indent="-252009" algn="l" defTabSz="1008035"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defTabSz="914400">
                <a:lnSpc>
                  <a:spcPct val="100000"/>
                </a:lnSpc>
                <a:spcAft>
                  <a:spcPts val="0"/>
                </a:spcAft>
              </a:pPr>
              <a:r>
                <a:rPr lang="en-US" sz="800" spc="0" dirty="0">
                  <a:latin typeface="Arial" pitchFamily="34" charset="0"/>
                  <a:cs typeface="Arial" pitchFamily="34" charset="0"/>
                </a:rPr>
                <a:t>Production Location</a:t>
              </a:r>
            </a:p>
          </p:txBody>
        </p:sp>
      </p:grpSp>
      <p:sp>
        <p:nvSpPr>
          <p:cNvPr id="2074" name="Rechteck 2073">
            <a:extLst>
              <a:ext uri="{FF2B5EF4-FFF2-40B4-BE49-F238E27FC236}">
                <a16:creationId xmlns:a16="http://schemas.microsoft.com/office/drawing/2014/main" id="{FA375153-3E4B-D015-3351-4B2F58458D0B}"/>
              </a:ext>
            </a:extLst>
          </p:cNvPr>
          <p:cNvSpPr/>
          <p:nvPr/>
        </p:nvSpPr>
        <p:spPr>
          <a:xfrm>
            <a:off x="10205506" y="3250957"/>
            <a:ext cx="362063" cy="1834246"/>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75" name="Rechteck 2074">
            <a:extLst>
              <a:ext uri="{FF2B5EF4-FFF2-40B4-BE49-F238E27FC236}">
                <a16:creationId xmlns:a16="http://schemas.microsoft.com/office/drawing/2014/main" id="{7466A94E-0DCB-73C1-1DC1-7C3DF27CC3D0}"/>
              </a:ext>
            </a:extLst>
          </p:cNvPr>
          <p:cNvSpPr/>
          <p:nvPr/>
        </p:nvSpPr>
        <p:spPr>
          <a:xfrm>
            <a:off x="6967406" y="3262591"/>
            <a:ext cx="362063" cy="1800563"/>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76" name="Rechteck 2075">
            <a:extLst>
              <a:ext uri="{FF2B5EF4-FFF2-40B4-BE49-F238E27FC236}">
                <a16:creationId xmlns:a16="http://schemas.microsoft.com/office/drawing/2014/main" id="{D8D8B532-2F3F-E5E2-2BDE-AE2DFF15E982}"/>
              </a:ext>
            </a:extLst>
          </p:cNvPr>
          <p:cNvSpPr/>
          <p:nvPr/>
        </p:nvSpPr>
        <p:spPr>
          <a:xfrm>
            <a:off x="7613353" y="2855223"/>
            <a:ext cx="362063" cy="2229980"/>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77" name="Rechteck 2076">
            <a:extLst>
              <a:ext uri="{FF2B5EF4-FFF2-40B4-BE49-F238E27FC236}">
                <a16:creationId xmlns:a16="http://schemas.microsoft.com/office/drawing/2014/main" id="{55B1B7F1-1DD8-1A25-4BC3-1B6B27571E9E}"/>
              </a:ext>
            </a:extLst>
          </p:cNvPr>
          <p:cNvSpPr/>
          <p:nvPr/>
        </p:nvSpPr>
        <p:spPr>
          <a:xfrm>
            <a:off x="8249155" y="3247212"/>
            <a:ext cx="362063" cy="1824618"/>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78" name="Rechteck 2077">
            <a:extLst>
              <a:ext uri="{FF2B5EF4-FFF2-40B4-BE49-F238E27FC236}">
                <a16:creationId xmlns:a16="http://schemas.microsoft.com/office/drawing/2014/main" id="{C91A578D-8628-A1EE-6BE8-4ECBB9530D33}"/>
              </a:ext>
            </a:extLst>
          </p:cNvPr>
          <p:cNvSpPr/>
          <p:nvPr/>
        </p:nvSpPr>
        <p:spPr>
          <a:xfrm>
            <a:off x="8910881" y="3247211"/>
            <a:ext cx="362063" cy="1837991"/>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79" name="Rechteck 2078">
            <a:extLst>
              <a:ext uri="{FF2B5EF4-FFF2-40B4-BE49-F238E27FC236}">
                <a16:creationId xmlns:a16="http://schemas.microsoft.com/office/drawing/2014/main" id="{01E0C31A-57EC-3A8D-D759-6811CE79BF17}"/>
              </a:ext>
            </a:extLst>
          </p:cNvPr>
          <p:cNvSpPr/>
          <p:nvPr/>
        </p:nvSpPr>
        <p:spPr>
          <a:xfrm>
            <a:off x="9544025" y="2855223"/>
            <a:ext cx="362063" cy="2220049"/>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080" name="Rechteck 2079">
            <a:extLst>
              <a:ext uri="{FF2B5EF4-FFF2-40B4-BE49-F238E27FC236}">
                <a16:creationId xmlns:a16="http://schemas.microsoft.com/office/drawing/2014/main" id="{F185BB2C-30BC-F437-904D-63CF32BF62CC}"/>
              </a:ext>
            </a:extLst>
          </p:cNvPr>
          <p:cNvSpPr/>
          <p:nvPr/>
        </p:nvSpPr>
        <p:spPr>
          <a:xfrm>
            <a:off x="7002827" y="3310154"/>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WH</a:t>
            </a:r>
          </a:p>
        </p:txBody>
      </p:sp>
      <p:cxnSp>
        <p:nvCxnSpPr>
          <p:cNvPr id="2081" name="Verbinder: gewinkelt 2080">
            <a:extLst>
              <a:ext uri="{FF2B5EF4-FFF2-40B4-BE49-F238E27FC236}">
                <a16:creationId xmlns:a16="http://schemas.microsoft.com/office/drawing/2014/main" id="{C191F81B-4947-2869-A374-FD7EA5162437}"/>
              </a:ext>
            </a:extLst>
          </p:cNvPr>
          <p:cNvCxnSpPr>
            <a:cxnSpLocks/>
            <a:stCxn id="2087" idx="2"/>
            <a:endCxn id="2080" idx="0"/>
          </p:cNvCxnSpPr>
          <p:nvPr/>
        </p:nvCxnSpPr>
        <p:spPr>
          <a:xfrm rot="5400000">
            <a:off x="7083108" y="2598878"/>
            <a:ext cx="776606" cy="645947"/>
          </a:xfrm>
          <a:prstGeom prst="bentConnector3">
            <a:avLst>
              <a:gd name="adj1" fmla="val 21382"/>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82" name="Rechteck 2081">
            <a:extLst>
              <a:ext uri="{FF2B5EF4-FFF2-40B4-BE49-F238E27FC236}">
                <a16:creationId xmlns:a16="http://schemas.microsoft.com/office/drawing/2014/main" id="{50F355E8-C5C0-A57A-C82E-604C30AE206E}"/>
              </a:ext>
            </a:extLst>
          </p:cNvPr>
          <p:cNvSpPr/>
          <p:nvPr/>
        </p:nvSpPr>
        <p:spPr>
          <a:xfrm>
            <a:off x="7648774" y="2916454"/>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AT</a:t>
            </a:r>
          </a:p>
        </p:txBody>
      </p:sp>
      <p:sp>
        <p:nvSpPr>
          <p:cNvPr id="2083" name="Rechteck 2082">
            <a:extLst>
              <a:ext uri="{FF2B5EF4-FFF2-40B4-BE49-F238E27FC236}">
                <a16:creationId xmlns:a16="http://schemas.microsoft.com/office/drawing/2014/main" id="{2C3AA6AD-B32D-63FF-9529-AC1DD513A4EA}"/>
              </a:ext>
            </a:extLst>
          </p:cNvPr>
          <p:cNvSpPr/>
          <p:nvPr/>
        </p:nvSpPr>
        <p:spPr>
          <a:xfrm>
            <a:off x="8284576" y="3310154"/>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CH</a:t>
            </a:r>
          </a:p>
        </p:txBody>
      </p:sp>
      <p:sp>
        <p:nvSpPr>
          <p:cNvPr id="2084" name="Rechteck 2083">
            <a:extLst>
              <a:ext uri="{FF2B5EF4-FFF2-40B4-BE49-F238E27FC236}">
                <a16:creationId xmlns:a16="http://schemas.microsoft.com/office/drawing/2014/main" id="{BF6DAA13-FB59-97C8-2F66-04459A3D963D}"/>
              </a:ext>
            </a:extLst>
          </p:cNvPr>
          <p:cNvSpPr/>
          <p:nvPr/>
        </p:nvSpPr>
        <p:spPr>
          <a:xfrm>
            <a:off x="8946302" y="3310154"/>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LS</a:t>
            </a:r>
          </a:p>
        </p:txBody>
      </p:sp>
      <p:sp>
        <p:nvSpPr>
          <p:cNvPr id="2085" name="Rechteck 2084">
            <a:extLst>
              <a:ext uri="{FF2B5EF4-FFF2-40B4-BE49-F238E27FC236}">
                <a16:creationId xmlns:a16="http://schemas.microsoft.com/office/drawing/2014/main" id="{71D255B6-FD8F-D83D-8434-C799B8BD8EF5}"/>
              </a:ext>
            </a:extLst>
          </p:cNvPr>
          <p:cNvSpPr/>
          <p:nvPr/>
        </p:nvSpPr>
        <p:spPr>
          <a:xfrm>
            <a:off x="6941853" y="2860531"/>
            <a:ext cx="1703951" cy="742581"/>
          </a:xfrm>
          <a:prstGeom prst="rect">
            <a:avLst/>
          </a:prstGeom>
          <a:noFill/>
          <a:ln>
            <a:prstDash val="sysDot"/>
          </a:ln>
        </p:spPr>
        <p:style>
          <a:lnRef idx="2">
            <a:schemeClr val="accent5"/>
          </a:lnRef>
          <a:fillRef idx="1">
            <a:schemeClr val="lt1"/>
          </a:fillRef>
          <a:effectRef idx="0">
            <a:schemeClr val="accent5"/>
          </a:effectRef>
          <a:fontRef idx="minor">
            <a:schemeClr val="dk1"/>
          </a:fontRef>
        </p:style>
        <p:txBody>
          <a:bodyPr lIns="72000" tIns="72000" rIns="72000" bIns="72000" rtlCol="0" anchor="ctr"/>
          <a:lstStyle/>
          <a:p>
            <a:pPr algn="ctr"/>
            <a:endParaRPr lang="de-DE" err="1"/>
          </a:p>
        </p:txBody>
      </p:sp>
      <p:sp>
        <p:nvSpPr>
          <p:cNvPr id="2086" name="Rechteck 2085">
            <a:extLst>
              <a:ext uri="{FF2B5EF4-FFF2-40B4-BE49-F238E27FC236}">
                <a16:creationId xmlns:a16="http://schemas.microsoft.com/office/drawing/2014/main" id="{EC085D2D-322E-FAEA-0FF8-FA5653E1E26E}"/>
              </a:ext>
            </a:extLst>
          </p:cNvPr>
          <p:cNvSpPr/>
          <p:nvPr/>
        </p:nvSpPr>
        <p:spPr>
          <a:xfrm>
            <a:off x="8532792" y="2022873"/>
            <a:ext cx="415864" cy="24214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err="1"/>
              <a:t>ka</a:t>
            </a:r>
            <a:endParaRPr lang="de-DE" sz="800"/>
          </a:p>
        </p:txBody>
      </p:sp>
      <p:sp>
        <p:nvSpPr>
          <p:cNvPr id="2087" name="Rechteck 2086">
            <a:extLst>
              <a:ext uri="{FF2B5EF4-FFF2-40B4-BE49-F238E27FC236}">
                <a16:creationId xmlns:a16="http://schemas.microsoft.com/office/drawing/2014/main" id="{465EDE10-4A5B-73A9-418B-95B8EAC21383}"/>
              </a:ext>
            </a:extLst>
          </p:cNvPr>
          <p:cNvSpPr/>
          <p:nvPr/>
        </p:nvSpPr>
        <p:spPr>
          <a:xfrm>
            <a:off x="7586452" y="2291402"/>
            <a:ext cx="415864" cy="24214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err="1"/>
              <a:t>MTku</a:t>
            </a:r>
            <a:endParaRPr lang="de-DE" sz="800"/>
          </a:p>
        </p:txBody>
      </p:sp>
      <p:sp>
        <p:nvSpPr>
          <p:cNvPr id="2088" name="Rechteck 2087">
            <a:extLst>
              <a:ext uri="{FF2B5EF4-FFF2-40B4-BE49-F238E27FC236}">
                <a16:creationId xmlns:a16="http://schemas.microsoft.com/office/drawing/2014/main" id="{4343AE64-38CE-A163-04B9-EAC72FA273DD}"/>
              </a:ext>
            </a:extLst>
          </p:cNvPr>
          <p:cNvSpPr/>
          <p:nvPr/>
        </p:nvSpPr>
        <p:spPr>
          <a:xfrm>
            <a:off x="9517124" y="2259471"/>
            <a:ext cx="415864" cy="24214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dirty="0"/>
              <a:t>TL300bl</a:t>
            </a:r>
          </a:p>
        </p:txBody>
      </p:sp>
      <p:sp>
        <p:nvSpPr>
          <p:cNvPr id="2089" name="Rechteck 2088">
            <a:extLst>
              <a:ext uri="{FF2B5EF4-FFF2-40B4-BE49-F238E27FC236}">
                <a16:creationId xmlns:a16="http://schemas.microsoft.com/office/drawing/2014/main" id="{A749FD53-3C96-21EF-8951-95B88F880E91}"/>
              </a:ext>
            </a:extLst>
          </p:cNvPr>
          <p:cNvSpPr/>
          <p:nvPr/>
        </p:nvSpPr>
        <p:spPr>
          <a:xfrm>
            <a:off x="10477660" y="1992785"/>
            <a:ext cx="686232" cy="242146"/>
          </a:xfrm>
          <a:prstGeom prst="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a:t>SYNCHRO</a:t>
            </a:r>
            <a:br>
              <a:rPr lang="de-DE" sz="800"/>
            </a:br>
            <a:r>
              <a:rPr lang="de-DE" sz="800"/>
              <a:t>Consulting</a:t>
            </a:r>
          </a:p>
        </p:txBody>
      </p:sp>
      <p:sp>
        <p:nvSpPr>
          <p:cNvPr id="2090" name="Rechteck 2089">
            <a:extLst>
              <a:ext uri="{FF2B5EF4-FFF2-40B4-BE49-F238E27FC236}">
                <a16:creationId xmlns:a16="http://schemas.microsoft.com/office/drawing/2014/main" id="{B35EE775-8A10-D682-B3C6-631518E58EB9}"/>
              </a:ext>
            </a:extLst>
          </p:cNvPr>
          <p:cNvSpPr/>
          <p:nvPr/>
        </p:nvSpPr>
        <p:spPr>
          <a:xfrm>
            <a:off x="7005244" y="3643535"/>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FRH</a:t>
            </a:r>
          </a:p>
        </p:txBody>
      </p:sp>
      <p:sp>
        <p:nvSpPr>
          <p:cNvPr id="2091" name="Rechteck 2090">
            <a:extLst>
              <a:ext uri="{FF2B5EF4-FFF2-40B4-BE49-F238E27FC236}">
                <a16:creationId xmlns:a16="http://schemas.microsoft.com/office/drawing/2014/main" id="{B7001ECE-C89D-F24C-57DB-F848992817D9}"/>
              </a:ext>
            </a:extLst>
          </p:cNvPr>
          <p:cNvSpPr/>
          <p:nvPr/>
        </p:nvSpPr>
        <p:spPr>
          <a:xfrm>
            <a:off x="7002827" y="3916576"/>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WN</a:t>
            </a:r>
          </a:p>
        </p:txBody>
      </p:sp>
      <p:cxnSp>
        <p:nvCxnSpPr>
          <p:cNvPr id="2092" name="Verbinder: gewinkelt 2091">
            <a:extLst>
              <a:ext uri="{FF2B5EF4-FFF2-40B4-BE49-F238E27FC236}">
                <a16:creationId xmlns:a16="http://schemas.microsoft.com/office/drawing/2014/main" id="{00E08DCF-2161-D5D7-980B-DD6A77437352}"/>
              </a:ext>
            </a:extLst>
          </p:cNvPr>
          <p:cNvCxnSpPr>
            <a:cxnSpLocks/>
            <a:stCxn id="2087" idx="2"/>
            <a:endCxn id="2083" idx="0"/>
          </p:cNvCxnSpPr>
          <p:nvPr/>
        </p:nvCxnSpPr>
        <p:spPr>
          <a:xfrm rot="16200000" flipH="1">
            <a:off x="7723982" y="2603950"/>
            <a:ext cx="776606" cy="635802"/>
          </a:xfrm>
          <a:prstGeom prst="bentConnector3">
            <a:avLst>
              <a:gd name="adj1" fmla="val 20973"/>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93" name="Rechteck 2092">
            <a:extLst>
              <a:ext uri="{FF2B5EF4-FFF2-40B4-BE49-F238E27FC236}">
                <a16:creationId xmlns:a16="http://schemas.microsoft.com/office/drawing/2014/main" id="{425E0C53-F262-7972-C30A-B75C0BDB001E}"/>
              </a:ext>
            </a:extLst>
          </p:cNvPr>
          <p:cNvSpPr/>
          <p:nvPr/>
        </p:nvSpPr>
        <p:spPr>
          <a:xfrm>
            <a:off x="9579446" y="2915301"/>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dirty="0"/>
              <a:t>TLSM</a:t>
            </a:r>
          </a:p>
        </p:txBody>
      </p:sp>
      <p:sp>
        <p:nvSpPr>
          <p:cNvPr id="2094" name="Rechteck 2093">
            <a:extLst>
              <a:ext uri="{FF2B5EF4-FFF2-40B4-BE49-F238E27FC236}">
                <a16:creationId xmlns:a16="http://schemas.microsoft.com/office/drawing/2014/main" id="{9CFAA4B6-5228-67B0-2B2A-0A4ECE7EC14E}"/>
              </a:ext>
            </a:extLst>
          </p:cNvPr>
          <p:cNvSpPr/>
          <p:nvPr/>
        </p:nvSpPr>
        <p:spPr>
          <a:xfrm>
            <a:off x="10239385" y="3311810"/>
            <a:ext cx="291220" cy="242146"/>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E</a:t>
            </a:r>
          </a:p>
        </p:txBody>
      </p:sp>
      <p:sp>
        <p:nvSpPr>
          <p:cNvPr id="2095" name="Rechteck 2094">
            <a:extLst>
              <a:ext uri="{FF2B5EF4-FFF2-40B4-BE49-F238E27FC236}">
                <a16:creationId xmlns:a16="http://schemas.microsoft.com/office/drawing/2014/main" id="{261EE8D0-28AA-118A-D8D9-631F32608716}"/>
              </a:ext>
            </a:extLst>
          </p:cNvPr>
          <p:cNvSpPr/>
          <p:nvPr/>
        </p:nvSpPr>
        <p:spPr>
          <a:xfrm>
            <a:off x="7651191" y="3637987"/>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WT</a:t>
            </a:r>
          </a:p>
        </p:txBody>
      </p:sp>
      <p:sp>
        <p:nvSpPr>
          <p:cNvPr id="2096" name="Rechteck 2095">
            <a:extLst>
              <a:ext uri="{FF2B5EF4-FFF2-40B4-BE49-F238E27FC236}">
                <a16:creationId xmlns:a16="http://schemas.microsoft.com/office/drawing/2014/main" id="{80000A1C-B29C-5518-0FC4-74FEF74DADDB}"/>
              </a:ext>
            </a:extLst>
          </p:cNvPr>
          <p:cNvSpPr/>
          <p:nvPr/>
        </p:nvSpPr>
        <p:spPr>
          <a:xfrm>
            <a:off x="7648774" y="3911028"/>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ITW</a:t>
            </a:r>
          </a:p>
        </p:txBody>
      </p:sp>
      <p:sp>
        <p:nvSpPr>
          <p:cNvPr id="2097" name="Rechteck 2096">
            <a:extLst>
              <a:ext uri="{FF2B5EF4-FFF2-40B4-BE49-F238E27FC236}">
                <a16:creationId xmlns:a16="http://schemas.microsoft.com/office/drawing/2014/main" id="{5FB4117D-7C4E-B724-4B97-21A8951BC233}"/>
              </a:ext>
            </a:extLst>
          </p:cNvPr>
          <p:cNvSpPr/>
          <p:nvPr/>
        </p:nvSpPr>
        <p:spPr>
          <a:xfrm>
            <a:off x="8286993" y="3643535"/>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US</a:t>
            </a:r>
          </a:p>
        </p:txBody>
      </p:sp>
      <p:sp>
        <p:nvSpPr>
          <p:cNvPr id="2098" name="Rechteck 2097">
            <a:extLst>
              <a:ext uri="{FF2B5EF4-FFF2-40B4-BE49-F238E27FC236}">
                <a16:creationId xmlns:a16="http://schemas.microsoft.com/office/drawing/2014/main" id="{DBBBD453-C161-9A4F-F3B2-4763CCF6BCBF}"/>
              </a:ext>
            </a:extLst>
          </p:cNvPr>
          <p:cNvSpPr/>
          <p:nvPr/>
        </p:nvSpPr>
        <p:spPr>
          <a:xfrm>
            <a:off x="8284576" y="3916576"/>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CNW</a:t>
            </a:r>
          </a:p>
        </p:txBody>
      </p:sp>
      <p:sp>
        <p:nvSpPr>
          <p:cNvPr id="2099" name="Rechteck 2098">
            <a:extLst>
              <a:ext uri="{FF2B5EF4-FFF2-40B4-BE49-F238E27FC236}">
                <a16:creationId xmlns:a16="http://schemas.microsoft.com/office/drawing/2014/main" id="{F4DBDC6D-6CD2-C2FA-E10D-08CA2FCF7D6F}"/>
              </a:ext>
            </a:extLst>
          </p:cNvPr>
          <p:cNvSpPr/>
          <p:nvPr/>
        </p:nvSpPr>
        <p:spPr>
          <a:xfrm>
            <a:off x="7002827" y="4189617"/>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CZW</a:t>
            </a:r>
          </a:p>
        </p:txBody>
      </p:sp>
      <p:sp>
        <p:nvSpPr>
          <p:cNvPr id="2100" name="Rechteck 2099">
            <a:extLst>
              <a:ext uri="{FF2B5EF4-FFF2-40B4-BE49-F238E27FC236}">
                <a16:creationId xmlns:a16="http://schemas.microsoft.com/office/drawing/2014/main" id="{2B4B1623-B3F4-1F44-6003-82E05FBB5FF4}"/>
              </a:ext>
            </a:extLst>
          </p:cNvPr>
          <p:cNvSpPr/>
          <p:nvPr/>
        </p:nvSpPr>
        <p:spPr>
          <a:xfrm>
            <a:off x="10239521" y="3915439"/>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USP</a:t>
            </a:r>
          </a:p>
        </p:txBody>
      </p:sp>
      <p:sp>
        <p:nvSpPr>
          <p:cNvPr id="2101" name="Rechteck 2100">
            <a:extLst>
              <a:ext uri="{FF2B5EF4-FFF2-40B4-BE49-F238E27FC236}">
                <a16:creationId xmlns:a16="http://schemas.microsoft.com/office/drawing/2014/main" id="{333250B3-4F68-D502-B65A-CE3030FBF4F9}"/>
              </a:ext>
            </a:extLst>
          </p:cNvPr>
          <p:cNvSpPr/>
          <p:nvPr/>
        </p:nvSpPr>
        <p:spPr>
          <a:xfrm>
            <a:off x="8946302" y="3654949"/>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GBL</a:t>
            </a:r>
          </a:p>
        </p:txBody>
      </p:sp>
      <p:sp>
        <p:nvSpPr>
          <p:cNvPr id="2102" name="Rechteck 2101">
            <a:extLst>
              <a:ext uri="{FF2B5EF4-FFF2-40B4-BE49-F238E27FC236}">
                <a16:creationId xmlns:a16="http://schemas.microsoft.com/office/drawing/2014/main" id="{F950C8BC-B825-D469-24E8-FDE9A711ADD5}"/>
              </a:ext>
            </a:extLst>
          </p:cNvPr>
          <p:cNvSpPr/>
          <p:nvPr/>
        </p:nvSpPr>
        <p:spPr>
          <a:xfrm>
            <a:off x="8946302" y="3927990"/>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LA</a:t>
            </a:r>
          </a:p>
        </p:txBody>
      </p:sp>
      <p:sp>
        <p:nvSpPr>
          <p:cNvPr id="2103" name="Rechteck 2102">
            <a:extLst>
              <a:ext uri="{FF2B5EF4-FFF2-40B4-BE49-F238E27FC236}">
                <a16:creationId xmlns:a16="http://schemas.microsoft.com/office/drawing/2014/main" id="{63427EB8-5794-38E5-05DB-68355F3494C2}"/>
              </a:ext>
            </a:extLst>
          </p:cNvPr>
          <p:cNvSpPr/>
          <p:nvPr/>
        </p:nvSpPr>
        <p:spPr>
          <a:xfrm>
            <a:off x="9581863" y="3637987"/>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dirty="0"/>
              <a:t>TLD</a:t>
            </a:r>
          </a:p>
        </p:txBody>
      </p:sp>
      <p:sp>
        <p:nvSpPr>
          <p:cNvPr id="2104" name="Rechteck 2103">
            <a:extLst>
              <a:ext uri="{FF2B5EF4-FFF2-40B4-BE49-F238E27FC236}">
                <a16:creationId xmlns:a16="http://schemas.microsoft.com/office/drawing/2014/main" id="{3A6324C1-E581-F8AA-51E5-F223337D086F}"/>
              </a:ext>
            </a:extLst>
          </p:cNvPr>
          <p:cNvSpPr/>
          <p:nvPr/>
        </p:nvSpPr>
        <p:spPr>
          <a:xfrm>
            <a:off x="9579446" y="3911028"/>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ITA</a:t>
            </a:r>
          </a:p>
        </p:txBody>
      </p:sp>
      <p:sp>
        <p:nvSpPr>
          <p:cNvPr id="2105" name="Rechteck 2104">
            <a:extLst>
              <a:ext uri="{FF2B5EF4-FFF2-40B4-BE49-F238E27FC236}">
                <a16:creationId xmlns:a16="http://schemas.microsoft.com/office/drawing/2014/main" id="{4A1385FA-B2F5-F5FC-FDBE-8468C9724090}"/>
              </a:ext>
            </a:extLst>
          </p:cNvPr>
          <p:cNvSpPr/>
          <p:nvPr/>
        </p:nvSpPr>
        <p:spPr>
          <a:xfrm>
            <a:off x="10239385" y="3646344"/>
            <a:ext cx="286387"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PLE</a:t>
            </a:r>
          </a:p>
        </p:txBody>
      </p:sp>
      <p:sp>
        <p:nvSpPr>
          <p:cNvPr id="2106" name="Rechteck 2105">
            <a:extLst>
              <a:ext uri="{FF2B5EF4-FFF2-40B4-BE49-F238E27FC236}">
                <a16:creationId xmlns:a16="http://schemas.microsoft.com/office/drawing/2014/main" id="{B5727A70-E40D-D660-BAA1-397E9CABEA33}"/>
              </a:ext>
            </a:extLst>
          </p:cNvPr>
          <p:cNvSpPr/>
          <p:nvPr/>
        </p:nvSpPr>
        <p:spPr>
          <a:xfrm>
            <a:off x="6825122" y="4546654"/>
            <a:ext cx="1547168" cy="242146"/>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a:solidFill>
                  <a:schemeClr val="bg1">
                    <a:lumMod val="50000"/>
                  </a:schemeClr>
                </a:solidFill>
              </a:rPr>
              <a:t>SYNCHRO </a:t>
            </a:r>
            <a:r>
              <a:rPr lang="de-DE" sz="800" err="1">
                <a:solidFill>
                  <a:schemeClr val="bg1">
                    <a:lumMod val="50000"/>
                  </a:schemeClr>
                </a:solidFill>
              </a:rPr>
              <a:t>Specialist</a:t>
            </a:r>
            <a:r>
              <a:rPr lang="de-DE" sz="800">
                <a:solidFill>
                  <a:schemeClr val="bg1">
                    <a:lumMod val="50000"/>
                  </a:schemeClr>
                </a:solidFill>
              </a:rPr>
              <a:t> Circle</a:t>
            </a:r>
          </a:p>
        </p:txBody>
      </p:sp>
      <p:sp>
        <p:nvSpPr>
          <p:cNvPr id="2107" name="Rechteck 2106">
            <a:extLst>
              <a:ext uri="{FF2B5EF4-FFF2-40B4-BE49-F238E27FC236}">
                <a16:creationId xmlns:a16="http://schemas.microsoft.com/office/drawing/2014/main" id="{45350F54-F261-7099-3AC9-C643F038D4A0}"/>
              </a:ext>
            </a:extLst>
          </p:cNvPr>
          <p:cNvSpPr/>
          <p:nvPr/>
        </p:nvSpPr>
        <p:spPr>
          <a:xfrm>
            <a:off x="6968742" y="4762839"/>
            <a:ext cx="3598827" cy="312433"/>
          </a:xfrm>
          <a:prstGeom prst="rect">
            <a:avLst/>
          </a:prstGeom>
          <a:noFill/>
          <a:ln>
            <a:solidFill>
              <a:schemeClr val="bg1">
                <a:lumMod val="50000"/>
              </a:schemeClr>
            </a:solidFill>
            <a:prstDash val="sysDot"/>
          </a:ln>
        </p:spPr>
        <p:style>
          <a:lnRef idx="2">
            <a:schemeClr val="accent5"/>
          </a:lnRef>
          <a:fillRef idx="1">
            <a:schemeClr val="lt1"/>
          </a:fillRef>
          <a:effectRef idx="0">
            <a:schemeClr val="accent5"/>
          </a:effectRef>
          <a:fontRef idx="minor">
            <a:schemeClr val="dk1"/>
          </a:fontRef>
        </p:style>
        <p:txBody>
          <a:bodyPr lIns="72000" tIns="72000" rIns="72000" bIns="72000" rtlCol="0" anchor="ctr"/>
          <a:lstStyle/>
          <a:p>
            <a:pPr algn="ctr"/>
            <a:endParaRPr lang="de-DE" err="1"/>
          </a:p>
        </p:txBody>
      </p:sp>
      <p:sp>
        <p:nvSpPr>
          <p:cNvPr id="2108" name="Rechteck 2107">
            <a:extLst>
              <a:ext uri="{FF2B5EF4-FFF2-40B4-BE49-F238E27FC236}">
                <a16:creationId xmlns:a16="http://schemas.microsoft.com/office/drawing/2014/main" id="{860626ED-EFC3-575B-FD4E-637F8B84582F}"/>
              </a:ext>
            </a:extLst>
          </p:cNvPr>
          <p:cNvSpPr/>
          <p:nvPr/>
        </p:nvSpPr>
        <p:spPr>
          <a:xfrm>
            <a:off x="6848809" y="1940670"/>
            <a:ext cx="4394367" cy="1306542"/>
          </a:xfrm>
          <a:prstGeom prst="rect">
            <a:avLst/>
          </a:prstGeom>
          <a:noFill/>
          <a:ln>
            <a:solidFill>
              <a:schemeClr val="tx2">
                <a:lumMod val="60000"/>
                <a:lumOff val="40000"/>
              </a:schemeClr>
            </a:solidFill>
            <a:prstDash val="sysDot"/>
          </a:ln>
        </p:spPr>
        <p:style>
          <a:lnRef idx="2">
            <a:schemeClr val="accent5"/>
          </a:lnRef>
          <a:fillRef idx="1">
            <a:schemeClr val="lt1"/>
          </a:fillRef>
          <a:effectRef idx="0">
            <a:schemeClr val="accent5"/>
          </a:effectRef>
          <a:fontRef idx="minor">
            <a:schemeClr val="dk1"/>
          </a:fontRef>
        </p:style>
        <p:txBody>
          <a:bodyPr lIns="72000" tIns="72000" rIns="72000" bIns="72000" rtlCol="0" anchor="ctr"/>
          <a:lstStyle/>
          <a:p>
            <a:pPr algn="ctr"/>
            <a:endParaRPr lang="de-DE" err="1"/>
          </a:p>
        </p:txBody>
      </p:sp>
      <p:sp>
        <p:nvSpPr>
          <p:cNvPr id="2109" name="Rechteck 2108">
            <a:extLst>
              <a:ext uri="{FF2B5EF4-FFF2-40B4-BE49-F238E27FC236}">
                <a16:creationId xmlns:a16="http://schemas.microsoft.com/office/drawing/2014/main" id="{1FF396DA-8EBB-D391-72AB-D4FD0504F59D}"/>
              </a:ext>
            </a:extLst>
          </p:cNvPr>
          <p:cNvSpPr/>
          <p:nvPr/>
        </p:nvSpPr>
        <p:spPr>
          <a:xfrm>
            <a:off x="6752858" y="1690116"/>
            <a:ext cx="1528641" cy="242146"/>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1000">
                <a:solidFill>
                  <a:schemeClr val="tx2"/>
                </a:solidFill>
              </a:rPr>
              <a:t>SYNCHRO Core Team</a:t>
            </a:r>
          </a:p>
        </p:txBody>
      </p:sp>
      <p:sp>
        <p:nvSpPr>
          <p:cNvPr id="2110" name="Rechteck 2109">
            <a:extLst>
              <a:ext uri="{FF2B5EF4-FFF2-40B4-BE49-F238E27FC236}">
                <a16:creationId xmlns:a16="http://schemas.microsoft.com/office/drawing/2014/main" id="{837EB451-830A-370D-A668-2289B418EC1E}"/>
              </a:ext>
            </a:extLst>
          </p:cNvPr>
          <p:cNvSpPr/>
          <p:nvPr/>
        </p:nvSpPr>
        <p:spPr>
          <a:xfrm>
            <a:off x="10772733" y="3298217"/>
            <a:ext cx="675712" cy="374031"/>
          </a:xfrm>
          <a:prstGeom prst="rect">
            <a:avLst/>
          </a:prstGeom>
          <a:solidFill>
            <a:schemeClr val="bg2">
              <a:lumMod val="8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Plant Manager &amp; Sponsor</a:t>
            </a:r>
          </a:p>
        </p:txBody>
      </p:sp>
      <p:sp>
        <p:nvSpPr>
          <p:cNvPr id="2111" name="Rechteck 2110">
            <a:extLst>
              <a:ext uri="{FF2B5EF4-FFF2-40B4-BE49-F238E27FC236}">
                <a16:creationId xmlns:a16="http://schemas.microsoft.com/office/drawing/2014/main" id="{A8AB8A98-2F57-BF67-793E-1048BED35950}"/>
              </a:ext>
            </a:extLst>
          </p:cNvPr>
          <p:cNvSpPr/>
          <p:nvPr/>
        </p:nvSpPr>
        <p:spPr>
          <a:xfrm>
            <a:off x="10772733" y="3719758"/>
            <a:ext cx="675712"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Plant Manager</a:t>
            </a:r>
          </a:p>
        </p:txBody>
      </p:sp>
      <p:cxnSp>
        <p:nvCxnSpPr>
          <p:cNvPr id="2112" name="Verbinder: gewinkelt 2111">
            <a:extLst>
              <a:ext uri="{FF2B5EF4-FFF2-40B4-BE49-F238E27FC236}">
                <a16:creationId xmlns:a16="http://schemas.microsoft.com/office/drawing/2014/main" id="{BAD33D25-75EC-EB27-1CFB-6C571F9F5781}"/>
              </a:ext>
            </a:extLst>
          </p:cNvPr>
          <p:cNvCxnSpPr>
            <a:cxnSpLocks/>
            <a:stCxn id="2094" idx="0"/>
            <a:endCxn id="2088" idx="2"/>
          </p:cNvCxnSpPr>
          <p:nvPr/>
        </p:nvCxnSpPr>
        <p:spPr>
          <a:xfrm rot="16200000" flipV="1">
            <a:off x="9649930" y="2576744"/>
            <a:ext cx="810193" cy="659939"/>
          </a:xfrm>
          <a:prstGeom prst="bentConnector3">
            <a:avLst>
              <a:gd name="adj1" fmla="val 77824"/>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13" name="Verbinder: gewinkelt 2112">
            <a:extLst>
              <a:ext uri="{FF2B5EF4-FFF2-40B4-BE49-F238E27FC236}">
                <a16:creationId xmlns:a16="http://schemas.microsoft.com/office/drawing/2014/main" id="{D8C4598D-4E13-7210-FA68-3EFAEEFCEA4B}"/>
              </a:ext>
            </a:extLst>
          </p:cNvPr>
          <p:cNvCxnSpPr>
            <a:cxnSpLocks/>
            <a:stCxn id="2084" idx="0"/>
            <a:endCxn id="2088" idx="2"/>
          </p:cNvCxnSpPr>
          <p:nvPr/>
        </p:nvCxnSpPr>
        <p:spPr>
          <a:xfrm rot="5400000" flipH="1" flipV="1">
            <a:off x="9004216" y="2589314"/>
            <a:ext cx="808537" cy="633144"/>
          </a:xfrm>
          <a:prstGeom prst="bentConnector3">
            <a:avLst>
              <a:gd name="adj1" fmla="val 77881"/>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114" name="Rechteck 2113">
            <a:extLst>
              <a:ext uri="{FF2B5EF4-FFF2-40B4-BE49-F238E27FC236}">
                <a16:creationId xmlns:a16="http://schemas.microsoft.com/office/drawing/2014/main" id="{524984CC-A0AE-5CF9-0CAB-FCB7617C7875}"/>
              </a:ext>
            </a:extLst>
          </p:cNvPr>
          <p:cNvSpPr/>
          <p:nvPr/>
        </p:nvSpPr>
        <p:spPr>
          <a:xfrm>
            <a:off x="6377252" y="1287553"/>
            <a:ext cx="5176332" cy="339463"/>
          </a:xfrm>
          <a:custGeom>
            <a:avLst/>
            <a:gdLst>
              <a:gd name="connsiteX0" fmla="*/ 0 w 5176332"/>
              <a:gd name="connsiteY0" fmla="*/ 0 h 339463"/>
              <a:gd name="connsiteX1" fmla="*/ 647042 w 5176332"/>
              <a:gd name="connsiteY1" fmla="*/ 0 h 339463"/>
              <a:gd name="connsiteX2" fmla="*/ 1190556 w 5176332"/>
              <a:gd name="connsiteY2" fmla="*/ 0 h 339463"/>
              <a:gd name="connsiteX3" fmla="*/ 1941125 w 5176332"/>
              <a:gd name="connsiteY3" fmla="*/ 0 h 339463"/>
              <a:gd name="connsiteX4" fmla="*/ 2484639 w 5176332"/>
              <a:gd name="connsiteY4" fmla="*/ 0 h 339463"/>
              <a:gd name="connsiteX5" fmla="*/ 3183444 w 5176332"/>
              <a:gd name="connsiteY5" fmla="*/ 0 h 339463"/>
              <a:gd name="connsiteX6" fmla="*/ 3726959 w 5176332"/>
              <a:gd name="connsiteY6" fmla="*/ 0 h 339463"/>
              <a:gd name="connsiteX7" fmla="*/ 4218711 w 5176332"/>
              <a:gd name="connsiteY7" fmla="*/ 0 h 339463"/>
              <a:gd name="connsiteX8" fmla="*/ 5176332 w 5176332"/>
              <a:gd name="connsiteY8" fmla="*/ 0 h 339463"/>
              <a:gd name="connsiteX9" fmla="*/ 5176332 w 5176332"/>
              <a:gd name="connsiteY9" fmla="*/ 339463 h 339463"/>
              <a:gd name="connsiteX10" fmla="*/ 4529291 w 5176332"/>
              <a:gd name="connsiteY10" fmla="*/ 339463 h 339463"/>
              <a:gd name="connsiteX11" fmla="*/ 3934012 w 5176332"/>
              <a:gd name="connsiteY11" fmla="*/ 339463 h 339463"/>
              <a:gd name="connsiteX12" fmla="*/ 3338734 w 5176332"/>
              <a:gd name="connsiteY12" fmla="*/ 339463 h 339463"/>
              <a:gd name="connsiteX13" fmla="*/ 2846983 w 5176332"/>
              <a:gd name="connsiteY13" fmla="*/ 339463 h 339463"/>
              <a:gd name="connsiteX14" fmla="*/ 2303468 w 5176332"/>
              <a:gd name="connsiteY14" fmla="*/ 339463 h 339463"/>
              <a:gd name="connsiteX15" fmla="*/ 1604663 w 5176332"/>
              <a:gd name="connsiteY15" fmla="*/ 339463 h 339463"/>
              <a:gd name="connsiteX16" fmla="*/ 957621 w 5176332"/>
              <a:gd name="connsiteY16" fmla="*/ 339463 h 339463"/>
              <a:gd name="connsiteX17" fmla="*/ 0 w 5176332"/>
              <a:gd name="connsiteY17" fmla="*/ 339463 h 339463"/>
              <a:gd name="connsiteX18" fmla="*/ 0 w 5176332"/>
              <a:gd name="connsiteY18" fmla="*/ 0 h 33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76332" h="339463" fill="none" extrusionOk="0">
                <a:moveTo>
                  <a:pt x="0" y="0"/>
                </a:moveTo>
                <a:cubicBezTo>
                  <a:pt x="149819" y="26839"/>
                  <a:pt x="361401" y="-28263"/>
                  <a:pt x="647042" y="0"/>
                </a:cubicBezTo>
                <a:cubicBezTo>
                  <a:pt x="932683" y="28263"/>
                  <a:pt x="989844" y="23506"/>
                  <a:pt x="1190556" y="0"/>
                </a:cubicBezTo>
                <a:cubicBezTo>
                  <a:pt x="1391268" y="-23506"/>
                  <a:pt x="1750176" y="975"/>
                  <a:pt x="1941125" y="0"/>
                </a:cubicBezTo>
                <a:cubicBezTo>
                  <a:pt x="2132074" y="-975"/>
                  <a:pt x="2272768" y="-11015"/>
                  <a:pt x="2484639" y="0"/>
                </a:cubicBezTo>
                <a:cubicBezTo>
                  <a:pt x="2696510" y="11015"/>
                  <a:pt x="2884462" y="23215"/>
                  <a:pt x="3183444" y="0"/>
                </a:cubicBezTo>
                <a:cubicBezTo>
                  <a:pt x="3482426" y="-23215"/>
                  <a:pt x="3605922" y="-22452"/>
                  <a:pt x="3726959" y="0"/>
                </a:cubicBezTo>
                <a:cubicBezTo>
                  <a:pt x="3847996" y="22452"/>
                  <a:pt x="4003267" y="17000"/>
                  <a:pt x="4218711" y="0"/>
                </a:cubicBezTo>
                <a:cubicBezTo>
                  <a:pt x="4434155" y="-17000"/>
                  <a:pt x="4926161" y="-4503"/>
                  <a:pt x="5176332" y="0"/>
                </a:cubicBezTo>
                <a:cubicBezTo>
                  <a:pt x="5178940" y="85602"/>
                  <a:pt x="5183348" y="202683"/>
                  <a:pt x="5176332" y="339463"/>
                </a:cubicBezTo>
                <a:cubicBezTo>
                  <a:pt x="4967133" y="308261"/>
                  <a:pt x="4661102" y="357951"/>
                  <a:pt x="4529291" y="339463"/>
                </a:cubicBezTo>
                <a:cubicBezTo>
                  <a:pt x="4397480" y="320975"/>
                  <a:pt x="4086971" y="338266"/>
                  <a:pt x="3934012" y="339463"/>
                </a:cubicBezTo>
                <a:cubicBezTo>
                  <a:pt x="3781053" y="340660"/>
                  <a:pt x="3629345" y="358199"/>
                  <a:pt x="3338734" y="339463"/>
                </a:cubicBezTo>
                <a:cubicBezTo>
                  <a:pt x="3048123" y="320727"/>
                  <a:pt x="2999594" y="338476"/>
                  <a:pt x="2846983" y="339463"/>
                </a:cubicBezTo>
                <a:cubicBezTo>
                  <a:pt x="2694372" y="340450"/>
                  <a:pt x="2435067" y="319216"/>
                  <a:pt x="2303468" y="339463"/>
                </a:cubicBezTo>
                <a:cubicBezTo>
                  <a:pt x="2171869" y="359710"/>
                  <a:pt x="1918964" y="310640"/>
                  <a:pt x="1604663" y="339463"/>
                </a:cubicBezTo>
                <a:cubicBezTo>
                  <a:pt x="1290363" y="368286"/>
                  <a:pt x="1147123" y="369960"/>
                  <a:pt x="957621" y="339463"/>
                </a:cubicBezTo>
                <a:cubicBezTo>
                  <a:pt x="768119" y="308966"/>
                  <a:pt x="371366" y="332705"/>
                  <a:pt x="0" y="339463"/>
                </a:cubicBezTo>
                <a:cubicBezTo>
                  <a:pt x="3434" y="247812"/>
                  <a:pt x="14148" y="142328"/>
                  <a:pt x="0" y="0"/>
                </a:cubicBezTo>
                <a:close/>
              </a:path>
              <a:path w="5176332" h="339463" stroke="0" extrusionOk="0">
                <a:moveTo>
                  <a:pt x="0" y="0"/>
                </a:moveTo>
                <a:cubicBezTo>
                  <a:pt x="246021" y="-17524"/>
                  <a:pt x="351161" y="-2344"/>
                  <a:pt x="543515" y="0"/>
                </a:cubicBezTo>
                <a:cubicBezTo>
                  <a:pt x="735869" y="2344"/>
                  <a:pt x="1040088" y="-27838"/>
                  <a:pt x="1190556" y="0"/>
                </a:cubicBezTo>
                <a:cubicBezTo>
                  <a:pt x="1341024" y="27838"/>
                  <a:pt x="1520764" y="-8676"/>
                  <a:pt x="1734071" y="0"/>
                </a:cubicBezTo>
                <a:cubicBezTo>
                  <a:pt x="1947379" y="8676"/>
                  <a:pt x="2212662" y="-15182"/>
                  <a:pt x="2484639" y="0"/>
                </a:cubicBezTo>
                <a:cubicBezTo>
                  <a:pt x="2756616" y="15182"/>
                  <a:pt x="2919657" y="-15675"/>
                  <a:pt x="3183444" y="0"/>
                </a:cubicBezTo>
                <a:cubicBezTo>
                  <a:pt x="3447231" y="15675"/>
                  <a:pt x="3460396" y="16763"/>
                  <a:pt x="3675196" y="0"/>
                </a:cubicBezTo>
                <a:cubicBezTo>
                  <a:pt x="3889996" y="-16763"/>
                  <a:pt x="4155944" y="-19557"/>
                  <a:pt x="4425764" y="0"/>
                </a:cubicBezTo>
                <a:cubicBezTo>
                  <a:pt x="4695584" y="19557"/>
                  <a:pt x="4904332" y="-23034"/>
                  <a:pt x="5176332" y="0"/>
                </a:cubicBezTo>
                <a:cubicBezTo>
                  <a:pt x="5175906" y="137181"/>
                  <a:pt x="5191807" y="193732"/>
                  <a:pt x="5176332" y="339463"/>
                </a:cubicBezTo>
                <a:cubicBezTo>
                  <a:pt x="5050066" y="341940"/>
                  <a:pt x="4815343" y="329443"/>
                  <a:pt x="4684580" y="339463"/>
                </a:cubicBezTo>
                <a:cubicBezTo>
                  <a:pt x="4553817" y="349483"/>
                  <a:pt x="4310542" y="327774"/>
                  <a:pt x="4192829" y="339463"/>
                </a:cubicBezTo>
                <a:cubicBezTo>
                  <a:pt x="4075116" y="351152"/>
                  <a:pt x="3695566" y="340920"/>
                  <a:pt x="3545787" y="339463"/>
                </a:cubicBezTo>
                <a:cubicBezTo>
                  <a:pt x="3396008" y="338006"/>
                  <a:pt x="3264855" y="319648"/>
                  <a:pt x="3002273" y="339463"/>
                </a:cubicBezTo>
                <a:cubicBezTo>
                  <a:pt x="2739691" y="359278"/>
                  <a:pt x="2693290" y="328218"/>
                  <a:pt x="2458758" y="339463"/>
                </a:cubicBezTo>
                <a:cubicBezTo>
                  <a:pt x="2224227" y="350708"/>
                  <a:pt x="2133072" y="346139"/>
                  <a:pt x="1811716" y="339463"/>
                </a:cubicBezTo>
                <a:cubicBezTo>
                  <a:pt x="1490360" y="332787"/>
                  <a:pt x="1384204" y="308254"/>
                  <a:pt x="1164675" y="339463"/>
                </a:cubicBezTo>
                <a:cubicBezTo>
                  <a:pt x="945146" y="370672"/>
                  <a:pt x="747045" y="364303"/>
                  <a:pt x="569397" y="339463"/>
                </a:cubicBezTo>
                <a:cubicBezTo>
                  <a:pt x="391749" y="314623"/>
                  <a:pt x="244814" y="312885"/>
                  <a:pt x="0" y="339463"/>
                </a:cubicBezTo>
                <a:cubicBezTo>
                  <a:pt x="-14166" y="261766"/>
                  <a:pt x="-7098" y="127995"/>
                  <a:pt x="0" y="0"/>
                </a:cubicBezTo>
                <a:close/>
              </a:path>
            </a:pathLst>
          </a:custGeom>
          <a:solidFill>
            <a:schemeClr val="accent4"/>
          </a:solidFill>
          <a:ln w="12700">
            <a:solidFill>
              <a:schemeClr val="accent4"/>
            </a:solidFill>
            <a:extLst>
              <a:ext uri="{C807C97D-BFC1-408E-A445-0C87EB9F89A2}">
                <ask:lineSketchStyleProps xmlns:ask="http://schemas.microsoft.com/office/drawing/2018/sketchyshapes" sd="3844312185">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ts val="2200"/>
              </a:lnSpc>
            </a:pPr>
            <a:r>
              <a:rPr lang="en-US" sz="1200" b="1" dirty="0">
                <a:solidFill>
                  <a:schemeClr val="bg1"/>
                </a:solidFill>
              </a:rPr>
              <a:t>Vorschlag: SYNCHRO Organisationsstruktur</a:t>
            </a:r>
            <a:endParaRPr lang="en-US" sz="1200" b="1" dirty="0"/>
          </a:p>
        </p:txBody>
      </p:sp>
      <p:sp>
        <p:nvSpPr>
          <p:cNvPr id="2115" name="Rechteck 2114">
            <a:extLst>
              <a:ext uri="{FF2B5EF4-FFF2-40B4-BE49-F238E27FC236}">
                <a16:creationId xmlns:a16="http://schemas.microsoft.com/office/drawing/2014/main" id="{ED0D260B-2931-6C33-BD7A-F1E597BB3C3B}"/>
              </a:ext>
            </a:extLst>
          </p:cNvPr>
          <p:cNvSpPr/>
          <p:nvPr/>
        </p:nvSpPr>
        <p:spPr>
          <a:xfrm>
            <a:off x="6967405" y="4766583"/>
            <a:ext cx="4553847" cy="318620"/>
          </a:xfrm>
          <a:prstGeom prst="rect">
            <a:avLst/>
          </a:prstGeom>
          <a:solidFill>
            <a:schemeClr val="tx2">
              <a:lumMod val="40000"/>
              <a:lumOff val="6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116" name="Rechteck 2115">
            <a:extLst>
              <a:ext uri="{FF2B5EF4-FFF2-40B4-BE49-F238E27FC236}">
                <a16:creationId xmlns:a16="http://schemas.microsoft.com/office/drawing/2014/main" id="{930DC1E4-8424-CDF3-B736-BDB057EDD741}"/>
              </a:ext>
            </a:extLst>
          </p:cNvPr>
          <p:cNvSpPr/>
          <p:nvPr/>
        </p:nvSpPr>
        <p:spPr>
          <a:xfrm>
            <a:off x="10772733" y="4295695"/>
            <a:ext cx="675712" cy="242146"/>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SYNCHRO </a:t>
            </a:r>
            <a:r>
              <a:rPr lang="en-AU" sz="800"/>
              <a:t>Specialist</a:t>
            </a:r>
          </a:p>
        </p:txBody>
      </p:sp>
      <p:sp>
        <p:nvSpPr>
          <p:cNvPr id="2117" name="Rechteck 2116">
            <a:extLst>
              <a:ext uri="{FF2B5EF4-FFF2-40B4-BE49-F238E27FC236}">
                <a16:creationId xmlns:a16="http://schemas.microsoft.com/office/drawing/2014/main" id="{AA4E5602-E15B-D52F-9F08-8879E6C27758}"/>
              </a:ext>
            </a:extLst>
          </p:cNvPr>
          <p:cNvSpPr/>
          <p:nvPr/>
        </p:nvSpPr>
        <p:spPr>
          <a:xfrm>
            <a:off x="7028149" y="4788730"/>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18" name="Rechteck 2117">
            <a:extLst>
              <a:ext uri="{FF2B5EF4-FFF2-40B4-BE49-F238E27FC236}">
                <a16:creationId xmlns:a16="http://schemas.microsoft.com/office/drawing/2014/main" id="{D9FCB926-7FA1-AA04-5DD2-018FCBD15F8C}"/>
              </a:ext>
            </a:extLst>
          </p:cNvPr>
          <p:cNvSpPr/>
          <p:nvPr/>
        </p:nvSpPr>
        <p:spPr>
          <a:xfrm>
            <a:off x="7150668" y="4827318"/>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19" name="Rechteck 2118">
            <a:extLst>
              <a:ext uri="{FF2B5EF4-FFF2-40B4-BE49-F238E27FC236}">
                <a16:creationId xmlns:a16="http://schemas.microsoft.com/office/drawing/2014/main" id="{0DE91502-B969-C25B-1703-B17EF5F92E81}"/>
              </a:ext>
            </a:extLst>
          </p:cNvPr>
          <p:cNvSpPr/>
          <p:nvPr/>
        </p:nvSpPr>
        <p:spPr>
          <a:xfrm>
            <a:off x="10772471" y="4797451"/>
            <a:ext cx="672643" cy="242146"/>
          </a:xfrm>
          <a:prstGeom prst="rect">
            <a:avLst/>
          </a:prstGeom>
          <a:solidFill>
            <a:schemeClr val="bg1"/>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a:t>SYNCHRO</a:t>
            </a:r>
            <a:br>
              <a:rPr lang="de-DE" sz="800"/>
            </a:br>
            <a:r>
              <a:rPr lang="de-DE" sz="800"/>
              <a:t>Consulting</a:t>
            </a:r>
          </a:p>
        </p:txBody>
      </p:sp>
      <p:sp>
        <p:nvSpPr>
          <p:cNvPr id="2120" name="Rechteck 2119">
            <a:extLst>
              <a:ext uri="{FF2B5EF4-FFF2-40B4-BE49-F238E27FC236}">
                <a16:creationId xmlns:a16="http://schemas.microsoft.com/office/drawing/2014/main" id="{021ACF69-EA19-F483-F98C-A9602D0396F3}"/>
              </a:ext>
            </a:extLst>
          </p:cNvPr>
          <p:cNvSpPr/>
          <p:nvPr/>
        </p:nvSpPr>
        <p:spPr>
          <a:xfrm>
            <a:off x="8887751" y="2860355"/>
            <a:ext cx="1703951" cy="742581"/>
          </a:xfrm>
          <a:prstGeom prst="rect">
            <a:avLst/>
          </a:prstGeom>
          <a:noFill/>
          <a:ln>
            <a:prstDash val="sysDot"/>
          </a:ln>
        </p:spPr>
        <p:style>
          <a:lnRef idx="2">
            <a:schemeClr val="accent5"/>
          </a:lnRef>
          <a:fillRef idx="1">
            <a:schemeClr val="lt1"/>
          </a:fillRef>
          <a:effectRef idx="0">
            <a:schemeClr val="accent5"/>
          </a:effectRef>
          <a:fontRef idx="minor">
            <a:schemeClr val="dk1"/>
          </a:fontRef>
        </p:style>
        <p:txBody>
          <a:bodyPr lIns="72000" tIns="72000" rIns="72000" bIns="72000" rtlCol="0" anchor="ctr"/>
          <a:lstStyle/>
          <a:p>
            <a:pPr algn="ctr"/>
            <a:endParaRPr lang="de-DE" err="1"/>
          </a:p>
        </p:txBody>
      </p:sp>
      <p:sp>
        <p:nvSpPr>
          <p:cNvPr id="2121" name="Rechteck 2120">
            <a:extLst>
              <a:ext uri="{FF2B5EF4-FFF2-40B4-BE49-F238E27FC236}">
                <a16:creationId xmlns:a16="http://schemas.microsoft.com/office/drawing/2014/main" id="{11987665-F2DF-37C0-1FAD-21D2A788DA1F}"/>
              </a:ext>
            </a:extLst>
          </p:cNvPr>
          <p:cNvSpPr/>
          <p:nvPr/>
        </p:nvSpPr>
        <p:spPr>
          <a:xfrm>
            <a:off x="6420639" y="3305970"/>
            <a:ext cx="503504" cy="242146"/>
          </a:xfrm>
          <a:prstGeom prst="rect">
            <a:avLst/>
          </a:prstGeom>
          <a:no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72000" tIns="72000" rIns="72000" bIns="72000" rtlCol="0" anchor="ctr"/>
          <a:lstStyle/>
          <a:p>
            <a:pPr algn="ctr"/>
            <a:r>
              <a:rPr lang="de-DE" sz="800" dirty="0">
                <a:solidFill>
                  <a:schemeClr val="accent5"/>
                </a:solidFill>
              </a:rPr>
              <a:t>Mission</a:t>
            </a:r>
            <a:br>
              <a:rPr lang="de-DE" sz="800" dirty="0">
                <a:solidFill>
                  <a:schemeClr val="accent5"/>
                </a:solidFill>
              </a:rPr>
            </a:br>
            <a:r>
              <a:rPr lang="de-DE" sz="800" dirty="0" err="1">
                <a:solidFill>
                  <a:schemeClr val="accent5"/>
                </a:solidFill>
              </a:rPr>
              <a:t>Gemba</a:t>
            </a:r>
            <a:endParaRPr lang="de-DE" sz="800" dirty="0">
              <a:solidFill>
                <a:schemeClr val="accent5"/>
              </a:solidFill>
            </a:endParaRPr>
          </a:p>
        </p:txBody>
      </p:sp>
      <p:sp>
        <p:nvSpPr>
          <p:cNvPr id="2122" name="Rechteck 2121">
            <a:extLst>
              <a:ext uri="{FF2B5EF4-FFF2-40B4-BE49-F238E27FC236}">
                <a16:creationId xmlns:a16="http://schemas.microsoft.com/office/drawing/2014/main" id="{BFEC1A31-F49E-27D3-73CC-6AB1707B844C}"/>
              </a:ext>
            </a:extLst>
          </p:cNvPr>
          <p:cNvSpPr/>
          <p:nvPr/>
        </p:nvSpPr>
        <p:spPr>
          <a:xfrm>
            <a:off x="10772734" y="4001401"/>
            <a:ext cx="675712" cy="248827"/>
          </a:xfrm>
          <a:prstGeom prst="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de-DE" sz="800">
                <a:solidFill>
                  <a:schemeClr val="tx1"/>
                </a:solidFill>
              </a:rPr>
              <a:t>Sponsor </a:t>
            </a:r>
            <a:r>
              <a:rPr lang="de-DE" sz="800" err="1">
                <a:solidFill>
                  <a:schemeClr val="tx1"/>
                </a:solidFill>
              </a:rPr>
              <a:t>role</a:t>
            </a:r>
            <a:endParaRPr lang="de-DE" sz="800">
              <a:solidFill>
                <a:schemeClr val="tx1"/>
              </a:solidFill>
            </a:endParaRPr>
          </a:p>
        </p:txBody>
      </p:sp>
      <p:sp>
        <p:nvSpPr>
          <p:cNvPr id="2123" name="Rechteck 2122">
            <a:extLst>
              <a:ext uri="{FF2B5EF4-FFF2-40B4-BE49-F238E27FC236}">
                <a16:creationId xmlns:a16="http://schemas.microsoft.com/office/drawing/2014/main" id="{DD23A7D2-5A1E-F2B1-AB1B-1C3E072AB9B4}"/>
              </a:ext>
            </a:extLst>
          </p:cNvPr>
          <p:cNvSpPr/>
          <p:nvPr/>
        </p:nvSpPr>
        <p:spPr>
          <a:xfrm>
            <a:off x="7056518" y="4915047"/>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4" name="Rechteck 2123">
            <a:extLst>
              <a:ext uri="{FF2B5EF4-FFF2-40B4-BE49-F238E27FC236}">
                <a16:creationId xmlns:a16="http://schemas.microsoft.com/office/drawing/2014/main" id="{513095D3-F0DB-7BD5-B218-E67B4BAEE58A}"/>
              </a:ext>
            </a:extLst>
          </p:cNvPr>
          <p:cNvSpPr/>
          <p:nvPr/>
        </p:nvSpPr>
        <p:spPr>
          <a:xfrm>
            <a:off x="7179037" y="4953635"/>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5" name="Rechteck 2124">
            <a:extLst>
              <a:ext uri="{FF2B5EF4-FFF2-40B4-BE49-F238E27FC236}">
                <a16:creationId xmlns:a16="http://schemas.microsoft.com/office/drawing/2014/main" id="{993ABD9C-6A1B-EB57-4DB7-1556FC4D7DEF}"/>
              </a:ext>
            </a:extLst>
          </p:cNvPr>
          <p:cNvSpPr/>
          <p:nvPr/>
        </p:nvSpPr>
        <p:spPr>
          <a:xfrm>
            <a:off x="7699039" y="4797451"/>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6" name="Rechteck 2125">
            <a:extLst>
              <a:ext uri="{FF2B5EF4-FFF2-40B4-BE49-F238E27FC236}">
                <a16:creationId xmlns:a16="http://schemas.microsoft.com/office/drawing/2014/main" id="{49BBB375-B361-690D-215C-7E56033DFCA8}"/>
              </a:ext>
            </a:extLst>
          </p:cNvPr>
          <p:cNvSpPr/>
          <p:nvPr/>
        </p:nvSpPr>
        <p:spPr>
          <a:xfrm>
            <a:off x="7821558" y="4836039"/>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7" name="Rechteck 2126">
            <a:extLst>
              <a:ext uri="{FF2B5EF4-FFF2-40B4-BE49-F238E27FC236}">
                <a16:creationId xmlns:a16="http://schemas.microsoft.com/office/drawing/2014/main" id="{A7B7FC8B-76C7-88EC-6953-B9AB8DB307B6}"/>
              </a:ext>
            </a:extLst>
          </p:cNvPr>
          <p:cNvSpPr/>
          <p:nvPr/>
        </p:nvSpPr>
        <p:spPr>
          <a:xfrm>
            <a:off x="7727408" y="4923768"/>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8" name="Rechteck 2127">
            <a:extLst>
              <a:ext uri="{FF2B5EF4-FFF2-40B4-BE49-F238E27FC236}">
                <a16:creationId xmlns:a16="http://schemas.microsoft.com/office/drawing/2014/main" id="{EF18513A-ED09-27BA-4EEF-21ED6DFBE918}"/>
              </a:ext>
            </a:extLst>
          </p:cNvPr>
          <p:cNvSpPr/>
          <p:nvPr/>
        </p:nvSpPr>
        <p:spPr>
          <a:xfrm>
            <a:off x="7849927" y="4962356"/>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29" name="Rechteck 2128">
            <a:extLst>
              <a:ext uri="{FF2B5EF4-FFF2-40B4-BE49-F238E27FC236}">
                <a16:creationId xmlns:a16="http://schemas.microsoft.com/office/drawing/2014/main" id="{266907FA-558D-95CC-ED62-C01F3754395A}"/>
              </a:ext>
            </a:extLst>
          </p:cNvPr>
          <p:cNvSpPr/>
          <p:nvPr/>
        </p:nvSpPr>
        <p:spPr>
          <a:xfrm>
            <a:off x="8336854" y="4797451"/>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0" name="Rechteck 2129">
            <a:extLst>
              <a:ext uri="{FF2B5EF4-FFF2-40B4-BE49-F238E27FC236}">
                <a16:creationId xmlns:a16="http://schemas.microsoft.com/office/drawing/2014/main" id="{E960D355-920C-2B2B-51CA-3CCC7B4B04A0}"/>
              </a:ext>
            </a:extLst>
          </p:cNvPr>
          <p:cNvSpPr/>
          <p:nvPr/>
        </p:nvSpPr>
        <p:spPr>
          <a:xfrm>
            <a:off x="8459373" y="4836039"/>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1" name="Rechteck 2130">
            <a:extLst>
              <a:ext uri="{FF2B5EF4-FFF2-40B4-BE49-F238E27FC236}">
                <a16:creationId xmlns:a16="http://schemas.microsoft.com/office/drawing/2014/main" id="{B9F88033-328D-4F04-5269-47BF2F1F442D}"/>
              </a:ext>
            </a:extLst>
          </p:cNvPr>
          <p:cNvSpPr/>
          <p:nvPr/>
        </p:nvSpPr>
        <p:spPr>
          <a:xfrm>
            <a:off x="8365223" y="4923768"/>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2" name="Rechteck 2131">
            <a:extLst>
              <a:ext uri="{FF2B5EF4-FFF2-40B4-BE49-F238E27FC236}">
                <a16:creationId xmlns:a16="http://schemas.microsoft.com/office/drawing/2014/main" id="{28B48228-D48B-A6BF-4791-214ABC9AC88E}"/>
              </a:ext>
            </a:extLst>
          </p:cNvPr>
          <p:cNvSpPr/>
          <p:nvPr/>
        </p:nvSpPr>
        <p:spPr>
          <a:xfrm>
            <a:off x="8487742" y="4962356"/>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3" name="Rechteck 2132">
            <a:extLst>
              <a:ext uri="{FF2B5EF4-FFF2-40B4-BE49-F238E27FC236}">
                <a16:creationId xmlns:a16="http://schemas.microsoft.com/office/drawing/2014/main" id="{85B53C71-49EA-7EAD-92AA-BC3CBFE423A3}"/>
              </a:ext>
            </a:extLst>
          </p:cNvPr>
          <p:cNvSpPr/>
          <p:nvPr/>
        </p:nvSpPr>
        <p:spPr>
          <a:xfrm>
            <a:off x="8993265" y="4801196"/>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4" name="Rechteck 2133">
            <a:extLst>
              <a:ext uri="{FF2B5EF4-FFF2-40B4-BE49-F238E27FC236}">
                <a16:creationId xmlns:a16="http://schemas.microsoft.com/office/drawing/2014/main" id="{9E790BE6-5F57-AFB8-9833-FEE2EB5B7A84}"/>
              </a:ext>
            </a:extLst>
          </p:cNvPr>
          <p:cNvSpPr/>
          <p:nvPr/>
        </p:nvSpPr>
        <p:spPr>
          <a:xfrm>
            <a:off x="9115784" y="4839784"/>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5" name="Rechteck 2134">
            <a:extLst>
              <a:ext uri="{FF2B5EF4-FFF2-40B4-BE49-F238E27FC236}">
                <a16:creationId xmlns:a16="http://schemas.microsoft.com/office/drawing/2014/main" id="{4B71CE5E-24ED-7A24-00E9-2D07577EAFA0}"/>
              </a:ext>
            </a:extLst>
          </p:cNvPr>
          <p:cNvSpPr/>
          <p:nvPr/>
        </p:nvSpPr>
        <p:spPr>
          <a:xfrm>
            <a:off x="9021634" y="4927513"/>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6" name="Rechteck 2135">
            <a:extLst>
              <a:ext uri="{FF2B5EF4-FFF2-40B4-BE49-F238E27FC236}">
                <a16:creationId xmlns:a16="http://schemas.microsoft.com/office/drawing/2014/main" id="{D89E8F6C-06D0-D3CA-58F7-218EFA3FC897}"/>
              </a:ext>
            </a:extLst>
          </p:cNvPr>
          <p:cNvSpPr/>
          <p:nvPr/>
        </p:nvSpPr>
        <p:spPr>
          <a:xfrm>
            <a:off x="9144153" y="4966101"/>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7" name="Rechteck 2136">
            <a:extLst>
              <a:ext uri="{FF2B5EF4-FFF2-40B4-BE49-F238E27FC236}">
                <a16:creationId xmlns:a16="http://schemas.microsoft.com/office/drawing/2014/main" id="{A8B3E80E-F33E-25E4-C881-D46EDF9FE8F0}"/>
              </a:ext>
            </a:extLst>
          </p:cNvPr>
          <p:cNvSpPr/>
          <p:nvPr/>
        </p:nvSpPr>
        <p:spPr>
          <a:xfrm>
            <a:off x="9633149" y="4801196"/>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8" name="Rechteck 2137">
            <a:extLst>
              <a:ext uri="{FF2B5EF4-FFF2-40B4-BE49-F238E27FC236}">
                <a16:creationId xmlns:a16="http://schemas.microsoft.com/office/drawing/2014/main" id="{0182EA34-92CD-4D71-5E84-B87322C34E63}"/>
              </a:ext>
            </a:extLst>
          </p:cNvPr>
          <p:cNvSpPr/>
          <p:nvPr/>
        </p:nvSpPr>
        <p:spPr>
          <a:xfrm>
            <a:off x="9755668" y="4839784"/>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39" name="Rechteck 2138">
            <a:extLst>
              <a:ext uri="{FF2B5EF4-FFF2-40B4-BE49-F238E27FC236}">
                <a16:creationId xmlns:a16="http://schemas.microsoft.com/office/drawing/2014/main" id="{03F42956-890A-A28F-3AF9-DF1E8BA1353F}"/>
              </a:ext>
            </a:extLst>
          </p:cNvPr>
          <p:cNvSpPr/>
          <p:nvPr/>
        </p:nvSpPr>
        <p:spPr>
          <a:xfrm>
            <a:off x="9661518" y="4927513"/>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0" name="Rechteck 2139">
            <a:extLst>
              <a:ext uri="{FF2B5EF4-FFF2-40B4-BE49-F238E27FC236}">
                <a16:creationId xmlns:a16="http://schemas.microsoft.com/office/drawing/2014/main" id="{92E43BD0-8C52-B65A-0085-0FF0BFFB03F1}"/>
              </a:ext>
            </a:extLst>
          </p:cNvPr>
          <p:cNvSpPr/>
          <p:nvPr/>
        </p:nvSpPr>
        <p:spPr>
          <a:xfrm>
            <a:off x="9784037" y="4966101"/>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1" name="Rechteck 2140">
            <a:extLst>
              <a:ext uri="{FF2B5EF4-FFF2-40B4-BE49-F238E27FC236}">
                <a16:creationId xmlns:a16="http://schemas.microsoft.com/office/drawing/2014/main" id="{F377BC5D-1F83-5A58-FF3E-68822ED7942E}"/>
              </a:ext>
            </a:extLst>
          </p:cNvPr>
          <p:cNvSpPr/>
          <p:nvPr/>
        </p:nvSpPr>
        <p:spPr>
          <a:xfrm>
            <a:off x="10291336" y="4810309"/>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2" name="Rechteck 2141">
            <a:extLst>
              <a:ext uri="{FF2B5EF4-FFF2-40B4-BE49-F238E27FC236}">
                <a16:creationId xmlns:a16="http://schemas.microsoft.com/office/drawing/2014/main" id="{D1DB073A-BF2D-7A8F-6146-78488CD27117}"/>
              </a:ext>
            </a:extLst>
          </p:cNvPr>
          <p:cNvSpPr/>
          <p:nvPr/>
        </p:nvSpPr>
        <p:spPr>
          <a:xfrm>
            <a:off x="10413855" y="4848897"/>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3" name="Rechteck 2142">
            <a:extLst>
              <a:ext uri="{FF2B5EF4-FFF2-40B4-BE49-F238E27FC236}">
                <a16:creationId xmlns:a16="http://schemas.microsoft.com/office/drawing/2014/main" id="{0410C3D1-DC4E-A32F-FB3E-6C06309403EC}"/>
              </a:ext>
            </a:extLst>
          </p:cNvPr>
          <p:cNvSpPr/>
          <p:nvPr/>
        </p:nvSpPr>
        <p:spPr>
          <a:xfrm>
            <a:off x="10319705" y="4936626"/>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4" name="Rechteck 2143">
            <a:extLst>
              <a:ext uri="{FF2B5EF4-FFF2-40B4-BE49-F238E27FC236}">
                <a16:creationId xmlns:a16="http://schemas.microsoft.com/office/drawing/2014/main" id="{B9E7C6F1-87DF-E1DA-5839-2CE9592216AE}"/>
              </a:ext>
            </a:extLst>
          </p:cNvPr>
          <p:cNvSpPr/>
          <p:nvPr/>
        </p:nvSpPr>
        <p:spPr>
          <a:xfrm>
            <a:off x="10442224" y="4975214"/>
            <a:ext cx="70872" cy="82142"/>
          </a:xfrm>
          <a:prstGeom prst="rect">
            <a:avLst/>
          </a:prstGeom>
          <a:solidFill>
            <a:schemeClr val="tx2">
              <a:lumMod val="20000"/>
              <a:lumOff val="80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endParaRPr lang="en-AU" sz="800"/>
          </a:p>
        </p:txBody>
      </p:sp>
      <p:sp>
        <p:nvSpPr>
          <p:cNvPr id="2145" name="MIO_TEXTBOX_BODY">
            <a:extLst>
              <a:ext uri="{FF2B5EF4-FFF2-40B4-BE49-F238E27FC236}">
                <a16:creationId xmlns:a16="http://schemas.microsoft.com/office/drawing/2014/main" id="{0E2F3F45-3062-63ED-091F-CB285FCB834A}"/>
              </a:ext>
            </a:extLst>
          </p:cNvPr>
          <p:cNvSpPr txBox="1">
            <a:spLocks/>
          </p:cNvSpPr>
          <p:nvPr/>
        </p:nvSpPr>
        <p:spPr>
          <a:xfrm>
            <a:off x="6449633" y="5286960"/>
            <a:ext cx="5144001" cy="615553"/>
          </a:xfrm>
          <a:prstGeom prst="rect">
            <a:avLst/>
          </a:prstGeom>
          <a:solidFill>
            <a:schemeClr val="bg1"/>
          </a:solidFill>
        </p:spPr>
        <p:txBody>
          <a:bodyPr wrap="square" lIns="0" tIns="0" rIns="0" bIns="0" rtlCol="0">
            <a:spAutoFit/>
          </a:bodyPr>
          <a:lstStyle>
            <a:defPPr>
              <a:defRPr lang="de-DE"/>
            </a:defPPr>
            <a:lvl1pPr marL="171450" indent="-171450">
              <a:buFont typeface="Wingdings" panose="05000000000000000000" pitchFamily="2" charset="2"/>
              <a:buChar char="§"/>
              <a:defRPr sz="1000"/>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r>
              <a:rPr lang="de-DE" dirty="0"/>
              <a:t>Neue Formate: </a:t>
            </a:r>
            <a:r>
              <a:rPr lang="de-DE" b="1" dirty="0"/>
              <a:t>SYNCHRO Kernteam</a:t>
            </a:r>
            <a:r>
              <a:rPr lang="de-DE" dirty="0"/>
              <a:t>, Werkspate aus einem reifen </a:t>
            </a:r>
            <a:r>
              <a:rPr lang="de-DE" b="1" dirty="0"/>
              <a:t>SYNCHRO Werk </a:t>
            </a:r>
            <a:r>
              <a:rPr lang="de-DE" dirty="0"/>
              <a:t>für jedes Werk</a:t>
            </a:r>
            <a:endParaRPr lang="en-US" dirty="0"/>
          </a:p>
          <a:p>
            <a:r>
              <a:rPr lang="de-DE" dirty="0"/>
              <a:t>Bestehende Formate: </a:t>
            </a:r>
            <a:r>
              <a:rPr lang="de-DE" b="1" dirty="0"/>
              <a:t>SYNCHRO Fachkreis</a:t>
            </a:r>
            <a:r>
              <a:rPr lang="de-DE" dirty="0"/>
              <a:t>, werksspezifischer Austausch, z.B. </a:t>
            </a:r>
            <a:r>
              <a:rPr lang="de-DE" b="1" dirty="0"/>
              <a:t>Mission Gemba</a:t>
            </a:r>
            <a:endParaRPr lang="en-US" b="1" dirty="0"/>
          </a:p>
        </p:txBody>
      </p:sp>
      <p:sp>
        <p:nvSpPr>
          <p:cNvPr id="2146" name="Rechteck 2145">
            <a:extLst>
              <a:ext uri="{FF2B5EF4-FFF2-40B4-BE49-F238E27FC236}">
                <a16:creationId xmlns:a16="http://schemas.microsoft.com/office/drawing/2014/main" id="{E492EFD2-A44E-081F-6848-D90871637C1B}"/>
              </a:ext>
            </a:extLst>
          </p:cNvPr>
          <p:cNvSpPr/>
          <p:nvPr/>
        </p:nvSpPr>
        <p:spPr>
          <a:xfrm>
            <a:off x="8946302" y="4211631"/>
            <a:ext cx="291220" cy="242146"/>
          </a:xfrm>
          <a:prstGeom prst="rect">
            <a:avLst/>
          </a:prstGeom>
          <a:solidFill>
            <a:schemeClr val="bg2">
              <a:lumMod val="95000"/>
            </a:schemeClr>
          </a:solid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lIns="0" tIns="0" rIns="0" bIns="0" rtlCol="0" anchor="ctr"/>
          <a:lstStyle/>
          <a:p>
            <a:pPr algn="ctr"/>
            <a:r>
              <a:rPr lang="de-DE" sz="800"/>
              <a:t>TCNL</a:t>
            </a:r>
          </a:p>
        </p:txBody>
      </p:sp>
      <p:cxnSp>
        <p:nvCxnSpPr>
          <p:cNvPr id="2147" name="Gerader Verbinder 2146">
            <a:extLst>
              <a:ext uri="{FF2B5EF4-FFF2-40B4-BE49-F238E27FC236}">
                <a16:creationId xmlns:a16="http://schemas.microsoft.com/office/drawing/2014/main" id="{E00B0222-10FB-3C37-6440-C5F9F34BE9D3}"/>
              </a:ext>
            </a:extLst>
          </p:cNvPr>
          <p:cNvCxnSpPr>
            <a:cxnSpLocks/>
            <a:stCxn id="2088" idx="2"/>
            <a:endCxn id="2093" idx="0"/>
          </p:cNvCxnSpPr>
          <p:nvPr/>
        </p:nvCxnSpPr>
        <p:spPr>
          <a:xfrm>
            <a:off x="9725056" y="2501617"/>
            <a:ext cx="0" cy="413684"/>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148" name="Gerader Verbinder 2147">
            <a:extLst>
              <a:ext uri="{FF2B5EF4-FFF2-40B4-BE49-F238E27FC236}">
                <a16:creationId xmlns:a16="http://schemas.microsoft.com/office/drawing/2014/main" id="{F132E870-BBB3-837F-90ED-1675117D3543}"/>
              </a:ext>
            </a:extLst>
          </p:cNvPr>
          <p:cNvCxnSpPr>
            <a:cxnSpLocks/>
            <a:stCxn id="2087" idx="2"/>
            <a:endCxn id="2082" idx="0"/>
          </p:cNvCxnSpPr>
          <p:nvPr/>
        </p:nvCxnSpPr>
        <p:spPr>
          <a:xfrm>
            <a:off x="7794384" y="2533548"/>
            <a:ext cx="0" cy="382906"/>
          </a:xfrm>
          <a:prstGeom prst="line">
            <a:avLst/>
          </a:prstGeom>
          <a:ln w="12700">
            <a:solidFill>
              <a:schemeClr val="tx1">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3074" name="Picture 2" descr="Bilder und Videos suchen: exposee">
            <a:extLst>
              <a:ext uri="{FF2B5EF4-FFF2-40B4-BE49-F238E27FC236}">
                <a16:creationId xmlns:a16="http://schemas.microsoft.com/office/drawing/2014/main" id="{3A5C4C97-D039-7E95-CEF4-DB8C9534BEBD}"/>
              </a:ext>
            </a:extLst>
          </p:cNvPr>
          <p:cNvPicPr>
            <a:picLocks noChangeAspect="1" noChangeArrowheads="1"/>
          </p:cNvPicPr>
          <p:nvPr/>
        </p:nvPicPr>
        <p:blipFill>
          <a:blip r:embed="rId3">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264831">
            <a:off x="10784520" y="655671"/>
            <a:ext cx="1340517" cy="8814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008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7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7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7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07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7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7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8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8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8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8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8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8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08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8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8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8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9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9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9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09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09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09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09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09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09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09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10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10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10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10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10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10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106"/>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107"/>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2108"/>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2109"/>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2110"/>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2111"/>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211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211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114"/>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2115"/>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116"/>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117"/>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2118"/>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11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2120"/>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2122"/>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2123"/>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2124"/>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2125"/>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2126"/>
                                        </p:tgtEl>
                                        <p:attrNameLst>
                                          <p:attrName>style.visibility</p:attrName>
                                        </p:attrNameLst>
                                      </p:cBhvr>
                                      <p:to>
                                        <p:strVal val="visible"/>
                                      </p:to>
                                    </p:set>
                                  </p:childTnLst>
                                </p:cTn>
                              </p:par>
                              <p:par>
                                <p:cTn id="109" presetID="1" presetClass="entr" presetSubtype="0" fill="hold" grpId="0" nodeType="withEffect">
                                  <p:stCondLst>
                                    <p:cond delay="0"/>
                                  </p:stCondLst>
                                  <p:childTnLst>
                                    <p:set>
                                      <p:cBhvr>
                                        <p:cTn id="110" dur="1" fill="hold">
                                          <p:stCondLst>
                                            <p:cond delay="0"/>
                                          </p:stCondLst>
                                        </p:cTn>
                                        <p:tgtEl>
                                          <p:spTgt spid="2127"/>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2128"/>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2129"/>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2130"/>
                                        </p:tgtEl>
                                        <p:attrNameLst>
                                          <p:attrName>style.visibility</p:attrName>
                                        </p:attrNameLst>
                                      </p:cBhvr>
                                      <p:to>
                                        <p:strVal val="visible"/>
                                      </p:to>
                                    </p:set>
                                  </p:childTnLst>
                                </p:cTn>
                              </p:par>
                              <p:par>
                                <p:cTn id="117" presetID="1" presetClass="entr" presetSubtype="0" fill="hold" grpId="0" nodeType="withEffect">
                                  <p:stCondLst>
                                    <p:cond delay="0"/>
                                  </p:stCondLst>
                                  <p:childTnLst>
                                    <p:set>
                                      <p:cBhvr>
                                        <p:cTn id="118" dur="1" fill="hold">
                                          <p:stCondLst>
                                            <p:cond delay="0"/>
                                          </p:stCondLst>
                                        </p:cTn>
                                        <p:tgtEl>
                                          <p:spTgt spid="2131"/>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2132"/>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2133"/>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2134"/>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2135"/>
                                        </p:tgtEl>
                                        <p:attrNameLst>
                                          <p:attrName>style.visibility</p:attrName>
                                        </p:attrNameLst>
                                      </p:cBhvr>
                                      <p:to>
                                        <p:strVal val="visible"/>
                                      </p:to>
                                    </p:set>
                                  </p:childTnLst>
                                </p:cTn>
                              </p:par>
                              <p:par>
                                <p:cTn id="127" presetID="1" presetClass="entr" presetSubtype="0" fill="hold" grpId="0" nodeType="withEffect">
                                  <p:stCondLst>
                                    <p:cond delay="0"/>
                                  </p:stCondLst>
                                  <p:childTnLst>
                                    <p:set>
                                      <p:cBhvr>
                                        <p:cTn id="128" dur="1" fill="hold">
                                          <p:stCondLst>
                                            <p:cond delay="0"/>
                                          </p:stCondLst>
                                        </p:cTn>
                                        <p:tgtEl>
                                          <p:spTgt spid="2136"/>
                                        </p:tgtEl>
                                        <p:attrNameLst>
                                          <p:attrName>style.visibility</p:attrName>
                                        </p:attrNameLst>
                                      </p:cBhvr>
                                      <p:to>
                                        <p:strVal val="visible"/>
                                      </p:to>
                                    </p:set>
                                  </p:childTnLst>
                                </p:cTn>
                              </p:par>
                              <p:par>
                                <p:cTn id="129" presetID="1" presetClass="entr" presetSubtype="0" fill="hold" grpId="0" nodeType="withEffect">
                                  <p:stCondLst>
                                    <p:cond delay="0"/>
                                  </p:stCondLst>
                                  <p:childTnLst>
                                    <p:set>
                                      <p:cBhvr>
                                        <p:cTn id="130" dur="1" fill="hold">
                                          <p:stCondLst>
                                            <p:cond delay="0"/>
                                          </p:stCondLst>
                                        </p:cTn>
                                        <p:tgtEl>
                                          <p:spTgt spid="2137"/>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2138"/>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2139"/>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2140"/>
                                        </p:tgtEl>
                                        <p:attrNameLst>
                                          <p:attrName>style.visibility</p:attrName>
                                        </p:attrNameLst>
                                      </p:cBhvr>
                                      <p:to>
                                        <p:strVal val="visible"/>
                                      </p:to>
                                    </p:set>
                                  </p:childTnLst>
                                </p:cTn>
                              </p:par>
                              <p:par>
                                <p:cTn id="137" presetID="1" presetClass="entr" presetSubtype="0" fill="hold" grpId="0" nodeType="withEffect">
                                  <p:stCondLst>
                                    <p:cond delay="0"/>
                                  </p:stCondLst>
                                  <p:childTnLst>
                                    <p:set>
                                      <p:cBhvr>
                                        <p:cTn id="138" dur="1" fill="hold">
                                          <p:stCondLst>
                                            <p:cond delay="0"/>
                                          </p:stCondLst>
                                        </p:cTn>
                                        <p:tgtEl>
                                          <p:spTgt spid="2141"/>
                                        </p:tgtEl>
                                        <p:attrNameLst>
                                          <p:attrName>style.visibility</p:attrName>
                                        </p:attrNameLst>
                                      </p:cBhvr>
                                      <p:to>
                                        <p:strVal val="visible"/>
                                      </p:to>
                                    </p:set>
                                  </p:childTnLst>
                                </p:cTn>
                              </p:par>
                              <p:par>
                                <p:cTn id="139" presetID="1" presetClass="entr" presetSubtype="0" fill="hold" grpId="0" nodeType="withEffect">
                                  <p:stCondLst>
                                    <p:cond delay="0"/>
                                  </p:stCondLst>
                                  <p:childTnLst>
                                    <p:set>
                                      <p:cBhvr>
                                        <p:cTn id="140" dur="1" fill="hold">
                                          <p:stCondLst>
                                            <p:cond delay="0"/>
                                          </p:stCondLst>
                                        </p:cTn>
                                        <p:tgtEl>
                                          <p:spTgt spid="2142"/>
                                        </p:tgtEl>
                                        <p:attrNameLst>
                                          <p:attrName>style.visibility</p:attrName>
                                        </p:attrNameLst>
                                      </p:cBhvr>
                                      <p:to>
                                        <p:strVal val="visible"/>
                                      </p:to>
                                    </p:set>
                                  </p:childTnLst>
                                </p:cTn>
                              </p:par>
                              <p:par>
                                <p:cTn id="141" presetID="1" presetClass="entr" presetSubtype="0" fill="hold" grpId="0" nodeType="withEffect">
                                  <p:stCondLst>
                                    <p:cond delay="0"/>
                                  </p:stCondLst>
                                  <p:childTnLst>
                                    <p:set>
                                      <p:cBhvr>
                                        <p:cTn id="142" dur="1" fill="hold">
                                          <p:stCondLst>
                                            <p:cond delay="0"/>
                                          </p:stCondLst>
                                        </p:cTn>
                                        <p:tgtEl>
                                          <p:spTgt spid="2143"/>
                                        </p:tgtEl>
                                        <p:attrNameLst>
                                          <p:attrName>style.visibility</p:attrName>
                                        </p:attrNameLst>
                                      </p:cBhvr>
                                      <p:to>
                                        <p:strVal val="visible"/>
                                      </p:to>
                                    </p:set>
                                  </p:childTnLst>
                                </p:cTn>
                              </p:par>
                              <p:par>
                                <p:cTn id="143" presetID="1" presetClass="entr" presetSubtype="0" fill="hold" grpId="0" nodeType="withEffect">
                                  <p:stCondLst>
                                    <p:cond delay="0"/>
                                  </p:stCondLst>
                                  <p:childTnLst>
                                    <p:set>
                                      <p:cBhvr>
                                        <p:cTn id="144" dur="1" fill="hold">
                                          <p:stCondLst>
                                            <p:cond delay="0"/>
                                          </p:stCondLst>
                                        </p:cTn>
                                        <p:tgtEl>
                                          <p:spTgt spid="2144"/>
                                        </p:tgtEl>
                                        <p:attrNameLst>
                                          <p:attrName>style.visibility</p:attrName>
                                        </p:attrNameLst>
                                      </p:cBhvr>
                                      <p:to>
                                        <p:strVal val="visible"/>
                                      </p:to>
                                    </p:set>
                                  </p:childTnLst>
                                </p:cTn>
                              </p:par>
                              <p:par>
                                <p:cTn id="145" presetID="1" presetClass="entr" presetSubtype="0" fill="hold" grpId="0" nodeType="withEffect">
                                  <p:stCondLst>
                                    <p:cond delay="0"/>
                                  </p:stCondLst>
                                  <p:childTnLst>
                                    <p:set>
                                      <p:cBhvr>
                                        <p:cTn id="146" dur="1" fill="hold">
                                          <p:stCondLst>
                                            <p:cond delay="0"/>
                                          </p:stCondLst>
                                        </p:cTn>
                                        <p:tgtEl>
                                          <p:spTgt spid="2145"/>
                                        </p:tgtEl>
                                        <p:attrNameLst>
                                          <p:attrName>style.visibility</p:attrName>
                                        </p:attrNameLst>
                                      </p:cBhvr>
                                      <p:to>
                                        <p:strVal val="visible"/>
                                      </p:to>
                                    </p:set>
                                  </p:childTnLst>
                                </p:cTn>
                              </p:par>
                              <p:par>
                                <p:cTn id="147" presetID="1" presetClass="entr" presetSubtype="0" fill="hold" grpId="0" nodeType="withEffect">
                                  <p:stCondLst>
                                    <p:cond delay="0"/>
                                  </p:stCondLst>
                                  <p:childTnLst>
                                    <p:set>
                                      <p:cBhvr>
                                        <p:cTn id="148" dur="1" fill="hold">
                                          <p:stCondLst>
                                            <p:cond delay="0"/>
                                          </p:stCondLst>
                                        </p:cTn>
                                        <p:tgtEl>
                                          <p:spTgt spid="2146"/>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2121"/>
                                        </p:tgtEl>
                                        <p:attrNameLst>
                                          <p:attrName>style.visibility</p:attrName>
                                        </p:attrNameLst>
                                      </p:cBhvr>
                                      <p:to>
                                        <p:strVal val="visible"/>
                                      </p:to>
                                    </p:set>
                                  </p:childTnLst>
                                </p:cTn>
                              </p:par>
                              <p:par>
                                <p:cTn id="151" presetID="1" presetClass="entr" presetSubtype="0" fill="hold" nodeType="withEffect">
                                  <p:stCondLst>
                                    <p:cond delay="0"/>
                                  </p:stCondLst>
                                  <p:childTnLst>
                                    <p:set>
                                      <p:cBhvr>
                                        <p:cTn id="152" dur="1" fill="hold">
                                          <p:stCondLst>
                                            <p:cond delay="0"/>
                                          </p:stCondLst>
                                        </p:cTn>
                                        <p:tgtEl>
                                          <p:spTgt spid="2148"/>
                                        </p:tgtEl>
                                        <p:attrNameLst>
                                          <p:attrName>style.visibility</p:attrName>
                                        </p:attrNameLst>
                                      </p:cBhvr>
                                      <p:to>
                                        <p:strVal val="visible"/>
                                      </p:to>
                                    </p:set>
                                  </p:childTnLst>
                                </p:cTn>
                              </p:par>
                              <p:par>
                                <p:cTn id="153" presetID="1" presetClass="entr" presetSubtype="0" fill="hold" nodeType="withEffect">
                                  <p:stCondLst>
                                    <p:cond delay="0"/>
                                  </p:stCondLst>
                                  <p:childTnLst>
                                    <p:set>
                                      <p:cBhvr>
                                        <p:cTn id="154" dur="1" fill="hold">
                                          <p:stCondLst>
                                            <p:cond delay="0"/>
                                          </p:stCondLst>
                                        </p:cTn>
                                        <p:tgtEl>
                                          <p:spTgt spid="2147"/>
                                        </p:tgtEl>
                                        <p:attrNameLst>
                                          <p:attrName>style.visibility</p:attrName>
                                        </p:attrNameLst>
                                      </p:cBhvr>
                                      <p:to>
                                        <p:strVal val="visible"/>
                                      </p:to>
                                    </p:se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nodeType="clickEffect">
                                  <p:stCondLst>
                                    <p:cond delay="0"/>
                                  </p:stCondLst>
                                  <p:childTnLst>
                                    <p:set>
                                      <p:cBhvr>
                                        <p:cTn id="158"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74" grpId="0" animBg="1"/>
      <p:bldP spid="2075" grpId="0" animBg="1"/>
      <p:bldP spid="2076" grpId="0" animBg="1"/>
      <p:bldP spid="2077" grpId="0" animBg="1"/>
      <p:bldP spid="2078" grpId="0" animBg="1"/>
      <p:bldP spid="2079" grpId="0" animBg="1"/>
      <p:bldP spid="2080" grpId="0" animBg="1"/>
      <p:bldP spid="2082" grpId="0" animBg="1"/>
      <p:bldP spid="2083" grpId="0" animBg="1"/>
      <p:bldP spid="2084" grpId="0" animBg="1"/>
      <p:bldP spid="2085" grpId="0" animBg="1"/>
      <p:bldP spid="2086" grpId="0" animBg="1"/>
      <p:bldP spid="2087" grpId="0" animBg="1"/>
      <p:bldP spid="2088" grpId="0" animBg="1"/>
      <p:bldP spid="2089" grpId="0" animBg="1"/>
      <p:bldP spid="2090" grpId="0" animBg="1"/>
      <p:bldP spid="2091" grpId="0" animBg="1"/>
      <p:bldP spid="2093" grpId="0" animBg="1"/>
      <p:bldP spid="2094" grpId="0" animBg="1"/>
      <p:bldP spid="2095" grpId="0" animBg="1"/>
      <p:bldP spid="2096" grpId="0" animBg="1"/>
      <p:bldP spid="2097" grpId="0" animBg="1"/>
      <p:bldP spid="2098" grpId="0" animBg="1"/>
      <p:bldP spid="2099" grpId="0" animBg="1"/>
      <p:bldP spid="2100" grpId="0" animBg="1"/>
      <p:bldP spid="2101" grpId="0" animBg="1"/>
      <p:bldP spid="2102" grpId="0" animBg="1"/>
      <p:bldP spid="2103" grpId="0" animBg="1"/>
      <p:bldP spid="2104" grpId="0" animBg="1"/>
      <p:bldP spid="2105" grpId="0" animBg="1"/>
      <p:bldP spid="2106" grpId="0"/>
      <p:bldP spid="2107" grpId="0" animBg="1"/>
      <p:bldP spid="2108" grpId="0" animBg="1"/>
      <p:bldP spid="2109" grpId="0"/>
      <p:bldP spid="2110" grpId="0" animBg="1"/>
      <p:bldP spid="2111" grpId="0" animBg="1"/>
      <p:bldP spid="2114" grpId="0" animBg="1"/>
      <p:bldP spid="2115" grpId="0" animBg="1"/>
      <p:bldP spid="2116" grpId="0" animBg="1"/>
      <p:bldP spid="2117" grpId="0" animBg="1"/>
      <p:bldP spid="2118" grpId="0" animBg="1"/>
      <p:bldP spid="2119" grpId="0" animBg="1"/>
      <p:bldP spid="2120" grpId="0" animBg="1"/>
      <p:bldP spid="2121" grpId="0"/>
      <p:bldP spid="2122" grpId="0" animBg="1"/>
      <p:bldP spid="2123" grpId="0" animBg="1"/>
      <p:bldP spid="2124" grpId="0" animBg="1"/>
      <p:bldP spid="2125" grpId="0" animBg="1"/>
      <p:bldP spid="2126" grpId="0" animBg="1"/>
      <p:bldP spid="2127" grpId="0" animBg="1"/>
      <p:bldP spid="2128" grpId="0" animBg="1"/>
      <p:bldP spid="2129" grpId="0" animBg="1"/>
      <p:bldP spid="2130" grpId="0" animBg="1"/>
      <p:bldP spid="2131" grpId="0" animBg="1"/>
      <p:bldP spid="2132" grpId="0" animBg="1"/>
      <p:bldP spid="2133" grpId="0" animBg="1"/>
      <p:bldP spid="2134" grpId="0" animBg="1"/>
      <p:bldP spid="2135" grpId="0" animBg="1"/>
      <p:bldP spid="2136" grpId="0" animBg="1"/>
      <p:bldP spid="2137" grpId="0" animBg="1"/>
      <p:bldP spid="2138" grpId="0" animBg="1"/>
      <p:bldP spid="2139" grpId="0" animBg="1"/>
      <p:bldP spid="2140" grpId="0" animBg="1"/>
      <p:bldP spid="2141" grpId="0" animBg="1"/>
      <p:bldP spid="2142" grpId="0" animBg="1"/>
      <p:bldP spid="2143" grpId="0" animBg="1"/>
      <p:bldP spid="2144" grpId="0" animBg="1"/>
      <p:bldP spid="2145" grpId="0" animBg="1"/>
      <p:bldP spid="214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8760585D-B136-D15B-274D-E89234D39D85}"/>
              </a:ext>
            </a:extLst>
          </p:cNvPr>
          <p:cNvSpPr/>
          <p:nvPr/>
        </p:nvSpPr>
        <p:spPr>
          <a:xfrm>
            <a:off x="0" y="3325711"/>
            <a:ext cx="4752975" cy="2837459"/>
          </a:xfrm>
          <a:custGeom>
            <a:avLst/>
            <a:gdLst>
              <a:gd name="connsiteX0" fmla="*/ 0 w 4752975"/>
              <a:gd name="connsiteY0" fmla="*/ 0 h 2837459"/>
              <a:gd name="connsiteX1" fmla="*/ 4752975 w 4752975"/>
              <a:gd name="connsiteY1" fmla="*/ 0 h 2837459"/>
              <a:gd name="connsiteX2" fmla="*/ 4752975 w 4752975"/>
              <a:gd name="connsiteY2" fmla="*/ 2837459 h 2837459"/>
              <a:gd name="connsiteX3" fmla="*/ 0 w 4752975"/>
              <a:gd name="connsiteY3" fmla="*/ 2837459 h 2837459"/>
              <a:gd name="connsiteX4" fmla="*/ 0 w 4752975"/>
              <a:gd name="connsiteY4" fmla="*/ 0 h 28374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2975" h="2837459" fill="none" extrusionOk="0">
                <a:moveTo>
                  <a:pt x="0" y="0"/>
                </a:moveTo>
                <a:cubicBezTo>
                  <a:pt x="1928941" y="-33775"/>
                  <a:pt x="3241949" y="138873"/>
                  <a:pt x="4752975" y="0"/>
                </a:cubicBezTo>
                <a:cubicBezTo>
                  <a:pt x="4679204" y="540528"/>
                  <a:pt x="4597092" y="2056121"/>
                  <a:pt x="4752975" y="2837459"/>
                </a:cubicBezTo>
                <a:cubicBezTo>
                  <a:pt x="3254370" y="2700129"/>
                  <a:pt x="1565125" y="2699603"/>
                  <a:pt x="0" y="2837459"/>
                </a:cubicBezTo>
                <a:cubicBezTo>
                  <a:pt x="152408" y="1613151"/>
                  <a:pt x="73868" y="946640"/>
                  <a:pt x="0" y="0"/>
                </a:cubicBezTo>
                <a:close/>
              </a:path>
              <a:path w="4752975" h="2837459" stroke="0" extrusionOk="0">
                <a:moveTo>
                  <a:pt x="0" y="0"/>
                </a:moveTo>
                <a:cubicBezTo>
                  <a:pt x="1783487" y="-101487"/>
                  <a:pt x="2635124" y="-162162"/>
                  <a:pt x="4752975" y="0"/>
                </a:cubicBezTo>
                <a:cubicBezTo>
                  <a:pt x="4813688" y="658859"/>
                  <a:pt x="4691903" y="2468073"/>
                  <a:pt x="4752975" y="2837459"/>
                </a:cubicBezTo>
                <a:cubicBezTo>
                  <a:pt x="2467411" y="2887524"/>
                  <a:pt x="2050049" y="2679010"/>
                  <a:pt x="0" y="2837459"/>
                </a:cubicBezTo>
                <a:cubicBezTo>
                  <a:pt x="-24452" y="2553052"/>
                  <a:pt x="-67663" y="637958"/>
                  <a:pt x="0" y="0"/>
                </a:cubicBezTo>
                <a:close/>
              </a:path>
            </a:pathLst>
          </a:custGeom>
          <a:solidFill>
            <a:schemeClr val="bg1"/>
          </a:solidFill>
          <a:ln>
            <a:solidFill>
              <a:schemeClr val="bg1"/>
            </a:solidFill>
            <a:extLst>
              <a:ext uri="{C807C97D-BFC1-408E-A445-0C87EB9F89A2}">
                <ask:lineSketchStyleProps xmlns:ask="http://schemas.microsoft.com/office/drawing/2018/sketchyshapes" sd="981765707">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dirty="0" err="1"/>
          </a:p>
        </p:txBody>
      </p:sp>
      <p:sp>
        <p:nvSpPr>
          <p:cNvPr id="2" name="Textplatzhalter 1">
            <a:extLst>
              <a:ext uri="{FF2B5EF4-FFF2-40B4-BE49-F238E27FC236}">
                <a16:creationId xmlns:a16="http://schemas.microsoft.com/office/drawing/2014/main" id="{44E1E697-2018-F3AD-1621-2FA3A9FA31B8}"/>
              </a:ext>
            </a:extLst>
          </p:cNvPr>
          <p:cNvSpPr>
            <a:spLocks noGrp="1"/>
          </p:cNvSpPr>
          <p:nvPr>
            <p:ph type="body" sz="quarter" idx="13"/>
          </p:nvPr>
        </p:nvSpPr>
        <p:spPr/>
        <p:txBody>
          <a:bodyPr/>
          <a:lstStyle/>
          <a:p>
            <a:r>
              <a:rPr lang="de-DE" dirty="0"/>
              <a:t>Oliver Türk I TWH300to</a:t>
            </a:r>
          </a:p>
        </p:txBody>
      </p:sp>
      <p:sp>
        <p:nvSpPr>
          <p:cNvPr id="3" name="Textplatzhalter 2">
            <a:extLst>
              <a:ext uri="{FF2B5EF4-FFF2-40B4-BE49-F238E27FC236}">
                <a16:creationId xmlns:a16="http://schemas.microsoft.com/office/drawing/2014/main" id="{2B58EDF9-7E65-661F-D0BC-1164B930E7AF}"/>
              </a:ext>
            </a:extLst>
          </p:cNvPr>
          <p:cNvSpPr>
            <a:spLocks noGrp="1"/>
          </p:cNvSpPr>
          <p:nvPr>
            <p:ph type="body" sz="quarter" idx="14"/>
          </p:nvPr>
        </p:nvSpPr>
        <p:spPr/>
        <p:txBody>
          <a:bodyPr/>
          <a:lstStyle/>
          <a:p>
            <a:r>
              <a:rPr lang="de-DE"/>
              <a:t>Head of Main Department</a:t>
            </a:r>
          </a:p>
        </p:txBody>
      </p:sp>
      <p:sp>
        <p:nvSpPr>
          <p:cNvPr id="4" name="Textplatzhalter 3">
            <a:extLst>
              <a:ext uri="{FF2B5EF4-FFF2-40B4-BE49-F238E27FC236}">
                <a16:creationId xmlns:a16="http://schemas.microsoft.com/office/drawing/2014/main" id="{9038B8FD-2704-1DDE-4B38-699B1121B7EF}"/>
              </a:ext>
            </a:extLst>
          </p:cNvPr>
          <p:cNvSpPr>
            <a:spLocks noGrp="1"/>
          </p:cNvSpPr>
          <p:nvPr>
            <p:ph type="body" sz="quarter" idx="15"/>
          </p:nvPr>
        </p:nvSpPr>
        <p:spPr/>
        <p:txBody>
          <a:bodyPr/>
          <a:lstStyle/>
          <a:p>
            <a:r>
              <a:rPr lang="de-DE" dirty="0"/>
              <a:t>+49 7574 401-160</a:t>
            </a:r>
          </a:p>
        </p:txBody>
      </p:sp>
      <p:sp>
        <p:nvSpPr>
          <p:cNvPr id="5" name="Textplatzhalter 4">
            <a:extLst>
              <a:ext uri="{FF2B5EF4-FFF2-40B4-BE49-F238E27FC236}">
                <a16:creationId xmlns:a16="http://schemas.microsoft.com/office/drawing/2014/main" id="{720B9E7C-AEDD-7EE4-7E90-6BC63F2CDC99}"/>
              </a:ext>
            </a:extLst>
          </p:cNvPr>
          <p:cNvSpPr>
            <a:spLocks noGrp="1"/>
          </p:cNvSpPr>
          <p:nvPr>
            <p:ph type="body" sz="quarter" idx="16"/>
          </p:nvPr>
        </p:nvSpPr>
        <p:spPr/>
        <p:txBody>
          <a:bodyPr/>
          <a:lstStyle/>
          <a:p>
            <a:r>
              <a:rPr lang="de-DE" dirty="0"/>
              <a:t>Oliver.Tuerk@trumpf.com</a:t>
            </a:r>
          </a:p>
        </p:txBody>
      </p:sp>
      <p:sp>
        <p:nvSpPr>
          <p:cNvPr id="7" name="Textfeld 6">
            <a:extLst>
              <a:ext uri="{FF2B5EF4-FFF2-40B4-BE49-F238E27FC236}">
                <a16:creationId xmlns:a16="http://schemas.microsoft.com/office/drawing/2014/main" id="{DC276A54-0797-0586-7F4C-C6B508D6E688}"/>
              </a:ext>
            </a:extLst>
          </p:cNvPr>
          <p:cNvSpPr txBox="1"/>
          <p:nvPr/>
        </p:nvSpPr>
        <p:spPr>
          <a:xfrm>
            <a:off x="449916" y="3820838"/>
            <a:ext cx="3853142" cy="615553"/>
          </a:xfrm>
          <a:prstGeom prst="rect">
            <a:avLst/>
          </a:prstGeom>
          <a:noFill/>
        </p:spPr>
        <p:txBody>
          <a:bodyPr wrap="square" lIns="0" tIns="0" rIns="0" bIns="0" rtlCol="0">
            <a:spAutoFit/>
          </a:bodyPr>
          <a:lstStyle/>
          <a:p>
            <a:pPr algn="l"/>
            <a:r>
              <a:rPr lang="de-DE" sz="4000" dirty="0"/>
              <a:t>Vielen Dank.</a:t>
            </a:r>
          </a:p>
        </p:txBody>
      </p:sp>
      <p:sp>
        <p:nvSpPr>
          <p:cNvPr id="9" name="Textfeld 8">
            <a:extLst>
              <a:ext uri="{FF2B5EF4-FFF2-40B4-BE49-F238E27FC236}">
                <a16:creationId xmlns:a16="http://schemas.microsoft.com/office/drawing/2014/main" id="{A8356B99-8827-8CCB-E32E-B079390DAF02}"/>
              </a:ext>
            </a:extLst>
          </p:cNvPr>
          <p:cNvSpPr txBox="1"/>
          <p:nvPr/>
        </p:nvSpPr>
        <p:spPr>
          <a:xfrm>
            <a:off x="2489982" y="632204"/>
            <a:ext cx="6953250" cy="1846659"/>
          </a:xfrm>
          <a:prstGeom prst="rect">
            <a:avLst/>
          </a:prstGeom>
          <a:noFill/>
        </p:spPr>
        <p:txBody>
          <a:bodyPr wrap="square" lIns="0" tIns="0" rIns="0" bIns="0" rtlCol="0">
            <a:spAutoFit/>
          </a:bodyPr>
          <a:lstStyle/>
          <a:p>
            <a:pPr algn="just"/>
            <a:r>
              <a:rPr lang="de-DE" sz="2400" dirty="0">
                <a:solidFill>
                  <a:schemeClr val="bg1"/>
                </a:solidFill>
                <a:latin typeface="Bahnschrift Light" panose="020B0502040204020203" pitchFamily="34" charset="0"/>
                <a:cs typeface="Aldhabi" panose="020B0604020202020204" pitchFamily="2" charset="-78"/>
              </a:rPr>
              <a:t>„All we are doing is looking at the time line, from the moment the customer gives us an order to the point when we collect the cash. And we are reducing the time line by reducing the non-</a:t>
            </a:r>
            <a:r>
              <a:rPr lang="de-DE" sz="2400" dirty="0" err="1">
                <a:solidFill>
                  <a:schemeClr val="bg1"/>
                </a:solidFill>
                <a:latin typeface="Bahnschrift Light" panose="020B0502040204020203" pitchFamily="34" charset="0"/>
                <a:cs typeface="Aldhabi" panose="020B0604020202020204" pitchFamily="2" charset="-78"/>
              </a:rPr>
              <a:t>value</a:t>
            </a:r>
            <a:r>
              <a:rPr lang="de-DE" sz="2400" dirty="0">
                <a:solidFill>
                  <a:schemeClr val="bg1"/>
                </a:solidFill>
                <a:latin typeface="Bahnschrift Light" panose="020B0502040204020203" pitchFamily="34" charset="0"/>
                <a:cs typeface="Aldhabi" panose="020B0604020202020204" pitchFamily="2" charset="-78"/>
              </a:rPr>
              <a:t> adding wastes.“ (Taiichi Ohno)</a:t>
            </a:r>
          </a:p>
        </p:txBody>
      </p:sp>
    </p:spTree>
    <p:extLst>
      <p:ext uri="{BB962C8B-B14F-4D97-AF65-F5344CB8AC3E}">
        <p14:creationId xmlns:p14="http://schemas.microsoft.com/office/powerpoint/2010/main" val="23271542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468453F5-2FB8-4E60-BECB-04CE1FD4F07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530" imgH="531" progId="TCLayout.ActiveDocument.1">
                  <p:embed/>
                </p:oleObj>
              </mc:Choice>
              <mc:Fallback>
                <p:oleObj name="think-cell Folie" r:id="rId12" imgW="530" imgH="531" progId="TCLayout.ActiveDocument.1">
                  <p:embed/>
                  <p:pic>
                    <p:nvPicPr>
                      <p:cNvPr id="10" name="Objekt 9" hidden="1">
                        <a:extLst>
                          <a:ext uri="{FF2B5EF4-FFF2-40B4-BE49-F238E27FC236}">
                            <a16:creationId xmlns:a16="http://schemas.microsoft.com/office/drawing/2014/main" id="{468453F5-2FB8-4E60-BECB-04CE1FD4F07A}"/>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1" name="Rechteck 10" hidden="1">
            <a:extLst>
              <a:ext uri="{FF2B5EF4-FFF2-40B4-BE49-F238E27FC236}">
                <a16:creationId xmlns:a16="http://schemas.microsoft.com/office/drawing/2014/main" id="{CBFBB596-7C55-463A-A0B5-B8DBBEF3D9F3}"/>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e-DE"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Titel 6">
            <a:extLst>
              <a:ext uri="{FF2B5EF4-FFF2-40B4-BE49-F238E27FC236}">
                <a16:creationId xmlns:a16="http://schemas.microsoft.com/office/drawing/2014/main" id="{58DA63A1-BBB0-4FD0-9A0F-88C717C3C64D}"/>
              </a:ext>
            </a:extLst>
          </p:cNvPr>
          <p:cNvSpPr>
            <a:spLocks noGrp="1"/>
          </p:cNvSpPr>
          <p:nvPr>
            <p:ph type="title"/>
          </p:nvPr>
        </p:nvSpPr>
        <p:spPr>
          <a:xfrm>
            <a:off x="515937" y="512763"/>
            <a:ext cx="11448000" cy="387798"/>
          </a:xfrm>
        </p:spPr>
        <p:txBody>
          <a:bodyPr vert="horz"/>
          <a:lstStyle/>
          <a:p>
            <a:r>
              <a:rPr lang="de-DE" dirty="0">
                <a:solidFill>
                  <a:schemeClr val="accent5">
                    <a:lumMod val="50000"/>
                  </a:schemeClr>
                </a:solidFill>
              </a:rPr>
              <a:t>Grundverständnis – Was ist SYNCHRO?</a:t>
            </a:r>
          </a:p>
        </p:txBody>
      </p:sp>
      <p:sp>
        <p:nvSpPr>
          <p:cNvPr id="5" name="Fußzeilenplatzhalter 4">
            <a:extLst>
              <a:ext uri="{FF2B5EF4-FFF2-40B4-BE49-F238E27FC236}">
                <a16:creationId xmlns:a16="http://schemas.microsoft.com/office/drawing/2014/main" id="{1003BC4B-3BC8-48C2-A292-423FA43B1B73}"/>
              </a:ext>
            </a:extLst>
          </p:cNvPr>
          <p:cNvSpPr>
            <a:spLocks noGrp="1"/>
          </p:cNvSpPr>
          <p:nvPr>
            <p:ph type="ftr" sz="quarter" idx="18"/>
          </p:nvPr>
        </p:nvSpPr>
        <p:spPr>
          <a:xfrm>
            <a:off x="589897" y="6356349"/>
            <a:ext cx="777264" cy="305989"/>
          </a:xfrm>
        </p:spPr>
        <p:txBody>
          <a:bodyPr/>
          <a:lstStyle/>
          <a:p>
            <a:r>
              <a:rPr lang="de-DE" dirty="0"/>
              <a:t>Oliver Türk</a:t>
            </a:r>
          </a:p>
        </p:txBody>
      </p:sp>
      <p:sp>
        <p:nvSpPr>
          <p:cNvPr id="6" name="Foliennummernplatzhalter 5">
            <a:extLst>
              <a:ext uri="{FF2B5EF4-FFF2-40B4-BE49-F238E27FC236}">
                <a16:creationId xmlns:a16="http://schemas.microsoft.com/office/drawing/2014/main" id="{61B6B54F-2ACF-4388-8088-277ECC0A6FBD}"/>
              </a:ext>
            </a:extLst>
          </p:cNvPr>
          <p:cNvSpPr>
            <a:spLocks noGrp="1"/>
          </p:cNvSpPr>
          <p:nvPr>
            <p:ph type="sldNum" sz="quarter" idx="19"/>
          </p:nvPr>
        </p:nvSpPr>
        <p:spPr/>
        <p:txBody>
          <a:bodyPr/>
          <a:lstStyle/>
          <a:p>
            <a:fld id="{8D57957C-F0F3-7842-B0E2-B762F92D6487}" type="slidenum">
              <a:rPr lang="de-DE" smtClean="0"/>
              <a:pPr/>
              <a:t>2</a:t>
            </a:fld>
            <a:r>
              <a:rPr lang="de-DE" dirty="0"/>
              <a:t>  </a:t>
            </a:r>
            <a:r>
              <a:rPr lang="de-DE" b="0" dirty="0">
                <a:solidFill>
                  <a:schemeClr val="accent1"/>
                </a:solidFill>
              </a:rPr>
              <a:t>|</a:t>
            </a:r>
            <a:endParaRPr lang="de-DE" sz="900" b="0" dirty="0">
              <a:solidFill>
                <a:schemeClr val="accent1"/>
              </a:solidFill>
            </a:endParaRPr>
          </a:p>
        </p:txBody>
      </p:sp>
      <p:sp>
        <p:nvSpPr>
          <p:cNvPr id="16" name="MIO_OBJECT5">
            <a:extLst>
              <a:ext uri="{FF2B5EF4-FFF2-40B4-BE49-F238E27FC236}">
                <a16:creationId xmlns:a16="http://schemas.microsoft.com/office/drawing/2014/main" id="{062289FA-D939-4514-8A34-790C82A9F92F}"/>
              </a:ext>
            </a:extLst>
          </p:cNvPr>
          <p:cNvSpPr>
            <a:spLocks noChangeArrowheads="1"/>
          </p:cNvSpPr>
          <p:nvPr>
            <p:custDataLst>
              <p:tags r:id="rId3"/>
            </p:custDataLst>
          </p:nvPr>
        </p:nvSpPr>
        <p:spPr bwMode="gray">
          <a:xfrm>
            <a:off x="4021361" y="1483199"/>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ist das </a:t>
            </a:r>
            <a:r>
              <a:rPr lang="de-DE" sz="1400" b="1" dirty="0">
                <a:latin typeface="Arial" panose="020B0604020202020204" pitchFamily="34" charset="0"/>
              </a:rPr>
              <a:t>Lean Management System </a:t>
            </a:r>
            <a:r>
              <a:rPr lang="de-DE" sz="1400" dirty="0">
                <a:latin typeface="Arial" panose="020B0604020202020204" pitchFamily="34" charset="0"/>
              </a:rPr>
              <a:t>von TRUMPF</a:t>
            </a:r>
          </a:p>
        </p:txBody>
      </p:sp>
      <p:sp>
        <p:nvSpPr>
          <p:cNvPr id="17" name="MIO_OBJECT5">
            <a:extLst>
              <a:ext uri="{FF2B5EF4-FFF2-40B4-BE49-F238E27FC236}">
                <a16:creationId xmlns:a16="http://schemas.microsoft.com/office/drawing/2014/main" id="{B49A2A99-AED3-4011-975E-768BA5E92A54}"/>
              </a:ext>
            </a:extLst>
          </p:cNvPr>
          <p:cNvSpPr>
            <a:spLocks noChangeArrowheads="1"/>
          </p:cNvSpPr>
          <p:nvPr>
            <p:custDataLst>
              <p:tags r:id="rId4"/>
            </p:custDataLst>
          </p:nvPr>
        </p:nvSpPr>
        <p:spPr bwMode="gray">
          <a:xfrm>
            <a:off x="4021361" y="4496912"/>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hat seine Ursprünge im </a:t>
            </a:r>
            <a:r>
              <a:rPr lang="de-DE" sz="1400" b="1" dirty="0">
                <a:latin typeface="Arial" panose="020B0604020202020204" pitchFamily="34" charset="0"/>
              </a:rPr>
              <a:t>TOYOTA Produktionssystem, </a:t>
            </a:r>
            <a:r>
              <a:rPr lang="de-DE" sz="1400" dirty="0">
                <a:latin typeface="Arial" panose="020B0604020202020204" pitchFamily="34" charset="0"/>
              </a:rPr>
              <a:t>welches bereits in den 1950ern etabliert wurde</a:t>
            </a:r>
          </a:p>
        </p:txBody>
      </p:sp>
      <p:sp>
        <p:nvSpPr>
          <p:cNvPr id="18" name="MIO_OBJECT5">
            <a:extLst>
              <a:ext uri="{FF2B5EF4-FFF2-40B4-BE49-F238E27FC236}">
                <a16:creationId xmlns:a16="http://schemas.microsoft.com/office/drawing/2014/main" id="{5F2EF73F-93AF-4FC3-8C41-991249126AAB}"/>
              </a:ext>
            </a:extLst>
          </p:cNvPr>
          <p:cNvSpPr>
            <a:spLocks noChangeArrowheads="1"/>
          </p:cNvSpPr>
          <p:nvPr>
            <p:custDataLst>
              <p:tags r:id="rId5"/>
            </p:custDataLst>
          </p:nvPr>
        </p:nvSpPr>
        <p:spPr bwMode="gray">
          <a:xfrm>
            <a:off x="515938" y="2219080"/>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impliziert auch eine </a:t>
            </a:r>
            <a:r>
              <a:rPr lang="de-DE" sz="1400" b="1" dirty="0">
                <a:latin typeface="Arial" panose="020B0604020202020204" pitchFamily="34" charset="0"/>
              </a:rPr>
              <a:t>kulturelle Veränderung</a:t>
            </a:r>
          </a:p>
        </p:txBody>
      </p:sp>
      <p:sp>
        <p:nvSpPr>
          <p:cNvPr id="19" name="MIO_OBJECT5">
            <a:extLst>
              <a:ext uri="{FF2B5EF4-FFF2-40B4-BE49-F238E27FC236}">
                <a16:creationId xmlns:a16="http://schemas.microsoft.com/office/drawing/2014/main" id="{CB1393F8-9170-4EF5-BE14-EC8713849D81}"/>
              </a:ext>
            </a:extLst>
          </p:cNvPr>
          <p:cNvSpPr>
            <a:spLocks noChangeArrowheads="1"/>
          </p:cNvSpPr>
          <p:nvPr>
            <p:custDataLst>
              <p:tags r:id="rId6"/>
            </p:custDataLst>
          </p:nvPr>
        </p:nvSpPr>
        <p:spPr bwMode="gray">
          <a:xfrm>
            <a:off x="515938" y="3722114"/>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wurde </a:t>
            </a:r>
            <a:r>
              <a:rPr lang="de-DE" sz="1400" b="1" dirty="0">
                <a:latin typeface="Arial" panose="020B0604020202020204" pitchFamily="34" charset="0"/>
              </a:rPr>
              <a:t>1998</a:t>
            </a:r>
            <a:r>
              <a:rPr lang="de-DE" sz="1400" dirty="0">
                <a:latin typeface="Arial" panose="020B0604020202020204" pitchFamily="34" charset="0"/>
              </a:rPr>
              <a:t> in der Produktion bei TRUMPF etabliert und seit dem kontinuierlich erweitert</a:t>
            </a:r>
          </a:p>
        </p:txBody>
      </p:sp>
      <p:sp>
        <p:nvSpPr>
          <p:cNvPr id="20" name="MIO_OBJECT5">
            <a:extLst>
              <a:ext uri="{FF2B5EF4-FFF2-40B4-BE49-F238E27FC236}">
                <a16:creationId xmlns:a16="http://schemas.microsoft.com/office/drawing/2014/main" id="{37D26C2B-EABC-40E8-8BA4-AE16CA110BD5}"/>
              </a:ext>
            </a:extLst>
          </p:cNvPr>
          <p:cNvSpPr>
            <a:spLocks noChangeArrowheads="1"/>
          </p:cNvSpPr>
          <p:nvPr>
            <p:custDataLst>
              <p:tags r:id="rId7"/>
            </p:custDataLst>
          </p:nvPr>
        </p:nvSpPr>
        <p:spPr bwMode="gray">
          <a:xfrm>
            <a:off x="7527247" y="2219080"/>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ist die </a:t>
            </a:r>
            <a:r>
              <a:rPr lang="de-DE" sz="1400" b="1" dirty="0">
                <a:latin typeface="Arial" panose="020B0604020202020204" pitchFamily="34" charset="0"/>
              </a:rPr>
              <a:t>optimale Abstimmung</a:t>
            </a:r>
            <a:r>
              <a:rPr lang="de-DE" sz="1400" dirty="0">
                <a:latin typeface="Arial" panose="020B0604020202020204" pitchFamily="34" charset="0"/>
              </a:rPr>
              <a:t>, d.h. die </a:t>
            </a:r>
            <a:r>
              <a:rPr lang="de-DE" sz="1400" b="1" dirty="0">
                <a:latin typeface="Arial" panose="020B0604020202020204" pitchFamily="34" charset="0"/>
              </a:rPr>
              <a:t>Synchronisation</a:t>
            </a:r>
            <a:r>
              <a:rPr lang="de-DE" sz="1400" dirty="0">
                <a:latin typeface="Arial" panose="020B0604020202020204" pitchFamily="34" charset="0"/>
              </a:rPr>
              <a:t> von Mensch, Methode, Material und Markt.</a:t>
            </a:r>
          </a:p>
        </p:txBody>
      </p:sp>
      <p:sp>
        <p:nvSpPr>
          <p:cNvPr id="21" name="MIO_OBJECT5">
            <a:extLst>
              <a:ext uri="{FF2B5EF4-FFF2-40B4-BE49-F238E27FC236}">
                <a16:creationId xmlns:a16="http://schemas.microsoft.com/office/drawing/2014/main" id="{81F3362B-ADA9-42C7-8F26-7A3174A97A10}"/>
              </a:ext>
            </a:extLst>
          </p:cNvPr>
          <p:cNvSpPr>
            <a:spLocks noChangeArrowheads="1"/>
          </p:cNvSpPr>
          <p:nvPr>
            <p:custDataLst>
              <p:tags r:id="rId8"/>
            </p:custDataLst>
          </p:nvPr>
        </p:nvSpPr>
        <p:spPr bwMode="gray">
          <a:xfrm>
            <a:off x="7527247" y="3725003"/>
            <a:ext cx="4148816" cy="1332000"/>
          </a:xfrm>
          <a:prstGeom prst="hexagon">
            <a:avLst>
              <a:gd name="adj" fmla="val 28121"/>
              <a:gd name="vf" fmla="val 115470"/>
            </a:avLst>
          </a:prstGeom>
          <a:solidFill>
            <a:schemeClr val="bg1">
              <a:lumMod val="95000"/>
            </a:schemeClr>
          </a:solidFill>
          <a:ln w="9525">
            <a:noFill/>
          </a:ln>
          <a:effectLst>
            <a:outerShdw blurRad="50800" dist="38100" dir="2700000" algn="tl" rotWithShape="0">
              <a:prstClr val="black">
                <a:alpha val="40000"/>
              </a:prstClr>
            </a:outerShdw>
          </a:effectLst>
        </p:spPr>
        <p:txBody>
          <a:bodyPr lIns="16615" tIns="16615" rIns="16615" bIns="16615" anchor="ctr"/>
          <a:lstStyle/>
          <a:p>
            <a:pPr algn="ctr" eaLnBrk="0" fontAlgn="base" hangingPunct="0">
              <a:spcBef>
                <a:spcPct val="0"/>
              </a:spcBef>
              <a:spcAft>
                <a:spcPct val="0"/>
              </a:spcAft>
            </a:pPr>
            <a:r>
              <a:rPr lang="de-DE" sz="1400" dirty="0">
                <a:latin typeface="Arial" panose="020B0604020202020204" pitchFamily="34" charset="0"/>
              </a:rPr>
              <a:t>… stellt den </a:t>
            </a:r>
            <a:r>
              <a:rPr lang="de-DE" sz="1400" b="1" dirty="0">
                <a:latin typeface="Arial" panose="020B0604020202020204" pitchFamily="34" charset="0"/>
              </a:rPr>
              <a:t>Kunden in den Mittelpunkt </a:t>
            </a:r>
            <a:r>
              <a:rPr lang="de-DE" sz="1400" dirty="0">
                <a:latin typeface="Arial" panose="020B0604020202020204" pitchFamily="34" charset="0"/>
              </a:rPr>
              <a:t>und verbessert auf dieser Basis Prozesse</a:t>
            </a:r>
          </a:p>
        </p:txBody>
      </p:sp>
      <p:sp>
        <p:nvSpPr>
          <p:cNvPr id="15" name="MIO_OBJECT3">
            <a:extLst>
              <a:ext uri="{FF2B5EF4-FFF2-40B4-BE49-F238E27FC236}">
                <a16:creationId xmlns:a16="http://schemas.microsoft.com/office/drawing/2014/main" id="{2A86E55D-4D4D-4971-8358-3D05488F6335}"/>
              </a:ext>
            </a:extLst>
          </p:cNvPr>
          <p:cNvSpPr>
            <a:spLocks noChangeArrowheads="1"/>
          </p:cNvSpPr>
          <p:nvPr>
            <p:custDataLst>
              <p:tags r:id="rId9"/>
            </p:custDataLst>
          </p:nvPr>
        </p:nvSpPr>
        <p:spPr bwMode="gray">
          <a:xfrm>
            <a:off x="4021361" y="2989122"/>
            <a:ext cx="4148816" cy="1332000"/>
          </a:xfrm>
          <a:prstGeom prst="hexagon">
            <a:avLst>
              <a:gd name="adj" fmla="val 28121"/>
              <a:gd name="vf" fmla="val 115470"/>
            </a:avLst>
          </a:prstGeom>
          <a:solidFill>
            <a:schemeClr val="accent5">
              <a:lumMod val="50000"/>
            </a:schemeClr>
          </a:solidFill>
          <a:ln w="9525">
            <a:noFill/>
          </a:ln>
          <a:effectLst/>
        </p:spPr>
        <p:txBody>
          <a:bodyPr lIns="16615" tIns="16615" rIns="16615" bIns="16615" anchor="ctr"/>
          <a:lstStyle/>
          <a:p>
            <a:pPr algn="ctr" eaLnBrk="0" fontAlgn="base" hangingPunct="0">
              <a:spcBef>
                <a:spcPct val="0"/>
              </a:spcBef>
              <a:spcAft>
                <a:spcPct val="0"/>
              </a:spcAft>
            </a:pPr>
            <a:r>
              <a:rPr lang="de-DE" sz="3600" b="1" dirty="0">
                <a:solidFill>
                  <a:srgbClr val="FFFFFF"/>
                </a:solidFill>
                <a:latin typeface="Arial" panose="020B0604020202020204" pitchFamily="34" charset="0"/>
              </a:rPr>
              <a:t>SYNCHRO</a:t>
            </a:r>
          </a:p>
        </p:txBody>
      </p:sp>
    </p:spTree>
    <p:extLst>
      <p:ext uri="{BB962C8B-B14F-4D97-AF65-F5344CB8AC3E}">
        <p14:creationId xmlns:p14="http://schemas.microsoft.com/office/powerpoint/2010/main" val="3410266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19" grpId="0" animBg="1"/>
      <p:bldP spid="20" grpId="0" animBg="1"/>
      <p:bldP spid="21"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9328471" cy="387798"/>
          </a:xfrm>
        </p:spPr>
        <p:txBody>
          <a:bodyPr/>
          <a:lstStyle/>
          <a:p>
            <a:r>
              <a:rPr lang="de-DE" dirty="0">
                <a:solidFill>
                  <a:schemeClr val="accent5">
                    <a:lumMod val="50000"/>
                  </a:schemeClr>
                </a:solidFill>
              </a:rPr>
              <a:t>#Mission Gemba bei TWH- Konkrete Praxisbeispiele (1)</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52977"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20</a:t>
            </a:fld>
            <a:r>
              <a:rPr lang="de-DE"/>
              <a:t>  </a:t>
            </a:r>
            <a:r>
              <a:rPr lang="de-DE" b="0">
                <a:solidFill>
                  <a:schemeClr val="accent1"/>
                </a:solidFill>
              </a:rPr>
              <a:t>|</a:t>
            </a:r>
            <a:endParaRPr lang="de-DE" sz="900" b="0">
              <a:solidFill>
                <a:schemeClr val="accent1"/>
              </a:solidFill>
            </a:endParaRPr>
          </a:p>
        </p:txBody>
      </p:sp>
      <p:sp>
        <p:nvSpPr>
          <p:cNvPr id="16" name="Titel 1">
            <a:extLst>
              <a:ext uri="{FF2B5EF4-FFF2-40B4-BE49-F238E27FC236}">
                <a16:creationId xmlns:a16="http://schemas.microsoft.com/office/drawing/2014/main" id="{4573F1F2-4C82-037F-B78E-1CC6212DE4FC}"/>
              </a:ext>
            </a:extLst>
          </p:cNvPr>
          <p:cNvSpPr txBox="1">
            <a:spLocks/>
          </p:cNvSpPr>
          <p:nvPr/>
        </p:nvSpPr>
        <p:spPr>
          <a:xfrm>
            <a:off x="377505" y="832251"/>
            <a:ext cx="8120012" cy="805971"/>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endParaRPr lang="de-DE" sz="1800" b="0" dirty="0">
              <a:solidFill>
                <a:schemeClr val="accent5">
                  <a:lumMod val="50000"/>
                </a:schemeClr>
              </a:solidFill>
            </a:endParaRPr>
          </a:p>
        </p:txBody>
      </p:sp>
      <p:sp>
        <p:nvSpPr>
          <p:cNvPr id="8" name="Titel 1">
            <a:extLst>
              <a:ext uri="{FF2B5EF4-FFF2-40B4-BE49-F238E27FC236}">
                <a16:creationId xmlns:a16="http://schemas.microsoft.com/office/drawing/2014/main" id="{9F78A8D4-BB13-DDCE-9659-8D1BE04FECD5}"/>
              </a:ext>
            </a:extLst>
          </p:cNvPr>
          <p:cNvSpPr txBox="1">
            <a:spLocks/>
          </p:cNvSpPr>
          <p:nvPr/>
        </p:nvSpPr>
        <p:spPr>
          <a:xfrm>
            <a:off x="377505" y="807225"/>
            <a:ext cx="8120012" cy="274654"/>
          </a:xfrm>
          <a:prstGeom prst="rect">
            <a:avLst/>
          </a:prstGeom>
        </p:spPr>
        <p:txBody>
          <a:bodyPr vert="horz" lIns="0" tIns="0" rIns="0" bIns="0" rtlCol="0" anchor="t">
            <a:noAutofit/>
          </a:bodyPr>
          <a:lstStyle>
            <a:lvl1pPr algn="l" defTabSz="914390" rtl="0" eaLnBrk="1" latinLnBrk="0" hangingPunct="1">
              <a:lnSpc>
                <a:spcPct val="90000"/>
              </a:lnSpc>
              <a:spcBef>
                <a:spcPct val="0"/>
              </a:spcBef>
              <a:buNone/>
              <a:defRPr sz="2800" b="1" kern="1200">
                <a:solidFill>
                  <a:schemeClr val="tx1"/>
                </a:solidFill>
                <a:latin typeface="+mj-lt"/>
                <a:ea typeface="+mj-ea"/>
                <a:cs typeface="Arial" panose="020B0604020202020204" pitchFamily="34" charset="0"/>
              </a:defRPr>
            </a:lvl1pPr>
          </a:lstStyle>
          <a:p>
            <a:r>
              <a:rPr lang="de-DE" sz="1800" dirty="0">
                <a:solidFill>
                  <a:schemeClr val="accent5">
                    <a:lumMod val="50000"/>
                  </a:schemeClr>
                </a:solidFill>
              </a:rPr>
              <a:t>K</a:t>
            </a:r>
            <a:r>
              <a:rPr lang="de-DE" sz="1800" b="0" dirty="0">
                <a:solidFill>
                  <a:schemeClr val="accent5">
                    <a:lumMod val="50000"/>
                  </a:schemeClr>
                </a:solidFill>
              </a:rPr>
              <a:t>ontinuierlicher </a:t>
            </a:r>
            <a:r>
              <a:rPr lang="de-DE" sz="1800" dirty="0">
                <a:solidFill>
                  <a:schemeClr val="accent5">
                    <a:lumMod val="50000"/>
                  </a:schemeClr>
                </a:solidFill>
              </a:rPr>
              <a:t>V</a:t>
            </a:r>
            <a:r>
              <a:rPr lang="de-DE" sz="1800" b="0" dirty="0">
                <a:solidFill>
                  <a:schemeClr val="accent5">
                    <a:lumMod val="50000"/>
                  </a:schemeClr>
                </a:solidFill>
              </a:rPr>
              <a:t>erbesserung´s </a:t>
            </a:r>
            <a:r>
              <a:rPr lang="de-DE" sz="1800" dirty="0">
                <a:solidFill>
                  <a:schemeClr val="accent5">
                    <a:lumMod val="50000"/>
                  </a:schemeClr>
                </a:solidFill>
              </a:rPr>
              <a:t>P</a:t>
            </a:r>
            <a:r>
              <a:rPr lang="de-DE" sz="1800" b="0" dirty="0">
                <a:solidFill>
                  <a:schemeClr val="accent5">
                    <a:lumMod val="50000"/>
                  </a:schemeClr>
                </a:solidFill>
              </a:rPr>
              <a:t>rozess </a:t>
            </a:r>
            <a:r>
              <a:rPr lang="de-DE" sz="1800" dirty="0">
                <a:solidFill>
                  <a:schemeClr val="accent5">
                    <a:lumMod val="50000"/>
                  </a:schemeClr>
                </a:solidFill>
              </a:rPr>
              <a:t>Smart</a:t>
            </a:r>
            <a:r>
              <a:rPr lang="de-DE" sz="1800" b="0" dirty="0">
                <a:solidFill>
                  <a:schemeClr val="accent5">
                    <a:lumMod val="50000"/>
                  </a:schemeClr>
                </a:solidFill>
              </a:rPr>
              <a:t>, </a:t>
            </a:r>
            <a:r>
              <a:rPr lang="de-DE" sz="1800" dirty="0">
                <a:solidFill>
                  <a:schemeClr val="accent5">
                    <a:lumMod val="50000"/>
                  </a:schemeClr>
                </a:solidFill>
              </a:rPr>
              <a:t>Einfach</a:t>
            </a:r>
            <a:r>
              <a:rPr lang="de-DE" sz="1800" b="0" dirty="0">
                <a:solidFill>
                  <a:schemeClr val="accent5">
                    <a:lumMod val="50000"/>
                  </a:schemeClr>
                </a:solidFill>
              </a:rPr>
              <a:t> und </a:t>
            </a:r>
            <a:r>
              <a:rPr lang="de-DE" sz="1800" dirty="0">
                <a:solidFill>
                  <a:schemeClr val="accent5">
                    <a:lumMod val="50000"/>
                  </a:schemeClr>
                </a:solidFill>
              </a:rPr>
              <a:t>Digital</a:t>
            </a:r>
            <a:r>
              <a:rPr lang="de-DE" sz="1800" b="0" dirty="0">
                <a:solidFill>
                  <a:schemeClr val="accent5">
                    <a:lumMod val="50000"/>
                  </a:schemeClr>
                </a:solidFill>
              </a:rPr>
              <a:t> gestalten</a:t>
            </a:r>
          </a:p>
        </p:txBody>
      </p:sp>
      <p:sp>
        <p:nvSpPr>
          <p:cNvPr id="11" name="Textfeld 10">
            <a:extLst>
              <a:ext uri="{FF2B5EF4-FFF2-40B4-BE49-F238E27FC236}">
                <a16:creationId xmlns:a16="http://schemas.microsoft.com/office/drawing/2014/main" id="{1F539489-191D-4CD8-1FE1-E91E5C923654}"/>
              </a:ext>
            </a:extLst>
          </p:cNvPr>
          <p:cNvSpPr txBox="1"/>
          <p:nvPr/>
        </p:nvSpPr>
        <p:spPr>
          <a:xfrm>
            <a:off x="339274" y="1383496"/>
            <a:ext cx="11317192" cy="4431983"/>
          </a:xfrm>
          <a:custGeom>
            <a:avLst/>
            <a:gdLst>
              <a:gd name="connsiteX0" fmla="*/ 0 w 11317192"/>
              <a:gd name="connsiteY0" fmla="*/ 0 h 4431983"/>
              <a:gd name="connsiteX1" fmla="*/ 11317192 w 11317192"/>
              <a:gd name="connsiteY1" fmla="*/ 0 h 4431983"/>
              <a:gd name="connsiteX2" fmla="*/ 11317192 w 11317192"/>
              <a:gd name="connsiteY2" fmla="*/ 4431983 h 4431983"/>
              <a:gd name="connsiteX3" fmla="*/ 0 w 11317192"/>
              <a:gd name="connsiteY3" fmla="*/ 4431983 h 4431983"/>
              <a:gd name="connsiteX4" fmla="*/ 0 w 11317192"/>
              <a:gd name="connsiteY4" fmla="*/ 0 h 44319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7192" h="4431983" extrusionOk="0">
                <a:moveTo>
                  <a:pt x="0" y="0"/>
                </a:moveTo>
                <a:cubicBezTo>
                  <a:pt x="4847110" y="-142016"/>
                  <a:pt x="5710630" y="84015"/>
                  <a:pt x="11317192" y="0"/>
                </a:cubicBezTo>
                <a:cubicBezTo>
                  <a:pt x="11407637" y="1111559"/>
                  <a:pt x="11427428" y="3855171"/>
                  <a:pt x="11317192" y="4431983"/>
                </a:cubicBezTo>
                <a:cubicBezTo>
                  <a:pt x="8372609" y="4584990"/>
                  <a:pt x="3983974" y="4291496"/>
                  <a:pt x="0" y="4431983"/>
                </a:cubicBezTo>
                <a:cubicBezTo>
                  <a:pt x="154933" y="3670703"/>
                  <a:pt x="114725" y="1075793"/>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p:txBody>
      </p:sp>
      <p:sp>
        <p:nvSpPr>
          <p:cNvPr id="12" name="Textfeld 11">
            <a:extLst>
              <a:ext uri="{FF2B5EF4-FFF2-40B4-BE49-F238E27FC236}">
                <a16:creationId xmlns:a16="http://schemas.microsoft.com/office/drawing/2014/main" id="{2244D736-C009-4DAB-B1FA-3B52EF8B120B}"/>
              </a:ext>
            </a:extLst>
          </p:cNvPr>
          <p:cNvSpPr txBox="1"/>
          <p:nvPr/>
        </p:nvSpPr>
        <p:spPr>
          <a:xfrm>
            <a:off x="714505" y="1221377"/>
            <a:ext cx="995234" cy="246221"/>
          </a:xfrm>
          <a:prstGeom prst="rect">
            <a:avLst/>
          </a:prstGeom>
          <a:solidFill>
            <a:schemeClr val="bg1"/>
          </a:solidFill>
        </p:spPr>
        <p:txBody>
          <a:bodyPr wrap="square" lIns="0" tIns="0" rIns="0" bIns="0" rtlCol="0">
            <a:spAutoFit/>
          </a:bodyPr>
          <a:lstStyle/>
          <a:p>
            <a:pPr algn="l"/>
            <a:r>
              <a:rPr lang="de-DE" sz="1600" b="1" i="1" dirty="0">
                <a:solidFill>
                  <a:schemeClr val="accent3"/>
                </a:solidFill>
                <a:latin typeface="Arial" panose="020B0604020202020204" pitchFamily="34" charset="0"/>
                <a:cs typeface="Arial" panose="020B0604020202020204" pitchFamily="34" charset="0"/>
              </a:rPr>
              <a:t> KVP-App</a:t>
            </a:r>
          </a:p>
        </p:txBody>
      </p:sp>
      <p:pic>
        <p:nvPicPr>
          <p:cNvPr id="17" name="Grafik 16">
            <a:extLst>
              <a:ext uri="{FF2B5EF4-FFF2-40B4-BE49-F238E27FC236}">
                <a16:creationId xmlns:a16="http://schemas.microsoft.com/office/drawing/2014/main" id="{0824E31A-38EC-88E0-DB90-9BAC37A9B26A}"/>
              </a:ext>
            </a:extLst>
          </p:cNvPr>
          <p:cNvPicPr>
            <a:picLocks noChangeAspect="1"/>
          </p:cNvPicPr>
          <p:nvPr/>
        </p:nvPicPr>
        <p:blipFill>
          <a:blip r:embed="rId3"/>
          <a:stretch>
            <a:fillRect/>
          </a:stretch>
        </p:blipFill>
        <p:spPr>
          <a:xfrm>
            <a:off x="824292" y="1903744"/>
            <a:ext cx="6577265" cy="3200578"/>
          </a:xfrm>
          <a:prstGeom prst="rect">
            <a:avLst/>
          </a:prstGeom>
          <a:ln>
            <a:noFill/>
          </a:ln>
          <a:effectLst>
            <a:outerShdw blurRad="292100" dist="139700" dir="2700000" algn="tl" rotWithShape="0">
              <a:srgbClr val="333333">
                <a:alpha val="65000"/>
              </a:srgbClr>
            </a:outerShdw>
          </a:effectLst>
        </p:spPr>
      </p:pic>
      <p:sp>
        <p:nvSpPr>
          <p:cNvPr id="18" name="Textfeld 17">
            <a:extLst>
              <a:ext uri="{FF2B5EF4-FFF2-40B4-BE49-F238E27FC236}">
                <a16:creationId xmlns:a16="http://schemas.microsoft.com/office/drawing/2014/main" id="{283180D0-CCD0-B7BB-5099-3D76F7A1F46C}"/>
              </a:ext>
            </a:extLst>
          </p:cNvPr>
          <p:cNvSpPr txBox="1"/>
          <p:nvPr/>
        </p:nvSpPr>
        <p:spPr>
          <a:xfrm>
            <a:off x="8249548" y="1613118"/>
            <a:ext cx="3176337" cy="1384995"/>
          </a:xfrm>
          <a:prstGeom prst="rect">
            <a:avLst/>
          </a:prstGeom>
          <a:noFill/>
        </p:spPr>
        <p:txBody>
          <a:bodyPr wrap="square" lIns="0" tIns="0" rIns="0" bIns="0" rtlCol="0">
            <a:spAutoFit/>
          </a:bodyPr>
          <a:lstStyle/>
          <a:p>
            <a:pPr algn="l"/>
            <a:r>
              <a:rPr lang="de-DE" sz="1600" u="sng" dirty="0"/>
              <a:t>Beschreibung </a:t>
            </a:r>
            <a:r>
              <a:rPr lang="de-DE" sz="1600" b="1" u="sng" dirty="0"/>
              <a:t>KVP App</a:t>
            </a:r>
            <a:r>
              <a:rPr lang="de-DE" sz="1600" u="sng" dirty="0"/>
              <a:t>:</a:t>
            </a:r>
          </a:p>
          <a:p>
            <a:pPr algn="l"/>
            <a:endParaRPr lang="de-DE" dirty="0"/>
          </a:p>
          <a:p>
            <a:pPr algn="l"/>
            <a:endParaRPr lang="de-DE" dirty="0"/>
          </a:p>
          <a:p>
            <a:pPr algn="l"/>
            <a:endParaRPr lang="de-DE" dirty="0"/>
          </a:p>
          <a:p>
            <a:pPr algn="l"/>
            <a:endParaRPr lang="de-DE" dirty="0" err="1"/>
          </a:p>
        </p:txBody>
      </p:sp>
      <p:sp>
        <p:nvSpPr>
          <p:cNvPr id="19" name="Textfeld 18">
            <a:extLst>
              <a:ext uri="{FF2B5EF4-FFF2-40B4-BE49-F238E27FC236}">
                <a16:creationId xmlns:a16="http://schemas.microsoft.com/office/drawing/2014/main" id="{8743BB85-B8FF-C287-21A0-7682C029362C}"/>
              </a:ext>
            </a:extLst>
          </p:cNvPr>
          <p:cNvSpPr txBox="1"/>
          <p:nvPr/>
        </p:nvSpPr>
        <p:spPr>
          <a:xfrm>
            <a:off x="8249548" y="2130456"/>
            <a:ext cx="3280817" cy="1292662"/>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400" dirty="0"/>
              <a:t>Selbst </a:t>
            </a:r>
            <a:r>
              <a:rPr lang="de-DE" sz="1400" b="1" dirty="0"/>
              <a:t>programmierte</a:t>
            </a:r>
            <a:r>
              <a:rPr lang="de-DE" sz="1400" dirty="0"/>
              <a:t> App, basierend auf </a:t>
            </a:r>
            <a:r>
              <a:rPr lang="de-DE" sz="1400" b="1" dirty="0"/>
              <a:t>Microsoft Power App´s</a:t>
            </a:r>
            <a:r>
              <a:rPr lang="de-DE" sz="1400" dirty="0"/>
              <a:t>.</a:t>
            </a:r>
          </a:p>
          <a:p>
            <a:pPr marL="285750" indent="-285750" algn="l">
              <a:buFont typeface="Wingdings" panose="05000000000000000000" pitchFamily="2" charset="2"/>
              <a:buChar char="§"/>
            </a:pPr>
            <a:r>
              <a:rPr lang="de-DE" sz="1400" dirty="0">
                <a:sym typeface="Wingdings" panose="05000000000000000000" pitchFamily="2" charset="2"/>
              </a:rPr>
              <a:t>Einfacher </a:t>
            </a:r>
            <a:r>
              <a:rPr lang="de-DE" sz="1400" b="1" dirty="0">
                <a:sym typeface="Wingdings" panose="05000000000000000000" pitchFamily="2" charset="2"/>
              </a:rPr>
              <a:t>selbsterklärender</a:t>
            </a:r>
            <a:r>
              <a:rPr lang="de-DE" sz="1400" dirty="0">
                <a:sym typeface="Wingdings" panose="05000000000000000000" pitchFamily="2" charset="2"/>
              </a:rPr>
              <a:t> Workflow für die </a:t>
            </a:r>
            <a:r>
              <a:rPr lang="de-DE" sz="1400" b="1" dirty="0">
                <a:sym typeface="Wingdings" panose="05000000000000000000" pitchFamily="2" charset="2"/>
              </a:rPr>
              <a:t>Erstellung</a:t>
            </a:r>
            <a:r>
              <a:rPr lang="de-DE" sz="1400" dirty="0">
                <a:sym typeface="Wingdings" panose="05000000000000000000" pitchFamily="2" charset="2"/>
              </a:rPr>
              <a:t> eines KVP´s.</a:t>
            </a:r>
          </a:p>
        </p:txBody>
      </p:sp>
      <p:sp>
        <p:nvSpPr>
          <p:cNvPr id="21" name="Textfeld 20">
            <a:extLst>
              <a:ext uri="{FF2B5EF4-FFF2-40B4-BE49-F238E27FC236}">
                <a16:creationId xmlns:a16="http://schemas.microsoft.com/office/drawing/2014/main" id="{82DAA785-33F6-8B63-0768-FFDDEBF9114D}"/>
              </a:ext>
            </a:extLst>
          </p:cNvPr>
          <p:cNvSpPr txBox="1"/>
          <p:nvPr/>
        </p:nvSpPr>
        <p:spPr>
          <a:xfrm>
            <a:off x="8008080" y="3504033"/>
            <a:ext cx="3218319" cy="1661993"/>
          </a:xfrm>
          <a:prstGeom prst="rect">
            <a:avLst/>
          </a:prstGeom>
          <a:noFill/>
        </p:spPr>
        <p:txBody>
          <a:bodyPr wrap="square" lIns="0" tIns="0" rIns="0" bIns="0" rtlCol="0">
            <a:spAutoFit/>
          </a:bodyPr>
          <a:lstStyle/>
          <a:p>
            <a:pPr algn="l"/>
            <a:endParaRPr lang="de-DE" b="1" i="1" dirty="0">
              <a:solidFill>
                <a:schemeClr val="accent4"/>
              </a:solidFill>
              <a:sym typeface="Wingdings" panose="05000000000000000000" pitchFamily="2" charset="2"/>
            </a:endParaRPr>
          </a:p>
          <a:p>
            <a:r>
              <a:rPr lang="de-DE" i="1" dirty="0">
                <a:solidFill>
                  <a:schemeClr val="accent4"/>
                </a:solidFill>
                <a:sym typeface="Wingdings" panose="05000000000000000000" pitchFamily="2" charset="2"/>
              </a:rPr>
              <a:t> „Interesse geweckt? </a:t>
            </a:r>
            <a:r>
              <a:rPr lang="de-DE" b="1" i="1" dirty="0">
                <a:solidFill>
                  <a:schemeClr val="accent4"/>
                </a:solidFill>
                <a:sym typeface="Wingdings" panose="05000000000000000000" pitchFamily="2" charset="2"/>
              </a:rPr>
              <a:t>Detaillierte Vorstellung </a:t>
            </a:r>
            <a:r>
              <a:rPr lang="de-DE" i="1" dirty="0">
                <a:solidFill>
                  <a:schemeClr val="accent4"/>
                </a:solidFill>
                <a:sym typeface="Wingdings" panose="05000000000000000000" pitchFamily="2" charset="2"/>
              </a:rPr>
              <a:t> bei den Infomeilen.“</a:t>
            </a:r>
            <a:endParaRPr lang="de-DE" b="1" i="1" dirty="0">
              <a:solidFill>
                <a:schemeClr val="accent4"/>
              </a:solidFill>
              <a:sym typeface="Wingdings" panose="05000000000000000000" pitchFamily="2" charset="2"/>
            </a:endParaRPr>
          </a:p>
          <a:p>
            <a:pPr marL="285750" indent="-285750" algn="l">
              <a:buFont typeface="Wingdings" panose="05000000000000000000" pitchFamily="2" charset="2"/>
              <a:buChar char="§"/>
            </a:pPr>
            <a:endParaRPr lang="de-DE" b="1" i="1" dirty="0">
              <a:solidFill>
                <a:schemeClr val="accent4"/>
              </a:solidFill>
              <a:sym typeface="Wingdings" panose="05000000000000000000" pitchFamily="2" charset="2"/>
            </a:endParaRPr>
          </a:p>
          <a:p>
            <a:pPr marL="285750" indent="-285750" algn="l">
              <a:buFont typeface="Wingdings" panose="05000000000000000000" pitchFamily="2" charset="2"/>
              <a:buChar char="§"/>
            </a:pPr>
            <a:endParaRPr lang="de-DE" b="1" i="1" dirty="0">
              <a:solidFill>
                <a:schemeClr val="accent4"/>
              </a:solidFill>
            </a:endParaRPr>
          </a:p>
        </p:txBody>
      </p:sp>
    </p:spTree>
    <p:extLst>
      <p:ext uri="{BB962C8B-B14F-4D97-AF65-F5344CB8AC3E}">
        <p14:creationId xmlns:p14="http://schemas.microsoft.com/office/powerpoint/2010/main" val="3698303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kt 8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88" name="Objekt 8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oliennummernplatzhalter 11"/>
          <p:cNvSpPr>
            <a:spLocks noGrp="1"/>
          </p:cNvSpPr>
          <p:nvPr>
            <p:ph type="sldNum" sz="quarter" idx="15"/>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de-DE" smtClean="0"/>
              <a:pPr/>
              <a:t>3</a:t>
            </a:fld>
            <a:r>
              <a:rPr lang="de-DE"/>
              <a:t>  </a:t>
            </a:r>
            <a:r>
              <a:rPr lang="de-DE" b="0">
                <a:solidFill>
                  <a:schemeClr val="accent1"/>
                </a:solidFill>
              </a:rPr>
              <a:t>|</a:t>
            </a:r>
            <a:endParaRPr lang="de-DE" sz="900" b="0" dirty="0">
              <a:solidFill>
                <a:schemeClr val="accent1"/>
              </a:solidFill>
            </a:endParaRPr>
          </a:p>
        </p:txBody>
      </p:sp>
      <p:sp>
        <p:nvSpPr>
          <p:cNvPr id="39" name="Rechteck 38"/>
          <p:cNvSpPr/>
          <p:nvPr/>
        </p:nvSpPr>
        <p:spPr>
          <a:xfrm>
            <a:off x="1779037" y="1203040"/>
            <a:ext cx="5733137" cy="3735144"/>
          </a:xfrm>
          <a:custGeom>
            <a:avLst/>
            <a:gdLst>
              <a:gd name="connsiteX0" fmla="*/ 0 w 5733137"/>
              <a:gd name="connsiteY0" fmla="*/ 0 h 3735144"/>
              <a:gd name="connsiteX1" fmla="*/ 5733137 w 5733137"/>
              <a:gd name="connsiteY1" fmla="*/ 0 h 3735144"/>
              <a:gd name="connsiteX2" fmla="*/ 5733137 w 5733137"/>
              <a:gd name="connsiteY2" fmla="*/ 3735144 h 3735144"/>
              <a:gd name="connsiteX3" fmla="*/ 0 w 5733137"/>
              <a:gd name="connsiteY3" fmla="*/ 3735144 h 3735144"/>
              <a:gd name="connsiteX4" fmla="*/ 0 w 5733137"/>
              <a:gd name="connsiteY4" fmla="*/ 0 h 37351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33137" h="3735144" extrusionOk="0">
                <a:moveTo>
                  <a:pt x="0" y="0"/>
                </a:moveTo>
                <a:cubicBezTo>
                  <a:pt x="1638266" y="-5264"/>
                  <a:pt x="4852136" y="84467"/>
                  <a:pt x="5733137" y="0"/>
                </a:cubicBezTo>
                <a:cubicBezTo>
                  <a:pt x="5604964" y="1485310"/>
                  <a:pt x="5862287" y="2909765"/>
                  <a:pt x="5733137" y="3735144"/>
                </a:cubicBezTo>
                <a:cubicBezTo>
                  <a:pt x="4684363" y="3841464"/>
                  <a:pt x="1387373" y="3727495"/>
                  <a:pt x="0" y="3735144"/>
                </a:cubicBezTo>
                <a:cubicBezTo>
                  <a:pt x="160128" y="2850150"/>
                  <a:pt x="25049" y="577738"/>
                  <a:pt x="0" y="0"/>
                </a:cubicBezTo>
                <a:close/>
              </a:path>
            </a:pathLst>
          </a:custGeom>
          <a:noFill/>
          <a:ln w="28575" cap="flat" cmpd="sng" algn="ctr">
            <a:solidFill>
              <a:schemeClr val="hlink"/>
            </a:solidFill>
            <a:prstDash val="solid"/>
            <a:round/>
            <a:headEnd type="none" w="med" len="med"/>
            <a:tailEnd type="none" w="med" len="med"/>
            <a:extLst>
              <a:ext uri="{C807C97D-BFC1-408E-A445-0C87EB9F89A2}">
                <ask:lineSketchStyleProps xmlns:ask="http://schemas.microsoft.com/office/drawing/2018/sketchyshapes" sd="2650216993">
                  <a:prstGeom prst="rect">
                    <a:avLst/>
                  </a:prstGeom>
                  <ask:type>
                    <ask:lineSketchCurved/>
                  </ask:type>
                </ask:lineSketchStyleProps>
              </a:ext>
            </a:extLst>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0" name="Ellipse 39"/>
          <p:cNvSpPr/>
          <p:nvPr/>
        </p:nvSpPr>
        <p:spPr>
          <a:xfrm>
            <a:off x="7177043" y="2631707"/>
            <a:ext cx="714938" cy="764293"/>
          </a:xfrm>
          <a:prstGeom prst="ellipse">
            <a:avLst/>
          </a:prstGeom>
          <a:solidFill>
            <a:srgbClr val="FFFFFF"/>
          </a:solidFill>
          <a:ln w="127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1" name="Freihandform 40"/>
          <p:cNvSpPr/>
          <p:nvPr/>
        </p:nvSpPr>
        <p:spPr>
          <a:xfrm>
            <a:off x="8011118" y="2097301"/>
            <a:ext cx="1365046" cy="1590400"/>
          </a:xfrm>
          <a:custGeom>
            <a:avLst/>
            <a:gdLst>
              <a:gd name="connsiteX0" fmla="*/ 2067339 w 2067339"/>
              <a:gd name="connsiteY0" fmla="*/ 612913 h 1348409"/>
              <a:gd name="connsiteX1" fmla="*/ 1789043 w 2067339"/>
              <a:gd name="connsiteY1" fmla="*/ 125896 h 1348409"/>
              <a:gd name="connsiteX2" fmla="*/ 1441174 w 2067339"/>
              <a:gd name="connsiteY2" fmla="*/ 1278835 h 1348409"/>
              <a:gd name="connsiteX3" fmla="*/ 1202635 w 2067339"/>
              <a:gd name="connsiteY3" fmla="*/ 543339 h 1348409"/>
              <a:gd name="connsiteX4" fmla="*/ 1063487 w 2067339"/>
              <a:gd name="connsiteY4" fmla="*/ 1030357 h 1348409"/>
              <a:gd name="connsiteX5" fmla="*/ 755374 w 2067339"/>
              <a:gd name="connsiteY5" fmla="*/ 26504 h 1348409"/>
              <a:gd name="connsiteX6" fmla="*/ 506896 w 2067339"/>
              <a:gd name="connsiteY6" fmla="*/ 1189383 h 1348409"/>
              <a:gd name="connsiteX7" fmla="*/ 198783 w 2067339"/>
              <a:gd name="connsiteY7" fmla="*/ 612913 h 1348409"/>
              <a:gd name="connsiteX8" fmla="*/ 0 w 2067339"/>
              <a:gd name="connsiteY8" fmla="*/ 781878 h 134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7339" h="1348409">
                <a:moveTo>
                  <a:pt x="2067339" y="612913"/>
                </a:moveTo>
                <a:cubicBezTo>
                  <a:pt x="1980371" y="313911"/>
                  <a:pt x="1893404" y="14909"/>
                  <a:pt x="1789043" y="125896"/>
                </a:cubicBezTo>
                <a:cubicBezTo>
                  <a:pt x="1684682" y="236883"/>
                  <a:pt x="1538909" y="1209261"/>
                  <a:pt x="1441174" y="1278835"/>
                </a:cubicBezTo>
                <a:cubicBezTo>
                  <a:pt x="1343439" y="1348409"/>
                  <a:pt x="1265583" y="584752"/>
                  <a:pt x="1202635" y="543339"/>
                </a:cubicBezTo>
                <a:cubicBezTo>
                  <a:pt x="1139687" y="501926"/>
                  <a:pt x="1138030" y="1116496"/>
                  <a:pt x="1063487" y="1030357"/>
                </a:cubicBezTo>
                <a:cubicBezTo>
                  <a:pt x="988944" y="944218"/>
                  <a:pt x="848139" y="0"/>
                  <a:pt x="755374" y="26504"/>
                </a:cubicBezTo>
                <a:cubicBezTo>
                  <a:pt x="662609" y="53008"/>
                  <a:pt x="599661" y="1091648"/>
                  <a:pt x="506896" y="1189383"/>
                </a:cubicBezTo>
                <a:cubicBezTo>
                  <a:pt x="414131" y="1287118"/>
                  <a:pt x="283266" y="680830"/>
                  <a:pt x="198783" y="612913"/>
                </a:cubicBezTo>
                <a:cubicBezTo>
                  <a:pt x="114300" y="544996"/>
                  <a:pt x="57150" y="663437"/>
                  <a:pt x="0" y="781878"/>
                </a:cubicBezTo>
              </a:path>
            </a:pathLst>
          </a:custGeom>
          <a:noFill/>
          <a:ln w="38100" cap="flat" cmpd="sng" algn="ctr">
            <a:solidFill>
              <a:schemeClr val="hlink"/>
            </a:solidFill>
            <a:prstDash val="solid"/>
            <a:round/>
            <a:headEnd type="none" w="med" len="med"/>
            <a:tailEnd type="none" w="med" len="med"/>
          </a:ln>
          <a:effectLst/>
        </p:spPr>
        <p:txBody>
          <a:bodyPr rtlCol="0" anchor="ct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900" b="0" i="0" u="none" strike="noStrike" kern="0" cap="none" spc="0" normalizeH="0" baseline="0" noProof="0">
              <a:ln>
                <a:noFill/>
              </a:ln>
              <a:solidFill>
                <a:prstClr val="black"/>
              </a:solidFill>
              <a:effectLst/>
              <a:uLnTx/>
              <a:uFillTx/>
              <a:latin typeface="Arial"/>
              <a:ea typeface="+mn-ea"/>
              <a:cs typeface="+mn-cs"/>
            </a:endParaRPr>
          </a:p>
        </p:txBody>
      </p:sp>
      <p:sp>
        <p:nvSpPr>
          <p:cNvPr id="42" name="Rechteck 41"/>
          <p:cNvSpPr/>
          <p:nvPr/>
        </p:nvSpPr>
        <p:spPr>
          <a:xfrm>
            <a:off x="2997654" y="2353792"/>
            <a:ext cx="2931565" cy="1280603"/>
          </a:xfrm>
          <a:prstGeom prst="rect">
            <a:avLst/>
          </a:prstGeom>
          <a:noFill/>
          <a:ln w="28575" cap="flat" cmpd="sng" algn="ctr">
            <a:solidFill>
              <a:schemeClr val="hlink"/>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3" name="Richtungspfeil 42"/>
          <p:cNvSpPr/>
          <p:nvPr/>
        </p:nvSpPr>
        <p:spPr>
          <a:xfrm>
            <a:off x="3132930" y="2732413"/>
            <a:ext cx="764446" cy="571606"/>
          </a:xfrm>
          <a:prstGeom prst="homePlate">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4" name="Eingekerbter Richtungspfeil 89"/>
          <p:cNvSpPr/>
          <p:nvPr/>
        </p:nvSpPr>
        <p:spPr>
          <a:xfrm>
            <a:off x="3714643" y="2732413"/>
            <a:ext cx="819807" cy="571606"/>
          </a:xfrm>
          <a:prstGeom prst="chevron">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5" name="Eingekerbter Richtungspfeil 93"/>
          <p:cNvSpPr/>
          <p:nvPr/>
        </p:nvSpPr>
        <p:spPr>
          <a:xfrm>
            <a:off x="4988789" y="2732413"/>
            <a:ext cx="819807" cy="571606"/>
          </a:xfrm>
          <a:prstGeom prst="chevron">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6" name="Eingekerbter Richtungspfeil 94"/>
          <p:cNvSpPr/>
          <p:nvPr/>
        </p:nvSpPr>
        <p:spPr>
          <a:xfrm>
            <a:off x="4351717" y="2732413"/>
            <a:ext cx="819807" cy="571606"/>
          </a:xfrm>
          <a:prstGeom prst="chevron">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7" name="Flussdiagramm: Auszug 46"/>
          <p:cNvSpPr/>
          <p:nvPr/>
        </p:nvSpPr>
        <p:spPr>
          <a:xfrm>
            <a:off x="9516546" y="2097301"/>
            <a:ext cx="1199007" cy="967136"/>
          </a:xfrm>
          <a:prstGeom prst="flowChartExtract">
            <a:avLst/>
          </a:prstGeom>
          <a:noFill/>
          <a:ln w="38100" cap="flat" cmpd="sng" algn="ctr">
            <a:solidFill>
              <a:schemeClr val="hlink"/>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48" name="Textfeld 47"/>
          <p:cNvSpPr txBox="1"/>
          <p:nvPr/>
        </p:nvSpPr>
        <p:spPr>
          <a:xfrm>
            <a:off x="9957174" y="2048437"/>
            <a:ext cx="317750" cy="336879"/>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800" b="1" i="0" u="none" strike="noStrike" kern="0" cap="none" spc="0" normalizeH="0" baseline="0" noProof="0" dirty="0">
                <a:ln>
                  <a:noFill/>
                </a:ln>
                <a:solidFill>
                  <a:schemeClr val="hlink"/>
                </a:solidFill>
                <a:effectLst/>
                <a:uLnTx/>
                <a:uFillTx/>
              </a:rPr>
              <a:t>Q</a:t>
            </a:r>
          </a:p>
        </p:txBody>
      </p:sp>
      <p:sp>
        <p:nvSpPr>
          <p:cNvPr id="53" name="Textfeld 52"/>
          <p:cNvSpPr txBox="1"/>
          <p:nvPr/>
        </p:nvSpPr>
        <p:spPr>
          <a:xfrm>
            <a:off x="9357671" y="2895999"/>
            <a:ext cx="317750" cy="336879"/>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800" b="1" i="0" u="none" strike="noStrike" kern="0" cap="none" spc="0" normalizeH="0" baseline="0" noProof="0" dirty="0">
                <a:ln>
                  <a:noFill/>
                </a:ln>
                <a:solidFill>
                  <a:schemeClr val="hlink"/>
                </a:solidFill>
                <a:effectLst/>
                <a:uLnTx/>
                <a:uFillTx/>
              </a:rPr>
              <a:t>K</a:t>
            </a:r>
          </a:p>
        </p:txBody>
      </p:sp>
      <p:sp>
        <p:nvSpPr>
          <p:cNvPr id="56" name="Textfeld 55"/>
          <p:cNvSpPr txBox="1"/>
          <p:nvPr/>
        </p:nvSpPr>
        <p:spPr>
          <a:xfrm>
            <a:off x="10548180" y="2895999"/>
            <a:ext cx="317750" cy="336879"/>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800" b="1" i="0" u="none" strike="noStrike" kern="0" cap="none" spc="0" normalizeH="0" baseline="0" noProof="0" dirty="0">
                <a:ln>
                  <a:noFill/>
                </a:ln>
                <a:solidFill>
                  <a:schemeClr val="hlink"/>
                </a:solidFill>
                <a:effectLst/>
                <a:uLnTx/>
                <a:uFillTx/>
              </a:rPr>
              <a:t>T</a:t>
            </a:r>
          </a:p>
        </p:txBody>
      </p:sp>
      <p:sp>
        <p:nvSpPr>
          <p:cNvPr id="57" name="Textfeld 56"/>
          <p:cNvSpPr txBox="1"/>
          <p:nvPr/>
        </p:nvSpPr>
        <p:spPr>
          <a:xfrm>
            <a:off x="9587696" y="2615677"/>
            <a:ext cx="1033676" cy="325145"/>
          </a:xfrm>
          <a:prstGeom prst="rect">
            <a:avLst/>
          </a:prstGeom>
          <a:no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400" b="1" i="0" u="none" strike="noStrike" kern="0" cap="none" spc="0" normalizeH="0" baseline="0" noProof="0" dirty="0">
                <a:ln>
                  <a:noFill/>
                </a:ln>
                <a:solidFill>
                  <a:schemeClr val="hlink"/>
                </a:solidFill>
                <a:effectLst/>
                <a:uLnTx/>
                <a:uFillTx/>
              </a:rPr>
              <a:t>Kunde</a:t>
            </a:r>
          </a:p>
        </p:txBody>
      </p:sp>
      <p:sp>
        <p:nvSpPr>
          <p:cNvPr id="58" name="Gestreifter Pfeil nach rechts 57"/>
          <p:cNvSpPr/>
          <p:nvPr/>
        </p:nvSpPr>
        <p:spPr>
          <a:xfrm>
            <a:off x="1918176" y="2668671"/>
            <a:ext cx="1079477" cy="571606"/>
          </a:xfrm>
          <a:prstGeom prst="stripedRightArrow">
            <a:avLst/>
          </a:prstGeom>
          <a:solidFill>
            <a:srgbClr val="D0D0D0"/>
          </a:solidFill>
          <a:ln w="12700" cap="flat" cmpd="sng" algn="ctr">
            <a:solidFill>
              <a:schemeClr val="hlink"/>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latin typeface="Arial"/>
                <a:ea typeface="+mn-ea"/>
                <a:cs typeface="+mn-cs"/>
              </a:rPr>
              <a:t>INPUT</a:t>
            </a:r>
          </a:p>
        </p:txBody>
      </p:sp>
      <p:sp>
        <p:nvSpPr>
          <p:cNvPr id="59" name="Gestreifter Pfeil nach rechts 58"/>
          <p:cNvSpPr/>
          <p:nvPr/>
        </p:nvSpPr>
        <p:spPr>
          <a:xfrm>
            <a:off x="5929220" y="2668671"/>
            <a:ext cx="1079477" cy="571606"/>
          </a:xfrm>
          <a:prstGeom prst="stripedRightArrow">
            <a:avLst/>
          </a:prstGeom>
          <a:solidFill>
            <a:srgbClr val="D0D0D0"/>
          </a:solidFill>
          <a:ln w="12700" cap="flat" cmpd="sng" algn="ctr">
            <a:solidFill>
              <a:schemeClr val="hlink"/>
            </a:solidFill>
            <a:prstDash val="solid"/>
            <a:round/>
            <a:headEnd type="none" w="med" len="med"/>
            <a:tailEnd type="none" w="med" len="med"/>
          </a:ln>
          <a:effectLst/>
        </p:spPr>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latin typeface="Arial"/>
                <a:ea typeface="+mn-ea"/>
                <a:cs typeface="+mn-cs"/>
              </a:rPr>
              <a:t>OUTPUT</a:t>
            </a:r>
          </a:p>
        </p:txBody>
      </p:sp>
      <p:sp>
        <p:nvSpPr>
          <p:cNvPr id="60" name="Gebogener Pfeil 59"/>
          <p:cNvSpPr/>
          <p:nvPr/>
        </p:nvSpPr>
        <p:spPr>
          <a:xfrm rot="7909141">
            <a:off x="6940865" y="2469397"/>
            <a:ext cx="1153997" cy="1079477"/>
          </a:xfrm>
          <a:prstGeom prst="circularArrow">
            <a:avLst>
              <a:gd name="adj1" fmla="val 15068"/>
              <a:gd name="adj2" fmla="val 1142319"/>
              <a:gd name="adj3" fmla="val 20404266"/>
              <a:gd name="adj4" fmla="val 14566063"/>
              <a:gd name="adj5" fmla="val 12500"/>
            </a:avLst>
          </a:prstGeom>
          <a:solidFill>
            <a:schemeClr val="hlink"/>
          </a:solidFill>
          <a:ln w="127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1" i="0" u="none" strike="noStrike" kern="0" cap="none" spc="0" normalizeH="0" baseline="0" noProof="0" dirty="0">
              <a:ln>
                <a:noFill/>
              </a:ln>
              <a:solidFill>
                <a:prstClr val="black"/>
              </a:solidFill>
              <a:effectLst/>
              <a:uLnTx/>
              <a:uFillTx/>
              <a:latin typeface="Arial"/>
              <a:ea typeface="+mn-ea"/>
              <a:cs typeface="+mn-cs"/>
            </a:endParaRPr>
          </a:p>
        </p:txBody>
      </p:sp>
      <p:sp>
        <p:nvSpPr>
          <p:cNvPr id="61" name="Gebogener Pfeil 60"/>
          <p:cNvSpPr/>
          <p:nvPr/>
        </p:nvSpPr>
        <p:spPr>
          <a:xfrm rot="715302">
            <a:off x="6980369" y="2454357"/>
            <a:ext cx="1079477" cy="1153997"/>
          </a:xfrm>
          <a:prstGeom prst="circularArrow">
            <a:avLst>
              <a:gd name="adj1" fmla="val 15264"/>
              <a:gd name="adj2" fmla="val 1142319"/>
              <a:gd name="adj3" fmla="val 20355630"/>
              <a:gd name="adj4" fmla="val 14170270"/>
              <a:gd name="adj5" fmla="val 12500"/>
            </a:avLst>
          </a:prstGeom>
          <a:solidFill>
            <a:schemeClr val="hlink"/>
          </a:solidFill>
          <a:ln w="127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62" name="Gebogener Pfeil 61"/>
          <p:cNvSpPr/>
          <p:nvPr/>
        </p:nvSpPr>
        <p:spPr>
          <a:xfrm rot="14811822">
            <a:off x="6946368" y="2478547"/>
            <a:ext cx="1153997" cy="1079477"/>
          </a:xfrm>
          <a:prstGeom prst="circularArrow">
            <a:avLst>
              <a:gd name="adj1" fmla="val 15192"/>
              <a:gd name="adj2" fmla="val 1142319"/>
              <a:gd name="adj3" fmla="val 20305427"/>
              <a:gd name="adj4" fmla="val 14710152"/>
              <a:gd name="adj5" fmla="val 12500"/>
            </a:avLst>
          </a:prstGeom>
          <a:solidFill>
            <a:schemeClr val="hlink"/>
          </a:solidFill>
          <a:ln w="12700" cap="flat" cmpd="sng" algn="ctr">
            <a:solidFill>
              <a:srgbClr val="FF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dirty="0">
              <a:ln>
                <a:noFill/>
              </a:ln>
              <a:solidFill>
                <a:prstClr val="black"/>
              </a:solidFill>
              <a:effectLst/>
              <a:uLnTx/>
              <a:uFillTx/>
              <a:latin typeface="Arial"/>
              <a:ea typeface="+mn-ea"/>
              <a:cs typeface="+mn-cs"/>
            </a:endParaRPr>
          </a:p>
        </p:txBody>
      </p:sp>
      <p:sp>
        <p:nvSpPr>
          <p:cNvPr id="63" name="Textfeld 62"/>
          <p:cNvSpPr txBox="1"/>
          <p:nvPr/>
        </p:nvSpPr>
        <p:spPr>
          <a:xfrm>
            <a:off x="3132929" y="2229893"/>
            <a:ext cx="992969" cy="319374"/>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rPr>
              <a:t>PROZESS</a:t>
            </a:r>
          </a:p>
        </p:txBody>
      </p:sp>
      <p:sp>
        <p:nvSpPr>
          <p:cNvPr id="65" name="Textfeld 64"/>
          <p:cNvSpPr txBox="1"/>
          <p:nvPr/>
        </p:nvSpPr>
        <p:spPr>
          <a:xfrm rot="10030468">
            <a:off x="7277746" y="3121390"/>
            <a:ext cx="581265" cy="293071"/>
          </a:xfrm>
          <a:prstGeom prst="rect">
            <a:avLst/>
          </a:prstGeom>
        </p:spPr>
        <p:txBody>
          <a:bodyPr vert="horz" wrap="square" lIns="0" tIns="0" rIns="0" bIns="0" rtlCol="0">
            <a:prstTxWarp prst="textArchUp">
              <a:avLst>
                <a:gd name="adj" fmla="val 10827938"/>
              </a:avLst>
            </a:prstTxWarp>
            <a:noAutofit/>
          </a:bodyPr>
          <a:lstStyle/>
          <a:p>
            <a:pPr marL="0" marR="0" lvl="0" indent="0" defTabSz="957835" eaLnBrk="1" fontAlgn="auto" latinLnBrk="0" hangingPunct="1">
              <a:lnSpc>
                <a:spcPts val="2200"/>
              </a:lnSpc>
              <a:spcBef>
                <a:spcPts val="0"/>
              </a:spcBef>
              <a:spcAft>
                <a:spcPts val="0"/>
              </a:spcAft>
              <a:buClrTx/>
              <a:buSzTx/>
              <a:buFontTx/>
              <a:buNone/>
              <a:tabLst/>
              <a:defRPr/>
            </a:pPr>
            <a:r>
              <a:rPr kumimoji="0" lang="de-DE" sz="800" b="1" i="0" u="none" strike="noStrike" kern="0" cap="none" spc="0" normalizeH="0" baseline="0" noProof="0" dirty="0">
                <a:ln>
                  <a:noFill/>
                </a:ln>
                <a:solidFill>
                  <a:srgbClr val="FFFFFF"/>
                </a:solidFill>
                <a:effectLst/>
                <a:uLnTx/>
                <a:uFillTx/>
              </a:rPr>
              <a:t>BESTAND</a:t>
            </a:r>
          </a:p>
        </p:txBody>
      </p:sp>
      <p:sp>
        <p:nvSpPr>
          <p:cNvPr id="69" name="Textfeld 68"/>
          <p:cNvSpPr txBox="1"/>
          <p:nvPr/>
        </p:nvSpPr>
        <p:spPr>
          <a:xfrm rot="16391367">
            <a:off x="7056075" y="2875173"/>
            <a:ext cx="432539" cy="274146"/>
          </a:xfrm>
          <a:prstGeom prst="rect">
            <a:avLst/>
          </a:prstGeom>
        </p:spPr>
        <p:txBody>
          <a:bodyPr vert="horz" wrap="square" lIns="0" tIns="0" rIns="0" bIns="0" rtlCol="0">
            <a:prstTxWarp prst="textArchUp">
              <a:avLst>
                <a:gd name="adj" fmla="val 13454545"/>
              </a:avLst>
            </a:prstTxWarp>
            <a:noAutofit/>
          </a:bodyPr>
          <a:lstStyle/>
          <a:p>
            <a:pPr marL="0" marR="0" lvl="0" indent="0" defTabSz="957835" eaLnBrk="1" fontAlgn="auto" latinLnBrk="0" hangingPunct="1">
              <a:lnSpc>
                <a:spcPts val="2200"/>
              </a:lnSpc>
              <a:spcBef>
                <a:spcPts val="0"/>
              </a:spcBef>
              <a:spcAft>
                <a:spcPts val="0"/>
              </a:spcAft>
              <a:buClrTx/>
              <a:buSzTx/>
              <a:buFontTx/>
              <a:buNone/>
              <a:tabLst/>
              <a:defRPr/>
            </a:pPr>
            <a:r>
              <a:rPr kumimoji="0" lang="de-DE" sz="800" b="1" i="0" u="none" strike="noStrike" kern="0" cap="none" spc="0" normalizeH="0" baseline="0" noProof="0" dirty="0">
                <a:ln>
                  <a:noFill/>
                </a:ln>
                <a:solidFill>
                  <a:srgbClr val="FFFFFF"/>
                </a:solidFill>
                <a:effectLst/>
                <a:uLnTx/>
                <a:uFillTx/>
              </a:rPr>
              <a:t>ZEIT</a:t>
            </a:r>
          </a:p>
        </p:txBody>
      </p:sp>
      <p:sp>
        <p:nvSpPr>
          <p:cNvPr id="70" name="Textfeld 69"/>
          <p:cNvSpPr txBox="1"/>
          <p:nvPr/>
        </p:nvSpPr>
        <p:spPr>
          <a:xfrm rot="2718653">
            <a:off x="7368677" y="2703368"/>
            <a:ext cx="621392" cy="274146"/>
          </a:xfrm>
          <a:prstGeom prst="rect">
            <a:avLst/>
          </a:prstGeom>
        </p:spPr>
        <p:txBody>
          <a:bodyPr vert="horz" wrap="square" lIns="0" tIns="0" rIns="0" bIns="0" rtlCol="0">
            <a:prstTxWarp prst="textArchUp">
              <a:avLst>
                <a:gd name="adj" fmla="val 10961295"/>
              </a:avLst>
            </a:prstTxWarp>
            <a:noAutofit/>
          </a:bodyPr>
          <a:lstStyle/>
          <a:p>
            <a:pPr marL="0" marR="0" lvl="0" indent="0" defTabSz="957835" eaLnBrk="1" fontAlgn="auto" latinLnBrk="0" hangingPunct="1">
              <a:lnSpc>
                <a:spcPts val="2200"/>
              </a:lnSpc>
              <a:spcBef>
                <a:spcPts val="0"/>
              </a:spcBef>
              <a:spcAft>
                <a:spcPts val="0"/>
              </a:spcAft>
              <a:buClrTx/>
              <a:buSzTx/>
              <a:buFontTx/>
              <a:buNone/>
              <a:tabLst/>
              <a:defRPr/>
            </a:pPr>
            <a:r>
              <a:rPr kumimoji="0" lang="de-DE" sz="800" b="1" i="1" u="none" strike="noStrike" kern="0" cap="none" spc="0" normalizeH="0" baseline="0" noProof="0" dirty="0">
                <a:ln>
                  <a:noFill/>
                </a:ln>
                <a:solidFill>
                  <a:srgbClr val="FFFFFF"/>
                </a:solidFill>
                <a:effectLst/>
                <a:uLnTx/>
                <a:uFillTx/>
              </a:rPr>
              <a:t>KAPAZITÄT</a:t>
            </a:r>
          </a:p>
        </p:txBody>
      </p:sp>
      <p:sp>
        <p:nvSpPr>
          <p:cNvPr id="71" name="Textfeld 70"/>
          <p:cNvSpPr txBox="1"/>
          <p:nvPr/>
        </p:nvSpPr>
        <p:spPr>
          <a:xfrm>
            <a:off x="6803754" y="2825131"/>
            <a:ext cx="1418002" cy="418512"/>
          </a:xfrm>
          <a:prstGeom prst="rect">
            <a:avLst/>
          </a:prstGeom>
          <a:noFill/>
        </p:spPr>
        <p:txBody>
          <a:bodyPr vert="horz" wrap="square" lIns="0" tIns="36000" rIns="0" bIns="36000" rtlCol="0" anchor="ctr">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000" b="1" i="0" u="none" strike="noStrike" kern="0" cap="none" spc="0" normalizeH="0" baseline="0" noProof="0" dirty="0">
                <a:ln>
                  <a:noFill/>
                </a:ln>
                <a:solidFill>
                  <a:schemeClr val="hlink"/>
                </a:solidFill>
                <a:effectLst/>
                <a:uLnTx/>
                <a:uFillTx/>
              </a:rPr>
              <a:t>SYSTEM</a:t>
            </a:r>
            <a:br>
              <a:rPr kumimoji="0" lang="de-DE" sz="1000" b="1" i="0" u="none" strike="noStrike" kern="0" cap="none" spc="0" normalizeH="0" baseline="0" noProof="0" dirty="0">
                <a:ln>
                  <a:noFill/>
                </a:ln>
                <a:solidFill>
                  <a:schemeClr val="hlink"/>
                </a:solidFill>
                <a:effectLst/>
                <a:uLnTx/>
                <a:uFillTx/>
              </a:rPr>
            </a:br>
            <a:r>
              <a:rPr kumimoji="0" lang="de-DE" sz="1000" b="1" i="0" u="none" strike="noStrike" kern="0" cap="none" spc="0" normalizeH="0" baseline="0" noProof="0" dirty="0">
                <a:ln>
                  <a:noFill/>
                </a:ln>
                <a:solidFill>
                  <a:schemeClr val="hlink"/>
                </a:solidFill>
                <a:effectLst/>
                <a:uLnTx/>
                <a:uFillTx/>
              </a:rPr>
              <a:t> PUFFER</a:t>
            </a:r>
          </a:p>
        </p:txBody>
      </p:sp>
      <p:sp>
        <p:nvSpPr>
          <p:cNvPr id="72" name="Textfeld 71"/>
          <p:cNvSpPr txBox="1"/>
          <p:nvPr/>
        </p:nvSpPr>
        <p:spPr>
          <a:xfrm rot="10030468">
            <a:off x="6572601" y="4461482"/>
            <a:ext cx="581265" cy="293071"/>
          </a:xfrm>
          <a:prstGeom prst="rect">
            <a:avLst/>
          </a:prstGeom>
        </p:spPr>
        <p:txBody>
          <a:bodyPr vert="horz" wrap="square" lIns="0" tIns="0" rIns="0" bIns="0" rtlCol="0">
            <a:prstTxWarp prst="textArchUp">
              <a:avLst>
                <a:gd name="adj" fmla="val 10827938"/>
              </a:avLst>
            </a:prstTxWarp>
            <a:noAutofit/>
          </a:bodyPr>
          <a:lstStyle/>
          <a:p>
            <a:pPr marL="0" marR="0" lvl="0" indent="0" defTabSz="957835" eaLnBrk="1" fontAlgn="auto" latinLnBrk="0" hangingPunct="1">
              <a:lnSpc>
                <a:spcPts val="2200"/>
              </a:lnSpc>
              <a:spcBef>
                <a:spcPts val="0"/>
              </a:spcBef>
              <a:spcAft>
                <a:spcPts val="0"/>
              </a:spcAft>
              <a:buClrTx/>
              <a:buSzTx/>
              <a:buFontTx/>
              <a:buNone/>
              <a:tabLst/>
              <a:defRPr/>
            </a:pPr>
            <a:r>
              <a:rPr kumimoji="0" lang="de-DE" sz="800" b="1" i="0" u="none" strike="noStrike" kern="0" cap="none" spc="0" normalizeH="0" baseline="0" noProof="0" dirty="0">
                <a:ln>
                  <a:noFill/>
                </a:ln>
                <a:solidFill>
                  <a:srgbClr val="FFFFFF"/>
                </a:solidFill>
                <a:effectLst/>
                <a:uLnTx/>
                <a:uFillTx/>
              </a:rPr>
              <a:t>BESTAND</a:t>
            </a:r>
          </a:p>
        </p:txBody>
      </p:sp>
      <p:sp>
        <p:nvSpPr>
          <p:cNvPr id="73" name="Textfeld 72"/>
          <p:cNvSpPr txBox="1"/>
          <p:nvPr/>
        </p:nvSpPr>
        <p:spPr>
          <a:xfrm rot="17320896">
            <a:off x="6350930" y="4164336"/>
            <a:ext cx="432539" cy="274146"/>
          </a:xfrm>
          <a:prstGeom prst="rect">
            <a:avLst/>
          </a:prstGeom>
        </p:spPr>
        <p:txBody>
          <a:bodyPr vert="horz" wrap="square" lIns="0" tIns="0" rIns="0" bIns="0" rtlCol="0">
            <a:prstTxWarp prst="textArchUp">
              <a:avLst>
                <a:gd name="adj" fmla="val 13454545"/>
              </a:avLst>
            </a:prstTxWarp>
            <a:noAutofit/>
          </a:bodyPr>
          <a:lstStyle/>
          <a:p>
            <a:pPr marL="0" marR="0" lvl="0" indent="0" defTabSz="957835" eaLnBrk="1" fontAlgn="auto" latinLnBrk="0" hangingPunct="1">
              <a:lnSpc>
                <a:spcPts val="2200"/>
              </a:lnSpc>
              <a:spcBef>
                <a:spcPts val="0"/>
              </a:spcBef>
              <a:spcAft>
                <a:spcPts val="0"/>
              </a:spcAft>
              <a:buClrTx/>
              <a:buSzTx/>
              <a:buFontTx/>
              <a:buNone/>
              <a:tabLst/>
              <a:defRPr/>
            </a:pPr>
            <a:r>
              <a:rPr kumimoji="0" lang="de-DE" sz="800" b="1" i="0" u="none" strike="noStrike" kern="0" cap="none" spc="0" normalizeH="0" baseline="0" noProof="0" dirty="0">
                <a:ln>
                  <a:noFill/>
                </a:ln>
                <a:solidFill>
                  <a:srgbClr val="FFFFFF"/>
                </a:solidFill>
                <a:effectLst/>
                <a:uLnTx/>
                <a:uFillTx/>
              </a:rPr>
              <a:t>ZEIT</a:t>
            </a:r>
          </a:p>
        </p:txBody>
      </p:sp>
      <p:sp>
        <p:nvSpPr>
          <p:cNvPr id="74" name="Textfeld 73"/>
          <p:cNvSpPr txBox="1"/>
          <p:nvPr/>
        </p:nvSpPr>
        <p:spPr>
          <a:xfrm>
            <a:off x="3578121" y="3977653"/>
            <a:ext cx="1770631" cy="919089"/>
          </a:xfrm>
          <a:prstGeom prst="rect">
            <a:avLst/>
          </a:prstGeom>
          <a:no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rPr>
              <a:t>RESSOURCEN</a:t>
            </a:r>
          </a:p>
          <a:p>
            <a:pPr marL="0" marR="0" lvl="0" indent="0" algn="ctr" defTabSz="957835" eaLnBrk="1" fontAlgn="auto" latinLnBrk="0" hangingPunct="1">
              <a:lnSpc>
                <a:spcPts val="22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rPr>
              <a:t>STANDARDS</a:t>
            </a:r>
          </a:p>
          <a:p>
            <a:pPr marL="0" marR="0" lvl="0" indent="0" algn="ctr" defTabSz="957835" eaLnBrk="1" fontAlgn="auto" latinLnBrk="0" hangingPunct="1">
              <a:lnSpc>
                <a:spcPts val="22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rPr>
              <a:t>IT SYSTEME</a:t>
            </a:r>
          </a:p>
        </p:txBody>
      </p:sp>
      <p:sp>
        <p:nvSpPr>
          <p:cNvPr id="75" name="Eingekerbter Richtungspfeil 65"/>
          <p:cNvSpPr/>
          <p:nvPr/>
        </p:nvSpPr>
        <p:spPr>
          <a:xfrm rot="16200000">
            <a:off x="4358415" y="2695930"/>
            <a:ext cx="219758" cy="2260806"/>
          </a:xfrm>
          <a:prstGeom prst="chevron">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76" name="Textfeld 75"/>
          <p:cNvSpPr txBox="1"/>
          <p:nvPr/>
        </p:nvSpPr>
        <p:spPr>
          <a:xfrm>
            <a:off x="3583055" y="1464883"/>
            <a:ext cx="1770631" cy="601502"/>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hlink"/>
                </a:solidFill>
                <a:effectLst/>
                <a:uLnTx/>
                <a:uFillTx/>
              </a:rPr>
              <a:t>FÜHRUNG &amp; ZUSAMMENARBEIT</a:t>
            </a:r>
          </a:p>
        </p:txBody>
      </p:sp>
      <p:sp>
        <p:nvSpPr>
          <p:cNvPr id="77" name="Eingekerbter Richtungspfeil 67"/>
          <p:cNvSpPr/>
          <p:nvPr/>
        </p:nvSpPr>
        <p:spPr>
          <a:xfrm rot="5400000">
            <a:off x="4369380" y="1044608"/>
            <a:ext cx="219758" cy="2260806"/>
          </a:xfrm>
          <a:prstGeom prst="chevron">
            <a:avLst/>
          </a:prstGeom>
          <a:solidFill>
            <a:schemeClr val="hlink"/>
          </a:solidFill>
          <a:ln w="12700" cap="flat" cmpd="sng" algn="ctr">
            <a:solidFill>
              <a:srgbClr val="70707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57835"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prstClr val="black"/>
              </a:solidFill>
              <a:effectLst/>
              <a:uLnTx/>
              <a:uFillTx/>
              <a:latin typeface="Arial"/>
              <a:ea typeface="+mn-ea"/>
              <a:cs typeface="+mn-cs"/>
            </a:endParaRPr>
          </a:p>
        </p:txBody>
      </p:sp>
      <p:sp>
        <p:nvSpPr>
          <p:cNvPr id="78" name="Textfeld 77"/>
          <p:cNvSpPr txBox="1"/>
          <p:nvPr/>
        </p:nvSpPr>
        <p:spPr>
          <a:xfrm>
            <a:off x="2004683" y="1040466"/>
            <a:ext cx="831823" cy="325145"/>
          </a:xfrm>
          <a:prstGeom prst="rect">
            <a:avLst/>
          </a:prstGeom>
          <a:solidFill>
            <a:srgbClr val="FFFFFF"/>
          </a:solidFill>
        </p:spPr>
        <p:txBody>
          <a:bodyPr vert="horz" wrap="square" lIns="72000" tIns="36000" rIns="72000" bIns="36000" rtlCol="0" anchor="ctr">
            <a:spAutoFit/>
          </a:bodyPr>
          <a:lstStyle/>
          <a:p>
            <a:pPr marL="0" marR="0" lvl="0" indent="0" algn="ctr" defTabSz="957835" eaLnBrk="1" fontAlgn="auto" latinLnBrk="0" hangingPunct="1">
              <a:lnSpc>
                <a:spcPts val="2200"/>
              </a:lnSpc>
              <a:spcBef>
                <a:spcPts val="0"/>
              </a:spcBef>
              <a:spcAft>
                <a:spcPts val="0"/>
              </a:spcAft>
              <a:buClrTx/>
              <a:buSzTx/>
              <a:buFontTx/>
              <a:buNone/>
              <a:tabLst/>
              <a:defRPr/>
            </a:pPr>
            <a:r>
              <a:rPr kumimoji="0" lang="de-DE" sz="1400" b="1" i="0" u="none" strike="noStrike" kern="0" cap="none" spc="0" normalizeH="0" baseline="0" noProof="0" dirty="0">
                <a:ln>
                  <a:noFill/>
                </a:ln>
                <a:solidFill>
                  <a:schemeClr val="hlink"/>
                </a:solidFill>
                <a:effectLst/>
                <a:uLnTx/>
                <a:uFillTx/>
              </a:rPr>
              <a:t>SYSTEM</a:t>
            </a:r>
          </a:p>
        </p:txBody>
      </p:sp>
      <p:sp>
        <p:nvSpPr>
          <p:cNvPr id="7" name="Titel 1">
            <a:extLst>
              <a:ext uri="{FF2B5EF4-FFF2-40B4-BE49-F238E27FC236}">
                <a16:creationId xmlns:a16="http://schemas.microsoft.com/office/drawing/2014/main" id="{733E82B5-D59B-6327-5CC6-198E47DFB482}"/>
              </a:ext>
            </a:extLst>
          </p:cNvPr>
          <p:cNvSpPr>
            <a:spLocks noGrp="1"/>
          </p:cNvSpPr>
          <p:nvPr>
            <p:ph type="title"/>
          </p:nvPr>
        </p:nvSpPr>
        <p:spPr>
          <a:xfrm>
            <a:off x="377504" y="379650"/>
            <a:ext cx="11172812" cy="387798"/>
          </a:xfrm>
        </p:spPr>
        <p:txBody>
          <a:bodyPr/>
          <a:lstStyle/>
          <a:p>
            <a:r>
              <a:rPr lang="de-DE" dirty="0">
                <a:solidFill>
                  <a:schemeClr val="accent5">
                    <a:lumMod val="50000"/>
                  </a:schemeClr>
                </a:solidFill>
              </a:rPr>
              <a:t>SYNCHRO im Prozess – Welche Ziele verfolgen wir mit SYNCHRO?</a:t>
            </a:r>
          </a:p>
        </p:txBody>
      </p:sp>
      <p:sp>
        <p:nvSpPr>
          <p:cNvPr id="9" name="Textfeld 8">
            <a:extLst>
              <a:ext uri="{FF2B5EF4-FFF2-40B4-BE49-F238E27FC236}">
                <a16:creationId xmlns:a16="http://schemas.microsoft.com/office/drawing/2014/main" id="{AC417BC1-C07F-A890-BCB8-11A2409C229E}"/>
              </a:ext>
            </a:extLst>
          </p:cNvPr>
          <p:cNvSpPr txBox="1"/>
          <p:nvPr/>
        </p:nvSpPr>
        <p:spPr>
          <a:xfrm>
            <a:off x="3811337" y="5554054"/>
            <a:ext cx="4235763" cy="492443"/>
          </a:xfrm>
          <a:prstGeom prst="rect">
            <a:avLst/>
          </a:prstGeom>
          <a:noFill/>
        </p:spPr>
        <p:txBody>
          <a:bodyPr wrap="square" lIns="0" tIns="0" rIns="0" bIns="0" rtlCol="0">
            <a:spAutoFit/>
          </a:bodyPr>
          <a:lstStyle/>
          <a:p>
            <a:pPr algn="just"/>
            <a:r>
              <a:rPr lang="de-DE" sz="3200" dirty="0">
                <a:latin typeface="Bahnschrift Light" panose="020B0502040204020203" pitchFamily="34" charset="0"/>
                <a:cs typeface="Aldhabi" panose="020B0604020202020204" pitchFamily="2" charset="-78"/>
              </a:rPr>
              <a:t>„Die Dinge richtig tun.“</a:t>
            </a:r>
          </a:p>
        </p:txBody>
      </p:sp>
      <p:sp>
        <p:nvSpPr>
          <p:cNvPr id="2" name="Fußzeilenplatzhalter 4">
            <a:extLst>
              <a:ext uri="{FF2B5EF4-FFF2-40B4-BE49-F238E27FC236}">
                <a16:creationId xmlns:a16="http://schemas.microsoft.com/office/drawing/2014/main" id="{0F350B52-50CF-C708-001A-CA5C4EABA0D7}"/>
              </a:ext>
            </a:extLst>
          </p:cNvPr>
          <p:cNvSpPr>
            <a:spLocks noGrp="1"/>
          </p:cNvSpPr>
          <p:nvPr>
            <p:ph type="ftr" sz="quarter" idx="18"/>
          </p:nvPr>
        </p:nvSpPr>
        <p:spPr>
          <a:xfrm>
            <a:off x="589897" y="6356349"/>
            <a:ext cx="777264" cy="305989"/>
          </a:xfrm>
        </p:spPr>
        <p:txBody>
          <a:bodyPr/>
          <a:lstStyle/>
          <a:p>
            <a:r>
              <a:rPr lang="de-DE" dirty="0"/>
              <a:t>Oliver Türk</a:t>
            </a:r>
          </a:p>
        </p:txBody>
      </p:sp>
    </p:spTree>
    <p:custDataLst>
      <p:tags r:id="rId1"/>
    </p:custDataLst>
    <p:extLst>
      <p:ext uri="{BB962C8B-B14F-4D97-AF65-F5344CB8AC3E}">
        <p14:creationId xmlns:p14="http://schemas.microsoft.com/office/powerpoint/2010/main" val="7149473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7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7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7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7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7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78"/>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42" grpId="0" animBg="1"/>
      <p:bldP spid="43" grpId="0" animBg="1"/>
      <p:bldP spid="44" grpId="0" animBg="1"/>
      <p:bldP spid="45" grpId="0" animBg="1"/>
      <p:bldP spid="46" grpId="0" animBg="1"/>
      <p:bldP spid="58" grpId="0" animBg="1"/>
      <p:bldP spid="59" grpId="0" animBg="1"/>
      <p:bldP spid="60" grpId="0" animBg="1"/>
      <p:bldP spid="61" grpId="0" animBg="1"/>
      <p:bldP spid="62" grpId="0" animBg="1"/>
      <p:bldP spid="63" grpId="0" animBg="1"/>
      <p:bldP spid="65" grpId="0"/>
      <p:bldP spid="69" grpId="0"/>
      <p:bldP spid="70" grpId="0"/>
      <p:bldP spid="71" grpId="0"/>
      <p:bldP spid="72" grpId="0"/>
      <p:bldP spid="73" grpId="0"/>
      <p:bldP spid="74" grpId="0"/>
      <p:bldP spid="75" grpId="0" animBg="1"/>
      <p:bldP spid="76" grpId="0" animBg="1"/>
      <p:bldP spid="77" grpId="0" animBg="1"/>
      <p:bldP spid="78" grpId="0" animBg="1"/>
      <p:bldP spid="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kt 8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88" name="Objekt 8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oliennummernplatzhalter 11"/>
          <p:cNvSpPr>
            <a:spLocks noGrp="1"/>
          </p:cNvSpPr>
          <p:nvPr>
            <p:ph type="sldNum" sz="quarter" idx="15"/>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de-DE" smtClean="0"/>
              <a:pPr/>
              <a:t>4</a:t>
            </a:fld>
            <a:r>
              <a:rPr lang="de-DE"/>
              <a:t>  </a:t>
            </a:r>
            <a:r>
              <a:rPr lang="de-DE" b="0">
                <a:solidFill>
                  <a:schemeClr val="accent1"/>
                </a:solidFill>
              </a:rPr>
              <a:t>|</a:t>
            </a:r>
            <a:endParaRPr lang="de-DE" sz="900" b="0" dirty="0">
              <a:solidFill>
                <a:schemeClr val="accent1"/>
              </a:solidFill>
            </a:endParaRPr>
          </a:p>
        </p:txBody>
      </p:sp>
      <p:sp>
        <p:nvSpPr>
          <p:cNvPr id="7" name="Titel 1">
            <a:extLst>
              <a:ext uri="{FF2B5EF4-FFF2-40B4-BE49-F238E27FC236}">
                <a16:creationId xmlns:a16="http://schemas.microsoft.com/office/drawing/2014/main" id="{733E82B5-D59B-6327-5CC6-198E47DFB482}"/>
              </a:ext>
            </a:extLst>
          </p:cNvPr>
          <p:cNvSpPr>
            <a:spLocks noGrp="1"/>
          </p:cNvSpPr>
          <p:nvPr>
            <p:ph type="title"/>
          </p:nvPr>
        </p:nvSpPr>
        <p:spPr>
          <a:xfrm>
            <a:off x="377504" y="379650"/>
            <a:ext cx="11172812" cy="387798"/>
          </a:xfrm>
        </p:spPr>
        <p:txBody>
          <a:bodyPr/>
          <a:lstStyle/>
          <a:p>
            <a:r>
              <a:rPr lang="de-DE" dirty="0">
                <a:solidFill>
                  <a:schemeClr val="accent5">
                    <a:lumMod val="50000"/>
                  </a:schemeClr>
                </a:solidFill>
              </a:rPr>
              <a:t>Prozessexcellenz im SYNCHRO Haus</a:t>
            </a:r>
          </a:p>
        </p:txBody>
      </p:sp>
      <p:sp>
        <p:nvSpPr>
          <p:cNvPr id="2" name="Fußzeilenplatzhalter 4">
            <a:extLst>
              <a:ext uri="{FF2B5EF4-FFF2-40B4-BE49-F238E27FC236}">
                <a16:creationId xmlns:a16="http://schemas.microsoft.com/office/drawing/2014/main" id="{0F350B52-50CF-C708-001A-CA5C4EABA0D7}"/>
              </a:ext>
            </a:extLst>
          </p:cNvPr>
          <p:cNvSpPr>
            <a:spLocks noGrp="1"/>
          </p:cNvSpPr>
          <p:nvPr>
            <p:ph type="ftr" sz="quarter" idx="18"/>
          </p:nvPr>
        </p:nvSpPr>
        <p:spPr>
          <a:xfrm>
            <a:off x="589897" y="6356349"/>
            <a:ext cx="777264" cy="305989"/>
          </a:xfrm>
        </p:spPr>
        <p:txBody>
          <a:bodyPr/>
          <a:lstStyle/>
          <a:p>
            <a:r>
              <a:rPr lang="de-DE" dirty="0"/>
              <a:t>Oliver Türk</a:t>
            </a:r>
          </a:p>
        </p:txBody>
      </p:sp>
      <p:pic>
        <p:nvPicPr>
          <p:cNvPr id="26" name="Grafik 25">
            <a:extLst>
              <a:ext uri="{FF2B5EF4-FFF2-40B4-BE49-F238E27FC236}">
                <a16:creationId xmlns:a16="http://schemas.microsoft.com/office/drawing/2014/main" id="{DD1683E7-3899-C00A-8A9F-0E11ACA4D231}"/>
              </a:ext>
            </a:extLst>
          </p:cNvPr>
          <p:cNvPicPr>
            <a:picLocks noChangeAspect="1"/>
          </p:cNvPicPr>
          <p:nvPr/>
        </p:nvPicPr>
        <p:blipFill>
          <a:blip r:embed="rId7"/>
          <a:stretch>
            <a:fillRect/>
          </a:stretch>
        </p:blipFill>
        <p:spPr>
          <a:xfrm>
            <a:off x="535534" y="2040401"/>
            <a:ext cx="5067165" cy="2777196"/>
          </a:xfrm>
          <a:prstGeom prst="rect">
            <a:avLst/>
          </a:prstGeom>
          <a:ln w="28575">
            <a:noFill/>
          </a:ln>
        </p:spPr>
      </p:pic>
      <p:pic>
        <p:nvPicPr>
          <p:cNvPr id="75" name="Grafik 74">
            <a:extLst>
              <a:ext uri="{FF2B5EF4-FFF2-40B4-BE49-F238E27FC236}">
                <a16:creationId xmlns:a16="http://schemas.microsoft.com/office/drawing/2014/main" id="{957E399D-11E3-6053-F744-962F67532560}"/>
              </a:ext>
            </a:extLst>
          </p:cNvPr>
          <p:cNvPicPr>
            <a:picLocks noChangeAspect="1"/>
          </p:cNvPicPr>
          <p:nvPr/>
        </p:nvPicPr>
        <p:blipFill>
          <a:blip r:embed="rId8"/>
          <a:stretch>
            <a:fillRect/>
          </a:stretch>
        </p:blipFill>
        <p:spPr>
          <a:xfrm>
            <a:off x="6382330" y="1890857"/>
            <a:ext cx="5497294" cy="2926647"/>
          </a:xfrm>
          <a:prstGeom prst="rect">
            <a:avLst/>
          </a:prstGeom>
        </p:spPr>
      </p:pic>
      <p:sp>
        <p:nvSpPr>
          <p:cNvPr id="76" name="Geschweifte Klammer rechts 75">
            <a:extLst>
              <a:ext uri="{FF2B5EF4-FFF2-40B4-BE49-F238E27FC236}">
                <a16:creationId xmlns:a16="http://schemas.microsoft.com/office/drawing/2014/main" id="{804BB223-8D01-047A-2E33-37EB4137083A}"/>
              </a:ext>
            </a:extLst>
          </p:cNvPr>
          <p:cNvSpPr/>
          <p:nvPr/>
        </p:nvSpPr>
        <p:spPr>
          <a:xfrm>
            <a:off x="5507604" y="2040401"/>
            <a:ext cx="969821" cy="2851921"/>
          </a:xfrm>
          <a:prstGeom prst="rightBrace">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pSp>
        <p:nvGrpSpPr>
          <p:cNvPr id="77" name="Gruppieren 76">
            <a:extLst>
              <a:ext uri="{FF2B5EF4-FFF2-40B4-BE49-F238E27FC236}">
                <a16:creationId xmlns:a16="http://schemas.microsoft.com/office/drawing/2014/main" id="{88D45DA6-5C3B-FFF7-0D29-73926D67CD0E}"/>
              </a:ext>
            </a:extLst>
          </p:cNvPr>
          <p:cNvGrpSpPr>
            <a:grpSpLocks noChangeAspect="1"/>
          </p:cNvGrpSpPr>
          <p:nvPr/>
        </p:nvGrpSpPr>
        <p:grpSpPr>
          <a:xfrm>
            <a:off x="2048043" y="1632193"/>
            <a:ext cx="8095917" cy="4309117"/>
            <a:chOff x="1115616" y="2240868"/>
            <a:chExt cx="6696744" cy="3564396"/>
          </a:xfrm>
        </p:grpSpPr>
        <p:sp>
          <p:nvSpPr>
            <p:cNvPr id="78" name="Rectangle 2068">
              <a:extLst>
                <a:ext uri="{FF2B5EF4-FFF2-40B4-BE49-F238E27FC236}">
                  <a16:creationId xmlns:a16="http://schemas.microsoft.com/office/drawing/2014/main" id="{4BF4A0F3-AE33-1068-169A-2F0825BDBC40}"/>
                </a:ext>
              </a:extLst>
            </p:cNvPr>
            <p:cNvSpPr>
              <a:spLocks noChangeArrowheads="1"/>
            </p:cNvSpPr>
            <p:nvPr/>
          </p:nvSpPr>
          <p:spPr bwMode="auto">
            <a:xfrm>
              <a:off x="1348612" y="3436551"/>
              <a:ext cx="2500498" cy="1396606"/>
            </a:xfrm>
            <a:prstGeom prst="rect">
              <a:avLst/>
            </a:prstGeom>
            <a:solidFill>
              <a:schemeClr val="accent2"/>
            </a:solidFill>
            <a:ln w="9525">
              <a:noFill/>
              <a:miter lim="800000"/>
              <a:headEnd/>
              <a:tailEnd/>
            </a:ln>
          </p:spPr>
          <p:txBody>
            <a:bodyPr lIns="36000" tIns="36000" rIns="72000" bIns="72000">
              <a:noAutofit/>
            </a:bodyPr>
            <a:lstStyle/>
            <a:p>
              <a:pPr marL="95250" indent="-11113" defTabSz="762000">
                <a:defRPr/>
              </a:pPr>
              <a:r>
                <a:rPr lang="de-DE" sz="1400" b="1">
                  <a:solidFill>
                    <a:prstClr val="black"/>
                  </a:solidFill>
                </a:rPr>
                <a:t>Just In Time</a:t>
              </a:r>
            </a:p>
            <a:p>
              <a:pPr marL="95250" indent="-11113" defTabSz="762000">
                <a:defRPr/>
              </a:pPr>
              <a:r>
                <a:rPr lang="de-DE" sz="1400" b="1">
                  <a:solidFill>
                    <a:prstClr val="black"/>
                  </a:solidFill>
                </a:rPr>
                <a:t>(Prozessexzellenz)</a:t>
              </a:r>
            </a:p>
            <a:p>
              <a:pPr marL="273050" indent="-188913" defTabSz="762000">
                <a:buFont typeface="Wingdings" pitchFamily="2" charset="2"/>
                <a:buChar char="§"/>
                <a:defRPr/>
              </a:pPr>
              <a:r>
                <a:rPr lang="de-DE" sz="1400">
                  <a:solidFill>
                    <a:prstClr val="black"/>
                  </a:solidFill>
                </a:rPr>
                <a:t>Fließ-Prinzip </a:t>
              </a:r>
            </a:p>
            <a:p>
              <a:pPr marL="273050" indent="-188913" defTabSz="762000">
                <a:buFont typeface="Wingdings" pitchFamily="2" charset="2"/>
                <a:buChar char="§"/>
                <a:defRPr/>
              </a:pPr>
              <a:r>
                <a:rPr lang="de-DE" sz="1400">
                  <a:solidFill>
                    <a:prstClr val="black"/>
                  </a:solidFill>
                </a:rPr>
                <a:t>Takt-Prinzip</a:t>
              </a:r>
            </a:p>
            <a:p>
              <a:pPr marL="273050" indent="-188913" defTabSz="762000">
                <a:buFont typeface="Wingdings" pitchFamily="2" charset="2"/>
                <a:buChar char="§"/>
                <a:defRPr/>
              </a:pPr>
              <a:r>
                <a:rPr lang="de-DE" sz="1400">
                  <a:solidFill>
                    <a:prstClr val="black"/>
                  </a:solidFill>
                </a:rPr>
                <a:t>Pull-Prinzip</a:t>
              </a:r>
            </a:p>
            <a:p>
              <a:pPr marL="273050" indent="-188913" defTabSz="762000">
                <a:buFont typeface="Wingdings" pitchFamily="2" charset="2"/>
                <a:buChar char="§"/>
                <a:defRPr/>
              </a:pPr>
              <a:r>
                <a:rPr lang="de-DE" sz="1400">
                  <a:solidFill>
                    <a:prstClr val="black"/>
                  </a:solidFill>
                </a:rPr>
                <a:t>Null-Fehler-Prinzip</a:t>
              </a:r>
            </a:p>
            <a:p>
              <a:pPr marL="95250" indent="-95250" defTabSz="762000">
                <a:defRPr/>
              </a:pPr>
              <a:br>
                <a:rPr lang="de-DE" sz="1400">
                  <a:solidFill>
                    <a:prstClr val="black"/>
                  </a:solidFill>
                </a:rPr>
              </a:br>
              <a:br>
                <a:rPr lang="de-DE" sz="1400">
                  <a:solidFill>
                    <a:prstClr val="black"/>
                  </a:solidFill>
                </a:rPr>
              </a:br>
              <a:endParaRPr lang="de-DE" sz="1400">
                <a:solidFill>
                  <a:prstClr val="black"/>
                </a:solidFill>
              </a:endParaRPr>
            </a:p>
          </p:txBody>
        </p:sp>
        <p:sp>
          <p:nvSpPr>
            <p:cNvPr id="79" name="Rectangle 2068">
              <a:extLst>
                <a:ext uri="{FF2B5EF4-FFF2-40B4-BE49-F238E27FC236}">
                  <a16:creationId xmlns:a16="http://schemas.microsoft.com/office/drawing/2014/main" id="{7A69C102-C666-63B1-C546-DD40990DFFE4}"/>
                </a:ext>
              </a:extLst>
            </p:cNvPr>
            <p:cNvSpPr>
              <a:spLocks noChangeArrowheads="1"/>
            </p:cNvSpPr>
            <p:nvPr/>
          </p:nvSpPr>
          <p:spPr bwMode="auto">
            <a:xfrm>
              <a:off x="5079085" y="3436551"/>
              <a:ext cx="2500498" cy="1396606"/>
            </a:xfrm>
            <a:prstGeom prst="rect">
              <a:avLst/>
            </a:prstGeom>
            <a:solidFill>
              <a:schemeClr val="accent2"/>
            </a:solidFill>
            <a:ln w="9525">
              <a:noFill/>
              <a:miter lim="800000"/>
              <a:headEnd/>
              <a:tailEnd/>
            </a:ln>
          </p:spPr>
          <p:txBody>
            <a:bodyPr lIns="36000" tIns="36000" rIns="72000" bIns="72000">
              <a:noAutofit/>
            </a:bodyPr>
            <a:lstStyle/>
            <a:p>
              <a:pPr marL="95250" indent="-11113" defTabSz="762000">
                <a:defRPr/>
              </a:pPr>
              <a:r>
                <a:rPr lang="de-DE" sz="1400" b="1">
                  <a:solidFill>
                    <a:prstClr val="black"/>
                  </a:solidFill>
                </a:rPr>
                <a:t>Steuern</a:t>
              </a:r>
              <a:br>
                <a:rPr lang="de-DE" sz="1400" b="1">
                  <a:solidFill>
                    <a:prstClr val="black"/>
                  </a:solidFill>
                </a:rPr>
              </a:br>
              <a:r>
                <a:rPr lang="de-DE" sz="1400" b="1">
                  <a:solidFill>
                    <a:prstClr val="black"/>
                  </a:solidFill>
                </a:rPr>
                <a:t>(Managementexzellenz)</a:t>
              </a:r>
            </a:p>
            <a:p>
              <a:pPr marL="273050" indent="-188913" defTabSz="762000">
                <a:buFont typeface="Wingdings" pitchFamily="2" charset="2"/>
                <a:buChar char="§"/>
                <a:defRPr/>
              </a:pPr>
              <a:r>
                <a:rPr lang="de-DE" sz="1400">
                  <a:solidFill>
                    <a:prstClr val="black"/>
                  </a:solidFill>
                </a:rPr>
                <a:t>Visualisierung und</a:t>
              </a:r>
              <a:br>
                <a:rPr lang="de-DE" sz="1400">
                  <a:solidFill>
                    <a:prstClr val="black"/>
                  </a:solidFill>
                </a:rPr>
              </a:br>
              <a:r>
                <a:rPr lang="de-DE" sz="1400">
                  <a:solidFill>
                    <a:prstClr val="black"/>
                  </a:solidFill>
                </a:rPr>
                <a:t>Transparenz</a:t>
              </a:r>
            </a:p>
            <a:p>
              <a:pPr marL="273050" indent="-188913" defTabSz="762000">
                <a:buFont typeface="Wingdings" pitchFamily="2" charset="2"/>
                <a:buChar char="§"/>
                <a:defRPr/>
              </a:pPr>
              <a:r>
                <a:rPr lang="de-DE" sz="1400">
                  <a:solidFill>
                    <a:prstClr val="black"/>
                  </a:solidFill>
                </a:rPr>
                <a:t>Führung vor Ort</a:t>
              </a:r>
            </a:p>
            <a:p>
              <a:pPr marL="273050" indent="-188913" defTabSz="762000">
                <a:buFont typeface="Wingdings" pitchFamily="2" charset="2"/>
                <a:buChar char="§"/>
                <a:defRPr/>
              </a:pPr>
              <a:r>
                <a:rPr lang="de-DE" sz="1400">
                  <a:solidFill>
                    <a:prstClr val="black"/>
                  </a:solidFill>
                </a:rPr>
                <a:t>Arbeiten mit Zielzuständen</a:t>
              </a:r>
            </a:p>
          </p:txBody>
        </p:sp>
        <p:sp>
          <p:nvSpPr>
            <p:cNvPr id="80" name="Rectangle 2070">
              <a:extLst>
                <a:ext uri="{FF2B5EF4-FFF2-40B4-BE49-F238E27FC236}">
                  <a16:creationId xmlns:a16="http://schemas.microsoft.com/office/drawing/2014/main" id="{C65EA118-2BA2-9D03-A6A1-7109BAFA354D}"/>
                </a:ext>
              </a:extLst>
            </p:cNvPr>
            <p:cNvSpPr>
              <a:spLocks noChangeArrowheads="1"/>
            </p:cNvSpPr>
            <p:nvPr/>
          </p:nvSpPr>
          <p:spPr bwMode="auto">
            <a:xfrm>
              <a:off x="1115616" y="4904345"/>
              <a:ext cx="6676140" cy="900919"/>
            </a:xfrm>
            <a:prstGeom prst="rect">
              <a:avLst/>
            </a:prstGeom>
            <a:solidFill>
              <a:srgbClr val="DDDDDD"/>
            </a:solidFill>
            <a:ln w="38100">
              <a:noFill/>
              <a:miter lim="800000"/>
              <a:headEnd/>
              <a:tailEnd/>
            </a:ln>
          </p:spPr>
          <p:txBody>
            <a:bodyPr wrap="none" lIns="0" tIns="0" rIns="0" bIns="0" anchor="ctr"/>
            <a:lstStyle/>
            <a:p>
              <a:endParaRPr lang="de-AT" sz="1400">
                <a:solidFill>
                  <a:prstClr val="black"/>
                </a:solidFill>
              </a:endParaRPr>
            </a:p>
          </p:txBody>
        </p:sp>
        <p:sp>
          <p:nvSpPr>
            <p:cNvPr id="81" name="Rectangle 2057">
              <a:extLst>
                <a:ext uri="{FF2B5EF4-FFF2-40B4-BE49-F238E27FC236}">
                  <a16:creationId xmlns:a16="http://schemas.microsoft.com/office/drawing/2014/main" id="{49ED1553-76A4-D42F-C5A5-AEAD1CD5233D}"/>
                </a:ext>
              </a:extLst>
            </p:cNvPr>
            <p:cNvSpPr>
              <a:spLocks noChangeArrowheads="1"/>
            </p:cNvSpPr>
            <p:nvPr/>
          </p:nvSpPr>
          <p:spPr bwMode="auto">
            <a:xfrm>
              <a:off x="1192888" y="4971215"/>
              <a:ext cx="6519881" cy="712838"/>
            </a:xfrm>
            <a:prstGeom prst="rect">
              <a:avLst/>
            </a:prstGeom>
            <a:solidFill>
              <a:srgbClr val="DDDDDD"/>
            </a:solidFill>
            <a:ln w="12700">
              <a:noFill/>
              <a:miter lim="800000"/>
              <a:headEnd/>
              <a:tailEnd/>
            </a:ln>
          </p:spPr>
          <p:txBody>
            <a:bodyPr wrap="square" lIns="0" tIns="0" rIns="0" bIns="0" anchor="ctr">
              <a:spAutoFit/>
            </a:bodyPr>
            <a:lstStyle/>
            <a:p>
              <a:pPr algn="ctr" defTabSz="762000"/>
              <a:r>
                <a:rPr lang="de-DE" sz="1400" b="1">
                  <a:solidFill>
                    <a:prstClr val="black"/>
                  </a:solidFill>
                </a:rPr>
                <a:t>Kultur des ständigen Verbesserns (Verhaltensexzellenz) </a:t>
              </a:r>
              <a:endParaRPr lang="de-DE" sz="1400">
                <a:solidFill>
                  <a:prstClr val="black"/>
                </a:solidFill>
              </a:endParaRPr>
            </a:p>
            <a:p>
              <a:pPr marL="1706563" lvl="3" indent="-177800" defTabSz="762000">
                <a:buFont typeface="Wingdings" pitchFamily="2" charset="2"/>
                <a:buChar char="§"/>
                <a:tabLst>
                  <a:tab pos="1706563" algn="l"/>
                </a:tabLst>
                <a:defRPr/>
              </a:pPr>
              <a:r>
                <a:rPr lang="de-DE" sz="1400">
                  <a:solidFill>
                    <a:prstClr val="black"/>
                  </a:solidFill>
                </a:rPr>
                <a:t>Verschwendung erkennen und beseitigen</a:t>
              </a:r>
            </a:p>
            <a:p>
              <a:pPr marL="1706563" lvl="3" indent="-177800" defTabSz="762000">
                <a:buFont typeface="Wingdings" pitchFamily="2" charset="2"/>
                <a:buChar char="§"/>
                <a:tabLst>
                  <a:tab pos="1706563" algn="l"/>
                </a:tabLst>
                <a:defRPr/>
              </a:pPr>
              <a:r>
                <a:rPr lang="de-DE" sz="1400">
                  <a:solidFill>
                    <a:prstClr val="black"/>
                  </a:solidFill>
                </a:rPr>
                <a:t>Menschen aller Ebenen weiterentwickeln              </a:t>
              </a:r>
            </a:p>
            <a:p>
              <a:pPr marL="1706563" lvl="3" indent="-177800" defTabSz="762000">
                <a:buFont typeface="Wingdings" pitchFamily="2" charset="2"/>
                <a:buChar char="§"/>
                <a:tabLst>
                  <a:tab pos="1706563" algn="l"/>
                </a:tabLst>
                <a:defRPr/>
              </a:pPr>
              <a:r>
                <a:rPr lang="de-DE" sz="1400">
                  <a:solidFill>
                    <a:prstClr val="black"/>
                  </a:solidFill>
                </a:rPr>
                <a:t>Konsequente Problemlösung</a:t>
              </a:r>
            </a:p>
          </p:txBody>
        </p:sp>
        <p:sp>
          <p:nvSpPr>
            <p:cNvPr id="82" name="AutoShape 2058">
              <a:extLst>
                <a:ext uri="{FF2B5EF4-FFF2-40B4-BE49-F238E27FC236}">
                  <a16:creationId xmlns:a16="http://schemas.microsoft.com/office/drawing/2014/main" id="{BB3138AC-4FC1-EA49-A737-54C9AEAD3440}"/>
                </a:ext>
              </a:extLst>
            </p:cNvPr>
            <p:cNvSpPr>
              <a:spLocks noChangeArrowheads="1"/>
            </p:cNvSpPr>
            <p:nvPr/>
          </p:nvSpPr>
          <p:spPr bwMode="auto">
            <a:xfrm>
              <a:off x="1148242" y="2240868"/>
              <a:ext cx="6664118" cy="543532"/>
            </a:xfrm>
            <a:prstGeom prst="triangle">
              <a:avLst>
                <a:gd name="adj" fmla="val 49250"/>
              </a:avLst>
            </a:prstGeom>
            <a:solidFill>
              <a:srgbClr val="DDDDDD"/>
            </a:solidFill>
            <a:ln w="12700">
              <a:noFill/>
              <a:miter lim="800000"/>
              <a:headEnd/>
              <a:tailEnd/>
            </a:ln>
          </p:spPr>
          <p:txBody>
            <a:bodyPr wrap="none" lIns="0" tIns="0" rIns="0" bIns="0" anchor="ctr" anchorCtr="0"/>
            <a:lstStyle/>
            <a:p>
              <a:pPr algn="ctr" defTabSz="762000"/>
              <a:endParaRPr lang="de-DE" sz="1400" b="1" i="1">
                <a:solidFill>
                  <a:srgbClr val="000000"/>
                </a:solidFill>
              </a:endParaRPr>
            </a:p>
          </p:txBody>
        </p:sp>
        <p:sp>
          <p:nvSpPr>
            <p:cNvPr id="83" name="Textfeld 82">
              <a:extLst>
                <a:ext uri="{FF2B5EF4-FFF2-40B4-BE49-F238E27FC236}">
                  <a16:creationId xmlns:a16="http://schemas.microsoft.com/office/drawing/2014/main" id="{B033C8F6-8C5C-AB55-B1ED-69D09F887F61}"/>
                </a:ext>
              </a:extLst>
            </p:cNvPr>
            <p:cNvSpPr txBox="1"/>
            <p:nvPr/>
          </p:nvSpPr>
          <p:spPr>
            <a:xfrm>
              <a:off x="1157632" y="2865303"/>
              <a:ext cx="6620411" cy="495161"/>
            </a:xfrm>
            <a:prstGeom prst="rect">
              <a:avLst/>
            </a:prstGeom>
            <a:solidFill>
              <a:srgbClr val="D9DADA"/>
            </a:solidFill>
            <a:ln w="38100">
              <a:noFill/>
            </a:ln>
          </p:spPr>
          <p:txBody>
            <a:bodyPr>
              <a:noAutofit/>
            </a:bodyPr>
            <a:lstStyle/>
            <a:p>
              <a:pPr>
                <a:tabLst>
                  <a:tab pos="263525" algn="l"/>
                  <a:tab pos="4211638" algn="l"/>
                </a:tabLst>
                <a:defRPr/>
              </a:pPr>
              <a:r>
                <a:rPr lang="de-DE" sz="1400">
                  <a:solidFill>
                    <a:prstClr val="black"/>
                  </a:solidFill>
                </a:rPr>
                <a:t>	100% Wertschöpfung	100% Qualität</a:t>
              </a:r>
              <a:br>
                <a:rPr lang="de-DE" sz="1400">
                  <a:solidFill>
                    <a:prstClr val="black"/>
                  </a:solidFill>
                </a:rPr>
              </a:br>
              <a:r>
                <a:rPr lang="de-DE" sz="1400">
                  <a:solidFill>
                    <a:prstClr val="black"/>
                  </a:solidFill>
                </a:rPr>
                <a:t>	100% Einzelstückfluss	100% Sicherheit</a:t>
              </a:r>
            </a:p>
          </p:txBody>
        </p:sp>
        <p:sp>
          <p:nvSpPr>
            <p:cNvPr id="84" name="Rectangle 2057">
              <a:extLst>
                <a:ext uri="{FF2B5EF4-FFF2-40B4-BE49-F238E27FC236}">
                  <a16:creationId xmlns:a16="http://schemas.microsoft.com/office/drawing/2014/main" id="{9697B8F8-13F2-084E-4BC1-EEE144AC7B85}"/>
                </a:ext>
              </a:extLst>
            </p:cNvPr>
            <p:cNvSpPr>
              <a:spLocks noChangeArrowheads="1"/>
            </p:cNvSpPr>
            <p:nvPr/>
          </p:nvSpPr>
          <p:spPr bwMode="auto">
            <a:xfrm>
              <a:off x="3647137" y="2457575"/>
              <a:ext cx="1611379" cy="178210"/>
            </a:xfrm>
            <a:prstGeom prst="rect">
              <a:avLst/>
            </a:prstGeom>
            <a:noFill/>
            <a:ln w="12700">
              <a:noFill/>
              <a:miter lim="800000"/>
              <a:headEnd/>
              <a:tailEnd/>
            </a:ln>
          </p:spPr>
          <p:txBody>
            <a:bodyPr wrap="square" lIns="0" tIns="0" rIns="0" bIns="0" anchor="ctr">
              <a:spAutoFit/>
            </a:bodyPr>
            <a:lstStyle/>
            <a:p>
              <a:pPr algn="ctr" defTabSz="762000"/>
              <a:r>
                <a:rPr lang="de-DE" sz="1400" b="1">
                  <a:solidFill>
                    <a:srgbClr val="000000"/>
                  </a:solidFill>
                </a:rPr>
                <a:t>SYNCHRO</a:t>
              </a:r>
              <a:endParaRPr lang="de-DE" sz="1400">
                <a:solidFill>
                  <a:prstClr val="black"/>
                </a:solidFill>
              </a:endParaRPr>
            </a:p>
          </p:txBody>
        </p:sp>
      </p:grpSp>
    </p:spTree>
    <p:custDataLst>
      <p:tags r:id="rId1"/>
    </p:custDataLst>
    <p:extLst>
      <p:ext uri="{BB962C8B-B14F-4D97-AF65-F5344CB8AC3E}">
        <p14:creationId xmlns:p14="http://schemas.microsoft.com/office/powerpoint/2010/main" val="364849858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7"/>
                                        </p:tgtEl>
                                      </p:cBhvr>
                                    </p:animEffect>
                                    <p:set>
                                      <p:cBhvr>
                                        <p:cTn id="7" dur="1" fill="hold">
                                          <p:stCondLst>
                                            <p:cond delay="499"/>
                                          </p:stCondLst>
                                        </p:cTn>
                                        <p:tgtEl>
                                          <p:spTgt spid="77"/>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6"/>
                                        </p:tgtEl>
                                        <p:attrNameLst>
                                          <p:attrName>style.visibility</p:attrName>
                                        </p:attrNameLst>
                                      </p:cBhvr>
                                      <p:to>
                                        <p:strVal val="visible"/>
                                      </p:to>
                                    </p:set>
                                    <p:animEffect transition="in" filter="fade">
                                      <p:cBhvr>
                                        <p:cTn id="15" dur="500"/>
                                        <p:tgtEl>
                                          <p:spTgt spid="76"/>
                                        </p:tgtEl>
                                      </p:cBhvr>
                                    </p:animEffect>
                                  </p:childTnLst>
                                </p:cTn>
                              </p:par>
                              <p:par>
                                <p:cTn id="16" presetID="10" presetClass="entr" presetSubtype="0" fill="hold"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8" name="Objekt 87" hidden="1"/>
          <p:cNvGraphicFramePr>
            <a:graphicFrameLocks noChangeAspect="1"/>
          </p:cNvGraphicFramePr>
          <p:nvPr>
            <p:custDataLst>
              <p:tags r:id="rId2"/>
            </p:custDataLst>
          </p:nvPr>
        </p:nvGraphicFramePr>
        <p:xfrm>
          <a:off x="1525588" y="1589"/>
          <a:ext cx="1587" cy="1587"/>
        </p:xfrm>
        <a:graphic>
          <a:graphicData uri="http://schemas.openxmlformats.org/presentationml/2006/ole">
            <mc:AlternateContent xmlns:mc="http://schemas.openxmlformats.org/markup-compatibility/2006">
              <mc:Choice xmlns:v="urn:schemas-microsoft-com:vml" Requires="v">
                <p:oleObj name="think-cell Folie" r:id="rId5" imgW="216" imgH="216" progId="TCLayout.ActiveDocument.1">
                  <p:embed/>
                </p:oleObj>
              </mc:Choice>
              <mc:Fallback>
                <p:oleObj name="think-cell Folie" r:id="rId5" imgW="216" imgH="216" progId="TCLayout.ActiveDocument.1">
                  <p:embed/>
                  <p:pic>
                    <p:nvPicPr>
                      <p:cNvPr id="88" name="Objekt 8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Foliennummernplatzhalter 11"/>
          <p:cNvSpPr>
            <a:spLocks noGrp="1"/>
          </p:cNvSpPr>
          <p:nvPr>
            <p:ph type="sldNum" sz="quarter" idx="15"/>
          </p:nvPr>
        </p:nvSpPr>
        <p:spPr>
          <a:xfrm>
            <a:off x="103534" y="6356348"/>
            <a:ext cx="432000" cy="306407"/>
          </a:xfrm>
          <a:prstGeom prst="rect">
            <a:avLst/>
          </a:prstGeom>
        </p:spPr>
        <p:txBody>
          <a:bodyPr vert="horz" lIns="0" tIns="0" rIns="0" bIns="0" rtlCol="0" anchor="ctr"/>
          <a:lstStyle>
            <a:defPPr>
              <a:defRPr lang="de-DE"/>
            </a:defPPr>
            <a:lvl1pPr marL="0" algn="r" defTabSz="914355" rtl="0" eaLnBrk="1" latinLnBrk="0" hangingPunct="1">
              <a:defRPr sz="1000" b="1" kern="1200">
                <a:solidFill>
                  <a:schemeClr val="tx2"/>
                </a:solidFill>
                <a:latin typeface="+mn-lt"/>
                <a:ea typeface="+mn-ea"/>
                <a:cs typeface="Arial" panose="020B0604020202020204" pitchFamily="34" charset="0"/>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a:lstStyle>
          <a:p>
            <a:fld id="{8D57957C-F0F3-7842-B0E2-B762F92D6487}" type="slidenum">
              <a:rPr lang="de-DE" smtClean="0"/>
              <a:pPr/>
              <a:t>5</a:t>
            </a:fld>
            <a:r>
              <a:rPr lang="de-DE"/>
              <a:t>  </a:t>
            </a:r>
            <a:r>
              <a:rPr lang="de-DE" b="0">
                <a:solidFill>
                  <a:schemeClr val="accent1"/>
                </a:solidFill>
              </a:rPr>
              <a:t>|</a:t>
            </a:r>
            <a:endParaRPr lang="de-DE" sz="900" b="0" dirty="0">
              <a:solidFill>
                <a:schemeClr val="accent1"/>
              </a:solidFill>
            </a:endParaRPr>
          </a:p>
        </p:txBody>
      </p:sp>
      <p:sp>
        <p:nvSpPr>
          <p:cNvPr id="7" name="Titel 1">
            <a:extLst>
              <a:ext uri="{FF2B5EF4-FFF2-40B4-BE49-F238E27FC236}">
                <a16:creationId xmlns:a16="http://schemas.microsoft.com/office/drawing/2014/main" id="{733E82B5-D59B-6327-5CC6-198E47DFB482}"/>
              </a:ext>
            </a:extLst>
          </p:cNvPr>
          <p:cNvSpPr>
            <a:spLocks noGrp="1"/>
          </p:cNvSpPr>
          <p:nvPr>
            <p:ph type="title"/>
          </p:nvPr>
        </p:nvSpPr>
        <p:spPr>
          <a:xfrm>
            <a:off x="377504" y="379650"/>
            <a:ext cx="11172812" cy="387798"/>
          </a:xfrm>
        </p:spPr>
        <p:txBody>
          <a:bodyPr/>
          <a:lstStyle/>
          <a:p>
            <a:r>
              <a:rPr lang="de-DE" dirty="0">
                <a:solidFill>
                  <a:schemeClr val="accent5">
                    <a:lumMod val="50000"/>
                  </a:schemeClr>
                </a:solidFill>
              </a:rPr>
              <a:t>Erfolge mit SYNCHRO</a:t>
            </a:r>
          </a:p>
        </p:txBody>
      </p:sp>
      <p:sp>
        <p:nvSpPr>
          <p:cNvPr id="2" name="Fußzeilenplatzhalter 4">
            <a:extLst>
              <a:ext uri="{FF2B5EF4-FFF2-40B4-BE49-F238E27FC236}">
                <a16:creationId xmlns:a16="http://schemas.microsoft.com/office/drawing/2014/main" id="{0F350B52-50CF-C708-001A-CA5C4EABA0D7}"/>
              </a:ext>
            </a:extLst>
          </p:cNvPr>
          <p:cNvSpPr>
            <a:spLocks noGrp="1"/>
          </p:cNvSpPr>
          <p:nvPr>
            <p:ph type="ftr" sz="quarter" idx="18"/>
          </p:nvPr>
        </p:nvSpPr>
        <p:spPr>
          <a:xfrm>
            <a:off x="589897" y="6356349"/>
            <a:ext cx="777264" cy="305989"/>
          </a:xfrm>
        </p:spPr>
        <p:txBody>
          <a:bodyPr/>
          <a:lstStyle/>
          <a:p>
            <a:r>
              <a:rPr lang="de-DE" dirty="0"/>
              <a:t>Oliver Türk</a:t>
            </a:r>
          </a:p>
        </p:txBody>
      </p:sp>
      <p:sp>
        <p:nvSpPr>
          <p:cNvPr id="4" name="Rechteck 3">
            <a:extLst>
              <a:ext uri="{FF2B5EF4-FFF2-40B4-BE49-F238E27FC236}">
                <a16:creationId xmlns:a16="http://schemas.microsoft.com/office/drawing/2014/main" id="{EC7EDA88-0781-4D8A-0101-1AB51CF67D5F}"/>
              </a:ext>
            </a:extLst>
          </p:cNvPr>
          <p:cNvSpPr/>
          <p:nvPr/>
        </p:nvSpPr>
        <p:spPr>
          <a:xfrm>
            <a:off x="1625252" y="1405081"/>
            <a:ext cx="2078521"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a:solidFill>
                  <a:schemeClr val="tx1"/>
                </a:solidFill>
              </a:rPr>
              <a:t>Produktivität:</a:t>
            </a:r>
          </a:p>
        </p:txBody>
      </p:sp>
      <p:sp>
        <p:nvSpPr>
          <p:cNvPr id="5" name="Rechteck 4">
            <a:extLst>
              <a:ext uri="{FF2B5EF4-FFF2-40B4-BE49-F238E27FC236}">
                <a16:creationId xmlns:a16="http://schemas.microsoft.com/office/drawing/2014/main" id="{8B4870ED-9AC6-A4C2-1E26-77EA6A90DB5D}"/>
              </a:ext>
            </a:extLst>
          </p:cNvPr>
          <p:cNvSpPr/>
          <p:nvPr/>
        </p:nvSpPr>
        <p:spPr>
          <a:xfrm>
            <a:off x="1623857" y="2442627"/>
            <a:ext cx="2078521"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a:solidFill>
                  <a:schemeClr val="tx1"/>
                </a:solidFill>
              </a:rPr>
              <a:t>Geschwindigkeit:</a:t>
            </a:r>
          </a:p>
        </p:txBody>
      </p:sp>
      <p:sp>
        <p:nvSpPr>
          <p:cNvPr id="6" name="Rechteck 5">
            <a:extLst>
              <a:ext uri="{FF2B5EF4-FFF2-40B4-BE49-F238E27FC236}">
                <a16:creationId xmlns:a16="http://schemas.microsoft.com/office/drawing/2014/main" id="{14D64F01-9D8B-F620-4468-95557E3CD7D6}"/>
              </a:ext>
            </a:extLst>
          </p:cNvPr>
          <p:cNvSpPr/>
          <p:nvPr/>
        </p:nvSpPr>
        <p:spPr>
          <a:xfrm>
            <a:off x="1623857" y="3480173"/>
            <a:ext cx="2078521"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a:solidFill>
                  <a:schemeClr val="tx1"/>
                </a:solidFill>
              </a:rPr>
              <a:t>Flexibilität:</a:t>
            </a:r>
          </a:p>
        </p:txBody>
      </p:sp>
      <p:sp>
        <p:nvSpPr>
          <p:cNvPr id="8" name="Rechteck 7">
            <a:extLst>
              <a:ext uri="{FF2B5EF4-FFF2-40B4-BE49-F238E27FC236}">
                <a16:creationId xmlns:a16="http://schemas.microsoft.com/office/drawing/2014/main" id="{22E218AC-FD6D-BA86-3782-93BF39A3F9C2}"/>
              </a:ext>
            </a:extLst>
          </p:cNvPr>
          <p:cNvSpPr/>
          <p:nvPr/>
        </p:nvSpPr>
        <p:spPr>
          <a:xfrm>
            <a:off x="1623857" y="4517719"/>
            <a:ext cx="2078521"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a:solidFill>
                  <a:schemeClr val="tx1"/>
                </a:solidFill>
              </a:rPr>
              <a:t>Qualität:</a:t>
            </a:r>
          </a:p>
        </p:txBody>
      </p:sp>
      <p:sp>
        <p:nvSpPr>
          <p:cNvPr id="10" name="Rechteck 9">
            <a:extLst>
              <a:ext uri="{FF2B5EF4-FFF2-40B4-BE49-F238E27FC236}">
                <a16:creationId xmlns:a16="http://schemas.microsoft.com/office/drawing/2014/main" id="{B8D73C91-5029-A751-85E2-F9E8EEBB377C}"/>
              </a:ext>
            </a:extLst>
          </p:cNvPr>
          <p:cNvSpPr/>
          <p:nvPr/>
        </p:nvSpPr>
        <p:spPr>
          <a:xfrm>
            <a:off x="3386504" y="1395845"/>
            <a:ext cx="8177423"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dirty="0">
                <a:solidFill>
                  <a:schemeClr val="tx1"/>
                </a:solidFill>
              </a:rPr>
              <a:t>In 10 Jahren wurden durch SYNCHRO </a:t>
            </a:r>
            <a:r>
              <a:rPr lang="de-DE" b="1" dirty="0">
                <a:solidFill>
                  <a:schemeClr val="tx2"/>
                </a:solidFill>
              </a:rPr>
              <a:t>1.000 Mitarbeiter weniger </a:t>
            </a:r>
            <a:r>
              <a:rPr lang="de-DE" sz="1400" dirty="0">
                <a:solidFill>
                  <a:schemeClr val="tx1"/>
                </a:solidFill>
              </a:rPr>
              <a:t>eingestellt.</a:t>
            </a:r>
          </a:p>
        </p:txBody>
      </p:sp>
      <p:sp>
        <p:nvSpPr>
          <p:cNvPr id="11" name="Rechteck 10">
            <a:extLst>
              <a:ext uri="{FF2B5EF4-FFF2-40B4-BE49-F238E27FC236}">
                <a16:creationId xmlns:a16="http://schemas.microsoft.com/office/drawing/2014/main" id="{5AAFF32A-3252-EFEC-4E86-85C693E6E703}"/>
              </a:ext>
            </a:extLst>
          </p:cNvPr>
          <p:cNvSpPr/>
          <p:nvPr/>
        </p:nvSpPr>
        <p:spPr>
          <a:xfrm>
            <a:off x="3385109" y="2433391"/>
            <a:ext cx="7957145"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dirty="0">
                <a:solidFill>
                  <a:schemeClr val="tx1"/>
                </a:solidFill>
              </a:rPr>
              <a:t>Die </a:t>
            </a:r>
            <a:r>
              <a:rPr lang="de-DE" b="1" dirty="0">
                <a:solidFill>
                  <a:schemeClr val="tx2"/>
                </a:solidFill>
              </a:rPr>
              <a:t>Durchlaufzeit</a:t>
            </a:r>
            <a:r>
              <a:rPr lang="de-DE" dirty="0">
                <a:solidFill>
                  <a:schemeClr val="tx1"/>
                </a:solidFill>
              </a:rPr>
              <a:t> </a:t>
            </a:r>
            <a:r>
              <a:rPr lang="de-DE" sz="1400" dirty="0">
                <a:solidFill>
                  <a:schemeClr val="tx1"/>
                </a:solidFill>
              </a:rPr>
              <a:t>wurde </a:t>
            </a:r>
            <a:r>
              <a:rPr lang="de-DE" b="1" dirty="0">
                <a:solidFill>
                  <a:schemeClr val="tx2"/>
                </a:solidFill>
              </a:rPr>
              <a:t>um 75% reduziert</a:t>
            </a:r>
            <a:r>
              <a:rPr lang="de-DE" sz="1400" dirty="0">
                <a:solidFill>
                  <a:schemeClr val="tx1"/>
                </a:solidFill>
              </a:rPr>
              <a:t>, die </a:t>
            </a:r>
            <a:r>
              <a:rPr lang="de-DE" b="1" dirty="0">
                <a:solidFill>
                  <a:schemeClr val="tx2"/>
                </a:solidFill>
              </a:rPr>
              <a:t>Liefertreue auf 100% </a:t>
            </a:r>
            <a:r>
              <a:rPr lang="de-DE" sz="1400" dirty="0">
                <a:solidFill>
                  <a:schemeClr val="tx1"/>
                </a:solidFill>
              </a:rPr>
              <a:t>erhöht.</a:t>
            </a:r>
          </a:p>
        </p:txBody>
      </p:sp>
      <p:sp>
        <p:nvSpPr>
          <p:cNvPr id="13" name="Rechteck 12">
            <a:extLst>
              <a:ext uri="{FF2B5EF4-FFF2-40B4-BE49-F238E27FC236}">
                <a16:creationId xmlns:a16="http://schemas.microsoft.com/office/drawing/2014/main" id="{F221BA41-3633-85EE-4CEB-C44689D06E54}"/>
              </a:ext>
            </a:extLst>
          </p:cNvPr>
          <p:cNvSpPr/>
          <p:nvPr/>
        </p:nvSpPr>
        <p:spPr>
          <a:xfrm>
            <a:off x="3385109" y="3470937"/>
            <a:ext cx="8177423"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dirty="0">
                <a:solidFill>
                  <a:schemeClr val="tx1"/>
                </a:solidFill>
              </a:rPr>
              <a:t>Monatliche Anpassung des </a:t>
            </a:r>
            <a:r>
              <a:rPr lang="de-DE" b="1" dirty="0">
                <a:solidFill>
                  <a:schemeClr val="tx2"/>
                </a:solidFill>
              </a:rPr>
              <a:t>Produktionsniveaus um +/- 20% </a:t>
            </a:r>
            <a:r>
              <a:rPr lang="de-DE" sz="1400" dirty="0">
                <a:solidFill>
                  <a:schemeClr val="tx1"/>
                </a:solidFill>
              </a:rPr>
              <a:t>möglich.</a:t>
            </a:r>
          </a:p>
        </p:txBody>
      </p:sp>
      <p:sp>
        <p:nvSpPr>
          <p:cNvPr id="14" name="Rechteck 13">
            <a:extLst>
              <a:ext uri="{FF2B5EF4-FFF2-40B4-BE49-F238E27FC236}">
                <a16:creationId xmlns:a16="http://schemas.microsoft.com/office/drawing/2014/main" id="{FC362F3A-4F3C-BFAE-3ADF-38BCFC21E24E}"/>
              </a:ext>
            </a:extLst>
          </p:cNvPr>
          <p:cNvSpPr/>
          <p:nvPr/>
        </p:nvSpPr>
        <p:spPr>
          <a:xfrm>
            <a:off x="3385110" y="4508483"/>
            <a:ext cx="7652344" cy="97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400" dirty="0">
                <a:solidFill>
                  <a:schemeClr val="tx1"/>
                </a:solidFill>
              </a:rPr>
              <a:t>Die </a:t>
            </a:r>
            <a:r>
              <a:rPr lang="de-DE" b="1" dirty="0">
                <a:solidFill>
                  <a:schemeClr val="tx2"/>
                </a:solidFill>
              </a:rPr>
              <a:t>Serviceeinsätze</a:t>
            </a:r>
            <a:r>
              <a:rPr lang="de-DE" sz="1400" dirty="0">
                <a:solidFill>
                  <a:schemeClr val="tx1"/>
                </a:solidFill>
              </a:rPr>
              <a:t> je Maschine wurden um </a:t>
            </a:r>
            <a:r>
              <a:rPr lang="de-DE" b="1" dirty="0">
                <a:solidFill>
                  <a:schemeClr val="tx2"/>
                </a:solidFill>
              </a:rPr>
              <a:t>70% reduziert</a:t>
            </a:r>
            <a:r>
              <a:rPr lang="de-DE" sz="1400" dirty="0">
                <a:solidFill>
                  <a:schemeClr val="tx1"/>
                </a:solidFill>
              </a:rPr>
              <a:t>.</a:t>
            </a:r>
          </a:p>
        </p:txBody>
      </p:sp>
      <p:pic>
        <p:nvPicPr>
          <p:cNvPr id="1026" name="Picture 2" descr="Enhance Productivity stock vectors - iStock">
            <a:extLst>
              <a:ext uri="{FF2B5EF4-FFF2-40B4-BE49-F238E27FC236}">
                <a16:creationId xmlns:a16="http://schemas.microsoft.com/office/drawing/2014/main" id="{28A31B56-51C1-D48A-4F7C-B4A4A3BC6417}"/>
              </a:ext>
            </a:extLst>
          </p:cNvPr>
          <p:cNvPicPr>
            <a:picLocks noChangeAspect="1" noChangeArrowheads="1"/>
          </p:cNvPicPr>
          <p:nvPr/>
        </p:nvPicPr>
        <p:blipFill rotWithShape="1">
          <a:blip r:embed="rId7">
            <a:duotone>
              <a:schemeClr val="accent2">
                <a:shade val="45000"/>
                <a:satMod val="135000"/>
              </a:schemeClr>
              <a:prstClr val="white"/>
            </a:duotone>
            <a:extLst>
              <a:ext uri="{28A0092B-C50C-407E-A947-70E740481C1C}">
                <a14:useLocalDpi xmlns:a14="http://schemas.microsoft.com/office/drawing/2010/main" val="0"/>
              </a:ext>
            </a:extLst>
          </a:blip>
          <a:srcRect l="30036" t="7972" r="29402" b="37839"/>
          <a:stretch/>
        </p:blipFill>
        <p:spPr bwMode="auto">
          <a:xfrm>
            <a:off x="868653" y="1513517"/>
            <a:ext cx="565242" cy="75512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35831952-B290-996D-34A8-3F18C4B143C5}"/>
              </a:ext>
            </a:extLst>
          </p:cNvPr>
          <p:cNvPicPr>
            <a:picLocks noChangeAspect="1" noChangeArrowheads="1"/>
          </p:cNvPicPr>
          <p:nvPr/>
        </p:nvPicPr>
        <p:blipFill>
          <a:blip r:embed="rId8">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21856" y="2601996"/>
            <a:ext cx="653262" cy="65326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exibilitätsymbol Vektorillustration Stock Vektor Art und mehr Bilder ...">
            <a:extLst>
              <a:ext uri="{FF2B5EF4-FFF2-40B4-BE49-F238E27FC236}">
                <a16:creationId xmlns:a16="http://schemas.microsoft.com/office/drawing/2014/main" id="{350B9BD7-182B-C84B-5655-DDD26703AF4F}"/>
              </a:ext>
            </a:extLst>
          </p:cNvPr>
          <p:cNvPicPr>
            <a:picLocks noChangeAspect="1" noChangeArrowheads="1"/>
          </p:cNvPicPr>
          <p:nvPr/>
        </p:nvPicPr>
        <p:blipFill rotWithShape="1">
          <a:blip r:embed="rId9">
            <a:duotone>
              <a:schemeClr val="accent5">
                <a:shade val="45000"/>
                <a:satMod val="135000"/>
              </a:schemeClr>
              <a:prstClr val="white"/>
            </a:duotone>
            <a:extLst>
              <a:ext uri="{28A0092B-C50C-407E-A947-70E740481C1C}">
                <a14:useLocalDpi xmlns:a14="http://schemas.microsoft.com/office/drawing/2010/main" val="0"/>
              </a:ext>
            </a:extLst>
          </a:blip>
          <a:srcRect l="26223" t="17012" r="25991" b="14393"/>
          <a:stretch/>
        </p:blipFill>
        <p:spPr bwMode="auto">
          <a:xfrm>
            <a:off x="876218" y="3470937"/>
            <a:ext cx="606877" cy="87114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Qualitätsymbol Vektor Icon Einfaches Element Abbildung Qualitätsdesign ...">
            <a:extLst>
              <a:ext uri="{FF2B5EF4-FFF2-40B4-BE49-F238E27FC236}">
                <a16:creationId xmlns:a16="http://schemas.microsoft.com/office/drawing/2014/main" id="{78E42EDF-CAEA-DA69-863A-C7844C4A80C4}"/>
              </a:ext>
            </a:extLst>
          </p:cNvPr>
          <p:cNvPicPr>
            <a:picLocks noChangeAspect="1" noChangeArrowheads="1"/>
          </p:cNvPicPr>
          <p:nvPr/>
        </p:nvPicPr>
        <p:blipFill rotWithShape="1">
          <a:blip r:embed="rId10">
            <a:duotone>
              <a:schemeClr val="accent3">
                <a:shade val="45000"/>
                <a:satMod val="135000"/>
              </a:schemeClr>
              <a:prstClr val="white"/>
            </a:duotone>
            <a:extLst>
              <a:ext uri="{28A0092B-C50C-407E-A947-70E740481C1C}">
                <a14:useLocalDpi xmlns:a14="http://schemas.microsoft.com/office/drawing/2010/main" val="0"/>
              </a:ext>
            </a:extLst>
          </a:blip>
          <a:srcRect l="22494" t="13526" r="18298" b="5769"/>
          <a:stretch/>
        </p:blipFill>
        <p:spPr bwMode="auto">
          <a:xfrm>
            <a:off x="980309" y="4747425"/>
            <a:ext cx="494809" cy="674467"/>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87220264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3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P spid="11" grpId="0"/>
      <p:bldP spid="13" grpId="0"/>
      <p:bldP spid="1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4404046" cy="387798"/>
          </a:xfrm>
        </p:spPr>
        <p:txBody>
          <a:bodyPr/>
          <a:lstStyle/>
          <a:p>
            <a:r>
              <a:rPr lang="de-DE" dirty="0">
                <a:solidFill>
                  <a:schemeClr val="accent5">
                    <a:lumMod val="50000"/>
                  </a:schemeClr>
                </a:solidFill>
              </a:rPr>
              <a:t>Geschichte von SYNCHRO</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884664"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6</a:t>
            </a:fld>
            <a:r>
              <a:rPr lang="de-DE"/>
              <a:t>  </a:t>
            </a:r>
            <a:r>
              <a:rPr lang="de-DE" b="0">
                <a:solidFill>
                  <a:schemeClr val="accent1"/>
                </a:solidFill>
              </a:rPr>
              <a:t>|</a:t>
            </a:r>
            <a:endParaRPr lang="de-DE" sz="900" b="0">
              <a:solidFill>
                <a:schemeClr val="accent1"/>
              </a:solidFill>
            </a:endParaRPr>
          </a:p>
        </p:txBody>
      </p:sp>
      <p:sp>
        <p:nvSpPr>
          <p:cNvPr id="26" name="Rechteck 25">
            <a:extLst>
              <a:ext uri="{FF2B5EF4-FFF2-40B4-BE49-F238E27FC236}">
                <a16:creationId xmlns:a16="http://schemas.microsoft.com/office/drawing/2014/main" id="{2D7017BC-67C1-D704-9C3C-5F23FDD0721F}"/>
              </a:ext>
            </a:extLst>
          </p:cNvPr>
          <p:cNvSpPr/>
          <p:nvPr/>
        </p:nvSpPr>
        <p:spPr>
          <a:xfrm>
            <a:off x="228600" y="1158718"/>
            <a:ext cx="11587579" cy="4684795"/>
          </a:xfrm>
          <a:custGeom>
            <a:avLst/>
            <a:gdLst>
              <a:gd name="connsiteX0" fmla="*/ 0 w 11587579"/>
              <a:gd name="connsiteY0" fmla="*/ 0 h 4684795"/>
              <a:gd name="connsiteX1" fmla="*/ 11587579 w 11587579"/>
              <a:gd name="connsiteY1" fmla="*/ 0 h 4684795"/>
              <a:gd name="connsiteX2" fmla="*/ 11587579 w 11587579"/>
              <a:gd name="connsiteY2" fmla="*/ 4684795 h 4684795"/>
              <a:gd name="connsiteX3" fmla="*/ 0 w 11587579"/>
              <a:gd name="connsiteY3" fmla="*/ 4684795 h 4684795"/>
              <a:gd name="connsiteX4" fmla="*/ 0 w 11587579"/>
              <a:gd name="connsiteY4" fmla="*/ 0 h 4684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87579" h="4684795" extrusionOk="0">
                <a:moveTo>
                  <a:pt x="0" y="0"/>
                </a:moveTo>
                <a:cubicBezTo>
                  <a:pt x="2795748" y="-5264"/>
                  <a:pt x="10381616" y="84467"/>
                  <a:pt x="11587579" y="0"/>
                </a:cubicBezTo>
                <a:cubicBezTo>
                  <a:pt x="11459406" y="1093305"/>
                  <a:pt x="11716729" y="3580578"/>
                  <a:pt x="11587579" y="4684795"/>
                </a:cubicBezTo>
                <a:cubicBezTo>
                  <a:pt x="7757147" y="4791115"/>
                  <a:pt x="2526978" y="4677146"/>
                  <a:pt x="0" y="4684795"/>
                </a:cubicBezTo>
                <a:cubicBezTo>
                  <a:pt x="160128" y="2597985"/>
                  <a:pt x="25049" y="1220785"/>
                  <a:pt x="0" y="0"/>
                </a:cubicBezTo>
                <a:close/>
              </a:path>
            </a:pathLst>
          </a:custGeom>
          <a:noFill/>
          <a:ln w="28575">
            <a:solidFill>
              <a:schemeClr val="tx2"/>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pic>
        <p:nvPicPr>
          <p:cNvPr id="1026" name="Picture 2" descr="Life Icon Images, Stock Photos &amp; Vectors | Shutterstock">
            <a:extLst>
              <a:ext uri="{FF2B5EF4-FFF2-40B4-BE49-F238E27FC236}">
                <a16:creationId xmlns:a16="http://schemas.microsoft.com/office/drawing/2014/main" id="{8DB85D2C-C11F-41FB-EB05-4DEBD218ED44}"/>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b="20009"/>
          <a:stretch/>
        </p:blipFill>
        <p:spPr bwMode="auto">
          <a:xfrm>
            <a:off x="9964451" y="3786438"/>
            <a:ext cx="1422469" cy="1225384"/>
          </a:xfrm>
          <a:prstGeom prst="rect">
            <a:avLst/>
          </a:prstGeom>
          <a:noFill/>
          <a:extLst>
            <a:ext uri="{909E8E84-426E-40DD-AFC4-6F175D3DCCD1}">
              <a14:hiddenFill xmlns:a14="http://schemas.microsoft.com/office/drawing/2010/main">
                <a:solidFill>
                  <a:srgbClr val="FFFFFF"/>
                </a:solidFill>
              </a14:hiddenFill>
            </a:ext>
          </a:extLst>
        </p:spPr>
      </p:pic>
      <p:sp>
        <p:nvSpPr>
          <p:cNvPr id="4" name="Line 6">
            <a:extLst>
              <a:ext uri="{FF2B5EF4-FFF2-40B4-BE49-F238E27FC236}">
                <a16:creationId xmlns:a16="http://schemas.microsoft.com/office/drawing/2014/main" id="{89B4BAC9-E522-5B25-4D87-5F96E2D97D95}"/>
              </a:ext>
            </a:extLst>
          </p:cNvPr>
          <p:cNvSpPr>
            <a:spLocks noChangeShapeType="1"/>
          </p:cNvSpPr>
          <p:nvPr/>
        </p:nvSpPr>
        <p:spPr bwMode="auto">
          <a:xfrm>
            <a:off x="2446932" y="1550259"/>
            <a:ext cx="0" cy="3891613"/>
          </a:xfrm>
          <a:prstGeom prst="line">
            <a:avLst/>
          </a:prstGeom>
          <a:noFill/>
          <a:ln w="9525" cap="flat" cmpd="sng" algn="ctr">
            <a:solidFill>
              <a:srgbClr val="858585"/>
            </a:solidFill>
            <a:prstDash val="solid"/>
            <a:round/>
            <a:headEnd type="none" w="med" len="med"/>
            <a:tailEnd type="none" w="med" len="med"/>
          </a:ln>
        </p:spPr>
        <p:txBody>
          <a:bodyPr wrap="none" lIns="71982" tIns="35991" rIns="71982" bIns="53988">
            <a:spAutoFit/>
          </a:bodyPr>
          <a:lstStyle/>
          <a:p>
            <a:pPr defTabSz="957835"/>
            <a:endParaRPr lang="de-DE" sz="1900" dirty="0">
              <a:solidFill>
                <a:srgbClr val="000000"/>
              </a:solidFill>
              <a:latin typeface="Arial"/>
            </a:endParaRPr>
          </a:p>
        </p:txBody>
      </p:sp>
      <p:sp>
        <p:nvSpPr>
          <p:cNvPr id="10" name="Text Box 7">
            <a:extLst>
              <a:ext uri="{FF2B5EF4-FFF2-40B4-BE49-F238E27FC236}">
                <a16:creationId xmlns:a16="http://schemas.microsoft.com/office/drawing/2014/main" id="{CD29F509-2171-3714-6FAF-E33ABE284593}"/>
              </a:ext>
            </a:extLst>
          </p:cNvPr>
          <p:cNvSpPr txBox="1">
            <a:spLocks noChangeArrowheads="1"/>
          </p:cNvSpPr>
          <p:nvPr/>
        </p:nvSpPr>
        <p:spPr bwMode="auto">
          <a:xfrm>
            <a:off x="2530681" y="5502399"/>
            <a:ext cx="1118557" cy="341114"/>
          </a:xfrm>
          <a:prstGeom prst="rect">
            <a:avLst/>
          </a:prstGeom>
          <a:noFill/>
          <a:ln w="9525">
            <a:noFill/>
            <a:miter lim="800000"/>
            <a:headEnd/>
            <a:tailEnd/>
          </a:ln>
        </p:spPr>
        <p:txBody>
          <a:bodyPr wrap="none" lIns="71982" tIns="35991" rIns="71982" bIns="53988">
            <a:spAutoFit/>
          </a:bodyPr>
          <a:lstStyle/>
          <a:p>
            <a:pPr defTabSz="957835"/>
            <a:r>
              <a:rPr lang="de-DE" sz="1200" dirty="0">
                <a:solidFill>
                  <a:schemeClr val="dk1"/>
                </a:solidFill>
                <a:latin typeface="Arial"/>
              </a:rPr>
              <a:t>bis 1998</a:t>
            </a:r>
            <a:endParaRPr lang="en-US" sz="1200" dirty="0">
              <a:solidFill>
                <a:schemeClr val="dk1"/>
              </a:solidFill>
              <a:latin typeface="Arial"/>
            </a:endParaRPr>
          </a:p>
        </p:txBody>
      </p:sp>
      <p:grpSp>
        <p:nvGrpSpPr>
          <p:cNvPr id="13" name="Group 8">
            <a:extLst>
              <a:ext uri="{FF2B5EF4-FFF2-40B4-BE49-F238E27FC236}">
                <a16:creationId xmlns:a16="http://schemas.microsoft.com/office/drawing/2014/main" id="{62C03723-D50C-AC9C-8F20-7491AA25CDA8}"/>
              </a:ext>
            </a:extLst>
          </p:cNvPr>
          <p:cNvGrpSpPr>
            <a:grpSpLocks/>
          </p:cNvGrpSpPr>
          <p:nvPr/>
        </p:nvGrpSpPr>
        <p:grpSpPr bwMode="auto">
          <a:xfrm>
            <a:off x="3881356" y="1548395"/>
            <a:ext cx="738045" cy="4293254"/>
            <a:chOff x="1920" y="1684"/>
            <a:chExt cx="306" cy="2202"/>
          </a:xfrm>
        </p:grpSpPr>
        <p:sp>
          <p:nvSpPr>
            <p:cNvPr id="1039" name="Line 9">
              <a:extLst>
                <a:ext uri="{FF2B5EF4-FFF2-40B4-BE49-F238E27FC236}">
                  <a16:creationId xmlns:a16="http://schemas.microsoft.com/office/drawing/2014/main" id="{02E0FB8C-2E03-2AED-47CC-64A4DF38C4AB}"/>
                </a:ext>
              </a:extLst>
            </p:cNvPr>
            <p:cNvSpPr>
              <a:spLocks noChangeShapeType="1"/>
            </p:cNvSpPr>
            <p:nvPr/>
          </p:nvSpPr>
          <p:spPr bwMode="auto">
            <a:xfrm>
              <a:off x="2064" y="1684"/>
              <a:ext cx="0" cy="1996"/>
            </a:xfrm>
            <a:prstGeom prst="line">
              <a:avLst/>
            </a:prstGeom>
            <a:noFill/>
            <a:ln w="9525" cap="flat" cmpd="sng" algn="ctr">
              <a:solidFill>
                <a:srgbClr val="858585"/>
              </a:solidFill>
              <a:prstDash val="solid"/>
              <a:round/>
              <a:headEnd type="none" w="med" len="med"/>
              <a:tailEnd type="none" w="med" len="med"/>
            </a:ln>
          </p:spPr>
          <p:txBody>
            <a:bodyPr wrap="none" lIns="72000" tIns="36000" rIns="72000" bIns="54000">
              <a:spAutoFit/>
            </a:bodyPr>
            <a:lstStyle/>
            <a:p>
              <a:pPr defTabSz="957835"/>
              <a:endParaRPr lang="de-DE" sz="1900" dirty="0">
                <a:solidFill>
                  <a:srgbClr val="000000"/>
                </a:solidFill>
                <a:latin typeface="Arial"/>
              </a:endParaRPr>
            </a:p>
          </p:txBody>
        </p:sp>
        <p:sp>
          <p:nvSpPr>
            <p:cNvPr id="1040" name="Text Box 10">
              <a:extLst>
                <a:ext uri="{FF2B5EF4-FFF2-40B4-BE49-F238E27FC236}">
                  <a16:creationId xmlns:a16="http://schemas.microsoft.com/office/drawing/2014/main" id="{6AE690D8-5569-1531-8A09-F34E2D668563}"/>
                </a:ext>
              </a:extLst>
            </p:cNvPr>
            <p:cNvSpPr txBox="1">
              <a:spLocks noChangeArrowheads="1"/>
            </p:cNvSpPr>
            <p:nvPr/>
          </p:nvSpPr>
          <p:spPr bwMode="auto">
            <a:xfrm>
              <a:off x="1920" y="3712"/>
              <a:ext cx="306" cy="174"/>
            </a:xfrm>
            <a:prstGeom prst="rect">
              <a:avLst/>
            </a:prstGeom>
            <a:noFill/>
            <a:ln w="9525">
              <a:noFill/>
              <a:miter lim="800000"/>
              <a:headEnd/>
              <a:tailEnd/>
            </a:ln>
          </p:spPr>
          <p:txBody>
            <a:bodyPr wrap="none" lIns="72000" tIns="36000" rIns="72000" bIns="54000">
              <a:spAutoFit/>
            </a:bodyPr>
            <a:lstStyle/>
            <a:p>
              <a:pPr defTabSz="957835"/>
              <a:r>
                <a:rPr lang="de-DE" sz="1200" dirty="0">
                  <a:solidFill>
                    <a:schemeClr val="dk1"/>
                  </a:solidFill>
                  <a:latin typeface="Arial"/>
                </a:rPr>
                <a:t>2000</a:t>
              </a:r>
              <a:endParaRPr lang="en-US" sz="1200" dirty="0">
                <a:solidFill>
                  <a:schemeClr val="dk1"/>
                </a:solidFill>
                <a:latin typeface="Arial"/>
              </a:endParaRPr>
            </a:p>
          </p:txBody>
        </p:sp>
      </p:grpSp>
      <p:grpSp>
        <p:nvGrpSpPr>
          <p:cNvPr id="14" name="Group 11">
            <a:extLst>
              <a:ext uri="{FF2B5EF4-FFF2-40B4-BE49-F238E27FC236}">
                <a16:creationId xmlns:a16="http://schemas.microsoft.com/office/drawing/2014/main" id="{484711EA-A090-D11A-9954-B14A5A4B6049}"/>
              </a:ext>
            </a:extLst>
          </p:cNvPr>
          <p:cNvGrpSpPr>
            <a:grpSpLocks/>
          </p:cNvGrpSpPr>
          <p:nvPr/>
        </p:nvGrpSpPr>
        <p:grpSpPr bwMode="auto">
          <a:xfrm>
            <a:off x="5529816" y="1526573"/>
            <a:ext cx="738045" cy="4293254"/>
            <a:chOff x="2306" y="1684"/>
            <a:chExt cx="306" cy="2202"/>
          </a:xfrm>
        </p:grpSpPr>
        <p:sp>
          <p:nvSpPr>
            <p:cNvPr id="1037" name="Line 12">
              <a:extLst>
                <a:ext uri="{FF2B5EF4-FFF2-40B4-BE49-F238E27FC236}">
                  <a16:creationId xmlns:a16="http://schemas.microsoft.com/office/drawing/2014/main" id="{56B2AD7F-E1DE-B827-D5AC-6CE137CABA67}"/>
                </a:ext>
              </a:extLst>
            </p:cNvPr>
            <p:cNvSpPr>
              <a:spLocks noChangeShapeType="1"/>
            </p:cNvSpPr>
            <p:nvPr/>
          </p:nvSpPr>
          <p:spPr bwMode="auto">
            <a:xfrm>
              <a:off x="2453" y="1684"/>
              <a:ext cx="0" cy="1996"/>
            </a:xfrm>
            <a:prstGeom prst="line">
              <a:avLst/>
            </a:prstGeom>
            <a:noFill/>
            <a:ln w="9525" cap="flat" cmpd="sng" algn="ctr">
              <a:solidFill>
                <a:srgbClr val="858585"/>
              </a:solidFill>
              <a:prstDash val="solid"/>
              <a:round/>
              <a:headEnd type="none" w="med" len="med"/>
              <a:tailEnd type="none" w="med" len="med"/>
            </a:ln>
          </p:spPr>
          <p:txBody>
            <a:bodyPr wrap="none" lIns="72000" tIns="36000" rIns="72000" bIns="54000">
              <a:spAutoFit/>
            </a:bodyPr>
            <a:lstStyle/>
            <a:p>
              <a:pPr defTabSz="957835"/>
              <a:endParaRPr lang="de-DE" sz="1900" dirty="0">
                <a:solidFill>
                  <a:srgbClr val="000000"/>
                </a:solidFill>
                <a:latin typeface="Arial"/>
              </a:endParaRPr>
            </a:p>
          </p:txBody>
        </p:sp>
        <p:sp>
          <p:nvSpPr>
            <p:cNvPr id="1038" name="Text Box 13">
              <a:extLst>
                <a:ext uri="{FF2B5EF4-FFF2-40B4-BE49-F238E27FC236}">
                  <a16:creationId xmlns:a16="http://schemas.microsoft.com/office/drawing/2014/main" id="{F7592B6F-FB03-AA19-9CA1-08DE7915F523}"/>
                </a:ext>
              </a:extLst>
            </p:cNvPr>
            <p:cNvSpPr txBox="1">
              <a:spLocks noChangeArrowheads="1"/>
            </p:cNvSpPr>
            <p:nvPr/>
          </p:nvSpPr>
          <p:spPr bwMode="auto">
            <a:xfrm>
              <a:off x="2306" y="3712"/>
              <a:ext cx="306" cy="174"/>
            </a:xfrm>
            <a:prstGeom prst="rect">
              <a:avLst/>
            </a:prstGeom>
            <a:noFill/>
            <a:ln w="9525">
              <a:noFill/>
              <a:miter lim="800000"/>
              <a:headEnd/>
              <a:tailEnd/>
            </a:ln>
          </p:spPr>
          <p:txBody>
            <a:bodyPr wrap="none" lIns="72000" tIns="36000" rIns="72000" bIns="54000">
              <a:spAutoFit/>
            </a:bodyPr>
            <a:lstStyle/>
            <a:p>
              <a:pPr defTabSz="957835"/>
              <a:r>
                <a:rPr lang="de-DE" sz="1200" dirty="0">
                  <a:solidFill>
                    <a:schemeClr val="dk1"/>
                  </a:solidFill>
                  <a:latin typeface="Arial"/>
                </a:rPr>
                <a:t>2005</a:t>
              </a:r>
              <a:endParaRPr lang="en-US" sz="1200" dirty="0">
                <a:solidFill>
                  <a:schemeClr val="dk1"/>
                </a:solidFill>
                <a:latin typeface="Arial"/>
              </a:endParaRPr>
            </a:p>
          </p:txBody>
        </p:sp>
      </p:grpSp>
      <p:grpSp>
        <p:nvGrpSpPr>
          <p:cNvPr id="15" name="Group 14">
            <a:extLst>
              <a:ext uri="{FF2B5EF4-FFF2-40B4-BE49-F238E27FC236}">
                <a16:creationId xmlns:a16="http://schemas.microsoft.com/office/drawing/2014/main" id="{3C68BE2F-8BAF-C272-4CCA-61B2F3D661A0}"/>
              </a:ext>
            </a:extLst>
          </p:cNvPr>
          <p:cNvGrpSpPr>
            <a:grpSpLocks/>
          </p:cNvGrpSpPr>
          <p:nvPr/>
        </p:nvGrpSpPr>
        <p:grpSpPr bwMode="auto">
          <a:xfrm>
            <a:off x="7264784" y="1557862"/>
            <a:ext cx="738045" cy="4293254"/>
            <a:chOff x="3848" y="1684"/>
            <a:chExt cx="306" cy="2202"/>
          </a:xfrm>
        </p:grpSpPr>
        <p:sp>
          <p:nvSpPr>
            <p:cNvPr id="1035" name="Line 15">
              <a:extLst>
                <a:ext uri="{FF2B5EF4-FFF2-40B4-BE49-F238E27FC236}">
                  <a16:creationId xmlns:a16="http://schemas.microsoft.com/office/drawing/2014/main" id="{3227D261-9753-52D7-75C8-D20FFE7573A7}"/>
                </a:ext>
              </a:extLst>
            </p:cNvPr>
            <p:cNvSpPr>
              <a:spLocks noChangeShapeType="1"/>
            </p:cNvSpPr>
            <p:nvPr/>
          </p:nvSpPr>
          <p:spPr bwMode="auto">
            <a:xfrm>
              <a:off x="4012" y="1684"/>
              <a:ext cx="0" cy="1996"/>
            </a:xfrm>
            <a:prstGeom prst="line">
              <a:avLst/>
            </a:prstGeom>
            <a:noFill/>
            <a:ln w="9525" cap="flat" cmpd="sng" algn="ctr">
              <a:solidFill>
                <a:srgbClr val="858585"/>
              </a:solidFill>
              <a:prstDash val="solid"/>
              <a:round/>
              <a:headEnd type="none" w="med" len="med"/>
              <a:tailEnd type="none" w="med" len="med"/>
            </a:ln>
          </p:spPr>
          <p:txBody>
            <a:bodyPr wrap="none" lIns="72000" tIns="36000" rIns="72000" bIns="54000">
              <a:spAutoFit/>
            </a:bodyPr>
            <a:lstStyle/>
            <a:p>
              <a:pPr defTabSz="957835"/>
              <a:endParaRPr lang="de-DE" sz="1900" dirty="0">
                <a:solidFill>
                  <a:srgbClr val="000000"/>
                </a:solidFill>
                <a:latin typeface="Arial"/>
              </a:endParaRPr>
            </a:p>
          </p:txBody>
        </p:sp>
        <p:sp>
          <p:nvSpPr>
            <p:cNvPr id="1036" name="Text Box 16">
              <a:extLst>
                <a:ext uri="{FF2B5EF4-FFF2-40B4-BE49-F238E27FC236}">
                  <a16:creationId xmlns:a16="http://schemas.microsoft.com/office/drawing/2014/main" id="{7E97E831-9BA1-54B8-EF14-E68C8C1713B2}"/>
                </a:ext>
              </a:extLst>
            </p:cNvPr>
            <p:cNvSpPr txBox="1">
              <a:spLocks noChangeArrowheads="1"/>
            </p:cNvSpPr>
            <p:nvPr/>
          </p:nvSpPr>
          <p:spPr bwMode="auto">
            <a:xfrm>
              <a:off x="3848" y="3712"/>
              <a:ext cx="306" cy="174"/>
            </a:xfrm>
            <a:prstGeom prst="rect">
              <a:avLst/>
            </a:prstGeom>
            <a:noFill/>
            <a:ln w="9525">
              <a:noFill/>
              <a:miter lim="800000"/>
              <a:headEnd/>
              <a:tailEnd/>
            </a:ln>
          </p:spPr>
          <p:txBody>
            <a:bodyPr wrap="none" lIns="72000" tIns="36000" rIns="72000" bIns="54000">
              <a:spAutoFit/>
            </a:bodyPr>
            <a:lstStyle/>
            <a:p>
              <a:pPr defTabSz="957835"/>
              <a:r>
                <a:rPr lang="de-DE" sz="1200" dirty="0">
                  <a:solidFill>
                    <a:schemeClr val="dk1"/>
                  </a:solidFill>
                  <a:latin typeface="Arial"/>
                </a:rPr>
                <a:t>2010</a:t>
              </a:r>
              <a:endParaRPr lang="en-US" sz="1200" dirty="0">
                <a:solidFill>
                  <a:schemeClr val="dk1"/>
                </a:solidFill>
                <a:latin typeface="Arial"/>
              </a:endParaRPr>
            </a:p>
          </p:txBody>
        </p:sp>
      </p:grpSp>
      <p:sp>
        <p:nvSpPr>
          <p:cNvPr id="16" name="Line 19">
            <a:extLst>
              <a:ext uri="{FF2B5EF4-FFF2-40B4-BE49-F238E27FC236}">
                <a16:creationId xmlns:a16="http://schemas.microsoft.com/office/drawing/2014/main" id="{329BC8B0-0FF2-63A8-3785-057AC183C298}"/>
              </a:ext>
            </a:extLst>
          </p:cNvPr>
          <p:cNvSpPr>
            <a:spLocks noChangeShapeType="1"/>
          </p:cNvSpPr>
          <p:nvPr/>
        </p:nvSpPr>
        <p:spPr bwMode="auto">
          <a:xfrm>
            <a:off x="3131243" y="3010674"/>
            <a:ext cx="4510249" cy="13914"/>
          </a:xfrm>
          <a:prstGeom prst="line">
            <a:avLst/>
          </a:prstGeom>
          <a:noFill/>
          <a:ln w="28575">
            <a:solidFill>
              <a:schemeClr val="tx1"/>
            </a:solidFill>
            <a:round/>
            <a:headEnd/>
            <a:tailEnd type="triangle" w="med" len="med"/>
          </a:ln>
        </p:spPr>
        <p:txBody>
          <a:bodyPr wrap="square" lIns="71982" tIns="35991" rIns="71982" bIns="53988">
            <a:spAutoFit/>
          </a:bodyPr>
          <a:lstStyle/>
          <a:p>
            <a:pPr defTabSz="957835"/>
            <a:endParaRPr lang="de-DE" sz="1900" dirty="0">
              <a:solidFill>
                <a:srgbClr val="000000"/>
              </a:solidFill>
              <a:latin typeface="Arial"/>
            </a:endParaRPr>
          </a:p>
        </p:txBody>
      </p:sp>
      <p:sp>
        <p:nvSpPr>
          <p:cNvPr id="18" name="Text Box 20">
            <a:extLst>
              <a:ext uri="{FF2B5EF4-FFF2-40B4-BE49-F238E27FC236}">
                <a16:creationId xmlns:a16="http://schemas.microsoft.com/office/drawing/2014/main" id="{56DE366F-6031-ECE2-17EC-316D53DA4FF1}"/>
              </a:ext>
            </a:extLst>
          </p:cNvPr>
          <p:cNvSpPr txBox="1">
            <a:spLocks noChangeArrowheads="1"/>
          </p:cNvSpPr>
          <p:nvPr/>
        </p:nvSpPr>
        <p:spPr bwMode="auto">
          <a:xfrm>
            <a:off x="720750" y="3833372"/>
            <a:ext cx="1560418"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Hohe Bestände</a:t>
            </a:r>
            <a:endParaRPr lang="en-US" sz="1000" dirty="0">
              <a:solidFill>
                <a:schemeClr val="dk1"/>
              </a:solidFill>
              <a:latin typeface="Arial"/>
            </a:endParaRPr>
          </a:p>
        </p:txBody>
      </p:sp>
      <p:sp>
        <p:nvSpPr>
          <p:cNvPr id="19" name="Text Box 21">
            <a:extLst>
              <a:ext uri="{FF2B5EF4-FFF2-40B4-BE49-F238E27FC236}">
                <a16:creationId xmlns:a16="http://schemas.microsoft.com/office/drawing/2014/main" id="{853BD45B-F57A-A700-38B1-90339B28BD7E}"/>
              </a:ext>
            </a:extLst>
          </p:cNvPr>
          <p:cNvSpPr txBox="1">
            <a:spLocks noChangeArrowheads="1"/>
          </p:cNvSpPr>
          <p:nvPr/>
        </p:nvSpPr>
        <p:spPr bwMode="auto">
          <a:xfrm>
            <a:off x="725501" y="3554196"/>
            <a:ext cx="1695738" cy="300613"/>
          </a:xfrm>
          <a:prstGeom prst="rect">
            <a:avLst/>
          </a:prstGeom>
          <a:noFill/>
          <a:ln w="9525">
            <a:noFill/>
            <a:miter lim="800000"/>
            <a:headEnd/>
            <a:tailEnd/>
          </a:ln>
        </p:spPr>
        <p:txBody>
          <a:bodyPr wrap="square" lIns="71982" tIns="35991" rIns="71982" bIns="53988">
            <a:spAutoFit/>
          </a:bodyPr>
          <a:lstStyle/>
          <a:p>
            <a:pPr defTabSz="957835"/>
            <a:r>
              <a:rPr lang="de-DE" sz="1000" dirty="0">
                <a:solidFill>
                  <a:schemeClr val="dk1"/>
                </a:solidFill>
                <a:latin typeface="Arial"/>
              </a:rPr>
              <a:t>Zentrallager,</a:t>
            </a:r>
            <a:endParaRPr lang="en-US" sz="1000" dirty="0">
              <a:solidFill>
                <a:schemeClr val="dk1"/>
              </a:solidFill>
              <a:latin typeface="Arial"/>
            </a:endParaRPr>
          </a:p>
        </p:txBody>
      </p:sp>
      <p:sp>
        <p:nvSpPr>
          <p:cNvPr id="24" name="Text Box 22">
            <a:extLst>
              <a:ext uri="{FF2B5EF4-FFF2-40B4-BE49-F238E27FC236}">
                <a16:creationId xmlns:a16="http://schemas.microsoft.com/office/drawing/2014/main" id="{7FA6D538-645C-89F4-0F05-C8DDC2E98557}"/>
              </a:ext>
            </a:extLst>
          </p:cNvPr>
          <p:cNvSpPr txBox="1">
            <a:spLocks noChangeArrowheads="1"/>
          </p:cNvSpPr>
          <p:nvPr/>
        </p:nvSpPr>
        <p:spPr bwMode="auto">
          <a:xfrm>
            <a:off x="721715" y="3283620"/>
            <a:ext cx="1830060"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Geringe Flexibilität</a:t>
            </a:r>
            <a:endParaRPr lang="en-US" sz="1000" dirty="0">
              <a:solidFill>
                <a:schemeClr val="dk1"/>
              </a:solidFill>
              <a:latin typeface="Arial"/>
            </a:endParaRPr>
          </a:p>
        </p:txBody>
      </p:sp>
      <p:sp>
        <p:nvSpPr>
          <p:cNvPr id="25" name="Text Box 23">
            <a:extLst>
              <a:ext uri="{FF2B5EF4-FFF2-40B4-BE49-F238E27FC236}">
                <a16:creationId xmlns:a16="http://schemas.microsoft.com/office/drawing/2014/main" id="{9283A117-42D7-FF6F-B655-AEA7DD7D0972}"/>
              </a:ext>
            </a:extLst>
          </p:cNvPr>
          <p:cNvSpPr txBox="1">
            <a:spLocks noChangeArrowheads="1"/>
          </p:cNvSpPr>
          <p:nvPr/>
        </p:nvSpPr>
        <p:spPr bwMode="auto">
          <a:xfrm>
            <a:off x="1474561" y="3554195"/>
            <a:ext cx="1201994" cy="300588"/>
          </a:xfrm>
          <a:prstGeom prst="rect">
            <a:avLst/>
          </a:prstGeom>
          <a:noFill/>
          <a:ln w="9525">
            <a:noFill/>
            <a:miter lim="800000"/>
            <a:headEnd/>
            <a:tailEnd/>
          </a:ln>
        </p:spPr>
        <p:txBody>
          <a:bodyPr wrap="square" lIns="71982" tIns="35991" rIns="71982" bIns="53988">
            <a:spAutoFit/>
          </a:bodyPr>
          <a:lstStyle/>
          <a:p>
            <a:pPr defTabSz="957835"/>
            <a:r>
              <a:rPr lang="de-DE" sz="1000" dirty="0">
                <a:solidFill>
                  <a:schemeClr val="dk1"/>
                </a:solidFill>
                <a:latin typeface="Arial"/>
              </a:rPr>
              <a:t> Hohe DLZ</a:t>
            </a:r>
            <a:endParaRPr lang="en-US" sz="1000" dirty="0">
              <a:solidFill>
                <a:schemeClr val="dk1"/>
              </a:solidFill>
              <a:latin typeface="Arial"/>
            </a:endParaRPr>
          </a:p>
        </p:txBody>
      </p:sp>
      <p:sp>
        <p:nvSpPr>
          <p:cNvPr id="28" name="Text Box 24">
            <a:extLst>
              <a:ext uri="{FF2B5EF4-FFF2-40B4-BE49-F238E27FC236}">
                <a16:creationId xmlns:a16="http://schemas.microsoft.com/office/drawing/2014/main" id="{12056CDB-17F7-A65F-B089-C5B403267502}"/>
              </a:ext>
            </a:extLst>
          </p:cNvPr>
          <p:cNvSpPr txBox="1">
            <a:spLocks noChangeArrowheads="1"/>
          </p:cNvSpPr>
          <p:nvPr/>
        </p:nvSpPr>
        <p:spPr bwMode="auto">
          <a:xfrm>
            <a:off x="725499" y="4082194"/>
            <a:ext cx="2953867" cy="300588"/>
          </a:xfrm>
          <a:prstGeom prst="rect">
            <a:avLst/>
          </a:prstGeom>
          <a:noFill/>
          <a:ln w="9525">
            <a:noFill/>
            <a:miter lim="800000"/>
            <a:headEnd/>
            <a:tailEnd/>
          </a:ln>
        </p:spPr>
        <p:txBody>
          <a:bodyPr wrap="square" lIns="71982" tIns="35991" rIns="71982" bIns="53988">
            <a:spAutoFit/>
          </a:bodyPr>
          <a:lstStyle/>
          <a:p>
            <a:pPr defTabSz="957835"/>
            <a:r>
              <a:rPr lang="de-DE" sz="1000" dirty="0">
                <a:solidFill>
                  <a:schemeClr val="dk1"/>
                </a:solidFill>
                <a:latin typeface="Arial"/>
              </a:rPr>
              <a:t>Hoher Aufwand für Lieferteile</a:t>
            </a:r>
            <a:endParaRPr lang="en-US" sz="1000" dirty="0">
              <a:solidFill>
                <a:schemeClr val="dk1"/>
              </a:solidFill>
              <a:latin typeface="Arial"/>
            </a:endParaRPr>
          </a:p>
        </p:txBody>
      </p:sp>
      <p:sp>
        <p:nvSpPr>
          <p:cNvPr id="29" name="Text Box 19">
            <a:extLst>
              <a:ext uri="{FF2B5EF4-FFF2-40B4-BE49-F238E27FC236}">
                <a16:creationId xmlns:a16="http://schemas.microsoft.com/office/drawing/2014/main" id="{DB3134AA-71CC-4DD2-DEEB-4D2F058065D9}"/>
              </a:ext>
            </a:extLst>
          </p:cNvPr>
          <p:cNvSpPr txBox="1">
            <a:spLocks noChangeArrowheads="1"/>
          </p:cNvSpPr>
          <p:nvPr/>
        </p:nvSpPr>
        <p:spPr bwMode="auto">
          <a:xfrm>
            <a:off x="3405863" y="2078489"/>
            <a:ext cx="1689470" cy="300601"/>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Wertstromdesign</a:t>
            </a:r>
            <a:endParaRPr lang="en-US" sz="1000" dirty="0">
              <a:solidFill>
                <a:schemeClr val="dk1"/>
              </a:solidFill>
              <a:latin typeface="Arial"/>
            </a:endParaRPr>
          </a:p>
        </p:txBody>
      </p:sp>
      <p:sp>
        <p:nvSpPr>
          <p:cNvPr id="31" name="Text Box 20">
            <a:extLst>
              <a:ext uri="{FF2B5EF4-FFF2-40B4-BE49-F238E27FC236}">
                <a16:creationId xmlns:a16="http://schemas.microsoft.com/office/drawing/2014/main" id="{A0708627-EB2D-8051-1881-84DA2BF851E8}"/>
              </a:ext>
            </a:extLst>
          </p:cNvPr>
          <p:cNvSpPr txBox="1">
            <a:spLocks noChangeArrowheads="1"/>
          </p:cNvSpPr>
          <p:nvPr/>
        </p:nvSpPr>
        <p:spPr bwMode="auto">
          <a:xfrm>
            <a:off x="5154831" y="2131625"/>
            <a:ext cx="1106381"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Fließlinien</a:t>
            </a:r>
            <a:endParaRPr lang="en-US" sz="1000" dirty="0">
              <a:solidFill>
                <a:schemeClr val="dk1"/>
              </a:solidFill>
              <a:latin typeface="Arial"/>
            </a:endParaRPr>
          </a:p>
        </p:txBody>
      </p:sp>
      <p:sp>
        <p:nvSpPr>
          <p:cNvPr id="1024" name="Text Box 21">
            <a:extLst>
              <a:ext uri="{FF2B5EF4-FFF2-40B4-BE49-F238E27FC236}">
                <a16:creationId xmlns:a16="http://schemas.microsoft.com/office/drawing/2014/main" id="{E5389A75-3F76-A9C7-287B-F1806736FBA2}"/>
              </a:ext>
            </a:extLst>
          </p:cNvPr>
          <p:cNvSpPr txBox="1">
            <a:spLocks noChangeArrowheads="1"/>
          </p:cNvSpPr>
          <p:nvPr/>
        </p:nvSpPr>
        <p:spPr bwMode="auto">
          <a:xfrm>
            <a:off x="5922117" y="1857395"/>
            <a:ext cx="890667"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Kanban</a:t>
            </a:r>
            <a:endParaRPr lang="en-US" sz="1000" dirty="0">
              <a:solidFill>
                <a:schemeClr val="dk1"/>
              </a:solidFill>
              <a:latin typeface="Arial"/>
            </a:endParaRPr>
          </a:p>
        </p:txBody>
      </p:sp>
      <p:sp>
        <p:nvSpPr>
          <p:cNvPr id="1025" name="Text Box 22">
            <a:extLst>
              <a:ext uri="{FF2B5EF4-FFF2-40B4-BE49-F238E27FC236}">
                <a16:creationId xmlns:a16="http://schemas.microsoft.com/office/drawing/2014/main" id="{6F270320-A428-00D5-013F-9DBC1EAC253E}"/>
              </a:ext>
            </a:extLst>
          </p:cNvPr>
          <p:cNvSpPr txBox="1">
            <a:spLocks noChangeArrowheads="1"/>
          </p:cNvSpPr>
          <p:nvPr/>
        </p:nvSpPr>
        <p:spPr bwMode="auto">
          <a:xfrm>
            <a:off x="3112176" y="2496602"/>
            <a:ext cx="1292490" cy="300601"/>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Just-in-Time</a:t>
            </a:r>
            <a:endParaRPr lang="en-US" sz="1000" dirty="0">
              <a:solidFill>
                <a:schemeClr val="dk1"/>
              </a:solidFill>
              <a:latin typeface="Arial"/>
            </a:endParaRPr>
          </a:p>
        </p:txBody>
      </p:sp>
      <p:sp>
        <p:nvSpPr>
          <p:cNvPr id="1027" name="Text Box 23">
            <a:extLst>
              <a:ext uri="{FF2B5EF4-FFF2-40B4-BE49-F238E27FC236}">
                <a16:creationId xmlns:a16="http://schemas.microsoft.com/office/drawing/2014/main" id="{C3F33668-0B93-E2DA-42D6-5948E553DDE1}"/>
              </a:ext>
            </a:extLst>
          </p:cNvPr>
          <p:cNvSpPr txBox="1">
            <a:spLocks noChangeArrowheads="1"/>
          </p:cNvSpPr>
          <p:nvPr/>
        </p:nvSpPr>
        <p:spPr bwMode="auto">
          <a:xfrm>
            <a:off x="6715960" y="1755667"/>
            <a:ext cx="612330"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KVP</a:t>
            </a:r>
            <a:endParaRPr lang="en-US" sz="1000" dirty="0">
              <a:solidFill>
                <a:schemeClr val="dk1"/>
              </a:solidFill>
              <a:latin typeface="Arial"/>
            </a:endParaRPr>
          </a:p>
        </p:txBody>
      </p:sp>
      <p:sp>
        <p:nvSpPr>
          <p:cNvPr id="1029" name="Text Box 24">
            <a:extLst>
              <a:ext uri="{FF2B5EF4-FFF2-40B4-BE49-F238E27FC236}">
                <a16:creationId xmlns:a16="http://schemas.microsoft.com/office/drawing/2014/main" id="{19B2F288-5216-DAA1-D2C9-677383526A5C}"/>
              </a:ext>
            </a:extLst>
          </p:cNvPr>
          <p:cNvSpPr txBox="1">
            <a:spLocks noChangeArrowheads="1"/>
          </p:cNvSpPr>
          <p:nvPr/>
        </p:nvSpPr>
        <p:spPr bwMode="auto">
          <a:xfrm>
            <a:off x="6578534" y="2142851"/>
            <a:ext cx="1605650"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Einzelstückfluss</a:t>
            </a:r>
            <a:endParaRPr lang="en-US" sz="1000" dirty="0">
              <a:solidFill>
                <a:schemeClr val="dk1"/>
              </a:solidFill>
              <a:latin typeface="Arial"/>
            </a:endParaRPr>
          </a:p>
        </p:txBody>
      </p:sp>
      <p:sp>
        <p:nvSpPr>
          <p:cNvPr id="1030" name="Text Box 25">
            <a:extLst>
              <a:ext uri="{FF2B5EF4-FFF2-40B4-BE49-F238E27FC236}">
                <a16:creationId xmlns:a16="http://schemas.microsoft.com/office/drawing/2014/main" id="{CDEF4470-0BA2-B29D-4F4B-6EE228DAF8EB}"/>
              </a:ext>
            </a:extLst>
          </p:cNvPr>
          <p:cNvSpPr txBox="1">
            <a:spLocks noChangeArrowheads="1"/>
          </p:cNvSpPr>
          <p:nvPr/>
        </p:nvSpPr>
        <p:spPr bwMode="auto">
          <a:xfrm>
            <a:off x="4793045" y="4067416"/>
            <a:ext cx="2141450"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Lieferanteneinbindung</a:t>
            </a:r>
            <a:endParaRPr lang="en-US" sz="1000" dirty="0">
              <a:solidFill>
                <a:schemeClr val="dk1"/>
              </a:solidFill>
              <a:latin typeface="Arial"/>
            </a:endParaRPr>
          </a:p>
        </p:txBody>
      </p:sp>
      <p:sp>
        <p:nvSpPr>
          <p:cNvPr id="1031" name="Text Box 26">
            <a:extLst>
              <a:ext uri="{FF2B5EF4-FFF2-40B4-BE49-F238E27FC236}">
                <a16:creationId xmlns:a16="http://schemas.microsoft.com/office/drawing/2014/main" id="{363E9851-5977-9B51-97A5-BC7B14AB9AE4}"/>
              </a:ext>
            </a:extLst>
          </p:cNvPr>
          <p:cNvSpPr txBox="1">
            <a:spLocks noChangeArrowheads="1"/>
          </p:cNvSpPr>
          <p:nvPr/>
        </p:nvSpPr>
        <p:spPr bwMode="auto">
          <a:xfrm>
            <a:off x="5065590" y="4389117"/>
            <a:ext cx="457102" cy="300588"/>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5S</a:t>
            </a:r>
            <a:endParaRPr lang="en-US" sz="1000" dirty="0">
              <a:solidFill>
                <a:schemeClr val="dk1"/>
              </a:solidFill>
              <a:latin typeface="Arial"/>
            </a:endParaRPr>
          </a:p>
        </p:txBody>
      </p:sp>
      <p:sp>
        <p:nvSpPr>
          <p:cNvPr id="1032" name="Text Box 27">
            <a:extLst>
              <a:ext uri="{FF2B5EF4-FFF2-40B4-BE49-F238E27FC236}">
                <a16:creationId xmlns:a16="http://schemas.microsoft.com/office/drawing/2014/main" id="{1271EED3-1D9E-3C76-A2B8-5A4382EA1FE8}"/>
              </a:ext>
            </a:extLst>
          </p:cNvPr>
          <p:cNvSpPr txBox="1">
            <a:spLocks noChangeArrowheads="1"/>
          </p:cNvSpPr>
          <p:nvPr/>
        </p:nvSpPr>
        <p:spPr bwMode="auto">
          <a:xfrm>
            <a:off x="5812715" y="4475217"/>
            <a:ext cx="637938" cy="300588"/>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TPM</a:t>
            </a:r>
            <a:endParaRPr lang="en-US" sz="1000" dirty="0">
              <a:solidFill>
                <a:schemeClr val="dk1"/>
              </a:solidFill>
              <a:latin typeface="Arial"/>
            </a:endParaRPr>
          </a:p>
        </p:txBody>
      </p:sp>
      <p:sp>
        <p:nvSpPr>
          <p:cNvPr id="1033" name="Text Box 28">
            <a:extLst>
              <a:ext uri="{FF2B5EF4-FFF2-40B4-BE49-F238E27FC236}">
                <a16:creationId xmlns:a16="http://schemas.microsoft.com/office/drawing/2014/main" id="{621E6FD7-325D-2EBA-5835-0482097722F9}"/>
              </a:ext>
            </a:extLst>
          </p:cNvPr>
          <p:cNvSpPr txBox="1">
            <a:spLocks noChangeArrowheads="1"/>
          </p:cNvSpPr>
          <p:nvPr/>
        </p:nvSpPr>
        <p:spPr bwMode="auto">
          <a:xfrm>
            <a:off x="6294622" y="4211063"/>
            <a:ext cx="1852673" cy="300613"/>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Rüstzeitworkshops</a:t>
            </a:r>
            <a:endParaRPr lang="en-US" sz="1000" dirty="0">
              <a:solidFill>
                <a:schemeClr val="dk1"/>
              </a:solidFill>
              <a:latin typeface="Arial"/>
            </a:endParaRPr>
          </a:p>
        </p:txBody>
      </p:sp>
      <p:sp>
        <p:nvSpPr>
          <p:cNvPr id="1034" name="Text Box 29">
            <a:extLst>
              <a:ext uri="{FF2B5EF4-FFF2-40B4-BE49-F238E27FC236}">
                <a16:creationId xmlns:a16="http://schemas.microsoft.com/office/drawing/2014/main" id="{CF2B846C-3058-28F7-C9C2-E0E906FEC958}"/>
              </a:ext>
            </a:extLst>
          </p:cNvPr>
          <p:cNvSpPr txBox="1">
            <a:spLocks noChangeArrowheads="1"/>
          </p:cNvSpPr>
          <p:nvPr/>
        </p:nvSpPr>
        <p:spPr bwMode="auto">
          <a:xfrm>
            <a:off x="6797339" y="4607872"/>
            <a:ext cx="990495" cy="300601"/>
          </a:xfrm>
          <a:prstGeom prst="rect">
            <a:avLst/>
          </a:prstGeom>
          <a:noFill/>
          <a:ln w="9525">
            <a:noFill/>
            <a:miter lim="800000"/>
            <a:headEnd/>
            <a:tailEnd/>
          </a:ln>
        </p:spPr>
        <p:txBody>
          <a:bodyPr wrap="none" lIns="71982" tIns="35991" rIns="71982" bIns="53988">
            <a:spAutoFit/>
          </a:bodyPr>
          <a:lstStyle/>
          <a:p>
            <a:pPr defTabSz="957835"/>
            <a:r>
              <a:rPr lang="de-DE" sz="1000" dirty="0">
                <a:solidFill>
                  <a:schemeClr val="dk1"/>
                </a:solidFill>
                <a:latin typeface="Arial"/>
              </a:rPr>
              <a:t>Milk-Run</a:t>
            </a:r>
            <a:endParaRPr lang="en-US" sz="1000" dirty="0">
              <a:solidFill>
                <a:schemeClr val="dk1"/>
              </a:solidFill>
              <a:latin typeface="Arial"/>
            </a:endParaRPr>
          </a:p>
        </p:txBody>
      </p:sp>
      <p:sp>
        <p:nvSpPr>
          <p:cNvPr id="1041" name="AutoShape 17">
            <a:extLst>
              <a:ext uri="{FF2B5EF4-FFF2-40B4-BE49-F238E27FC236}">
                <a16:creationId xmlns:a16="http://schemas.microsoft.com/office/drawing/2014/main" id="{B2B60588-E10E-AD9F-38F2-4496D740D0F2}"/>
              </a:ext>
            </a:extLst>
          </p:cNvPr>
          <p:cNvSpPr>
            <a:spLocks noChangeArrowheads="1"/>
          </p:cNvSpPr>
          <p:nvPr/>
        </p:nvSpPr>
        <p:spPr bwMode="auto">
          <a:xfrm>
            <a:off x="722140" y="4361370"/>
            <a:ext cx="3077546" cy="840649"/>
          </a:xfrm>
          <a:prstGeom prst="homePlate">
            <a:avLst>
              <a:gd name="adj" fmla="val 38025"/>
            </a:avLst>
          </a:prstGeom>
          <a:solidFill>
            <a:srgbClr val="858585"/>
          </a:solidFill>
          <a:ln w="9525">
            <a:noFill/>
            <a:miter lim="800000"/>
            <a:headEnd/>
            <a:tailEnd/>
          </a:ln>
        </p:spPr>
        <p:txBody>
          <a:bodyPr wrap="none" lIns="71982" tIns="35991" rIns="71982" bIns="53988" anchor="ct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dk1"/>
                </a:solidFill>
                <a:effectLst/>
                <a:uLnTx/>
                <a:uFillTx/>
              </a:rPr>
              <a:t>Recovery</a:t>
            </a:r>
          </a:p>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dk1"/>
                </a:solidFill>
                <a:effectLst/>
                <a:uLnTx/>
                <a:uFillTx/>
              </a:rPr>
              <a:t>„Trouble Shooting“</a:t>
            </a:r>
            <a:endParaRPr kumimoji="0" lang="en-US" sz="1200" b="0" i="0" u="none" strike="noStrike" kern="0" cap="none" spc="0" normalizeH="0" baseline="0" noProof="0" dirty="0">
              <a:ln>
                <a:noFill/>
              </a:ln>
              <a:solidFill>
                <a:schemeClr val="dk1"/>
              </a:solidFill>
              <a:effectLst/>
              <a:uLnTx/>
              <a:uFillTx/>
            </a:endParaRPr>
          </a:p>
        </p:txBody>
      </p:sp>
      <p:sp>
        <p:nvSpPr>
          <p:cNvPr id="1042" name="AutoShape 18">
            <a:extLst>
              <a:ext uri="{FF2B5EF4-FFF2-40B4-BE49-F238E27FC236}">
                <a16:creationId xmlns:a16="http://schemas.microsoft.com/office/drawing/2014/main" id="{E3E49828-720A-143E-B3A7-B7D77BCFCF5F}"/>
              </a:ext>
            </a:extLst>
          </p:cNvPr>
          <p:cNvSpPr>
            <a:spLocks noChangeArrowheads="1"/>
          </p:cNvSpPr>
          <p:nvPr/>
        </p:nvSpPr>
        <p:spPr bwMode="auto">
          <a:xfrm>
            <a:off x="3111275" y="3169844"/>
            <a:ext cx="4567910" cy="761730"/>
          </a:xfrm>
          <a:prstGeom prst="homePlate">
            <a:avLst>
              <a:gd name="adj" fmla="val 28816"/>
            </a:avLst>
          </a:prstGeom>
          <a:solidFill>
            <a:schemeClr val="accent2"/>
          </a:solidFill>
          <a:ln w="9525">
            <a:noFill/>
            <a:miter lim="800000"/>
            <a:headEnd/>
            <a:tailEnd/>
          </a:ln>
        </p:spPr>
        <p:txBody>
          <a:bodyPr wrap="none" lIns="71982" tIns="35991" rIns="71982" bIns="53988" anchor="ctr"/>
          <a:lstStyle/>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1" i="0" u="none" strike="noStrike" kern="0" cap="none" spc="0" normalizeH="0" baseline="0" noProof="0" dirty="0">
                <a:ln>
                  <a:noFill/>
                </a:ln>
                <a:solidFill>
                  <a:schemeClr val="dk1"/>
                </a:solidFill>
                <a:effectLst/>
                <a:uLnTx/>
                <a:uFillTx/>
              </a:rPr>
              <a:t>Stabilisierung und Optimierung</a:t>
            </a:r>
          </a:p>
          <a:p>
            <a:pPr marL="0" marR="0" lvl="0" indent="0" algn="ctr" defTabSz="957835" eaLnBrk="1" fontAlgn="auto" latinLnBrk="0" hangingPunct="1">
              <a:lnSpc>
                <a:spcPct val="100000"/>
              </a:lnSpc>
              <a:spcBef>
                <a:spcPts val="0"/>
              </a:spcBef>
              <a:spcAft>
                <a:spcPts val="0"/>
              </a:spcAft>
              <a:buClrTx/>
              <a:buSzTx/>
              <a:buFontTx/>
              <a:buNone/>
              <a:tabLst/>
              <a:defRPr/>
            </a:pPr>
            <a:r>
              <a:rPr kumimoji="0" lang="de-DE" sz="1200" b="0" i="0" u="none" strike="noStrike" kern="0" cap="none" spc="0" normalizeH="0" baseline="0" noProof="0" dirty="0">
                <a:ln>
                  <a:noFill/>
                </a:ln>
                <a:solidFill>
                  <a:schemeClr val="dk1"/>
                </a:solidFill>
                <a:effectLst/>
                <a:uLnTx/>
                <a:uFillTx/>
              </a:rPr>
              <a:t>„</a:t>
            </a:r>
            <a:r>
              <a:rPr kumimoji="0" lang="de-DE" sz="1200" b="1" i="0" u="none" strike="noStrike" kern="0" cap="none" spc="0" normalizeH="0" baseline="0" noProof="0" dirty="0">
                <a:ln>
                  <a:noFill/>
                </a:ln>
                <a:solidFill>
                  <a:schemeClr val="dk1"/>
                </a:solidFill>
                <a:effectLst/>
                <a:uLnTx/>
                <a:uFillTx/>
              </a:rPr>
              <a:t>SYNCHRO</a:t>
            </a:r>
            <a:r>
              <a:rPr kumimoji="0" lang="de-DE" sz="1200" b="0" i="0" u="none" strike="noStrike" kern="0" cap="none" spc="0" normalizeH="0" baseline="0" noProof="0" dirty="0">
                <a:ln>
                  <a:noFill/>
                </a:ln>
                <a:solidFill>
                  <a:schemeClr val="dk1"/>
                </a:solidFill>
                <a:effectLst/>
                <a:uLnTx/>
                <a:uFillTx/>
              </a:rPr>
              <a:t>: Methoden und Tools“</a:t>
            </a:r>
            <a:endParaRPr kumimoji="0" lang="en-US" sz="1200" b="0" i="0" u="none" strike="noStrike" kern="0" cap="none" spc="0" normalizeH="0" baseline="0" noProof="0" dirty="0">
              <a:ln>
                <a:noFill/>
              </a:ln>
              <a:solidFill>
                <a:schemeClr val="dk1"/>
              </a:solidFill>
              <a:effectLst/>
              <a:uLnTx/>
              <a:uFillTx/>
            </a:endParaRPr>
          </a:p>
        </p:txBody>
      </p:sp>
      <p:grpSp>
        <p:nvGrpSpPr>
          <p:cNvPr id="1077" name="Group 14">
            <a:extLst>
              <a:ext uri="{FF2B5EF4-FFF2-40B4-BE49-F238E27FC236}">
                <a16:creationId xmlns:a16="http://schemas.microsoft.com/office/drawing/2014/main" id="{2204A3FE-1247-7AA6-F8DC-04CFEC5F47A3}"/>
              </a:ext>
            </a:extLst>
          </p:cNvPr>
          <p:cNvGrpSpPr>
            <a:grpSpLocks/>
          </p:cNvGrpSpPr>
          <p:nvPr/>
        </p:nvGrpSpPr>
        <p:grpSpPr bwMode="auto">
          <a:xfrm>
            <a:off x="9132933" y="1512760"/>
            <a:ext cx="484795" cy="4228914"/>
            <a:chOff x="3848" y="1684"/>
            <a:chExt cx="201" cy="2169"/>
          </a:xfrm>
        </p:grpSpPr>
        <p:sp>
          <p:nvSpPr>
            <p:cNvPr id="1078" name="Line 15">
              <a:extLst>
                <a:ext uri="{FF2B5EF4-FFF2-40B4-BE49-F238E27FC236}">
                  <a16:creationId xmlns:a16="http://schemas.microsoft.com/office/drawing/2014/main" id="{438F3A91-83EB-3936-68E9-3C0CB4758032}"/>
                </a:ext>
              </a:extLst>
            </p:cNvPr>
            <p:cNvSpPr>
              <a:spLocks noChangeShapeType="1"/>
            </p:cNvSpPr>
            <p:nvPr/>
          </p:nvSpPr>
          <p:spPr bwMode="auto">
            <a:xfrm>
              <a:off x="4012" y="1684"/>
              <a:ext cx="0" cy="1996"/>
            </a:xfrm>
            <a:prstGeom prst="line">
              <a:avLst/>
            </a:prstGeom>
            <a:noFill/>
            <a:ln w="9525" cap="flat" cmpd="sng" algn="ctr">
              <a:solidFill>
                <a:srgbClr val="858585"/>
              </a:solidFill>
              <a:prstDash val="solid"/>
              <a:round/>
              <a:headEnd type="none" w="med" len="med"/>
              <a:tailEnd type="none" w="med" len="med"/>
            </a:ln>
          </p:spPr>
          <p:txBody>
            <a:bodyPr wrap="none" lIns="72000" tIns="36000" rIns="72000" bIns="54000">
              <a:spAutoFit/>
            </a:bodyPr>
            <a:lstStyle/>
            <a:p>
              <a:pPr defTabSz="957835"/>
              <a:endParaRPr lang="de-DE" sz="1900" dirty="0">
                <a:solidFill>
                  <a:srgbClr val="000000"/>
                </a:solidFill>
                <a:latin typeface="Arial"/>
              </a:endParaRPr>
            </a:p>
          </p:txBody>
        </p:sp>
        <p:sp>
          <p:nvSpPr>
            <p:cNvPr id="1079" name="Text Box 16">
              <a:extLst>
                <a:ext uri="{FF2B5EF4-FFF2-40B4-BE49-F238E27FC236}">
                  <a16:creationId xmlns:a16="http://schemas.microsoft.com/office/drawing/2014/main" id="{4ACDFE2D-F52B-9534-0733-9F35B35A1A97}"/>
                </a:ext>
              </a:extLst>
            </p:cNvPr>
            <p:cNvSpPr txBox="1">
              <a:spLocks noChangeArrowheads="1"/>
            </p:cNvSpPr>
            <p:nvPr/>
          </p:nvSpPr>
          <p:spPr bwMode="auto">
            <a:xfrm>
              <a:off x="3848" y="3712"/>
              <a:ext cx="201" cy="141"/>
            </a:xfrm>
            <a:prstGeom prst="rect">
              <a:avLst/>
            </a:prstGeom>
            <a:noFill/>
            <a:ln w="9525">
              <a:noFill/>
              <a:miter lim="800000"/>
              <a:headEnd/>
              <a:tailEnd/>
            </a:ln>
          </p:spPr>
          <p:txBody>
            <a:bodyPr wrap="none" lIns="72000" tIns="36000" rIns="72000" bIns="54000">
              <a:spAutoFit/>
            </a:bodyPr>
            <a:lstStyle/>
            <a:p>
              <a:pPr defTabSz="957835"/>
              <a:r>
                <a:rPr lang="de-DE" sz="1200" dirty="0">
                  <a:solidFill>
                    <a:schemeClr val="dk1"/>
                  </a:solidFill>
                  <a:latin typeface="Arial"/>
                </a:rPr>
                <a:t>2021</a:t>
              </a:r>
              <a:endParaRPr lang="en-US" sz="1200" dirty="0">
                <a:solidFill>
                  <a:schemeClr val="dk1"/>
                </a:solidFill>
                <a:latin typeface="Arial"/>
              </a:endParaRPr>
            </a:p>
          </p:txBody>
        </p:sp>
      </p:grpSp>
      <p:sp>
        <p:nvSpPr>
          <p:cNvPr id="1080" name="Line 21">
            <a:extLst>
              <a:ext uri="{FF2B5EF4-FFF2-40B4-BE49-F238E27FC236}">
                <a16:creationId xmlns:a16="http://schemas.microsoft.com/office/drawing/2014/main" id="{DF36AAD0-68C4-E5F1-399F-1764AEB92A55}"/>
              </a:ext>
            </a:extLst>
          </p:cNvPr>
          <p:cNvSpPr>
            <a:spLocks noChangeShapeType="1"/>
          </p:cNvSpPr>
          <p:nvPr/>
        </p:nvSpPr>
        <p:spPr bwMode="auto">
          <a:xfrm flipV="1">
            <a:off x="7711762" y="2657143"/>
            <a:ext cx="1797880" cy="6209"/>
          </a:xfrm>
          <a:prstGeom prst="line">
            <a:avLst/>
          </a:prstGeom>
          <a:noFill/>
          <a:ln w="28575">
            <a:solidFill>
              <a:schemeClr val="tx1"/>
            </a:solidFill>
            <a:round/>
            <a:headEnd/>
            <a:tailEnd type="triangle" w="med" len="med"/>
          </a:ln>
        </p:spPr>
        <p:txBody>
          <a:bodyPr wrap="square" lIns="71982" tIns="35991" rIns="71982" bIns="53988">
            <a:spAutoFit/>
          </a:bodyPr>
          <a:lstStyle/>
          <a:p>
            <a:endParaRPr lang="de-DE" dirty="0">
              <a:solidFill>
                <a:srgbClr val="000000"/>
              </a:solidFill>
            </a:endParaRPr>
          </a:p>
        </p:txBody>
      </p:sp>
      <p:sp>
        <p:nvSpPr>
          <p:cNvPr id="1082" name="Text Box 24">
            <a:extLst>
              <a:ext uri="{FF2B5EF4-FFF2-40B4-BE49-F238E27FC236}">
                <a16:creationId xmlns:a16="http://schemas.microsoft.com/office/drawing/2014/main" id="{C3528446-EEB2-B7FD-29F3-5F02E5BEEF83}"/>
              </a:ext>
            </a:extLst>
          </p:cNvPr>
          <p:cNvSpPr txBox="1">
            <a:spLocks noChangeArrowheads="1"/>
          </p:cNvSpPr>
          <p:nvPr/>
        </p:nvSpPr>
        <p:spPr bwMode="auto">
          <a:xfrm>
            <a:off x="7658149" y="1562734"/>
            <a:ext cx="1205759" cy="244767"/>
          </a:xfrm>
          <a:prstGeom prst="rect">
            <a:avLst/>
          </a:prstGeom>
          <a:noFill/>
          <a:ln w="9525">
            <a:noFill/>
            <a:miter lim="800000"/>
            <a:headEnd/>
            <a:tailEnd/>
          </a:ln>
        </p:spPr>
        <p:txBody>
          <a:bodyPr wrap="none" lIns="71982" tIns="35991" rIns="71982" bIns="53988">
            <a:spAutoFit/>
          </a:bodyPr>
          <a:lstStyle/>
          <a:p>
            <a:r>
              <a:rPr lang="de-DE" sz="1000" dirty="0">
                <a:solidFill>
                  <a:srgbClr val="000000"/>
                </a:solidFill>
              </a:rPr>
              <a:t>Führungsexzellenz</a:t>
            </a:r>
          </a:p>
        </p:txBody>
      </p:sp>
      <p:sp>
        <p:nvSpPr>
          <p:cNvPr id="1083" name="Text Box 24">
            <a:extLst>
              <a:ext uri="{FF2B5EF4-FFF2-40B4-BE49-F238E27FC236}">
                <a16:creationId xmlns:a16="http://schemas.microsoft.com/office/drawing/2014/main" id="{7929F16B-2DC9-24B3-3FDC-E82F2D2E0E5E}"/>
              </a:ext>
            </a:extLst>
          </p:cNvPr>
          <p:cNvSpPr txBox="1">
            <a:spLocks noChangeArrowheads="1"/>
          </p:cNvSpPr>
          <p:nvPr/>
        </p:nvSpPr>
        <p:spPr bwMode="auto">
          <a:xfrm>
            <a:off x="7855485" y="1803261"/>
            <a:ext cx="1606244" cy="244767"/>
          </a:xfrm>
          <a:prstGeom prst="rect">
            <a:avLst/>
          </a:prstGeom>
          <a:noFill/>
          <a:ln w="9525">
            <a:noFill/>
            <a:miter lim="800000"/>
            <a:headEnd/>
            <a:tailEnd/>
          </a:ln>
        </p:spPr>
        <p:txBody>
          <a:bodyPr wrap="none" lIns="71982" tIns="35991" rIns="71982" bIns="53988">
            <a:spAutoFit/>
          </a:bodyPr>
          <a:lstStyle/>
          <a:p>
            <a:r>
              <a:rPr lang="de-DE" sz="1000" dirty="0">
                <a:solidFill>
                  <a:srgbClr val="000000"/>
                </a:solidFill>
              </a:rPr>
              <a:t>Führen mit Zielzuständen</a:t>
            </a:r>
          </a:p>
        </p:txBody>
      </p:sp>
      <p:sp>
        <p:nvSpPr>
          <p:cNvPr id="1085" name="Textfeld 1084">
            <a:extLst>
              <a:ext uri="{FF2B5EF4-FFF2-40B4-BE49-F238E27FC236}">
                <a16:creationId xmlns:a16="http://schemas.microsoft.com/office/drawing/2014/main" id="{AD798A40-50CB-1EC9-ABDE-D096D8E1E43C}"/>
              </a:ext>
            </a:extLst>
          </p:cNvPr>
          <p:cNvSpPr txBox="1"/>
          <p:nvPr/>
        </p:nvSpPr>
        <p:spPr>
          <a:xfrm>
            <a:off x="10664690" y="2818522"/>
            <a:ext cx="694339" cy="369332"/>
          </a:xfrm>
          <a:prstGeom prst="rect">
            <a:avLst/>
          </a:prstGeom>
          <a:noFill/>
        </p:spPr>
        <p:txBody>
          <a:bodyPr wrap="square" lIns="0" tIns="0" rIns="0" bIns="0" rtlCol="0">
            <a:spAutoFit/>
          </a:bodyPr>
          <a:lstStyle/>
          <a:p>
            <a:pPr algn="ctr"/>
            <a:r>
              <a:rPr lang="de-DE" sz="1200" dirty="0"/>
              <a:t>Flächen-knappheit</a:t>
            </a:r>
          </a:p>
        </p:txBody>
      </p:sp>
      <p:sp>
        <p:nvSpPr>
          <p:cNvPr id="1086" name="Textfeld 1085">
            <a:extLst>
              <a:ext uri="{FF2B5EF4-FFF2-40B4-BE49-F238E27FC236}">
                <a16:creationId xmlns:a16="http://schemas.microsoft.com/office/drawing/2014/main" id="{068ACEDF-A9D6-4AD7-C751-EEF0AD14B782}"/>
              </a:ext>
            </a:extLst>
          </p:cNvPr>
          <p:cNvSpPr txBox="1"/>
          <p:nvPr/>
        </p:nvSpPr>
        <p:spPr>
          <a:xfrm>
            <a:off x="10505713" y="3341977"/>
            <a:ext cx="694339" cy="369332"/>
          </a:xfrm>
          <a:prstGeom prst="rect">
            <a:avLst/>
          </a:prstGeom>
          <a:noFill/>
        </p:spPr>
        <p:txBody>
          <a:bodyPr wrap="square" lIns="0" tIns="0" rIns="0" bIns="0" rtlCol="0">
            <a:spAutoFit/>
          </a:bodyPr>
          <a:lstStyle/>
          <a:p>
            <a:pPr algn="ctr"/>
            <a:r>
              <a:rPr lang="de-DE" sz="1200" dirty="0"/>
              <a:t>Trouble-Shooting</a:t>
            </a:r>
          </a:p>
        </p:txBody>
      </p:sp>
      <p:sp>
        <p:nvSpPr>
          <p:cNvPr id="1087" name="Textfeld 1086">
            <a:extLst>
              <a:ext uri="{FF2B5EF4-FFF2-40B4-BE49-F238E27FC236}">
                <a16:creationId xmlns:a16="http://schemas.microsoft.com/office/drawing/2014/main" id="{E03FBA3A-6FB9-5DBE-1111-C23E99258859}"/>
              </a:ext>
            </a:extLst>
          </p:cNvPr>
          <p:cNvSpPr txBox="1"/>
          <p:nvPr/>
        </p:nvSpPr>
        <p:spPr>
          <a:xfrm>
            <a:off x="10065103" y="2735178"/>
            <a:ext cx="451813" cy="369332"/>
          </a:xfrm>
          <a:prstGeom prst="rect">
            <a:avLst/>
          </a:prstGeom>
          <a:noFill/>
        </p:spPr>
        <p:txBody>
          <a:bodyPr wrap="square" lIns="0" tIns="0" rIns="0" bIns="0" rtlCol="0">
            <a:spAutoFit/>
          </a:bodyPr>
          <a:lstStyle/>
          <a:p>
            <a:pPr algn="l"/>
            <a:r>
              <a:rPr lang="de-DE" sz="1200" dirty="0"/>
              <a:t>Rück-stand</a:t>
            </a:r>
          </a:p>
        </p:txBody>
      </p:sp>
      <p:sp>
        <p:nvSpPr>
          <p:cNvPr id="1088" name="Textfeld 1087">
            <a:extLst>
              <a:ext uri="{FF2B5EF4-FFF2-40B4-BE49-F238E27FC236}">
                <a16:creationId xmlns:a16="http://schemas.microsoft.com/office/drawing/2014/main" id="{91A8383B-49A3-68AD-51F9-08D198EDD9D3}"/>
              </a:ext>
            </a:extLst>
          </p:cNvPr>
          <p:cNvSpPr txBox="1"/>
          <p:nvPr/>
        </p:nvSpPr>
        <p:spPr>
          <a:xfrm>
            <a:off x="9645549" y="3323884"/>
            <a:ext cx="694339" cy="184666"/>
          </a:xfrm>
          <a:prstGeom prst="rect">
            <a:avLst/>
          </a:prstGeom>
          <a:noFill/>
        </p:spPr>
        <p:txBody>
          <a:bodyPr wrap="square" lIns="0" tIns="0" rIns="0" bIns="0" rtlCol="0">
            <a:spAutoFit/>
          </a:bodyPr>
          <a:lstStyle/>
          <a:p>
            <a:pPr algn="ctr"/>
            <a:r>
              <a:rPr lang="de-DE" sz="1200" dirty="0"/>
              <a:t>Fehlteile</a:t>
            </a:r>
          </a:p>
        </p:txBody>
      </p:sp>
      <p:sp>
        <p:nvSpPr>
          <p:cNvPr id="1089" name="Textfeld 1088">
            <a:extLst>
              <a:ext uri="{FF2B5EF4-FFF2-40B4-BE49-F238E27FC236}">
                <a16:creationId xmlns:a16="http://schemas.microsoft.com/office/drawing/2014/main" id="{F1410950-E5AA-0E1A-BEF4-3FC33099C516}"/>
              </a:ext>
            </a:extLst>
          </p:cNvPr>
          <p:cNvSpPr txBox="1"/>
          <p:nvPr/>
        </p:nvSpPr>
        <p:spPr>
          <a:xfrm>
            <a:off x="9769037" y="1545763"/>
            <a:ext cx="1486928" cy="492443"/>
          </a:xfrm>
          <a:prstGeom prst="rect">
            <a:avLst/>
          </a:prstGeom>
          <a:noFill/>
        </p:spPr>
        <p:txBody>
          <a:bodyPr wrap="square" lIns="0" tIns="0" rIns="0" bIns="0" rtlCol="0">
            <a:spAutoFit/>
          </a:bodyPr>
          <a:lstStyle/>
          <a:p>
            <a:pPr algn="ctr"/>
            <a:r>
              <a:rPr lang="de-DE" sz="1600" b="1" dirty="0"/>
              <a:t>Supply Chain Krise</a:t>
            </a:r>
          </a:p>
        </p:txBody>
      </p:sp>
      <p:sp>
        <p:nvSpPr>
          <p:cNvPr id="1091" name="Textfeld 1090">
            <a:extLst>
              <a:ext uri="{FF2B5EF4-FFF2-40B4-BE49-F238E27FC236}">
                <a16:creationId xmlns:a16="http://schemas.microsoft.com/office/drawing/2014/main" id="{CC68C902-FBA3-3256-3478-BE88E5110A4B}"/>
              </a:ext>
            </a:extLst>
          </p:cNvPr>
          <p:cNvSpPr txBox="1"/>
          <p:nvPr/>
        </p:nvSpPr>
        <p:spPr>
          <a:xfrm>
            <a:off x="9871046" y="4948401"/>
            <a:ext cx="1675316" cy="553998"/>
          </a:xfrm>
          <a:prstGeom prst="rect">
            <a:avLst/>
          </a:prstGeom>
          <a:noFill/>
        </p:spPr>
        <p:txBody>
          <a:bodyPr wrap="square" lIns="0" tIns="0" rIns="0" bIns="0" rtlCol="0">
            <a:spAutoFit/>
          </a:bodyPr>
          <a:lstStyle/>
          <a:p>
            <a:pPr algn="ctr"/>
            <a:r>
              <a:rPr lang="de-DE" sz="1200" i="1" dirty="0"/>
              <a:t>3 Werke, 1 Idee, SYNCRHO Muss wieder belebt werden</a:t>
            </a:r>
          </a:p>
        </p:txBody>
      </p:sp>
      <p:pic>
        <p:nvPicPr>
          <p:cNvPr id="2050" name="Picture 2" descr="Supply, Chain Management Icon Concept: Procurement, Warehousing ...">
            <a:extLst>
              <a:ext uri="{FF2B5EF4-FFF2-40B4-BE49-F238E27FC236}">
                <a16:creationId xmlns:a16="http://schemas.microsoft.com/office/drawing/2014/main" id="{DAB38900-0E55-55A9-B128-458D3C93339B}"/>
              </a:ext>
            </a:extLst>
          </p:cNvPr>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17728" y="1997641"/>
            <a:ext cx="1880145" cy="625246"/>
          </a:xfrm>
          <a:prstGeom prst="rect">
            <a:avLst/>
          </a:prstGeom>
          <a:noFill/>
          <a:extLst>
            <a:ext uri="{909E8E84-426E-40DD-AFC4-6F175D3DCCD1}">
              <a14:hiddenFill xmlns:a14="http://schemas.microsoft.com/office/drawing/2010/main">
                <a:solidFill>
                  <a:srgbClr val="FFFFFF"/>
                </a:solidFill>
              </a14:hiddenFill>
            </a:ext>
          </a:extLst>
        </p:spPr>
      </p:pic>
      <p:sp>
        <p:nvSpPr>
          <p:cNvPr id="1092" name="Textfeld 1091">
            <a:extLst>
              <a:ext uri="{FF2B5EF4-FFF2-40B4-BE49-F238E27FC236}">
                <a16:creationId xmlns:a16="http://schemas.microsoft.com/office/drawing/2014/main" id="{93827CDD-628A-A105-3E45-7BF8B376D2CB}"/>
              </a:ext>
            </a:extLst>
          </p:cNvPr>
          <p:cNvSpPr txBox="1"/>
          <p:nvPr/>
        </p:nvSpPr>
        <p:spPr>
          <a:xfrm flipH="1">
            <a:off x="4728658" y="2647141"/>
            <a:ext cx="2868377" cy="246221"/>
          </a:xfrm>
          <a:prstGeom prst="rect">
            <a:avLst/>
          </a:prstGeom>
          <a:solidFill>
            <a:schemeClr val="accent5"/>
          </a:solidFill>
        </p:spPr>
        <p:txBody>
          <a:bodyPr wrap="square" lIns="0" tIns="0" rIns="0" bIns="0" rtlCol="0">
            <a:spAutoFit/>
          </a:bodyPr>
          <a:lstStyle/>
          <a:p>
            <a:pPr algn="ctr"/>
            <a:r>
              <a:rPr lang="de-DE" sz="1600" dirty="0">
                <a:solidFill>
                  <a:schemeClr val="bg1"/>
                </a:solidFill>
              </a:rPr>
              <a:t>Sofort Ergebnisse</a:t>
            </a:r>
          </a:p>
        </p:txBody>
      </p:sp>
      <p:sp>
        <p:nvSpPr>
          <p:cNvPr id="1093" name="Textfeld 1092">
            <a:extLst>
              <a:ext uri="{FF2B5EF4-FFF2-40B4-BE49-F238E27FC236}">
                <a16:creationId xmlns:a16="http://schemas.microsoft.com/office/drawing/2014/main" id="{AE897528-2BCB-8A74-ED0F-23D7D5D60BB4}"/>
              </a:ext>
            </a:extLst>
          </p:cNvPr>
          <p:cNvSpPr txBox="1"/>
          <p:nvPr/>
        </p:nvSpPr>
        <p:spPr>
          <a:xfrm flipH="1">
            <a:off x="7699183" y="2278599"/>
            <a:ext cx="1784794" cy="246221"/>
          </a:xfrm>
          <a:prstGeom prst="rect">
            <a:avLst/>
          </a:prstGeom>
          <a:solidFill>
            <a:schemeClr val="accent5"/>
          </a:solidFill>
        </p:spPr>
        <p:txBody>
          <a:bodyPr wrap="square" lIns="0" tIns="0" rIns="0" bIns="0" rtlCol="0">
            <a:spAutoFit/>
          </a:bodyPr>
          <a:lstStyle/>
          <a:p>
            <a:pPr algn="ctr"/>
            <a:r>
              <a:rPr lang="de-DE" sz="1600" dirty="0">
                <a:solidFill>
                  <a:schemeClr val="bg1"/>
                </a:solidFill>
              </a:rPr>
              <a:t>Nachhaltiger Erfolg</a:t>
            </a:r>
          </a:p>
        </p:txBody>
      </p:sp>
      <p:pic>
        <p:nvPicPr>
          <p:cNvPr id="1094" name="Picture 4" descr="Pin page">
            <a:extLst>
              <a:ext uri="{FF2B5EF4-FFF2-40B4-BE49-F238E27FC236}">
                <a16:creationId xmlns:a16="http://schemas.microsoft.com/office/drawing/2014/main" id="{E8E6DD4F-BFE8-5132-A569-695900267A29}"/>
              </a:ext>
            </a:extLst>
          </p:cNvPr>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33205" y="1369443"/>
            <a:ext cx="8924256" cy="40800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3804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8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8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8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8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8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9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5" grpId="0"/>
      <p:bldP spid="1086" grpId="0"/>
      <p:bldP spid="1087" grpId="0"/>
      <p:bldP spid="1088" grpId="0"/>
      <p:bldP spid="1089" grpId="0"/>
      <p:bldP spid="109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ife Icon Images, Stock Photos &amp; Vectors | Shutterstock">
            <a:extLst>
              <a:ext uri="{FF2B5EF4-FFF2-40B4-BE49-F238E27FC236}">
                <a16:creationId xmlns:a16="http://schemas.microsoft.com/office/drawing/2014/main" id="{8DB85D2C-C11F-41FB-EB05-4DEBD218ED44}"/>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b="20009"/>
          <a:stretch/>
        </p:blipFill>
        <p:spPr bwMode="auto">
          <a:xfrm>
            <a:off x="10836090" y="1099120"/>
            <a:ext cx="946828" cy="832654"/>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6367926" cy="387798"/>
          </a:xfrm>
        </p:spPr>
        <p:txBody>
          <a:bodyPr/>
          <a:lstStyle/>
          <a:p>
            <a:r>
              <a:rPr lang="de-DE" dirty="0">
                <a:solidFill>
                  <a:schemeClr val="accent5">
                    <a:lumMod val="50000"/>
                  </a:schemeClr>
                </a:solidFill>
              </a:rPr>
              <a:t>#Mission GEMBA – SYNCRHO Revival</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812775" cy="305989"/>
          </a:xfrm>
        </p:spPr>
        <p:txBody>
          <a:bodyPr/>
          <a:lstStyle/>
          <a:p>
            <a:r>
              <a:rPr lang="de-DE" dirty="0"/>
              <a:t>Oliver Türk</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7</a:t>
            </a:fld>
            <a:r>
              <a:rPr lang="de-DE"/>
              <a:t>  </a:t>
            </a:r>
            <a:r>
              <a:rPr lang="de-DE" b="0">
                <a:solidFill>
                  <a:schemeClr val="accent1"/>
                </a:solidFill>
              </a:rPr>
              <a:t>|</a:t>
            </a:r>
            <a:endParaRPr lang="de-DE" sz="900" b="0">
              <a:solidFill>
                <a:schemeClr val="accent1"/>
              </a:solidFill>
            </a:endParaRPr>
          </a:p>
        </p:txBody>
      </p:sp>
      <p:sp>
        <p:nvSpPr>
          <p:cNvPr id="26" name="Rechteck 25">
            <a:extLst>
              <a:ext uri="{FF2B5EF4-FFF2-40B4-BE49-F238E27FC236}">
                <a16:creationId xmlns:a16="http://schemas.microsoft.com/office/drawing/2014/main" id="{2D7017BC-67C1-D704-9C3C-5F23FDD0721F}"/>
              </a:ext>
            </a:extLst>
          </p:cNvPr>
          <p:cNvSpPr/>
          <p:nvPr/>
        </p:nvSpPr>
        <p:spPr>
          <a:xfrm>
            <a:off x="228600" y="1158718"/>
            <a:ext cx="11658600" cy="4684795"/>
          </a:xfrm>
          <a:custGeom>
            <a:avLst/>
            <a:gdLst>
              <a:gd name="connsiteX0" fmla="*/ 0 w 11658600"/>
              <a:gd name="connsiteY0" fmla="*/ 0 h 4684795"/>
              <a:gd name="connsiteX1" fmla="*/ 11658600 w 11658600"/>
              <a:gd name="connsiteY1" fmla="*/ 0 h 4684795"/>
              <a:gd name="connsiteX2" fmla="*/ 11658600 w 11658600"/>
              <a:gd name="connsiteY2" fmla="*/ 4684795 h 4684795"/>
              <a:gd name="connsiteX3" fmla="*/ 0 w 11658600"/>
              <a:gd name="connsiteY3" fmla="*/ 4684795 h 4684795"/>
              <a:gd name="connsiteX4" fmla="*/ 0 w 11658600"/>
              <a:gd name="connsiteY4" fmla="*/ 0 h 46847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58600" h="4684795" extrusionOk="0">
                <a:moveTo>
                  <a:pt x="0" y="0"/>
                </a:moveTo>
                <a:cubicBezTo>
                  <a:pt x="3773199" y="-5264"/>
                  <a:pt x="7840889" y="84467"/>
                  <a:pt x="11658600" y="0"/>
                </a:cubicBezTo>
                <a:cubicBezTo>
                  <a:pt x="11530427" y="1093305"/>
                  <a:pt x="11787750" y="3580578"/>
                  <a:pt x="11658600" y="4684795"/>
                </a:cubicBezTo>
                <a:cubicBezTo>
                  <a:pt x="7877883" y="4791115"/>
                  <a:pt x="1587676" y="4677146"/>
                  <a:pt x="0" y="4684795"/>
                </a:cubicBezTo>
                <a:cubicBezTo>
                  <a:pt x="160128" y="2597985"/>
                  <a:pt x="25049" y="1220785"/>
                  <a:pt x="0" y="0"/>
                </a:cubicBezTo>
                <a:close/>
              </a:path>
            </a:pathLst>
          </a:custGeom>
          <a:noFill/>
          <a:ln w="28575">
            <a:solidFill>
              <a:schemeClr val="tx2"/>
            </a:solidFill>
            <a:extLst>
              <a:ext uri="{C807C97D-BFC1-408E-A445-0C87EB9F89A2}">
                <ask:lineSketchStyleProps xmlns:ask="http://schemas.microsoft.com/office/drawing/2018/sketchyshapes" sd="2650216993">
                  <a:prstGeom prst="rect">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e-DE" err="1"/>
          </a:p>
        </p:txBody>
      </p:sp>
      <p:sp>
        <p:nvSpPr>
          <p:cNvPr id="27" name="Textfeld 26">
            <a:extLst>
              <a:ext uri="{FF2B5EF4-FFF2-40B4-BE49-F238E27FC236}">
                <a16:creationId xmlns:a16="http://schemas.microsoft.com/office/drawing/2014/main" id="{FD05BCEB-6DAC-F4F4-F8EE-401591CDBE65}"/>
              </a:ext>
            </a:extLst>
          </p:cNvPr>
          <p:cNvSpPr txBox="1"/>
          <p:nvPr/>
        </p:nvSpPr>
        <p:spPr>
          <a:xfrm>
            <a:off x="593505" y="1014487"/>
            <a:ext cx="2889454" cy="276999"/>
          </a:xfrm>
          <a:prstGeom prst="rect">
            <a:avLst/>
          </a:prstGeom>
          <a:solidFill>
            <a:schemeClr val="bg1"/>
          </a:solidFill>
        </p:spPr>
        <p:txBody>
          <a:bodyPr wrap="square" lIns="0" tIns="0" rIns="0" bIns="0" rtlCol="0">
            <a:spAutoFit/>
          </a:bodyPr>
          <a:lstStyle/>
          <a:p>
            <a:pPr algn="l"/>
            <a:r>
              <a:rPr lang="de-DE" b="1" dirty="0">
                <a:solidFill>
                  <a:schemeClr val="tx2"/>
                </a:solidFill>
                <a:latin typeface="Arial" panose="020B0604020202020204" pitchFamily="34" charset="0"/>
                <a:cs typeface="Arial" panose="020B0604020202020204" pitchFamily="34" charset="0"/>
              </a:rPr>
              <a:t> Was ist Mission GEMBA?</a:t>
            </a:r>
          </a:p>
        </p:txBody>
      </p:sp>
      <p:sp>
        <p:nvSpPr>
          <p:cNvPr id="30" name="Textfeld 29">
            <a:extLst>
              <a:ext uri="{FF2B5EF4-FFF2-40B4-BE49-F238E27FC236}">
                <a16:creationId xmlns:a16="http://schemas.microsoft.com/office/drawing/2014/main" id="{3C1AB998-8AF9-87CE-3596-CD55F2A5CB4F}"/>
              </a:ext>
            </a:extLst>
          </p:cNvPr>
          <p:cNvSpPr txBox="1"/>
          <p:nvPr/>
        </p:nvSpPr>
        <p:spPr>
          <a:xfrm>
            <a:off x="515831" y="1335626"/>
            <a:ext cx="10569796" cy="738664"/>
          </a:xfrm>
          <a:prstGeom prst="rect">
            <a:avLst/>
          </a:prstGeom>
          <a:noFill/>
        </p:spPr>
        <p:txBody>
          <a:bodyPr wrap="square" lIns="0" tIns="0" rIns="0" bIns="0" rtlCol="0" anchor="t">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algn="l">
              <a:buNone/>
            </a:pPr>
            <a:r>
              <a:rPr lang="de-DE" sz="1600" dirty="0"/>
              <a:t>Mission GEMBA ist eine werksübergreifende Initiative zwischen den Werken </a:t>
            </a:r>
            <a:r>
              <a:rPr lang="de-DE" sz="1600" b="1" dirty="0">
                <a:solidFill>
                  <a:schemeClr val="dk2"/>
                </a:solidFill>
              </a:rPr>
              <a:t>TAT, TCH &amp; TWH</a:t>
            </a:r>
            <a:r>
              <a:rPr lang="de-DE" sz="1600" dirty="0"/>
              <a:t>, die darauf abzielt folgende Fragestellungen zu beantworten:</a:t>
            </a:r>
          </a:p>
          <a:p>
            <a:pPr algn="l">
              <a:buNone/>
            </a:pPr>
            <a:r>
              <a:rPr lang="de-DE" sz="1600" dirty="0">
                <a:sym typeface="Wingdings" panose="05000000000000000000" pitchFamily="2" charset="2"/>
              </a:rPr>
              <a:t> </a:t>
            </a:r>
            <a:r>
              <a:rPr lang="de-DE" sz="1600" dirty="0"/>
              <a:t>Wie schaffen wir es </a:t>
            </a:r>
            <a:r>
              <a:rPr lang="de-DE" sz="1600" b="1" dirty="0">
                <a:solidFill>
                  <a:schemeClr val="tx2"/>
                </a:solidFill>
              </a:rPr>
              <a:t>SYNCHRO</a:t>
            </a:r>
            <a:r>
              <a:rPr lang="de-DE" sz="1600" dirty="0"/>
              <a:t> auch in stürmischen Zeiten am Ort des Geschehens wieder zu leben und zu treiben?</a:t>
            </a:r>
            <a:endParaRPr lang="de-DE" sz="1600" dirty="0">
              <a:cs typeface="Segoe UI"/>
            </a:endParaRPr>
          </a:p>
        </p:txBody>
      </p:sp>
      <mc:AlternateContent xmlns:mc="http://schemas.openxmlformats.org/markup-compatibility/2006" xmlns:p14="http://schemas.microsoft.com/office/powerpoint/2010/main">
        <mc:Choice Requires="p14">
          <p:contentPart p14:bwMode="auto" r:id="rId4">
            <p14:nvContentPartPr>
              <p14:cNvPr id="9" name="Freihand 8">
                <a:extLst>
                  <a:ext uri="{FF2B5EF4-FFF2-40B4-BE49-F238E27FC236}">
                    <a16:creationId xmlns:a16="http://schemas.microsoft.com/office/drawing/2014/main" id="{3F2AC8D3-DD8B-4F2A-FF41-4F9BB8249E6B}"/>
                  </a:ext>
                </a:extLst>
              </p14:cNvPr>
              <p14:cNvContentPartPr/>
              <p14:nvPr/>
            </p14:nvContentPartPr>
            <p14:xfrm>
              <a:off x="5937666" y="2764004"/>
              <a:ext cx="5334511" cy="1931063"/>
            </p14:xfrm>
          </p:contentPart>
        </mc:Choice>
        <mc:Fallback xmlns="">
          <p:pic>
            <p:nvPicPr>
              <p:cNvPr id="9" name="Freihand 8">
                <a:extLst>
                  <a:ext uri="{FF2B5EF4-FFF2-40B4-BE49-F238E27FC236}">
                    <a16:creationId xmlns:a16="http://schemas.microsoft.com/office/drawing/2014/main" id="{3F2AC8D3-DD8B-4F2A-FF41-4F9BB8249E6B}"/>
                  </a:ext>
                </a:extLst>
              </p:cNvPr>
              <p:cNvPicPr/>
              <p:nvPr/>
            </p:nvPicPr>
            <p:blipFill>
              <a:blip r:embed="rId5"/>
              <a:stretch>
                <a:fillRect/>
              </a:stretch>
            </p:blipFill>
            <p:spPr>
              <a:xfrm>
                <a:off x="5930826" y="2757163"/>
                <a:ext cx="5347831" cy="1944386"/>
              </a:xfrm>
              <a:prstGeom prst="rect">
                <a:avLst/>
              </a:prstGeom>
            </p:spPr>
          </p:pic>
        </mc:Fallback>
      </mc:AlternateContent>
      <p:pic>
        <p:nvPicPr>
          <p:cNvPr id="11" name="Picture 2">
            <a:extLst>
              <a:ext uri="{FF2B5EF4-FFF2-40B4-BE49-F238E27FC236}">
                <a16:creationId xmlns:a16="http://schemas.microsoft.com/office/drawing/2014/main" id="{EFFCA33F-04A2-B3D3-A6B2-91582AA93F1E}"/>
              </a:ext>
            </a:extLst>
          </p:cNvPr>
          <p:cNvPicPr>
            <a:picLocks noChangeAspect="1" noChangeArrowheads="1"/>
          </p:cNvPicPr>
          <p:nvPr/>
        </p:nvPicPr>
        <p:blipFill rotWithShape="1">
          <a:blip r:embed="rId6">
            <a:duotone>
              <a:schemeClr val="accent6">
                <a:shade val="45000"/>
                <a:satMod val="135000"/>
              </a:schemeClr>
              <a:prstClr val="white"/>
            </a:duotone>
            <a:extLst>
              <a:ext uri="{28A0092B-C50C-407E-A947-70E740481C1C}">
                <a14:useLocalDpi xmlns:a14="http://schemas.microsoft.com/office/drawing/2010/main" val="0"/>
              </a:ext>
            </a:extLst>
          </a:blip>
          <a:srcRect l="39015" t="13646" r="37678" b="58906"/>
          <a:stretch/>
        </p:blipFill>
        <p:spPr bwMode="auto">
          <a:xfrm>
            <a:off x="9981055" y="3773034"/>
            <a:ext cx="854929" cy="25656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028" name="Picture 4" descr="Pin page">
            <a:extLst>
              <a:ext uri="{FF2B5EF4-FFF2-40B4-BE49-F238E27FC236}">
                <a16:creationId xmlns:a16="http://schemas.microsoft.com/office/drawing/2014/main" id="{A56D1BE5-43EC-B4E2-AF03-DABA329FA5F2}"/>
              </a:ext>
            </a:extLst>
          </p:cNvPr>
          <p:cNvPicPr>
            <a:picLocks noChangeAspect="1" noChangeArrowheads="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3161" y="2693182"/>
            <a:ext cx="4127734" cy="226541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0" name="Textfeld 19">
            <a:extLst>
              <a:ext uri="{FF2B5EF4-FFF2-40B4-BE49-F238E27FC236}">
                <a16:creationId xmlns:a16="http://schemas.microsoft.com/office/drawing/2014/main" id="{2D66D90A-2215-5EBC-6531-CD054B3C9F40}"/>
              </a:ext>
            </a:extLst>
          </p:cNvPr>
          <p:cNvSpPr txBox="1"/>
          <p:nvPr/>
        </p:nvSpPr>
        <p:spPr>
          <a:xfrm>
            <a:off x="7223929" y="3582866"/>
            <a:ext cx="624489" cy="184666"/>
          </a:xfrm>
          <a:prstGeom prst="rect">
            <a:avLst/>
          </a:prstGeom>
          <a:noFill/>
        </p:spPr>
        <p:txBody>
          <a:bodyPr wrap="square" lIns="0" tIns="0" rIns="0" bIns="0" rtlCol="0">
            <a:spAutoFit/>
          </a:bodyPr>
          <a:lstStyle/>
          <a:p>
            <a:pPr algn="l"/>
            <a:r>
              <a:rPr lang="de-DE" sz="1200" dirty="0">
                <a:solidFill>
                  <a:schemeClr val="accent4">
                    <a:lumMod val="50000"/>
                  </a:schemeClr>
                </a:solidFill>
              </a:rPr>
              <a:t>Fehlteile</a:t>
            </a:r>
          </a:p>
        </p:txBody>
      </p:sp>
      <p:sp>
        <p:nvSpPr>
          <p:cNvPr id="21" name="Textfeld 20">
            <a:extLst>
              <a:ext uri="{FF2B5EF4-FFF2-40B4-BE49-F238E27FC236}">
                <a16:creationId xmlns:a16="http://schemas.microsoft.com/office/drawing/2014/main" id="{7415B38C-9908-5DEC-2136-734A36BBB16B}"/>
              </a:ext>
            </a:extLst>
          </p:cNvPr>
          <p:cNvSpPr txBox="1"/>
          <p:nvPr/>
        </p:nvSpPr>
        <p:spPr>
          <a:xfrm>
            <a:off x="8789589" y="2752475"/>
            <a:ext cx="451813" cy="369332"/>
          </a:xfrm>
          <a:prstGeom prst="rect">
            <a:avLst/>
          </a:prstGeom>
          <a:noFill/>
        </p:spPr>
        <p:txBody>
          <a:bodyPr wrap="square" lIns="0" tIns="0" rIns="0" bIns="0" rtlCol="0">
            <a:spAutoFit/>
          </a:bodyPr>
          <a:lstStyle/>
          <a:p>
            <a:pPr algn="l"/>
            <a:r>
              <a:rPr lang="de-DE" sz="1200">
                <a:solidFill>
                  <a:schemeClr val="accent4">
                    <a:lumMod val="50000"/>
                  </a:schemeClr>
                </a:solidFill>
              </a:rPr>
              <a:t>Rück-stand</a:t>
            </a:r>
          </a:p>
        </p:txBody>
      </p:sp>
      <p:sp>
        <p:nvSpPr>
          <p:cNvPr id="22" name="Textfeld 21">
            <a:extLst>
              <a:ext uri="{FF2B5EF4-FFF2-40B4-BE49-F238E27FC236}">
                <a16:creationId xmlns:a16="http://schemas.microsoft.com/office/drawing/2014/main" id="{750C59AA-907B-6E66-E266-85D818D21956}"/>
              </a:ext>
            </a:extLst>
          </p:cNvPr>
          <p:cNvSpPr txBox="1"/>
          <p:nvPr/>
        </p:nvSpPr>
        <p:spPr>
          <a:xfrm>
            <a:off x="7938004" y="2864128"/>
            <a:ext cx="694339" cy="369332"/>
          </a:xfrm>
          <a:prstGeom prst="rect">
            <a:avLst/>
          </a:prstGeom>
          <a:noFill/>
        </p:spPr>
        <p:txBody>
          <a:bodyPr wrap="square" lIns="0" tIns="0" rIns="0" bIns="0" rtlCol="0">
            <a:spAutoFit/>
          </a:bodyPr>
          <a:lstStyle/>
          <a:p>
            <a:pPr algn="ctr"/>
            <a:r>
              <a:rPr lang="de-DE" sz="1200">
                <a:solidFill>
                  <a:schemeClr val="accent4">
                    <a:lumMod val="50000"/>
                  </a:schemeClr>
                </a:solidFill>
              </a:rPr>
              <a:t>Flächen-knappheit</a:t>
            </a:r>
          </a:p>
        </p:txBody>
      </p:sp>
      <p:sp>
        <p:nvSpPr>
          <p:cNvPr id="23" name="Textfeld 22">
            <a:extLst>
              <a:ext uri="{FF2B5EF4-FFF2-40B4-BE49-F238E27FC236}">
                <a16:creationId xmlns:a16="http://schemas.microsoft.com/office/drawing/2014/main" id="{9BD97E54-D2E6-544C-6B78-E1DEE2160056}"/>
              </a:ext>
            </a:extLst>
          </p:cNvPr>
          <p:cNvSpPr txBox="1"/>
          <p:nvPr/>
        </p:nvSpPr>
        <p:spPr>
          <a:xfrm>
            <a:off x="9474878" y="2676021"/>
            <a:ext cx="694339" cy="369332"/>
          </a:xfrm>
          <a:prstGeom prst="rect">
            <a:avLst/>
          </a:prstGeom>
          <a:noFill/>
        </p:spPr>
        <p:txBody>
          <a:bodyPr wrap="square" lIns="0" tIns="0" rIns="0" bIns="0" rtlCol="0">
            <a:spAutoFit/>
          </a:bodyPr>
          <a:lstStyle/>
          <a:p>
            <a:pPr algn="ctr"/>
            <a:r>
              <a:rPr lang="de-DE" sz="1200" dirty="0">
                <a:solidFill>
                  <a:schemeClr val="accent4">
                    <a:lumMod val="50000"/>
                  </a:schemeClr>
                </a:solidFill>
              </a:rPr>
              <a:t>Trouble-Shooting</a:t>
            </a:r>
          </a:p>
        </p:txBody>
      </p:sp>
      <p:sp>
        <p:nvSpPr>
          <p:cNvPr id="12" name="Textfeld 11">
            <a:extLst>
              <a:ext uri="{FF2B5EF4-FFF2-40B4-BE49-F238E27FC236}">
                <a16:creationId xmlns:a16="http://schemas.microsoft.com/office/drawing/2014/main" id="{BEFE2F78-5562-7B6E-743F-B1C6AA55023C}"/>
              </a:ext>
            </a:extLst>
          </p:cNvPr>
          <p:cNvSpPr txBox="1"/>
          <p:nvPr/>
        </p:nvSpPr>
        <p:spPr>
          <a:xfrm>
            <a:off x="7266866" y="5016161"/>
            <a:ext cx="4620334" cy="769441"/>
          </a:xfrm>
          <a:prstGeom prst="rect">
            <a:avLst/>
          </a:prstGeom>
          <a:noFill/>
        </p:spPr>
        <p:txBody>
          <a:bodyPr wrap="square" lIns="0" tIns="0" rIns="0" bIns="0" rtlCol="0">
            <a:spAutoFit/>
          </a:bodyPr>
          <a:lstStyle/>
          <a:p>
            <a:pPr algn="l"/>
            <a:r>
              <a:rPr lang="de-DE" sz="1400" b="1" i="1" dirty="0">
                <a:solidFill>
                  <a:schemeClr val="accent3">
                    <a:lumMod val="50000"/>
                  </a:schemeClr>
                </a:solidFill>
                <a:effectLst/>
                <a:latin typeface="Segoe UI" panose="020B0502040204020203" pitchFamily="34" charset="0"/>
                <a:ea typeface="Calibri" panose="020F0502020204030204" pitchFamily="34" charset="0"/>
              </a:rPr>
              <a:t>„Gehe zurück an den Ort des Geschehens [Gemba]. Die Voraussetzungen, SYNCHRO als unseren Kompass für den Weg zu neuen Gipfeln zu nutzen, sind ideal“</a:t>
            </a:r>
            <a:endParaRPr lang="de-DE" sz="1600" b="1" i="1" dirty="0">
              <a:solidFill>
                <a:schemeClr val="accent3">
                  <a:lumMod val="50000"/>
                </a:schemeClr>
              </a:solidFill>
              <a:latin typeface="Segoe UI" panose="020B0502040204020203" pitchFamily="34" charset="0"/>
              <a:cs typeface="Arial" panose="020B0604020202020204" pitchFamily="34" charset="0"/>
            </a:endParaRPr>
          </a:p>
          <a:p>
            <a:pPr algn="l"/>
            <a:endParaRPr lang="de-DE" sz="800" b="1" i="1" dirty="0">
              <a:solidFill>
                <a:schemeClr val="accent3"/>
              </a:solidFill>
              <a:latin typeface="Segoe UI" panose="020B0502040204020203" pitchFamily="34" charset="0"/>
              <a:cs typeface="Arial" panose="020B0604020202020204" pitchFamily="34" charset="0"/>
            </a:endParaRPr>
          </a:p>
        </p:txBody>
      </p:sp>
    </p:spTree>
    <p:extLst>
      <p:ext uri="{BB962C8B-B14F-4D97-AF65-F5344CB8AC3E}">
        <p14:creationId xmlns:p14="http://schemas.microsoft.com/office/powerpoint/2010/main" val="1453339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86103407-138D-4BAA-83CD-24F0EBAE0D01}"/>
              </a:ext>
            </a:extLst>
          </p:cNvPr>
          <p:cNvSpPr txBox="1"/>
          <p:nvPr/>
        </p:nvSpPr>
        <p:spPr>
          <a:xfrm>
            <a:off x="7430609" y="1429803"/>
            <a:ext cx="4068483" cy="3877985"/>
          </a:xfrm>
          <a:custGeom>
            <a:avLst/>
            <a:gdLst>
              <a:gd name="connsiteX0" fmla="*/ 0 w 4068483"/>
              <a:gd name="connsiteY0" fmla="*/ 0 h 3877985"/>
              <a:gd name="connsiteX1" fmla="*/ 4068483 w 4068483"/>
              <a:gd name="connsiteY1" fmla="*/ 0 h 3877985"/>
              <a:gd name="connsiteX2" fmla="*/ 4068483 w 4068483"/>
              <a:gd name="connsiteY2" fmla="*/ 3877985 h 3877985"/>
              <a:gd name="connsiteX3" fmla="*/ 0 w 4068483"/>
              <a:gd name="connsiteY3" fmla="*/ 3877985 h 3877985"/>
              <a:gd name="connsiteX4" fmla="*/ 0 w 4068483"/>
              <a:gd name="connsiteY4" fmla="*/ 0 h 387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483" h="3877985" extrusionOk="0">
                <a:moveTo>
                  <a:pt x="0" y="0"/>
                </a:moveTo>
                <a:cubicBezTo>
                  <a:pt x="1645777" y="-142016"/>
                  <a:pt x="3448087" y="84015"/>
                  <a:pt x="4068483" y="0"/>
                </a:cubicBezTo>
                <a:cubicBezTo>
                  <a:pt x="4158928" y="1056042"/>
                  <a:pt x="4178719" y="3356381"/>
                  <a:pt x="4068483" y="3877985"/>
                </a:cubicBezTo>
                <a:cubicBezTo>
                  <a:pt x="3238163" y="4030992"/>
                  <a:pt x="1169587" y="3737498"/>
                  <a:pt x="0" y="3877985"/>
                </a:cubicBezTo>
                <a:cubicBezTo>
                  <a:pt x="154933" y="2950686"/>
                  <a:pt x="114725" y="1685272"/>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p:txBody>
      </p:sp>
      <p:sp>
        <p:nvSpPr>
          <p:cNvPr id="11" name="Textfeld 10">
            <a:extLst>
              <a:ext uri="{FF2B5EF4-FFF2-40B4-BE49-F238E27FC236}">
                <a16:creationId xmlns:a16="http://schemas.microsoft.com/office/drawing/2014/main" id="{57F367A4-CEAE-4A2B-A5D0-AB08254BBECF}"/>
              </a:ext>
            </a:extLst>
          </p:cNvPr>
          <p:cNvSpPr txBox="1"/>
          <p:nvPr/>
        </p:nvSpPr>
        <p:spPr>
          <a:xfrm>
            <a:off x="3883941" y="1816009"/>
            <a:ext cx="3197770" cy="4154984"/>
          </a:xfrm>
          <a:custGeom>
            <a:avLst/>
            <a:gdLst>
              <a:gd name="connsiteX0" fmla="*/ 0 w 3197770"/>
              <a:gd name="connsiteY0" fmla="*/ 0 h 4154984"/>
              <a:gd name="connsiteX1" fmla="*/ 3197770 w 3197770"/>
              <a:gd name="connsiteY1" fmla="*/ 0 h 4154984"/>
              <a:gd name="connsiteX2" fmla="*/ 3197770 w 3197770"/>
              <a:gd name="connsiteY2" fmla="*/ 4154984 h 4154984"/>
              <a:gd name="connsiteX3" fmla="*/ 0 w 3197770"/>
              <a:gd name="connsiteY3" fmla="*/ 4154984 h 4154984"/>
              <a:gd name="connsiteX4" fmla="*/ 0 w 3197770"/>
              <a:gd name="connsiteY4" fmla="*/ 0 h 41549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770" h="4154984" extrusionOk="0">
                <a:moveTo>
                  <a:pt x="0" y="0"/>
                </a:moveTo>
                <a:cubicBezTo>
                  <a:pt x="1063260" y="-142016"/>
                  <a:pt x="2347545" y="84015"/>
                  <a:pt x="3197770" y="0"/>
                </a:cubicBezTo>
                <a:cubicBezTo>
                  <a:pt x="3288215" y="1859402"/>
                  <a:pt x="3308006" y="3273383"/>
                  <a:pt x="3197770" y="4154984"/>
                </a:cubicBezTo>
                <a:cubicBezTo>
                  <a:pt x="1949137" y="4307991"/>
                  <a:pt x="1552243" y="4014497"/>
                  <a:pt x="0" y="4154984"/>
                </a:cubicBezTo>
                <a:cubicBezTo>
                  <a:pt x="154933" y="2424291"/>
                  <a:pt x="114725" y="1380529"/>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err="1"/>
          </a:p>
        </p:txBody>
      </p:sp>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8176071" cy="387798"/>
          </a:xfrm>
        </p:spPr>
        <p:txBody>
          <a:bodyPr/>
          <a:lstStyle/>
          <a:p>
            <a:r>
              <a:rPr lang="de-DE" dirty="0">
                <a:solidFill>
                  <a:schemeClr val="accent5">
                    <a:lumMod val="50000"/>
                  </a:schemeClr>
                </a:solidFill>
              </a:rPr>
              <a:t>#Mission Gemba - Kick Off Initiative 08.11.2022</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732876" cy="305989"/>
          </a:xfrm>
        </p:spPr>
        <p:txBody>
          <a:bodyPr/>
          <a:lstStyle/>
          <a:p>
            <a:r>
              <a:rPr lang="de-DE" dirty="0"/>
              <a:t>Oliver Türk </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8</a:t>
            </a:fld>
            <a:r>
              <a:rPr lang="de-DE"/>
              <a:t>  </a:t>
            </a:r>
            <a:r>
              <a:rPr lang="de-DE" b="0">
                <a:solidFill>
                  <a:schemeClr val="accent1"/>
                </a:solidFill>
              </a:rPr>
              <a:t>|</a:t>
            </a:r>
            <a:endParaRPr lang="de-DE" sz="900" b="0">
              <a:solidFill>
                <a:schemeClr val="accent1"/>
              </a:solidFill>
            </a:endParaRPr>
          </a:p>
        </p:txBody>
      </p:sp>
      <p:sp>
        <p:nvSpPr>
          <p:cNvPr id="15" name="Textfeld 14">
            <a:extLst>
              <a:ext uri="{FF2B5EF4-FFF2-40B4-BE49-F238E27FC236}">
                <a16:creationId xmlns:a16="http://schemas.microsoft.com/office/drawing/2014/main" id="{A10ABC81-5167-4F0F-A756-047806F31B6A}"/>
              </a:ext>
            </a:extLst>
          </p:cNvPr>
          <p:cNvSpPr txBox="1"/>
          <p:nvPr/>
        </p:nvSpPr>
        <p:spPr>
          <a:xfrm>
            <a:off x="4147573" y="1639502"/>
            <a:ext cx="2551704"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1. SYNCHRO Situation</a:t>
            </a:r>
          </a:p>
        </p:txBody>
      </p:sp>
      <p:pic>
        <p:nvPicPr>
          <p:cNvPr id="18" name="Grafik 17">
            <a:extLst>
              <a:ext uri="{FF2B5EF4-FFF2-40B4-BE49-F238E27FC236}">
                <a16:creationId xmlns:a16="http://schemas.microsoft.com/office/drawing/2014/main" id="{78CF2E9C-F194-4A7A-99AC-B6FBD1A08711}"/>
              </a:ext>
            </a:extLst>
          </p:cNvPr>
          <p:cNvPicPr>
            <a:picLocks noChangeAspect="1"/>
          </p:cNvPicPr>
          <p:nvPr/>
        </p:nvPicPr>
        <p:blipFill>
          <a:blip r:embed="rId2"/>
          <a:stretch>
            <a:fillRect/>
          </a:stretch>
        </p:blipFill>
        <p:spPr>
          <a:xfrm>
            <a:off x="8392393" y="2346907"/>
            <a:ext cx="2578447" cy="2372697"/>
          </a:xfrm>
          <a:prstGeom prst="rect">
            <a:avLst/>
          </a:prstGeom>
          <a:ln>
            <a:noFill/>
          </a:ln>
          <a:effectLst>
            <a:outerShdw blurRad="292100" dist="139700" dir="2700000" algn="tl" rotWithShape="0">
              <a:srgbClr val="333333">
                <a:alpha val="65000"/>
              </a:srgbClr>
            </a:outerShdw>
          </a:effectLst>
        </p:spPr>
      </p:pic>
      <p:sp>
        <p:nvSpPr>
          <p:cNvPr id="25" name="Textfeld 24">
            <a:extLst>
              <a:ext uri="{FF2B5EF4-FFF2-40B4-BE49-F238E27FC236}">
                <a16:creationId xmlns:a16="http://schemas.microsoft.com/office/drawing/2014/main" id="{F5083ACF-46E8-4FAA-9234-1A65733608B1}"/>
              </a:ext>
            </a:extLst>
          </p:cNvPr>
          <p:cNvSpPr txBox="1"/>
          <p:nvPr/>
        </p:nvSpPr>
        <p:spPr>
          <a:xfrm>
            <a:off x="7696087" y="1592903"/>
            <a:ext cx="3400538" cy="246221"/>
          </a:xfrm>
          <a:prstGeom prst="rect">
            <a:avLst/>
          </a:prstGeom>
          <a:noFill/>
        </p:spPr>
        <p:txBody>
          <a:bodyPr wrap="square" lIns="0" tIns="0" rIns="0" bIns="0" rtlCol="0">
            <a:spAutoFit/>
          </a:bodyPr>
          <a:lstStyle/>
          <a:p>
            <a:pPr algn="l"/>
            <a:r>
              <a:rPr lang="de-DE" sz="1600" b="1" i="1" dirty="0">
                <a:solidFill>
                  <a:schemeClr val="accent5">
                    <a:lumMod val="75000"/>
                  </a:schemeClr>
                </a:solidFill>
                <a:latin typeface="Segoe UI" panose="020B0502040204020203" pitchFamily="34" charset="0"/>
                <a:cs typeface="Arial" panose="020B0604020202020204" pitchFamily="34" charset="0"/>
              </a:rPr>
              <a:t>6 Werte erzeugen Erfolg im Alltag</a:t>
            </a:r>
          </a:p>
        </p:txBody>
      </p:sp>
      <p:sp>
        <p:nvSpPr>
          <p:cNvPr id="27" name="Textfeld 26">
            <a:extLst>
              <a:ext uri="{FF2B5EF4-FFF2-40B4-BE49-F238E27FC236}">
                <a16:creationId xmlns:a16="http://schemas.microsoft.com/office/drawing/2014/main" id="{D6D165B7-B528-445F-B264-E7F66698B6AC}"/>
              </a:ext>
            </a:extLst>
          </p:cNvPr>
          <p:cNvSpPr txBox="1"/>
          <p:nvPr/>
        </p:nvSpPr>
        <p:spPr>
          <a:xfrm>
            <a:off x="6035414" y="4799170"/>
            <a:ext cx="2554111" cy="246221"/>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indent="-285750" algn="l"/>
            <a:endParaRPr lang="de-DE" sz="1600" b="1" i="1">
              <a:solidFill>
                <a:schemeClr val="accent3"/>
              </a:solidFill>
              <a:latin typeface="Arial" panose="020B0604020202020204" pitchFamily="34" charset="0"/>
              <a:cs typeface="Arial" panose="020B0604020202020204" pitchFamily="34" charset="0"/>
            </a:endParaRPr>
          </a:p>
        </p:txBody>
      </p:sp>
      <p:pic>
        <p:nvPicPr>
          <p:cNvPr id="13" name="Grafik 12">
            <a:extLst>
              <a:ext uri="{FF2B5EF4-FFF2-40B4-BE49-F238E27FC236}">
                <a16:creationId xmlns:a16="http://schemas.microsoft.com/office/drawing/2014/main" id="{CEE4F667-5A5E-727C-DF22-940C60F70EB8}"/>
              </a:ext>
            </a:extLst>
          </p:cNvPr>
          <p:cNvPicPr>
            <a:picLocks noChangeAspect="1"/>
          </p:cNvPicPr>
          <p:nvPr/>
        </p:nvPicPr>
        <p:blipFill>
          <a:blip r:embed="rId3"/>
          <a:stretch>
            <a:fillRect/>
          </a:stretch>
        </p:blipFill>
        <p:spPr>
          <a:xfrm>
            <a:off x="5617481" y="3857833"/>
            <a:ext cx="1309588" cy="1696906"/>
          </a:xfrm>
          <a:prstGeom prst="rect">
            <a:avLst/>
          </a:prstGeom>
        </p:spPr>
      </p:pic>
      <p:pic>
        <p:nvPicPr>
          <p:cNvPr id="21" name="Grafik 20">
            <a:extLst>
              <a:ext uri="{FF2B5EF4-FFF2-40B4-BE49-F238E27FC236}">
                <a16:creationId xmlns:a16="http://schemas.microsoft.com/office/drawing/2014/main" id="{5E28CBCB-A6C5-BC26-95CF-B11C47BC1527}"/>
              </a:ext>
            </a:extLst>
          </p:cNvPr>
          <p:cNvPicPr>
            <a:picLocks noChangeAspect="1"/>
          </p:cNvPicPr>
          <p:nvPr/>
        </p:nvPicPr>
        <p:blipFill>
          <a:blip r:embed="rId4"/>
          <a:stretch>
            <a:fillRect/>
          </a:stretch>
        </p:blipFill>
        <p:spPr>
          <a:xfrm>
            <a:off x="4244358" y="3866324"/>
            <a:ext cx="1161321" cy="1688415"/>
          </a:xfrm>
          <a:prstGeom prst="rect">
            <a:avLst/>
          </a:prstGeom>
        </p:spPr>
      </p:pic>
      <p:sp>
        <p:nvSpPr>
          <p:cNvPr id="22" name="Textfeld 21">
            <a:extLst>
              <a:ext uri="{FF2B5EF4-FFF2-40B4-BE49-F238E27FC236}">
                <a16:creationId xmlns:a16="http://schemas.microsoft.com/office/drawing/2014/main" id="{35F31B8C-B765-CC3D-D93B-D853D91317FF}"/>
              </a:ext>
            </a:extLst>
          </p:cNvPr>
          <p:cNvSpPr txBox="1"/>
          <p:nvPr/>
        </p:nvSpPr>
        <p:spPr>
          <a:xfrm>
            <a:off x="7696087" y="1226721"/>
            <a:ext cx="1854446"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 2. WERTE Anker  </a:t>
            </a:r>
          </a:p>
        </p:txBody>
      </p:sp>
      <p:sp>
        <p:nvSpPr>
          <p:cNvPr id="34" name="Textfeld 33">
            <a:extLst>
              <a:ext uri="{FF2B5EF4-FFF2-40B4-BE49-F238E27FC236}">
                <a16:creationId xmlns:a16="http://schemas.microsoft.com/office/drawing/2014/main" id="{58E9135A-D940-ECFB-7A81-F0267F184A8A}"/>
              </a:ext>
            </a:extLst>
          </p:cNvPr>
          <p:cNvSpPr txBox="1"/>
          <p:nvPr/>
        </p:nvSpPr>
        <p:spPr>
          <a:xfrm>
            <a:off x="4147573" y="2093008"/>
            <a:ext cx="2988946" cy="1723549"/>
          </a:xfrm>
          <a:prstGeom prst="rect">
            <a:avLst/>
          </a:prstGeom>
          <a:noFill/>
        </p:spPr>
        <p:txBody>
          <a:bodyPr wrap="square" lIns="0" tIns="0" rIns="0" bIns="0" rtlCol="0" anchor="t">
            <a:spAutoFit/>
          </a:bodyPr>
          <a:lstStyle/>
          <a:p>
            <a:pPr marL="285750" indent="-285750" algn="l">
              <a:buFont typeface="Wingdings" panose="05000000000000000000" pitchFamily="2" charset="2"/>
              <a:buChar char="§"/>
            </a:pPr>
            <a:r>
              <a:rPr lang="de-DE" sz="1600" i="1" dirty="0">
                <a:solidFill>
                  <a:schemeClr val="accent6">
                    <a:lumMod val="50000"/>
                  </a:schemeClr>
                </a:solidFill>
              </a:rPr>
              <a:t>Darstellung der aktuellen SYNCHRO Situation in den Werken</a:t>
            </a:r>
          </a:p>
          <a:p>
            <a:pPr marL="285750" indent="-285750" algn="l">
              <a:buFont typeface="Wingdings" panose="05000000000000000000" pitchFamily="2" charset="2"/>
              <a:buChar char="§"/>
            </a:pPr>
            <a:r>
              <a:rPr lang="de-DE" sz="1600" i="1" dirty="0">
                <a:solidFill>
                  <a:schemeClr val="accent6">
                    <a:lumMod val="50000"/>
                  </a:schemeClr>
                </a:solidFill>
              </a:rPr>
              <a:t>Beleuchtung Fokus Themen   </a:t>
            </a:r>
            <a:r>
              <a:rPr lang="de-DE" sz="1600" i="1" dirty="0">
                <a:solidFill>
                  <a:schemeClr val="accent6">
                    <a:lumMod val="50000"/>
                  </a:schemeClr>
                </a:solidFill>
                <a:sym typeface="Wingdings" panose="05000000000000000000" pitchFamily="2" charset="2"/>
              </a:rPr>
              <a:t> Wo drückt der Schuh? Innerhalb des Einflusskreis</a:t>
            </a:r>
            <a:endParaRPr lang="de-DE" sz="1600" i="1" dirty="0">
              <a:solidFill>
                <a:schemeClr val="accent6">
                  <a:lumMod val="50000"/>
                </a:schemeClr>
              </a:solidFill>
            </a:endParaRPr>
          </a:p>
          <a:p>
            <a:pPr marL="285750" indent="-285750" algn="l">
              <a:buFont typeface="Wingdings" panose="05000000000000000000" pitchFamily="2" charset="2"/>
              <a:buChar char="§"/>
            </a:pPr>
            <a:endParaRPr lang="de-DE" sz="1600" i="1" dirty="0">
              <a:solidFill>
                <a:schemeClr val="accent6">
                  <a:lumMod val="50000"/>
                </a:schemeClr>
              </a:solidFill>
            </a:endParaRPr>
          </a:p>
        </p:txBody>
      </p:sp>
      <p:sp>
        <p:nvSpPr>
          <p:cNvPr id="9" name="Textfeld 8">
            <a:extLst>
              <a:ext uri="{FF2B5EF4-FFF2-40B4-BE49-F238E27FC236}">
                <a16:creationId xmlns:a16="http://schemas.microsoft.com/office/drawing/2014/main" id="{BFEBC74B-466B-9F17-82DD-1F1F66346727}"/>
              </a:ext>
            </a:extLst>
          </p:cNvPr>
          <p:cNvSpPr txBox="1"/>
          <p:nvPr/>
        </p:nvSpPr>
        <p:spPr>
          <a:xfrm>
            <a:off x="292133" y="1163949"/>
            <a:ext cx="3197770" cy="4985980"/>
          </a:xfrm>
          <a:custGeom>
            <a:avLst/>
            <a:gdLst>
              <a:gd name="connsiteX0" fmla="*/ 0 w 3197770"/>
              <a:gd name="connsiteY0" fmla="*/ 0 h 4985980"/>
              <a:gd name="connsiteX1" fmla="*/ 3197770 w 3197770"/>
              <a:gd name="connsiteY1" fmla="*/ 0 h 4985980"/>
              <a:gd name="connsiteX2" fmla="*/ 3197770 w 3197770"/>
              <a:gd name="connsiteY2" fmla="*/ 4985980 h 4985980"/>
              <a:gd name="connsiteX3" fmla="*/ 0 w 3197770"/>
              <a:gd name="connsiteY3" fmla="*/ 4985980 h 4985980"/>
              <a:gd name="connsiteX4" fmla="*/ 0 w 3197770"/>
              <a:gd name="connsiteY4" fmla="*/ 0 h 4985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7770" h="4985980" extrusionOk="0">
                <a:moveTo>
                  <a:pt x="0" y="0"/>
                </a:moveTo>
                <a:cubicBezTo>
                  <a:pt x="1063260" y="-142016"/>
                  <a:pt x="2347545" y="84015"/>
                  <a:pt x="3197770" y="0"/>
                </a:cubicBezTo>
                <a:cubicBezTo>
                  <a:pt x="3288215" y="2275534"/>
                  <a:pt x="3308006" y="3025122"/>
                  <a:pt x="3197770" y="4985980"/>
                </a:cubicBezTo>
                <a:cubicBezTo>
                  <a:pt x="1949137" y="5138987"/>
                  <a:pt x="1552243" y="4845493"/>
                  <a:pt x="0" y="4985980"/>
                </a:cubicBezTo>
                <a:cubicBezTo>
                  <a:pt x="154933" y="3503619"/>
                  <a:pt x="114725" y="2460390"/>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a:p>
            <a:pPr algn="l"/>
            <a:endParaRPr lang="de-DE" dirty="0"/>
          </a:p>
        </p:txBody>
      </p:sp>
      <p:pic>
        <p:nvPicPr>
          <p:cNvPr id="10" name="Grafik 9">
            <a:extLst>
              <a:ext uri="{FF2B5EF4-FFF2-40B4-BE49-F238E27FC236}">
                <a16:creationId xmlns:a16="http://schemas.microsoft.com/office/drawing/2014/main" id="{B05FC96F-D965-C666-F385-255D6BCF4717}"/>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7906" b="94045" l="9893" r="89929">
                        <a14:foregroundMark x1="32620" y1="83470" x2="61052" y2="87680"/>
                        <a14:foregroundMark x1="61052" y1="87680" x2="71747" y2="78029"/>
                        <a14:foregroundMark x1="71747" y1="78029" x2="77451" y2="46407"/>
                        <a14:foregroundMark x1="77451" y1="46407" x2="75490" y2="27413"/>
                        <a14:foregroundMark x1="75490" y1="27413" x2="64973" y2="19713"/>
                        <a14:foregroundMark x1="64973" y1="19713" x2="51693" y2="18070"/>
                        <a14:foregroundMark x1="51693" y1="18070" x2="39750" y2="22177"/>
                        <a14:foregroundMark x1="39750" y1="22177" x2="36007" y2="26283"/>
                        <a14:foregroundMark x1="30303" y1="41786" x2="30481" y2="50719"/>
                        <a14:foregroundMark x1="30481" y1="50719" x2="31462" y2="41684"/>
                        <a14:foregroundMark x1="31462" y1="41684" x2="43316" y2="41889"/>
                        <a14:foregroundMark x1="43316" y1="41889" x2="42602" y2="42813"/>
                        <a14:foregroundMark x1="56595" y1="10575" x2="38770" y2="13758"/>
                        <a14:foregroundMark x1="38770" y1="13758" x2="35740" y2="14990"/>
                        <a14:foregroundMark x1="66043" y1="74025" x2="68093" y2="55339"/>
                        <a14:foregroundMark x1="68093" y1="55339" x2="77540" y2="49692"/>
                        <a14:foregroundMark x1="77540" y1="49692" x2="81016" y2="41170"/>
                        <a14:foregroundMark x1="81016" y1="41170" x2="81105" y2="30287"/>
                        <a14:foregroundMark x1="81105" y1="30287" x2="77362" y2="20534"/>
                        <a14:foregroundMark x1="77362" y1="20534" x2="70856" y2="14887"/>
                        <a14:foregroundMark x1="42513" y1="9035" x2="35027" y2="10883"/>
                        <a14:foregroundMark x1="35027" y1="10883" x2="26114" y2="21047"/>
                        <a14:foregroundMark x1="26114" y1="21047" x2="19430" y2="35832"/>
                        <a14:foregroundMark x1="19430" y1="35832" x2="18093" y2="52875"/>
                        <a14:foregroundMark x1="18093" y1="52875" x2="27273" y2="78953"/>
                        <a14:foregroundMark x1="27273" y1="78953" x2="31907" y2="86345"/>
                        <a14:foregroundMark x1="31907" y1="86345" x2="41266" y2="91478"/>
                        <a14:foregroundMark x1="41266" y1="91478" x2="55971" y2="92197"/>
                        <a14:foregroundMark x1="55971" y1="92197" x2="64171" y2="90246"/>
                        <a14:foregroundMark x1="64171" y1="90246" x2="70588" y2="85934"/>
                        <a14:foregroundMark x1="70588" y1="85934" x2="81283" y2="67967"/>
                        <a14:foregroundMark x1="81283" y1="67967" x2="84492" y2="59343"/>
                        <a14:foregroundMark x1="84492" y1="59343" x2="86185" y2="45791"/>
                        <a14:foregroundMark x1="86185" y1="45791" x2="81996" y2="26591"/>
                        <a14:foregroundMark x1="81996" y1="26591" x2="77807" y2="18686"/>
                        <a14:foregroundMark x1="77807" y1="18686" x2="72638" y2="14168"/>
                        <a14:foregroundMark x1="72638" y1="14168" x2="54100" y2="8214"/>
                        <a14:foregroundMark x1="54100" y1="8214" x2="46257" y2="8008"/>
                        <a14:foregroundMark x1="87701" y1="40554" x2="87701" y2="44764"/>
                        <a14:foregroundMark x1="83512" y1="73203" x2="80660" y2="79055"/>
                        <a14:foregroundMark x1="57843" y1="93224" x2="52050" y2="94045"/>
                        <a14:foregroundMark x1="29947" y1="87782" x2="23262" y2="74127"/>
                        <a14:foregroundMark x1="18895" y1="68172" x2="15152" y2="50411"/>
                        <a14:foregroundMark x1="17647" y1="33060" x2="13904" y2="48357"/>
                        <a14:foregroundMark x1="13904" y1="48357" x2="13725" y2="53593"/>
                        <a14:foregroundMark x1="13191" y1="58316" x2="13815" y2="60370"/>
                        <a14:foregroundMark x1="83957" y1="24538" x2="86809" y2="31417"/>
                      </a14:backgroundRemoval>
                    </a14:imgEffect>
                  </a14:imgLayer>
                </a14:imgProps>
              </a:ext>
            </a:extLst>
          </a:blip>
          <a:stretch>
            <a:fillRect/>
          </a:stretch>
        </p:blipFill>
        <p:spPr>
          <a:xfrm>
            <a:off x="161867" y="1264441"/>
            <a:ext cx="3497765" cy="3036385"/>
          </a:xfrm>
          <a:prstGeom prst="rect">
            <a:avLst/>
          </a:prstGeom>
        </p:spPr>
      </p:pic>
      <p:sp>
        <p:nvSpPr>
          <p:cNvPr id="12" name="Textfeld 11">
            <a:extLst>
              <a:ext uri="{FF2B5EF4-FFF2-40B4-BE49-F238E27FC236}">
                <a16:creationId xmlns:a16="http://schemas.microsoft.com/office/drawing/2014/main" id="{AB95D39D-65DE-F229-6E32-87248E2F4F57}"/>
              </a:ext>
            </a:extLst>
          </p:cNvPr>
          <p:cNvSpPr txBox="1"/>
          <p:nvPr/>
        </p:nvSpPr>
        <p:spPr>
          <a:xfrm>
            <a:off x="555765" y="987442"/>
            <a:ext cx="2382744" cy="276999"/>
          </a:xfrm>
          <a:prstGeom prst="rect">
            <a:avLst/>
          </a:prstGeom>
          <a:solidFill>
            <a:schemeClr val="bg1"/>
          </a:solidFill>
        </p:spPr>
        <p:txBody>
          <a:bodyPr wrap="square" lIns="0" tIns="0" rIns="0" bIns="0" rtlCol="0">
            <a:spAutoFit/>
          </a:bodyPr>
          <a:lstStyle/>
          <a:p>
            <a:pPr algn="l"/>
            <a:r>
              <a:rPr lang="de-DE" b="1" i="1" dirty="0">
                <a:solidFill>
                  <a:schemeClr val="accent3"/>
                </a:solidFill>
              </a:rPr>
              <a:t>Rahmenbedingungen</a:t>
            </a:r>
          </a:p>
        </p:txBody>
      </p:sp>
      <p:sp>
        <p:nvSpPr>
          <p:cNvPr id="14" name="Textfeld 13">
            <a:extLst>
              <a:ext uri="{FF2B5EF4-FFF2-40B4-BE49-F238E27FC236}">
                <a16:creationId xmlns:a16="http://schemas.microsoft.com/office/drawing/2014/main" id="{38F0AEA4-E9AB-B8E9-BEF3-41E2ABD3EF8E}"/>
              </a:ext>
            </a:extLst>
          </p:cNvPr>
          <p:cNvSpPr txBox="1"/>
          <p:nvPr/>
        </p:nvSpPr>
        <p:spPr>
          <a:xfrm>
            <a:off x="573327" y="4540320"/>
            <a:ext cx="2988946" cy="1477328"/>
          </a:xfrm>
          <a:prstGeom prst="rect">
            <a:avLst/>
          </a:prstGeom>
          <a:noFill/>
        </p:spPr>
        <p:txBody>
          <a:bodyPr wrap="square" lIns="0" tIns="0" rIns="0" bIns="0" rtlCol="0">
            <a:spAutoFit/>
          </a:bodyPr>
          <a:lstStyle/>
          <a:p>
            <a:pPr marL="285750" indent="-285750" algn="l">
              <a:buFont typeface="Wingdings" panose="05000000000000000000" pitchFamily="2" charset="2"/>
              <a:buChar char="§"/>
            </a:pPr>
            <a:r>
              <a:rPr lang="de-DE" sz="1600" i="1" dirty="0">
                <a:solidFill>
                  <a:schemeClr val="accent6">
                    <a:lumMod val="50000"/>
                  </a:schemeClr>
                </a:solidFill>
              </a:rPr>
              <a:t>3 Werke (TAT, TCH, TWH)</a:t>
            </a:r>
          </a:p>
          <a:p>
            <a:pPr marL="285750" indent="-285750" algn="l">
              <a:buFont typeface="Wingdings" panose="05000000000000000000" pitchFamily="2" charset="2"/>
              <a:buChar char="§"/>
            </a:pPr>
            <a:r>
              <a:rPr lang="de-DE" sz="1600" i="1" dirty="0">
                <a:solidFill>
                  <a:schemeClr val="accent6">
                    <a:lumMod val="50000"/>
                  </a:schemeClr>
                </a:solidFill>
              </a:rPr>
              <a:t>1 Tag </a:t>
            </a:r>
          </a:p>
          <a:p>
            <a:pPr marL="285750" indent="-285750" algn="l">
              <a:buFont typeface="Wingdings" panose="05000000000000000000" pitchFamily="2" charset="2"/>
              <a:buChar char="§"/>
            </a:pPr>
            <a:r>
              <a:rPr lang="de-DE" sz="1600" i="1" dirty="0">
                <a:solidFill>
                  <a:schemeClr val="accent6">
                    <a:lumMod val="50000"/>
                  </a:schemeClr>
                </a:solidFill>
              </a:rPr>
              <a:t>3 Werkleiter</a:t>
            </a:r>
          </a:p>
          <a:p>
            <a:pPr marL="285750" indent="-285750" algn="l">
              <a:buFont typeface="Wingdings" panose="05000000000000000000" pitchFamily="2" charset="2"/>
              <a:buChar char="§"/>
            </a:pPr>
            <a:r>
              <a:rPr lang="de-DE" sz="1600" i="1" dirty="0">
                <a:solidFill>
                  <a:schemeClr val="accent6">
                    <a:lumMod val="50000"/>
                  </a:schemeClr>
                </a:solidFill>
              </a:rPr>
              <a:t>15 PE-Leiter</a:t>
            </a:r>
          </a:p>
          <a:p>
            <a:pPr marL="285750" indent="-285750" algn="l">
              <a:buFont typeface="Wingdings" panose="05000000000000000000" pitchFamily="2" charset="2"/>
              <a:buChar char="§"/>
            </a:pPr>
            <a:r>
              <a:rPr lang="de-DE" sz="1600" i="1" dirty="0">
                <a:solidFill>
                  <a:schemeClr val="accent6">
                    <a:lumMod val="50000"/>
                  </a:schemeClr>
                </a:solidFill>
              </a:rPr>
              <a:t>3 SYNCHRO Spezis</a:t>
            </a:r>
          </a:p>
          <a:p>
            <a:pPr marL="285750" indent="-285750" algn="l">
              <a:buFont typeface="Wingdings" panose="05000000000000000000" pitchFamily="2" charset="2"/>
              <a:buChar char="§"/>
            </a:pPr>
            <a:endParaRPr lang="de-DE" sz="1600" i="1" dirty="0">
              <a:solidFill>
                <a:schemeClr val="accent6">
                  <a:lumMod val="50000"/>
                </a:schemeClr>
              </a:solidFill>
            </a:endParaRPr>
          </a:p>
        </p:txBody>
      </p:sp>
    </p:spTree>
    <p:extLst>
      <p:ext uri="{BB962C8B-B14F-4D97-AF65-F5344CB8AC3E}">
        <p14:creationId xmlns:p14="http://schemas.microsoft.com/office/powerpoint/2010/main" val="117434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childTnLst>
                                </p:cTn>
                              </p:par>
                              <p:par>
                                <p:cTn id="33" presetID="1" presetClass="entr" presetSubtype="0" fill="hold" grpId="0" nodeType="withEffect" nodePh="1">
                                  <p:stCondLst>
                                    <p:cond delay="0"/>
                                  </p:stCondLst>
                                  <p:endCondLst>
                                    <p:cond evt="begin" delay="0">
                                      <p:tn val="33"/>
                                    </p:cond>
                                  </p:end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11" grpId="0" animBg="1"/>
      <p:bldP spid="15" grpId="0" animBg="1"/>
      <p:bldP spid="25" grpId="0"/>
      <p:bldP spid="27" grpId="0"/>
      <p:bldP spid="22" grpId="0" animBg="1"/>
      <p:bldP spid="34" grpId="0"/>
      <p:bldP spid="9" grpId="0" animBg="1"/>
      <p:bldP spid="12" grpId="0" animBg="1"/>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feld 8">
            <a:extLst>
              <a:ext uri="{FF2B5EF4-FFF2-40B4-BE49-F238E27FC236}">
                <a16:creationId xmlns:a16="http://schemas.microsoft.com/office/drawing/2014/main" id="{D626E58E-044F-6AC2-C7DE-A886F8A0DB39}"/>
              </a:ext>
            </a:extLst>
          </p:cNvPr>
          <p:cNvSpPr txBox="1"/>
          <p:nvPr/>
        </p:nvSpPr>
        <p:spPr>
          <a:xfrm>
            <a:off x="879112" y="1963456"/>
            <a:ext cx="7579214" cy="984885"/>
          </a:xfrm>
          <a:prstGeom prst="rect">
            <a:avLst/>
          </a:prstGeom>
          <a:noFill/>
        </p:spPr>
        <p:txBody>
          <a:bodyPr wrap="square" lIns="0" tIns="0" rIns="0" bIns="0" rtlCol="0">
            <a:spAutoFit/>
          </a:bodyPr>
          <a:lstStyle/>
          <a:p>
            <a:pPr algn="l"/>
            <a:r>
              <a:rPr lang="de-DE" sz="1600" b="1" i="1" dirty="0">
                <a:solidFill>
                  <a:schemeClr val="accent6">
                    <a:lumMod val="50000"/>
                  </a:schemeClr>
                </a:solidFill>
              </a:rPr>
              <a:t>Bearbeitung der 3 Fokus Themen in Work Cells:</a:t>
            </a:r>
          </a:p>
          <a:p>
            <a:pPr marL="285750" indent="-285750" algn="l">
              <a:buFont typeface="Wingdings" panose="05000000000000000000" pitchFamily="2" charset="2"/>
              <a:buChar char="§"/>
            </a:pPr>
            <a:r>
              <a:rPr lang="de-DE" sz="1600" i="1" dirty="0">
                <a:solidFill>
                  <a:schemeClr val="accent6">
                    <a:lumMod val="50000"/>
                  </a:schemeClr>
                </a:solidFill>
              </a:rPr>
              <a:t>30 Minuten Zeit fürs Verbessern – jeden Tag / Jede FK</a:t>
            </a:r>
          </a:p>
          <a:p>
            <a:pPr marL="285750" indent="-285750" algn="l">
              <a:buFont typeface="Wingdings" panose="05000000000000000000" pitchFamily="2" charset="2"/>
              <a:buChar char="§"/>
            </a:pPr>
            <a:r>
              <a:rPr lang="de-DE" sz="1600" i="1" dirty="0">
                <a:solidFill>
                  <a:schemeClr val="accent6">
                    <a:lumMod val="50000"/>
                  </a:schemeClr>
                </a:solidFill>
              </a:rPr>
              <a:t>SYNCHRO Mindset bei allen Führungsebenen</a:t>
            </a:r>
          </a:p>
          <a:p>
            <a:pPr marL="285750" indent="-285750" algn="l">
              <a:buFont typeface="Wingdings" panose="05000000000000000000" pitchFamily="2" charset="2"/>
              <a:buChar char="§"/>
            </a:pPr>
            <a:r>
              <a:rPr lang="de-DE" sz="1600" i="1" dirty="0">
                <a:solidFill>
                  <a:schemeClr val="accent6">
                    <a:lumMod val="50000"/>
                  </a:schemeClr>
                </a:solidFill>
              </a:rPr>
              <a:t>Organisation gemeinsames lernen im Werk und zwischen den Werken</a:t>
            </a:r>
          </a:p>
        </p:txBody>
      </p:sp>
      <p:sp>
        <p:nvSpPr>
          <p:cNvPr id="23" name="Textfeld 22">
            <a:extLst>
              <a:ext uri="{FF2B5EF4-FFF2-40B4-BE49-F238E27FC236}">
                <a16:creationId xmlns:a16="http://schemas.microsoft.com/office/drawing/2014/main" id="{86103407-138D-4BAA-83CD-24F0EBAE0D01}"/>
              </a:ext>
            </a:extLst>
          </p:cNvPr>
          <p:cNvSpPr txBox="1"/>
          <p:nvPr/>
        </p:nvSpPr>
        <p:spPr>
          <a:xfrm>
            <a:off x="535534" y="1624350"/>
            <a:ext cx="11203419" cy="3877985"/>
          </a:xfrm>
          <a:custGeom>
            <a:avLst/>
            <a:gdLst>
              <a:gd name="connsiteX0" fmla="*/ 0 w 11203419"/>
              <a:gd name="connsiteY0" fmla="*/ 0 h 3877985"/>
              <a:gd name="connsiteX1" fmla="*/ 11203419 w 11203419"/>
              <a:gd name="connsiteY1" fmla="*/ 0 h 3877985"/>
              <a:gd name="connsiteX2" fmla="*/ 11203419 w 11203419"/>
              <a:gd name="connsiteY2" fmla="*/ 3877985 h 3877985"/>
              <a:gd name="connsiteX3" fmla="*/ 0 w 11203419"/>
              <a:gd name="connsiteY3" fmla="*/ 3877985 h 3877985"/>
              <a:gd name="connsiteX4" fmla="*/ 0 w 11203419"/>
              <a:gd name="connsiteY4" fmla="*/ 0 h 38779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03419" h="3877985" extrusionOk="0">
                <a:moveTo>
                  <a:pt x="0" y="0"/>
                </a:moveTo>
                <a:cubicBezTo>
                  <a:pt x="2549107" y="-142016"/>
                  <a:pt x="9441308" y="84015"/>
                  <a:pt x="11203419" y="0"/>
                </a:cubicBezTo>
                <a:cubicBezTo>
                  <a:pt x="11293864" y="1056042"/>
                  <a:pt x="11313655" y="3356381"/>
                  <a:pt x="11203419" y="3877985"/>
                </a:cubicBezTo>
                <a:cubicBezTo>
                  <a:pt x="8195511" y="4030992"/>
                  <a:pt x="4759994" y="3737498"/>
                  <a:pt x="0" y="3877985"/>
                </a:cubicBezTo>
                <a:cubicBezTo>
                  <a:pt x="154933" y="2950686"/>
                  <a:pt x="114725" y="1685272"/>
                  <a:pt x="0" y="0"/>
                </a:cubicBezTo>
                <a:close/>
              </a:path>
            </a:pathLst>
          </a:custGeom>
          <a:noFill/>
          <a:ln w="28575">
            <a:solidFill>
              <a:schemeClr val="tx2"/>
            </a:solidFill>
            <a:extLst>
              <a:ext uri="{C807C97D-BFC1-408E-A445-0C87EB9F89A2}">
                <ask:lineSketchStyleProps xmlns:ask="http://schemas.microsoft.com/office/drawing/2018/sketchyshapes" sd="734089622">
                  <a:prstGeom prst="rect">
                    <a:avLst/>
                  </a:prstGeom>
                  <ask:type>
                    <ask:lineSketchCurved/>
                  </ask:type>
                </ask:lineSketchStyleProps>
              </a:ext>
            </a:extLst>
          </a:ln>
        </p:spPr>
        <p:txBody>
          <a:bodyPr wrap="square" lIns="0" tIns="0" rIns="0" bIns="0" rtlCol="0">
            <a:spAutoFit/>
          </a:bodyPr>
          <a:lstStyle/>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a:p>
            <a:pPr algn="l"/>
            <a:endParaRPr lang="de-DE"/>
          </a:p>
        </p:txBody>
      </p:sp>
      <p:sp>
        <p:nvSpPr>
          <p:cNvPr id="2" name="Titel 1">
            <a:extLst>
              <a:ext uri="{FF2B5EF4-FFF2-40B4-BE49-F238E27FC236}">
                <a16:creationId xmlns:a16="http://schemas.microsoft.com/office/drawing/2014/main" id="{D80B81FD-744A-49A8-9CF9-3DE47A77E15E}"/>
              </a:ext>
            </a:extLst>
          </p:cNvPr>
          <p:cNvSpPr>
            <a:spLocks noGrp="1"/>
          </p:cNvSpPr>
          <p:nvPr>
            <p:ph type="title"/>
          </p:nvPr>
        </p:nvSpPr>
        <p:spPr>
          <a:xfrm>
            <a:off x="377504" y="379650"/>
            <a:ext cx="8000477" cy="387798"/>
          </a:xfrm>
        </p:spPr>
        <p:txBody>
          <a:bodyPr/>
          <a:lstStyle/>
          <a:p>
            <a:r>
              <a:rPr lang="de-DE" dirty="0">
                <a:solidFill>
                  <a:schemeClr val="accent5">
                    <a:lumMod val="50000"/>
                  </a:schemeClr>
                </a:solidFill>
              </a:rPr>
              <a:t>#Mission Gemba - Kick Off Initiative 08.11.2022</a:t>
            </a:r>
          </a:p>
        </p:txBody>
      </p:sp>
      <p:sp>
        <p:nvSpPr>
          <p:cNvPr id="5" name="Datumsplatzhalter 4">
            <a:extLst>
              <a:ext uri="{FF2B5EF4-FFF2-40B4-BE49-F238E27FC236}">
                <a16:creationId xmlns:a16="http://schemas.microsoft.com/office/drawing/2014/main" id="{28171D2C-63B1-428A-8E5A-6EA9D4592B28}"/>
              </a:ext>
            </a:extLst>
          </p:cNvPr>
          <p:cNvSpPr>
            <a:spLocks noGrp="1"/>
          </p:cNvSpPr>
          <p:nvPr>
            <p:ph type="dt" sz="half" idx="17"/>
          </p:nvPr>
        </p:nvSpPr>
        <p:spPr/>
        <p:txBody>
          <a:bodyPr/>
          <a:lstStyle/>
          <a:p>
            <a:fld id="{FEF1AB36-C6AD-499B-BE21-5D0614FF308E}" type="datetime4">
              <a:rPr lang="de-DE" smtClean="0"/>
              <a:pPr/>
              <a:t>21. April 2023</a:t>
            </a:fld>
            <a:endParaRPr lang="de-DE"/>
          </a:p>
        </p:txBody>
      </p:sp>
      <p:sp>
        <p:nvSpPr>
          <p:cNvPr id="6" name="Fußzeilenplatzhalter 5">
            <a:extLst>
              <a:ext uri="{FF2B5EF4-FFF2-40B4-BE49-F238E27FC236}">
                <a16:creationId xmlns:a16="http://schemas.microsoft.com/office/drawing/2014/main" id="{3A70FE57-FC1B-4F9C-BB9E-21DD1D15064D}"/>
              </a:ext>
            </a:extLst>
          </p:cNvPr>
          <p:cNvSpPr>
            <a:spLocks noGrp="1"/>
          </p:cNvSpPr>
          <p:nvPr>
            <p:ph type="ftr" sz="quarter" idx="18"/>
          </p:nvPr>
        </p:nvSpPr>
        <p:spPr>
          <a:xfrm>
            <a:off x="589897" y="6356349"/>
            <a:ext cx="670732" cy="305989"/>
          </a:xfrm>
        </p:spPr>
        <p:txBody>
          <a:bodyPr/>
          <a:lstStyle/>
          <a:p>
            <a:r>
              <a:rPr lang="de-DE" dirty="0"/>
              <a:t>Oliver Türk </a:t>
            </a:r>
          </a:p>
        </p:txBody>
      </p:sp>
      <p:sp>
        <p:nvSpPr>
          <p:cNvPr id="7" name="Foliennummernplatzhalter 6">
            <a:extLst>
              <a:ext uri="{FF2B5EF4-FFF2-40B4-BE49-F238E27FC236}">
                <a16:creationId xmlns:a16="http://schemas.microsoft.com/office/drawing/2014/main" id="{9F4EDAA7-85B7-450A-A5BE-A82DD20834D5}"/>
              </a:ext>
            </a:extLst>
          </p:cNvPr>
          <p:cNvSpPr>
            <a:spLocks noGrp="1"/>
          </p:cNvSpPr>
          <p:nvPr>
            <p:ph type="sldNum" sz="quarter" idx="19"/>
          </p:nvPr>
        </p:nvSpPr>
        <p:spPr/>
        <p:txBody>
          <a:bodyPr/>
          <a:lstStyle/>
          <a:p>
            <a:fld id="{8D57957C-F0F3-7842-B0E2-B762F92D6487}" type="slidenum">
              <a:rPr lang="de-DE" smtClean="0"/>
              <a:pPr/>
              <a:t>9</a:t>
            </a:fld>
            <a:r>
              <a:rPr lang="de-DE"/>
              <a:t>  </a:t>
            </a:r>
            <a:r>
              <a:rPr lang="de-DE" b="0">
                <a:solidFill>
                  <a:schemeClr val="accent1"/>
                </a:solidFill>
              </a:rPr>
              <a:t>|</a:t>
            </a:r>
            <a:endParaRPr lang="de-DE" sz="900" b="0">
              <a:solidFill>
                <a:schemeClr val="accent1"/>
              </a:solidFill>
            </a:endParaRPr>
          </a:p>
        </p:txBody>
      </p:sp>
      <p:sp>
        <p:nvSpPr>
          <p:cNvPr id="25" name="Textfeld 24">
            <a:extLst>
              <a:ext uri="{FF2B5EF4-FFF2-40B4-BE49-F238E27FC236}">
                <a16:creationId xmlns:a16="http://schemas.microsoft.com/office/drawing/2014/main" id="{F5083ACF-46E8-4FAA-9234-1A65733608B1}"/>
              </a:ext>
            </a:extLst>
          </p:cNvPr>
          <p:cNvSpPr txBox="1"/>
          <p:nvPr/>
        </p:nvSpPr>
        <p:spPr>
          <a:xfrm>
            <a:off x="773661" y="1454497"/>
            <a:ext cx="5562972" cy="246221"/>
          </a:xfrm>
          <a:prstGeom prst="rect">
            <a:avLst/>
          </a:prstGeom>
          <a:solidFill>
            <a:schemeClr val="bg1"/>
          </a:solidFill>
        </p:spPr>
        <p:txBody>
          <a:bodyPr wrap="square" lIns="0" tIns="0" rIns="0" bIns="0" rtlCol="0">
            <a:spAutoFit/>
          </a:bodyPr>
          <a:lstStyle/>
          <a:p>
            <a:pPr algn="l"/>
            <a:r>
              <a:rPr lang="de-DE" sz="1600" b="1" i="1" dirty="0">
                <a:solidFill>
                  <a:schemeClr val="accent3"/>
                </a:solidFill>
                <a:latin typeface="Segoe UI" panose="020B0502040204020203" pitchFamily="34" charset="0"/>
                <a:cs typeface="Arial" panose="020B0604020202020204" pitchFamily="34" charset="0"/>
              </a:rPr>
              <a:t> 3. Features und Konzepte,  Bearbeitung von Fokusthemen </a:t>
            </a:r>
          </a:p>
        </p:txBody>
      </p:sp>
      <p:sp>
        <p:nvSpPr>
          <p:cNvPr id="27" name="Textfeld 26">
            <a:extLst>
              <a:ext uri="{FF2B5EF4-FFF2-40B4-BE49-F238E27FC236}">
                <a16:creationId xmlns:a16="http://schemas.microsoft.com/office/drawing/2014/main" id="{D6D165B7-B528-445F-B264-E7F66698B6AC}"/>
              </a:ext>
            </a:extLst>
          </p:cNvPr>
          <p:cNvSpPr txBox="1"/>
          <p:nvPr/>
        </p:nvSpPr>
        <p:spPr>
          <a:xfrm>
            <a:off x="5166222" y="4402101"/>
            <a:ext cx="2554111" cy="246221"/>
          </a:xfrm>
          <a:prstGeom prst="rect">
            <a:avLst/>
          </a:prstGeom>
          <a:noFill/>
        </p:spPr>
        <p:txBody>
          <a:bodyPr wrap="square" lIns="0" tIns="0" rIns="0" bIns="0" rtlCol="0">
            <a:spAutoFit/>
          </a:bodyPr>
          <a:lstStyle>
            <a:lvl1pPr>
              <a:buClr>
                <a:schemeClr val="tx2"/>
              </a:buClr>
              <a:buFont typeface="Wingdings" pitchFamily="2" charset="2"/>
              <a:buChar char="§"/>
            </a:lvl1pPr>
            <a:lvl2pPr>
              <a:buClr>
                <a:schemeClr val="tx2"/>
              </a:buClr>
              <a:buFont typeface="Wingdings" pitchFamily="2" charset="2"/>
              <a:buChar char="§"/>
            </a:lvl2pPr>
            <a:lvl3pPr>
              <a:buClr>
                <a:schemeClr val="tx2"/>
              </a:buClr>
              <a:buFont typeface="Wingdings" pitchFamily="2" charset="2"/>
              <a:buChar char="§"/>
            </a:lvl3pPr>
            <a:lvl4pPr>
              <a:buClr>
                <a:schemeClr val="tx2"/>
              </a:buClr>
              <a:buFont typeface="Wingdings" pitchFamily="2" charset="2"/>
              <a:buChar char="§"/>
            </a:lvl4pPr>
            <a:lvl5pPr>
              <a:buClr>
                <a:schemeClr val="tx2"/>
              </a:buClr>
              <a:buFont typeface="Wingdings" pitchFamily="2" charset="2"/>
              <a:buChar char="§"/>
            </a:lvl5pPr>
            <a:lvl6pPr>
              <a:buClr>
                <a:schemeClr val="tx2"/>
              </a:buClr>
              <a:buFont typeface="Wingdings" pitchFamily="2" charset="2"/>
              <a:buChar char="§"/>
            </a:lvl6pPr>
            <a:lvl7pPr>
              <a:buClr>
                <a:schemeClr val="tx2"/>
              </a:buClr>
              <a:buFont typeface="Wingdings" panose="05000000000000000000" pitchFamily="2" charset="2"/>
              <a:buChar char="§"/>
            </a:lvl7pPr>
            <a:lvl8pPr>
              <a:buClr>
                <a:schemeClr val="tx2"/>
              </a:buClr>
              <a:buFont typeface="Wingdings" panose="05000000000000000000" pitchFamily="2" charset="2"/>
              <a:buChar char="§"/>
            </a:lvl8pPr>
            <a:lvl9pPr>
              <a:buClr>
                <a:schemeClr val="tx2"/>
              </a:buClr>
              <a:buFont typeface="Wingdings" panose="05000000000000000000" pitchFamily="2" charset="2"/>
              <a:buChar char="§"/>
            </a:lvl9pPr>
          </a:lstStyle>
          <a:p>
            <a:pPr marL="285750" indent="-285750" algn="l"/>
            <a:endParaRPr lang="de-DE" sz="1600" b="1" i="1">
              <a:solidFill>
                <a:schemeClr val="accent3"/>
              </a:solidFill>
              <a:latin typeface="Arial" panose="020B0604020202020204" pitchFamily="34" charset="0"/>
              <a:cs typeface="Arial" panose="020B0604020202020204" pitchFamily="34" charset="0"/>
            </a:endParaRPr>
          </a:p>
        </p:txBody>
      </p:sp>
      <p:pic>
        <p:nvPicPr>
          <p:cNvPr id="8" name="Picture 2" descr="Quellbild anzeigen">
            <a:extLst>
              <a:ext uri="{FF2B5EF4-FFF2-40B4-BE49-F238E27FC236}">
                <a16:creationId xmlns:a16="http://schemas.microsoft.com/office/drawing/2014/main" id="{99A84956-765E-CB28-6923-A0A6A2752D89}"/>
              </a:ext>
            </a:extLst>
          </p:cNvPr>
          <p:cNvPicPr>
            <a:picLocks noChangeAspect="1" noChangeArrowheads="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20803766">
            <a:off x="6283500" y="1889530"/>
            <a:ext cx="707017" cy="707017"/>
          </a:xfrm>
          <a:prstGeom prst="rect">
            <a:avLst/>
          </a:prstGeom>
          <a:noFill/>
          <a:extLst>
            <a:ext uri="{909E8E84-426E-40DD-AFC4-6F175D3DCCD1}">
              <a14:hiddenFill xmlns:a14="http://schemas.microsoft.com/office/drawing/2010/main">
                <a:solidFill>
                  <a:srgbClr val="FFFFFF"/>
                </a:solidFill>
              </a14:hiddenFill>
            </a:ext>
          </a:extLst>
        </p:spPr>
      </p:pic>
      <p:pic>
        <p:nvPicPr>
          <p:cNvPr id="12" name="Grafik 11">
            <a:extLst>
              <a:ext uri="{FF2B5EF4-FFF2-40B4-BE49-F238E27FC236}">
                <a16:creationId xmlns:a16="http://schemas.microsoft.com/office/drawing/2014/main" id="{4A953728-9CF6-40BE-603F-64D419CE7BE9}"/>
              </a:ext>
            </a:extLst>
          </p:cNvPr>
          <p:cNvPicPr>
            <a:picLocks noChangeAspect="1"/>
          </p:cNvPicPr>
          <p:nvPr/>
        </p:nvPicPr>
        <p:blipFill rotWithShape="1">
          <a:blip r:embed="rId3"/>
          <a:srcRect l="-1" r="3050"/>
          <a:stretch/>
        </p:blipFill>
        <p:spPr>
          <a:xfrm>
            <a:off x="8871289" y="1801500"/>
            <a:ext cx="2368246" cy="3432150"/>
          </a:xfrm>
          <a:prstGeom prst="rect">
            <a:avLst/>
          </a:prstGeom>
          <a:ln>
            <a:noFill/>
          </a:ln>
          <a:effectLst>
            <a:outerShdw blurRad="292100" dist="139700" dir="2700000" algn="tl" rotWithShape="0">
              <a:srgbClr val="333333">
                <a:alpha val="65000"/>
              </a:srgbClr>
            </a:outerShdw>
          </a:effectLst>
        </p:spPr>
      </p:pic>
      <p:pic>
        <p:nvPicPr>
          <p:cNvPr id="24" name="Grafik 23">
            <a:extLst>
              <a:ext uri="{FF2B5EF4-FFF2-40B4-BE49-F238E27FC236}">
                <a16:creationId xmlns:a16="http://schemas.microsoft.com/office/drawing/2014/main" id="{49C935F9-50DD-1F6E-1E03-ED6B6405099C}"/>
              </a:ext>
            </a:extLst>
          </p:cNvPr>
          <p:cNvPicPr>
            <a:picLocks noChangeAspect="1"/>
          </p:cNvPicPr>
          <p:nvPr/>
        </p:nvPicPr>
        <p:blipFill>
          <a:blip r:embed="rId4"/>
          <a:stretch>
            <a:fillRect/>
          </a:stretch>
        </p:blipFill>
        <p:spPr>
          <a:xfrm rot="5400000">
            <a:off x="5665384" y="2549040"/>
            <a:ext cx="2160103" cy="3265093"/>
          </a:xfrm>
          <a:prstGeom prst="rect">
            <a:avLst/>
          </a:prstGeom>
          <a:ln>
            <a:noFill/>
          </a:ln>
          <a:effectLst>
            <a:outerShdw blurRad="292100" dist="139700" dir="2700000" algn="tl" rotWithShape="0">
              <a:srgbClr val="333333">
                <a:alpha val="65000"/>
              </a:srgbClr>
            </a:outerShdw>
          </a:effectLst>
        </p:spPr>
      </p:pic>
      <p:pic>
        <p:nvPicPr>
          <p:cNvPr id="31" name="Grafik 30">
            <a:extLst>
              <a:ext uri="{FF2B5EF4-FFF2-40B4-BE49-F238E27FC236}">
                <a16:creationId xmlns:a16="http://schemas.microsoft.com/office/drawing/2014/main" id="{B8696703-2A2E-716D-8590-D837495E0F76}"/>
              </a:ext>
            </a:extLst>
          </p:cNvPr>
          <p:cNvPicPr>
            <a:picLocks noChangeAspect="1"/>
          </p:cNvPicPr>
          <p:nvPr/>
        </p:nvPicPr>
        <p:blipFill>
          <a:blip r:embed="rId5"/>
          <a:stretch>
            <a:fillRect/>
          </a:stretch>
        </p:blipFill>
        <p:spPr>
          <a:xfrm rot="5400000">
            <a:off x="1680539" y="2545433"/>
            <a:ext cx="2160102" cy="327230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19372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MIO_CHANGETRACKING" val="true"/>
  <p:tag name="MIO_PRESENTATION_LANGUAGE" val="1031"/>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E-Mail-Adresse;Bitte geben Sie hier Ihre E-Mail-Adresse ein"/>
  <p:tag name="MIO_USER_INPUT_OPTIONAL" val=" "/>
  <p:tag name="MIO_USER_INPUT_TEXT" val=" "/>
</p:tagLst>
</file>

<file path=ppt/tags/tag11.xml><?xml version="1.0" encoding="utf-8"?>
<p:tagLst xmlns:a="http://schemas.openxmlformats.org/drawingml/2006/main" xmlns:r="http://schemas.openxmlformats.org/officeDocument/2006/relationships" xmlns:p="http://schemas.openxmlformats.org/presentationml/2006/main">
  <p:tag name="MIO_USER_INPUT_REQUIRED" val="Telefonnummer;Bitten geben Sie hier Ihre Telefonnummer ein"/>
  <p:tag name="MIO_USER_INPUT_OPTIONAL" val=" "/>
  <p:tag name="MIO_USER_INPUT_TEXT" val=" "/>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Abteilung;Bitte geben Sie hier Ihre Abteilung ein"/>
  <p:tag name="MIO_USER_INPUT_OPTIONAL" val=" "/>
  <p:tag name="MIO_USER_INPUT_TEXT" val=" "/>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Name;Bitte geben Sie hier Ihren Vor- und Nachnamen ein"/>
  <p:tag name="MIO_USER_INPUT_OPTIONAL" val=" "/>
  <p:tag name="MIO_USER_INPUT_TEXT" val=" "/>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MIO_GUID" val="59a8b404-edfd-4f4d-b6ad-4a39d7de2f50"/>
  <p:tag name="MIO_EKGUID" val="84262f04-b240-44c2-af37-6557b4e05394"/>
  <p:tag name="MIO_UPDATE" val="True"/>
  <p:tag name="MIO_VERSION" val="27.02.2019 08:30:39"/>
  <p:tag name="MIO_DBID" val="8236CE71-3243-41A3-904F-7EA9E80C736A"/>
  <p:tag name="MIO_LASTDOWNLOADED" val="19.04.2021 13:13:45"/>
  <p:tag name="MIO_OBJECTNAME" val="Takeaway (2)"/>
  <p:tag name="MIO_LASTEDITORNAME" val="empower enterprise"/>
</p:tagLst>
</file>

<file path=ppt/tags/tag16.xml><?xml version="1.0" encoding="utf-8"?>
<p:tagLst xmlns:a="http://schemas.openxmlformats.org/drawingml/2006/main" xmlns:r="http://schemas.openxmlformats.org/officeDocument/2006/relationships" xmlns:p="http://schemas.openxmlformats.org/presentationml/2006/main">
  <p:tag name="MIO_GUID" val="45035272-9dda-42fa-b8cc-8b88625c84f2"/>
</p:tagLst>
</file>

<file path=ppt/tags/tag17.xml><?xml version="1.0" encoding="utf-8"?>
<p:tagLst xmlns:a="http://schemas.openxmlformats.org/drawingml/2006/main" xmlns:r="http://schemas.openxmlformats.org/officeDocument/2006/relationships" xmlns:p="http://schemas.openxmlformats.org/presentationml/2006/main">
  <p:tag name="MIO_GUID" val="0f145e22-c921-4e0b-8a50-f72a13486447"/>
</p:tagLst>
</file>

<file path=ppt/tags/tag18.xml><?xml version="1.0" encoding="utf-8"?>
<p:tagLst xmlns:a="http://schemas.openxmlformats.org/drawingml/2006/main" xmlns:r="http://schemas.openxmlformats.org/officeDocument/2006/relationships" xmlns:p="http://schemas.openxmlformats.org/presentationml/2006/main">
  <p:tag name="MIO_GUID" val="03fc69ce-a36b-4014-bfe8-b5cd1a6366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thgFvLQinx1Zlw2Ksgaf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eJBpX8kk0K2BDO006wF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PB.sIaEikyQdR5c.f5k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YuYc_aO50S.2Sb5i8J7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qiMcJNX80ql7AlF6oNY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ws_.GrgUpku1wNnF5IQU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ALHm7HCrZEmZ33HVHNCu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i.PgRhy20ubz1YwoaAMgA"/>
</p:tagLst>
</file>

<file path=ppt/tags/tag28.xml><?xml version="1.0" encoding="utf-8"?>
<p:tagLst xmlns:a="http://schemas.openxmlformats.org/drawingml/2006/main" xmlns:r="http://schemas.openxmlformats.org/officeDocument/2006/relationships" xmlns:p="http://schemas.openxmlformats.org/presentationml/2006/main">
  <p:tag name="COPIEDSLDCHECKED"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Copyright;Bitte wählen Sie den Status dieser Präsentation aus"/>
  <p:tag name="MIO_USER_INPUT_OPTIONS" val="Vertraulich; "/>
</p:tagLst>
</file>

<file path=ppt/tags/tag30.xml><?xml version="1.0" encoding="utf-8"?>
<p:tagLst xmlns:a="http://schemas.openxmlformats.org/drawingml/2006/main" xmlns:r="http://schemas.openxmlformats.org/officeDocument/2006/relationships" xmlns:p="http://schemas.openxmlformats.org/presentationml/2006/main">
  <p:tag name="COPIEDSLDCHECKED"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COPIEDSLDCHECKED"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MIO_EKGUID" val="a90147ad-b17c-40bd-a50f-fe6b00da0108"/>
  <p:tag name="MIO_GUID" val="5cfa5098-a6fe-42ba-8238-fe1470c13643"/>
  <p:tag name="MIO_UPDATE" val="True"/>
  <p:tag name="MIO_VERSION" val="27.02.2019 07:01:08"/>
  <p:tag name="MIO_DBID" val="8236CE71-3243-41A3-904F-7EA9E80C736A"/>
  <p:tag name="MIO_LASTDOWNLOADED" val="03.09.2021 10:53:58"/>
  <p:tag name="MIO_OBJECTNAME" val="Bar chart (2)"/>
  <p:tag name="MIO_LASTEDITORNAME" val="empower enterprise"/>
</p:tagLst>
</file>

<file path=ppt/tags/tag35.xml><?xml version="1.0" encoding="utf-8"?>
<p:tagLst xmlns:a="http://schemas.openxmlformats.org/drawingml/2006/main" xmlns:r="http://schemas.openxmlformats.org/officeDocument/2006/relationships" xmlns:p="http://schemas.openxmlformats.org/presentationml/2006/main">
  <p:tag name="MIO_EKGUID" val="a90147ad-b17c-40bd-a50f-fe6b00da0108"/>
  <p:tag name="MIO_GUID" val="5cfa5098-a6fe-42ba-8238-fe1470c13643"/>
  <p:tag name="MIO_UPDATE" val="True"/>
  <p:tag name="MIO_VERSION" val="27.02.2019 07:01:08"/>
  <p:tag name="MIO_DBID" val="8236CE71-3243-41A3-904F-7EA9E80C736A"/>
  <p:tag name="MIO_LASTDOWNLOADED" val="03.09.2021 10:53:58"/>
  <p:tag name="MIO_OBJECTNAME" val="Bar chart (2)"/>
  <p:tag name="MIO_LASTEDITORNAME" val="empower enterprise"/>
</p:tagLst>
</file>

<file path=ppt/tags/tag36.xml><?xml version="1.0" encoding="utf-8"?>
<p:tagLst xmlns:a="http://schemas.openxmlformats.org/drawingml/2006/main" xmlns:r="http://schemas.openxmlformats.org/officeDocument/2006/relationships" xmlns:p="http://schemas.openxmlformats.org/presentationml/2006/main">
  <p:tag name="MIO_GUID" val="f38f6013-ad88-43ce-84d4-7d4d58e173a8"/>
</p:tagLst>
</file>

<file path=ppt/tags/tag37.xml><?xml version="1.0" encoding="utf-8"?>
<p:tagLst xmlns:a="http://schemas.openxmlformats.org/drawingml/2006/main" xmlns:r="http://schemas.openxmlformats.org/officeDocument/2006/relationships" xmlns:p="http://schemas.openxmlformats.org/presentationml/2006/main">
  <p:tag name="MIO_GUID" val="649c3fdf-6a7e-46b9-a055-c5f5a610289a"/>
</p:tagLst>
</file>

<file path=ppt/tags/tag38.xml><?xml version="1.0" encoding="utf-8"?>
<p:tagLst xmlns:a="http://schemas.openxmlformats.org/drawingml/2006/main" xmlns:r="http://schemas.openxmlformats.org/officeDocument/2006/relationships" xmlns:p="http://schemas.openxmlformats.org/presentationml/2006/main">
  <p:tag name="MIO_GUID" val="53eec3bc-7615-4aeb-aa2a-f7619661fc95"/>
</p:tagLst>
</file>

<file path=ppt/tags/tag39.xml><?xml version="1.0" encoding="utf-8"?>
<p:tagLst xmlns:a="http://schemas.openxmlformats.org/drawingml/2006/main" xmlns:r="http://schemas.openxmlformats.org/officeDocument/2006/relationships" xmlns:p="http://schemas.openxmlformats.org/presentationml/2006/main">
  <p:tag name="MIO_GUID" val="6af2832a-18f5-4dc9-9daa-98a4f3427cd9"/>
</p:tagLst>
</file>

<file path=ppt/tags/tag4.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9"/>
  <p:tag name="MIO_SHOW_DATE" val="True"/>
  <p:tag name="MIO_SHOW_FOOTER" val="True"/>
  <p:tag name="MIO_SHOW_PAGENUMBER" val="True"/>
  <p:tag name="MIO_AVOID_BLANK_LAYOUT" val="True"/>
  <p:tag name="MIO_CD_LAYOUT_VALID_AREA" val="False"/>
  <p:tag name="MIO_EMBED_FONT" val="False"/>
  <p:tag name="MIO_MATCH_COLOR_SCHEME" val="False"/>
  <p:tag name="MIO_NUMBER_OF_VALID_LAYOUTS" val="22"/>
  <p:tag name="MIO_HDS" val="True"/>
  <p:tag name="MIO_SKIPVERSION" val="01.01.0001 00:00:00"/>
  <p:tag name="MIO_EKGUID" val="b462a286-179c-464a-9ad9-b0d3902f5fe5"/>
  <p:tag name="MIO_UPDATE" val="True"/>
  <p:tag name="MIO_VERSION" val="25.11.2021 16:14:12"/>
  <p:tag name="MIO_DBID" val="8236CE71-3243-41A3-904F-7EA9E80C736A"/>
  <p:tag name="MIO_LASTDOWNLOADED" val="30.11.2022 17:28:35.753"/>
  <p:tag name="MIO_OBJECTNAME" val="TRUMPF DE"/>
  <p:tag name="MIO_LASTEDITORNAME" val="Katharina Kampen"/>
  <p:tag name="MIO_CDID" val="d30371fb-bd2b-4816-a0ce-bd6a1479ab6b"/>
</p:tagLst>
</file>

<file path=ppt/tags/tag40.xml><?xml version="1.0" encoding="utf-8"?>
<p:tagLst xmlns:a="http://schemas.openxmlformats.org/drawingml/2006/main" xmlns:r="http://schemas.openxmlformats.org/officeDocument/2006/relationships" xmlns:p="http://schemas.openxmlformats.org/presentationml/2006/main">
  <p:tag name="MIO_GUID" val="c620a4fe-de18-4e70-95f1-f28e38681c6b"/>
</p:tagLst>
</file>

<file path=ppt/tags/tag41.xml><?xml version="1.0" encoding="utf-8"?>
<p:tagLst xmlns:a="http://schemas.openxmlformats.org/drawingml/2006/main" xmlns:r="http://schemas.openxmlformats.org/officeDocument/2006/relationships" xmlns:p="http://schemas.openxmlformats.org/presentationml/2006/main">
  <p:tag name="MIO_GUID" val="5f8e038e-e350-49c4-b77e-6f5528f3ac9b"/>
</p:tagLst>
</file>

<file path=ppt/tags/tag42.xml><?xml version="1.0" encoding="utf-8"?>
<p:tagLst xmlns:a="http://schemas.openxmlformats.org/drawingml/2006/main" xmlns:r="http://schemas.openxmlformats.org/officeDocument/2006/relationships" xmlns:p="http://schemas.openxmlformats.org/presentationml/2006/main">
  <p:tag name="MIO_GUID" val="f38f6013-ad88-43ce-84d4-7d4d58e173a8"/>
</p:tagLst>
</file>

<file path=ppt/tags/tag43.xml><?xml version="1.0" encoding="utf-8"?>
<p:tagLst xmlns:a="http://schemas.openxmlformats.org/drawingml/2006/main" xmlns:r="http://schemas.openxmlformats.org/officeDocument/2006/relationships" xmlns:p="http://schemas.openxmlformats.org/presentationml/2006/main">
  <p:tag name="MIO_GUID" val="649c3fdf-6a7e-46b9-a055-c5f5a610289a"/>
</p:tagLst>
</file>

<file path=ppt/tags/tag44.xml><?xml version="1.0" encoding="utf-8"?>
<p:tagLst xmlns:a="http://schemas.openxmlformats.org/drawingml/2006/main" xmlns:r="http://schemas.openxmlformats.org/officeDocument/2006/relationships" xmlns:p="http://schemas.openxmlformats.org/presentationml/2006/main">
  <p:tag name="MIO_GUID" val="53eec3bc-7615-4aeb-aa2a-f7619661fc95"/>
</p:tagLst>
</file>

<file path=ppt/tags/tag45.xml><?xml version="1.0" encoding="utf-8"?>
<p:tagLst xmlns:a="http://schemas.openxmlformats.org/drawingml/2006/main" xmlns:r="http://schemas.openxmlformats.org/officeDocument/2006/relationships" xmlns:p="http://schemas.openxmlformats.org/presentationml/2006/main">
  <p:tag name="MIO_GUID" val="6af2832a-18f5-4dc9-9daa-98a4f3427cd9"/>
</p:tagLst>
</file>

<file path=ppt/tags/tag46.xml><?xml version="1.0" encoding="utf-8"?>
<p:tagLst xmlns:a="http://schemas.openxmlformats.org/drawingml/2006/main" xmlns:r="http://schemas.openxmlformats.org/officeDocument/2006/relationships" xmlns:p="http://schemas.openxmlformats.org/presentationml/2006/main">
  <p:tag name="MIO_GUID" val="c620a4fe-de18-4e70-95f1-f28e38681c6b"/>
</p:tagLst>
</file>

<file path=ppt/tags/tag47.xml><?xml version="1.0" encoding="utf-8"?>
<p:tagLst xmlns:a="http://schemas.openxmlformats.org/drawingml/2006/main" xmlns:r="http://schemas.openxmlformats.org/officeDocument/2006/relationships" xmlns:p="http://schemas.openxmlformats.org/presentationml/2006/main">
  <p:tag name="MIO_GUID" val="5f8e038e-e350-49c4-b77e-6f5528f3ac9b"/>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rumpf PowerPoint 2019">
  <a:themeElements>
    <a:clrScheme name="Trumpf dezent">
      <a:dk1>
        <a:srgbClr val="333333"/>
      </a:dk1>
      <a:lt1>
        <a:srgbClr val="FFFFFF"/>
      </a:lt1>
      <a:dk2>
        <a:srgbClr val="285172"/>
      </a:dk2>
      <a:lt2>
        <a:srgbClr val="FFFFFF"/>
      </a:lt2>
      <a:accent1>
        <a:srgbClr val="575757"/>
      </a:accent1>
      <a:accent2>
        <a:srgbClr val="D0D0D0"/>
      </a:accent2>
      <a:accent3>
        <a:srgbClr val="285172"/>
      </a:accent3>
      <a:accent4>
        <a:srgbClr val="8094AF"/>
      </a:accent4>
      <a:accent5>
        <a:srgbClr val="BBD03A"/>
      </a:accent5>
      <a:accent6>
        <a:srgbClr val="6C955E"/>
      </a:accent6>
      <a:hlink>
        <a:srgbClr val="204461"/>
      </a:hlink>
      <a:folHlink>
        <a:srgbClr val="638EBD"/>
      </a:folHlink>
    </a:clrScheme>
    <a:fontScheme name="Benutzerdefiniert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72000" rIns="72000" bIns="72000"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60000"/>
              <a:lumOff val="4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extLst>
    <a:ext uri="{05A4C25C-085E-4340-85A3-A5531E510DB2}">
      <thm15:themeFamily xmlns:thm15="http://schemas.microsoft.com/office/thememl/2012/main" name="Präsentation2" id="{D746A209-D3A0-42EF-988A-4829135B642B}" vid="{7DF3D1B1-4C56-472B-9565-3D7A511C20EB}"/>
    </a:ext>
  </a:extLst>
</a:theme>
</file>

<file path=ppt/theme/theme2.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Trumpf">
      <a:dk1>
        <a:srgbClr val="333333"/>
      </a:dk1>
      <a:lt1>
        <a:srgbClr val="FFFFFF"/>
      </a:lt1>
      <a:dk2>
        <a:srgbClr val="204461"/>
      </a:dk2>
      <a:lt2>
        <a:srgbClr val="FFFFFF"/>
      </a:lt2>
      <a:accent1>
        <a:srgbClr val="707070"/>
      </a:accent1>
      <a:accent2>
        <a:srgbClr val="D0D0D0"/>
      </a:accent2>
      <a:accent3>
        <a:srgbClr val="204461"/>
      </a:accent3>
      <a:accent4>
        <a:srgbClr val="638EBD"/>
      </a:accent4>
      <a:accent5>
        <a:srgbClr val="93C11C"/>
      </a:accent5>
      <a:accent6>
        <a:srgbClr val="6C955E"/>
      </a:accent6>
      <a:hlink>
        <a:srgbClr val="204461"/>
      </a:hlink>
      <a:folHlink>
        <a:srgbClr val="638EBD"/>
      </a:folHlink>
    </a:clrScheme>
    <a:fontScheme name="Benutzerdefiniert 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75DC99EB5B522442BFB271BE36A4F819" ma:contentTypeVersion="17" ma:contentTypeDescription="Ein neues Dokument erstellen." ma:contentTypeScope="" ma:versionID="a70fb71c8d03ff12ade853dbdbf2954b">
  <xsd:schema xmlns:xsd="http://www.w3.org/2001/XMLSchema" xmlns:xs="http://www.w3.org/2001/XMLSchema" xmlns:p="http://schemas.microsoft.com/office/2006/metadata/properties" xmlns:ns2="46a56ff4-038c-43a1-8198-66df79d5b4f2" xmlns:ns3="acc70353-449a-458c-af38-81fd801b6559" targetNamespace="http://schemas.microsoft.com/office/2006/metadata/properties" ma:root="true" ma:fieldsID="3065265883915d1102bea8f7b0131355" ns2:_="" ns3:_="">
    <xsd:import namespace="46a56ff4-038c-43a1-8198-66df79d5b4f2"/>
    <xsd:import namespace="acc70353-449a-458c-af38-81fd801b655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Uhrzeit" minOccurs="0"/>
                <xsd:element ref="ns2:MediaServiceLocation" minOccurs="0"/>
                <xsd:element ref="ns2:lcf76f155ced4ddcb4097134ff3c332f" minOccurs="0"/>
                <xsd:element ref="ns3:TaxCatchAll"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a56ff4-038c-43a1-8198-66df79d5b4f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Uhrzeit" ma:index="18" nillable="true" ma:displayName="Uhrzeit" ma:format="DateOnly" ma:internalName="Uhrzeit">
      <xsd:simpleType>
        <xsd:restriction base="dms:DateTime"/>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5e9485e2-df4f-4880-8a81-872be8114f56" ma:termSetId="09814cd3-568e-fe90-9814-8d621ff8fb84" ma:anchorId="fba54fb3-c3e1-fe81-a776-ca4b69148c4d" ma:open="true" ma:isKeyword="false">
      <xsd:complexType>
        <xsd:sequence>
          <xsd:element ref="pc:Terms" minOccurs="0" maxOccurs="1"/>
        </xsd:sequence>
      </xsd:complex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70353-449a-458c-af38-81fd801b6559"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232400c1-fff9-468c-bdef-2fcd72bfa8a4}" ma:internalName="TaxCatchAll" ma:showField="CatchAllData" ma:web="acc70353-449a-458c-af38-81fd801b65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acc70353-449a-458c-af38-81fd801b6559" xsi:nil="true"/>
    <lcf76f155ced4ddcb4097134ff3c332f xmlns="46a56ff4-038c-43a1-8198-66df79d5b4f2">
      <Terms xmlns="http://schemas.microsoft.com/office/infopath/2007/PartnerControls"/>
    </lcf76f155ced4ddcb4097134ff3c332f>
    <Uhrzeit xmlns="46a56ff4-038c-43a1-8198-66df79d5b4f2"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3A2AC4-17DB-4683-BB69-3D0444AC5C82}"/>
</file>

<file path=customXml/itemProps2.xml><?xml version="1.0" encoding="utf-8"?>
<ds:datastoreItem xmlns:ds="http://schemas.openxmlformats.org/officeDocument/2006/customXml" ds:itemID="{BAD4E2A0-D3E4-477A-9143-0D738455DBF0}">
  <ds:schemaRefs>
    <ds:schemaRef ds:uri="http://schemas.microsoft.com/office/2006/metadata/properties"/>
    <ds:schemaRef ds:uri="http://schemas.microsoft.com/office/infopath/2007/PartnerControls"/>
    <ds:schemaRef ds:uri="613fd2ce-ffa7-46bb-91b8-c7c0a9dcb407"/>
    <ds:schemaRef ds:uri="9c765a57-fbb8-4b4f-82b7-ded9328c4633"/>
    <ds:schemaRef ds:uri="90ed1bf7-83fc-455d-ba27-00cceabe3758"/>
    <ds:schemaRef ds:uri="e9621dcd-59de-421f-9f04-04ef58d2cbc5"/>
  </ds:schemaRefs>
</ds:datastoreItem>
</file>

<file path=customXml/itemProps3.xml><?xml version="1.0" encoding="utf-8"?>
<ds:datastoreItem xmlns:ds="http://schemas.openxmlformats.org/officeDocument/2006/customXml" ds:itemID="{551091E6-9C6F-4D86-AB48-E3426481FDB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1902_Trumpf-Master_Dada_v9_Neues-Raster</Template>
  <TotalTime>0</TotalTime>
  <Words>5278</Words>
  <Application>Microsoft Office PowerPoint</Application>
  <PresentationFormat>Widescreen</PresentationFormat>
  <Paragraphs>752</Paragraphs>
  <Slides>20</Slides>
  <Notes>13</Notes>
  <HiddenSlides>1</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Trumpf PowerPoint 2019</vt:lpstr>
      <vt:lpstr>SYNCHRO Geschichte &amp;  Mission GEMBA Initiative</vt:lpstr>
      <vt:lpstr>Grundverständnis – Was ist SYNCHRO?</vt:lpstr>
      <vt:lpstr>SYNCHRO im Prozess – Welche Ziele verfolgen wir mit SYNCHRO?</vt:lpstr>
      <vt:lpstr>Prozessexcellenz im SYNCHRO Haus</vt:lpstr>
      <vt:lpstr>Erfolge mit SYNCHRO</vt:lpstr>
      <vt:lpstr>Geschichte von SYNCHRO</vt:lpstr>
      <vt:lpstr>#Mission GEMBA – SYNCRHO Revival</vt:lpstr>
      <vt:lpstr>#Mission Gemba - Kick Off Initiative 08.11.2022</vt:lpstr>
      <vt:lpstr>#Mission Gemba - Kick Off Initiative 08.11.2022</vt:lpstr>
      <vt:lpstr>#Mission Gemba - Kick Off Initiative 08.11.2022</vt:lpstr>
      <vt:lpstr>PowerPoint Presentation</vt:lpstr>
      <vt:lpstr>Mission Gemba – Veränderungsgeschichte TWH</vt:lpstr>
      <vt:lpstr>Mission Gemba bei TWH - Ergebnisse</vt:lpstr>
      <vt:lpstr>#Mission Gemba bei TWH - Konkrete Praxisbeispiele (1)</vt:lpstr>
      <vt:lpstr>Beispielauszüge SYNCHRO Schulung</vt:lpstr>
      <vt:lpstr>#Mission Gemba -  2. Kick Off Termin TRUMPF Schweiz</vt:lpstr>
      <vt:lpstr>#Mission Gemba bei TWH- Konkrete Praxisbeispiele (2)</vt:lpstr>
      <vt:lpstr>#Mission Gemba goe´s GLOBAL – neue SYNCHRO Organisationsstruktur </vt:lpstr>
      <vt:lpstr>PowerPoint Presentation</vt:lpstr>
      <vt:lpstr>#Mission Gemba bei TWH- Konkrete Praxisbeispiele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Überschrift in zwei Zeilen</dc:title>
  <dc:creator>Katharina Kampen</dc:creator>
  <cp:lastModifiedBy>Bez, Florian</cp:lastModifiedBy>
  <cp:revision>17</cp:revision>
  <cp:lastPrinted>2023-02-23T10:48:40Z</cp:lastPrinted>
  <dcterms:created xsi:type="dcterms:W3CDTF">2019-04-11T08:14:40Z</dcterms:created>
  <dcterms:modified xsi:type="dcterms:W3CDTF">2023-04-21T12:07: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A953F5417C53429AC48C9289217B48</vt:lpwstr>
  </property>
  <property fmtid="{D5CDD505-2E9C-101B-9397-08002B2CF9AE}" pid="3" name="MediaServiceImageTags">
    <vt:lpwstr/>
  </property>
</Properties>
</file>